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tiff" ContentType="image/tiff"/>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presentation.xml" ContentType="application/vnd.openxmlformats-officedocument.presentationml.presentation.main+xml"/>
  <Override PartName="/ppt/notesSlides/notesSlide4.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notesSlides/notesSlide9.xml" ContentType="application/vnd.openxmlformats-officedocument.presentationml.notesSlide+xml"/>
  <Override PartName="/ppt/slideLayouts/slideLayout18.xml" ContentType="application/vnd.openxmlformats-officedocument.presentationml.slideLayout+xml"/>
  <Override PartName="/ppt/notesSlides/notesSlide8.xml" ContentType="application/vnd.openxmlformats-officedocument.presentationml.notesSl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diagrams/drawing3.xml" ContentType="application/vnd.ms-office.drawingml.diagramDrawing+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diagrams/layout4.xml" ContentType="application/vnd.openxmlformats-officedocument.drawingml.diagramLayout+xml"/>
  <Override PartName="/ppt/diagrams/quickStyle4.xml" ContentType="application/vnd.openxmlformats-officedocument.drawingml.diagramStyle+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diagrams/colors4.xml" ContentType="application/vnd.openxmlformats-officedocument.drawingml.diagramColors+xml"/>
  <Override PartName="/ppt/diagrams/drawing4.xml" ContentType="application/vnd.ms-office.drawingml.diagramDrawing+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diagrams/drawing1.xml" ContentType="application/vnd.ms-office.drawingml.diagramDrawing+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5"/>
  </p:notesMasterIdLst>
  <p:sldIdLst>
    <p:sldId id="1853" r:id="rId2"/>
    <p:sldId id="327" r:id="rId3"/>
    <p:sldId id="370" r:id="rId4"/>
    <p:sldId id="369" r:id="rId5"/>
    <p:sldId id="367" r:id="rId6"/>
    <p:sldId id="365" r:id="rId7"/>
    <p:sldId id="371" r:id="rId8"/>
    <p:sldId id="382" r:id="rId9"/>
    <p:sldId id="656" r:id="rId10"/>
    <p:sldId id="657" r:id="rId11"/>
    <p:sldId id="950" r:id="rId12"/>
    <p:sldId id="908" r:id="rId13"/>
    <p:sldId id="1393" r:id="rId14"/>
    <p:sldId id="1156" r:id="rId15"/>
    <p:sldId id="1965" r:id="rId16"/>
    <p:sldId id="1945" r:id="rId17"/>
    <p:sldId id="1949" r:id="rId18"/>
    <p:sldId id="1338" r:id="rId19"/>
    <p:sldId id="658" r:id="rId20"/>
    <p:sldId id="653" r:id="rId21"/>
    <p:sldId id="659" r:id="rId22"/>
    <p:sldId id="1883" r:id="rId23"/>
    <p:sldId id="1981" r:id="rId24"/>
    <p:sldId id="1982" r:id="rId25"/>
    <p:sldId id="1986" r:id="rId26"/>
    <p:sldId id="1995" r:id="rId27"/>
    <p:sldId id="1607" r:id="rId28"/>
    <p:sldId id="1921" r:id="rId29"/>
    <p:sldId id="1993" r:id="rId30"/>
    <p:sldId id="1886" r:id="rId31"/>
    <p:sldId id="1353" r:id="rId32"/>
    <p:sldId id="1354" r:id="rId33"/>
    <p:sldId id="1682" r:id="rId34"/>
    <p:sldId id="460" r:id="rId35"/>
    <p:sldId id="1009" r:id="rId36"/>
    <p:sldId id="1846" r:id="rId37"/>
    <p:sldId id="1847" r:id="rId38"/>
    <p:sldId id="1848" r:id="rId39"/>
    <p:sldId id="1994" r:id="rId40"/>
    <p:sldId id="1950" r:id="rId41"/>
    <p:sldId id="1923" r:id="rId42"/>
    <p:sldId id="1951" r:id="rId43"/>
    <p:sldId id="1952" r:id="rId44"/>
    <p:sldId id="1385" r:id="rId45"/>
    <p:sldId id="1386" r:id="rId46"/>
    <p:sldId id="1387" r:id="rId47"/>
    <p:sldId id="1894" r:id="rId48"/>
    <p:sldId id="1895" r:id="rId49"/>
    <p:sldId id="1845" r:id="rId50"/>
    <p:sldId id="1837" r:id="rId51"/>
    <p:sldId id="1896" r:id="rId52"/>
    <p:sldId id="933" r:id="rId53"/>
    <p:sldId id="1897" r:id="rId54"/>
    <p:sldId id="1898" r:id="rId55"/>
    <p:sldId id="1902" r:id="rId56"/>
    <p:sldId id="1901" r:id="rId57"/>
    <p:sldId id="1904" r:id="rId58"/>
    <p:sldId id="1890" r:id="rId59"/>
    <p:sldId id="1889" r:id="rId60"/>
    <p:sldId id="1892" r:id="rId61"/>
    <p:sldId id="1907" r:id="rId62"/>
    <p:sldId id="1914" r:id="rId63"/>
    <p:sldId id="1908" r:id="rId64"/>
    <p:sldId id="1910" r:id="rId65"/>
    <p:sldId id="1909" r:id="rId66"/>
    <p:sldId id="1916" r:id="rId67"/>
    <p:sldId id="1917" r:id="rId68"/>
    <p:sldId id="1918" r:id="rId69"/>
    <p:sldId id="1919" r:id="rId70"/>
    <p:sldId id="1098" r:id="rId71"/>
    <p:sldId id="1852" r:id="rId72"/>
    <p:sldId id="1165" r:id="rId73"/>
    <p:sldId id="1456" r:id="rId74"/>
  </p:sldIdLst>
  <p:sldSz cx="16256000" cy="9144000"/>
  <p:notesSz cx="6858000" cy="9144000"/>
  <p:defaultTextStyle>
    <a:defPPr>
      <a:defRPr lang="en-US"/>
    </a:defPPr>
    <a:lvl1pPr marL="0" algn="l" defTabSz="1985528" rtl="0" eaLnBrk="1" latinLnBrk="0" hangingPunct="1">
      <a:defRPr sz="3900" kern="1200">
        <a:solidFill>
          <a:schemeClr val="tx1"/>
        </a:solidFill>
        <a:latin typeface="+mn-lt"/>
        <a:ea typeface="+mn-ea"/>
        <a:cs typeface="+mn-cs"/>
      </a:defRPr>
    </a:lvl1pPr>
    <a:lvl2pPr marL="992764" algn="l" defTabSz="1985528" rtl="0" eaLnBrk="1" latinLnBrk="0" hangingPunct="1">
      <a:defRPr sz="3900" kern="1200">
        <a:solidFill>
          <a:schemeClr val="tx1"/>
        </a:solidFill>
        <a:latin typeface="+mn-lt"/>
        <a:ea typeface="+mn-ea"/>
        <a:cs typeface="+mn-cs"/>
      </a:defRPr>
    </a:lvl2pPr>
    <a:lvl3pPr marL="1985528" algn="l" defTabSz="1985528" rtl="0" eaLnBrk="1" latinLnBrk="0" hangingPunct="1">
      <a:defRPr sz="3900" kern="1200">
        <a:solidFill>
          <a:schemeClr val="tx1"/>
        </a:solidFill>
        <a:latin typeface="+mn-lt"/>
        <a:ea typeface="+mn-ea"/>
        <a:cs typeface="+mn-cs"/>
      </a:defRPr>
    </a:lvl3pPr>
    <a:lvl4pPr marL="2978292" algn="l" defTabSz="1985528" rtl="0" eaLnBrk="1" latinLnBrk="0" hangingPunct="1">
      <a:defRPr sz="3900" kern="1200">
        <a:solidFill>
          <a:schemeClr val="tx1"/>
        </a:solidFill>
        <a:latin typeface="+mn-lt"/>
        <a:ea typeface="+mn-ea"/>
        <a:cs typeface="+mn-cs"/>
      </a:defRPr>
    </a:lvl4pPr>
    <a:lvl5pPr marL="3971056" algn="l" defTabSz="1985528" rtl="0" eaLnBrk="1" latinLnBrk="0" hangingPunct="1">
      <a:defRPr sz="3900" kern="1200">
        <a:solidFill>
          <a:schemeClr val="tx1"/>
        </a:solidFill>
        <a:latin typeface="+mn-lt"/>
        <a:ea typeface="+mn-ea"/>
        <a:cs typeface="+mn-cs"/>
      </a:defRPr>
    </a:lvl5pPr>
    <a:lvl6pPr marL="4963820" algn="l" defTabSz="1985528" rtl="0" eaLnBrk="1" latinLnBrk="0" hangingPunct="1">
      <a:defRPr sz="3900" kern="1200">
        <a:solidFill>
          <a:schemeClr val="tx1"/>
        </a:solidFill>
        <a:latin typeface="+mn-lt"/>
        <a:ea typeface="+mn-ea"/>
        <a:cs typeface="+mn-cs"/>
      </a:defRPr>
    </a:lvl6pPr>
    <a:lvl7pPr marL="5956584" algn="l" defTabSz="1985528" rtl="0" eaLnBrk="1" latinLnBrk="0" hangingPunct="1">
      <a:defRPr sz="3900" kern="1200">
        <a:solidFill>
          <a:schemeClr val="tx1"/>
        </a:solidFill>
        <a:latin typeface="+mn-lt"/>
        <a:ea typeface="+mn-ea"/>
        <a:cs typeface="+mn-cs"/>
      </a:defRPr>
    </a:lvl7pPr>
    <a:lvl8pPr marL="6949349" algn="l" defTabSz="1985528" rtl="0" eaLnBrk="1" latinLnBrk="0" hangingPunct="1">
      <a:defRPr sz="3900" kern="1200">
        <a:solidFill>
          <a:schemeClr val="tx1"/>
        </a:solidFill>
        <a:latin typeface="+mn-lt"/>
        <a:ea typeface="+mn-ea"/>
        <a:cs typeface="+mn-cs"/>
      </a:defRPr>
    </a:lvl8pPr>
    <a:lvl9pPr marL="7942113" algn="l" defTabSz="1985528" rtl="0" eaLnBrk="1" latinLnBrk="0" hangingPunct="1">
      <a:defRPr sz="3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5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EDF6"/>
    <a:srgbClr val="FCB859"/>
    <a:srgbClr val="90F502"/>
    <a:srgbClr val="77933C"/>
    <a:srgbClr val="8EB4E3"/>
    <a:srgbClr val="040C0D"/>
    <a:srgbClr val="434C73"/>
    <a:srgbClr val="031522"/>
    <a:srgbClr val="0000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608" autoAdjust="0"/>
    <p:restoredTop sz="94817"/>
  </p:normalViewPr>
  <p:slideViewPr>
    <p:cSldViewPr>
      <p:cViewPr varScale="1">
        <p:scale>
          <a:sx n="63" d="100"/>
          <a:sy n="63" d="100"/>
        </p:scale>
        <p:origin x="184" y="688"/>
      </p:cViewPr>
      <p:guideLst>
        <p:guide orient="horz" pos="2880"/>
        <p:guide pos="512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customXml" Target="../customXml/item3.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customXml" Target="../customXml/item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83"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15159D-171A-437E-A5DA-C3D3C6E495DB}"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en-US"/>
        </a:p>
      </dgm:t>
    </dgm:pt>
    <dgm:pt modelId="{A8CAA773-B25D-4AA0-85B5-15EE0E155C78}">
      <dgm:prSet custT="1"/>
      <dgm:spPr>
        <a:solidFill>
          <a:schemeClr val="bg1"/>
        </a:solidFill>
      </dgm:spPr>
      <dgm:t>
        <a:bodyPr/>
        <a:lstStyle/>
        <a:p>
          <a:pPr rtl="0">
            <a:lnSpc>
              <a:spcPct val="150000"/>
            </a:lnSpc>
          </a:pPr>
          <a:r>
            <a:rPr lang="en-US" sz="2400" b="1" dirty="0">
              <a:solidFill>
                <a:srgbClr val="113037"/>
              </a:solidFill>
              <a:latin typeface="+mj-lt"/>
              <a:ea typeface="Verdana" panose="020B0604030504040204" pitchFamily="34" charset="0"/>
              <a:cs typeface="Verdana" panose="020B0604030504040204" pitchFamily="34" charset="0"/>
            </a:rPr>
            <a:t>*Collective Consciousness of Humanity</a:t>
          </a:r>
          <a:endParaRPr lang="en-IN" sz="2400" b="1" dirty="0">
            <a:solidFill>
              <a:srgbClr val="113037"/>
            </a:solidFill>
            <a:latin typeface="+mj-lt"/>
            <a:ea typeface="Verdana" panose="020B0604030504040204" pitchFamily="34" charset="0"/>
            <a:cs typeface="Verdana" panose="020B0604030504040204" pitchFamily="34" charset="0"/>
          </a:endParaRPr>
        </a:p>
      </dgm:t>
    </dgm:pt>
    <dgm:pt modelId="{4FEF3451-89AA-452F-8B5C-3A9A5C750D3C}" type="parTrans" cxnId="{67A70E77-15B0-454D-B823-DC53468822D3}">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FF98BD2D-5D89-4DED-A978-63936D3E2D58}" type="sibTrans" cxnId="{67A70E77-15B0-454D-B823-DC53468822D3}">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F141D321-FCE9-4980-8935-A4C6B02C2652}">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Ease of Living</a:t>
          </a:r>
          <a:endParaRPr lang="en-IN" sz="2400" b="1" dirty="0">
            <a:latin typeface="+mj-lt"/>
            <a:ea typeface="Verdana" panose="020B0604030504040204" pitchFamily="34" charset="0"/>
            <a:cs typeface="Verdana" panose="020B0604030504040204" pitchFamily="34" charset="0"/>
          </a:endParaRPr>
        </a:p>
      </dgm:t>
    </dgm:pt>
    <dgm:pt modelId="{709B91BE-5F84-4956-A935-7B5EE5D18E30}" type="parTrans" cxnId="{F206F075-B906-436B-9A75-3187323CBFDC}">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D41D94FB-4DA4-4222-9458-30B278B42228}" type="sibTrans" cxnId="{F206F075-B906-436B-9A75-3187323CBFDC}">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70DE1C69-91C8-4C7D-97C2-2E1241B3503D}">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Economic Growth</a:t>
          </a:r>
          <a:endParaRPr lang="en-IN" sz="2400" b="1" dirty="0">
            <a:latin typeface="+mj-lt"/>
            <a:ea typeface="Verdana" panose="020B0604030504040204" pitchFamily="34" charset="0"/>
            <a:cs typeface="Verdana" panose="020B0604030504040204" pitchFamily="34" charset="0"/>
          </a:endParaRPr>
        </a:p>
      </dgm:t>
    </dgm:pt>
    <dgm:pt modelId="{A6460C6E-A551-4F95-9702-787667A9E065}" type="parTrans" cxnId="{281E5F77-60CF-4F4A-927F-FAEE3740195F}">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2E915992-3714-4689-A83D-12469D0DB836}" type="sibTrans" cxnId="{281E5F77-60CF-4F4A-927F-FAEE3740195F}">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C65218C2-7A3E-4F6A-ACC5-E78B9D568C91}">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Connected</a:t>
          </a:r>
          <a:endParaRPr lang="en-IN" sz="2400" b="1" dirty="0">
            <a:latin typeface="+mj-lt"/>
            <a:ea typeface="Verdana" panose="020B0604030504040204" pitchFamily="34" charset="0"/>
            <a:cs typeface="Verdana" panose="020B0604030504040204" pitchFamily="34" charset="0"/>
          </a:endParaRPr>
        </a:p>
      </dgm:t>
    </dgm:pt>
    <dgm:pt modelId="{9AB4D1D9-1DE4-4E17-96D0-DEBF9D9D1FBB}" type="parTrans" cxnId="{6BBF93AE-A5F0-4787-A474-AD9E04E16941}">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BFB2FE03-F0CB-49AC-8AC7-52A3DF79A099}" type="sibTrans" cxnId="{6BBF93AE-A5F0-4787-A474-AD9E04E16941}">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0BE962A1-B8DF-48CB-A814-C7107A4F7E8B}">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Inclusiveness</a:t>
          </a:r>
          <a:endParaRPr lang="en-IN" sz="2400" b="1" dirty="0">
            <a:latin typeface="+mj-lt"/>
            <a:ea typeface="Verdana" panose="020B0604030504040204" pitchFamily="34" charset="0"/>
            <a:cs typeface="Verdana" panose="020B0604030504040204" pitchFamily="34" charset="0"/>
          </a:endParaRPr>
        </a:p>
      </dgm:t>
    </dgm:pt>
    <dgm:pt modelId="{1153A131-FA74-41B4-9981-3DB350C05405}" type="parTrans" cxnId="{5837B63C-55E5-44F0-BB7E-8686E9326660}">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97CAB21B-C182-4ED1-B1BB-69CA6A62481C}" type="sibTrans" cxnId="{5837B63C-55E5-44F0-BB7E-8686E9326660}">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FF10C646-612C-4D0A-971B-09545F1113E0}">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Safe</a:t>
          </a:r>
          <a:endParaRPr lang="en-IN" sz="2400" b="1" dirty="0">
            <a:latin typeface="+mj-lt"/>
            <a:ea typeface="Verdana" panose="020B0604030504040204" pitchFamily="34" charset="0"/>
            <a:cs typeface="Verdana" panose="020B0604030504040204" pitchFamily="34" charset="0"/>
          </a:endParaRPr>
        </a:p>
      </dgm:t>
    </dgm:pt>
    <dgm:pt modelId="{32A60121-2118-4165-9773-F3B83D971E76}" type="parTrans" cxnId="{0F7CE61A-430B-426A-ACA8-E0EDF8D05B2A}">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14C82A59-2DCA-4DDE-8946-9F8F687BB6FB}" type="sibTrans" cxnId="{0F7CE61A-430B-426A-ACA8-E0EDF8D05B2A}">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C1C8A3E4-389A-499A-8B96-A0EECE28F360}">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Resilient</a:t>
          </a:r>
          <a:endParaRPr lang="en-IN" sz="2400" b="1" dirty="0">
            <a:latin typeface="+mj-lt"/>
            <a:ea typeface="Verdana" panose="020B0604030504040204" pitchFamily="34" charset="0"/>
            <a:cs typeface="Verdana" panose="020B0604030504040204" pitchFamily="34" charset="0"/>
          </a:endParaRPr>
        </a:p>
      </dgm:t>
    </dgm:pt>
    <dgm:pt modelId="{49F05528-5A34-4C45-89B1-ABACD4D99C4D}" type="parTrans" cxnId="{25468495-F01F-40B3-B201-946B6E0FCC60}">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B6427967-BA5A-4230-8E96-F3AD74BF8415}" type="sibTrans" cxnId="{25468495-F01F-40B3-B201-946B6E0FCC60}">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E3B547D5-40C9-47CA-AFE9-803AAC807F7A}">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Adaptive</a:t>
          </a:r>
          <a:endParaRPr lang="en-IN" sz="2400" b="1" dirty="0">
            <a:latin typeface="+mj-lt"/>
            <a:ea typeface="Verdana" panose="020B0604030504040204" pitchFamily="34" charset="0"/>
            <a:cs typeface="Verdana" panose="020B0604030504040204" pitchFamily="34" charset="0"/>
          </a:endParaRPr>
        </a:p>
      </dgm:t>
    </dgm:pt>
    <dgm:pt modelId="{5E503113-4239-44C6-81E4-CD951027F938}" type="parTrans" cxnId="{5D0E0437-4ECE-48D7-8B31-00714E49B0D5}">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E8585D44-2F14-4075-B853-9818285DD3CA}" type="sibTrans" cxnId="{5D0E0437-4ECE-48D7-8B31-00714E49B0D5}">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A8A0A15E-460F-4424-8A36-50FEA1514A83}">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Sustainable</a:t>
          </a:r>
          <a:endParaRPr lang="en-IN" sz="2400" b="1" dirty="0">
            <a:latin typeface="+mj-lt"/>
            <a:ea typeface="Verdana" panose="020B0604030504040204" pitchFamily="34" charset="0"/>
            <a:cs typeface="Verdana" panose="020B0604030504040204" pitchFamily="34" charset="0"/>
          </a:endParaRPr>
        </a:p>
      </dgm:t>
    </dgm:pt>
    <dgm:pt modelId="{E5D40186-BFE8-4D9B-B684-33F9EE8B5715}" type="parTrans" cxnId="{8DF7C32C-FC0E-4D61-8667-A6FD2098967D}">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44665C29-F129-4AF9-98BF-3AD990020869}" type="sibTrans" cxnId="{8DF7C32C-FC0E-4D61-8667-A6FD2098967D}">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631B6DA2-5EEE-462D-AF5D-24FF792B97EE}">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Trust and Privacy</a:t>
          </a:r>
          <a:endParaRPr lang="en-IN" sz="2400" b="1" dirty="0">
            <a:latin typeface="+mj-lt"/>
            <a:ea typeface="Verdana" panose="020B0604030504040204" pitchFamily="34" charset="0"/>
            <a:cs typeface="Verdana" panose="020B0604030504040204" pitchFamily="34" charset="0"/>
          </a:endParaRPr>
        </a:p>
      </dgm:t>
    </dgm:pt>
    <dgm:pt modelId="{B4E22D12-6663-4FAE-A069-E1BFC6DD6F54}" type="parTrans" cxnId="{87BF8B55-5195-436B-982E-B6C5845F1B09}">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EACC9ADD-5E82-467B-9CCF-8D4F7B96594C}" type="sibTrans" cxnId="{87BF8B55-5195-436B-982E-B6C5845F1B09}">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47BFB46E-014B-464A-9579-6FB796962DDD}">
      <dgm:prSet custT="1"/>
      <dgm:spPr>
        <a:ln>
          <a:solidFill>
            <a:srgbClr val="95A9A7"/>
          </a:solidFill>
        </a:ln>
      </dgm:spPr>
      <dgm:t>
        <a:bodyPr/>
        <a:lstStyle/>
        <a:p>
          <a:pPr rtl="0">
            <a:lnSpc>
              <a:spcPct val="150000"/>
            </a:lnSpc>
          </a:pPr>
          <a:r>
            <a:rPr lang="en-US" sz="2400" b="1" dirty="0">
              <a:latin typeface="+mj-lt"/>
              <a:ea typeface="Verdana" panose="020B0604030504040204" pitchFamily="34" charset="0"/>
              <a:cs typeface="Verdana" panose="020B0604030504040204" pitchFamily="34" charset="0"/>
            </a:rPr>
            <a:t>Energy Efficient</a:t>
          </a:r>
          <a:endParaRPr lang="en-IN" sz="2400" b="1" dirty="0">
            <a:latin typeface="+mj-lt"/>
            <a:ea typeface="Verdana" panose="020B0604030504040204" pitchFamily="34" charset="0"/>
            <a:cs typeface="Verdana" panose="020B0604030504040204" pitchFamily="34" charset="0"/>
          </a:endParaRPr>
        </a:p>
      </dgm:t>
    </dgm:pt>
    <dgm:pt modelId="{8DF174E5-FD97-450B-BF25-F9BFBD5F3E2D}" type="parTrans" cxnId="{97E82D63-FC7A-4FB2-BD75-D78EF0EE6359}">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672412AB-765C-4A65-A5F2-C747C6DA4A2B}" type="sibTrans" cxnId="{97E82D63-FC7A-4FB2-BD75-D78EF0EE6359}">
      <dgm:prSet/>
      <dgm:spPr/>
      <dgm:t>
        <a:bodyPr/>
        <a:lstStyle/>
        <a:p>
          <a:pPr>
            <a:lnSpc>
              <a:spcPct val="150000"/>
            </a:lnSpc>
          </a:pPr>
          <a:endParaRPr lang="en-US">
            <a:latin typeface="Verdana" panose="020B0604030504040204" pitchFamily="34" charset="0"/>
            <a:ea typeface="Verdana" panose="020B0604030504040204" pitchFamily="34" charset="0"/>
            <a:cs typeface="Verdana" panose="020B0604030504040204" pitchFamily="34" charset="0"/>
          </a:endParaRPr>
        </a:p>
      </dgm:t>
    </dgm:pt>
    <dgm:pt modelId="{D6A3D34D-A237-43AE-8E2F-997847B65F47}" type="pres">
      <dgm:prSet presAssocID="{D915159D-171A-437E-A5DA-C3D3C6E495DB}" presName="linear" presStyleCnt="0">
        <dgm:presLayoutVars>
          <dgm:dir/>
          <dgm:animLvl val="lvl"/>
          <dgm:resizeHandles val="exact"/>
        </dgm:presLayoutVars>
      </dgm:prSet>
      <dgm:spPr/>
    </dgm:pt>
    <dgm:pt modelId="{6C2D2B6F-79EE-46F6-A871-73C11C89CA14}" type="pres">
      <dgm:prSet presAssocID="{A8CAA773-B25D-4AA0-85B5-15EE0E155C78}" presName="parentLin" presStyleCnt="0"/>
      <dgm:spPr/>
    </dgm:pt>
    <dgm:pt modelId="{13D72F62-9E27-45DE-BE23-1B9DCD04AF87}" type="pres">
      <dgm:prSet presAssocID="{A8CAA773-B25D-4AA0-85B5-15EE0E155C78}" presName="parentLeftMargin" presStyleLbl="node1" presStyleIdx="0" presStyleCnt="1"/>
      <dgm:spPr/>
    </dgm:pt>
    <dgm:pt modelId="{27855F27-5A3C-4842-BC4C-FA71730C63F9}" type="pres">
      <dgm:prSet presAssocID="{A8CAA773-B25D-4AA0-85B5-15EE0E155C78}" presName="parentText" presStyleLbl="node1" presStyleIdx="0" presStyleCnt="1" custScaleX="132256" custScaleY="313904" custLinFactNeighborX="-42776" custLinFactNeighborY="12425">
        <dgm:presLayoutVars>
          <dgm:chMax val="0"/>
          <dgm:bulletEnabled val="1"/>
        </dgm:presLayoutVars>
      </dgm:prSet>
      <dgm:spPr/>
    </dgm:pt>
    <dgm:pt modelId="{AEF0191B-4250-49D6-B0E1-9FB107E8E2FD}" type="pres">
      <dgm:prSet presAssocID="{A8CAA773-B25D-4AA0-85B5-15EE0E155C78}" presName="negativeSpace" presStyleCnt="0"/>
      <dgm:spPr/>
    </dgm:pt>
    <dgm:pt modelId="{CA1B35DF-B095-4851-B50A-B5F590E353D0}" type="pres">
      <dgm:prSet presAssocID="{A8CAA773-B25D-4AA0-85B5-15EE0E155C78}" presName="childText" presStyleLbl="conFgAcc1" presStyleIdx="0" presStyleCnt="1" custLinFactY="5719" custLinFactNeighborX="-571" custLinFactNeighborY="100000">
        <dgm:presLayoutVars>
          <dgm:bulletEnabled val="1"/>
        </dgm:presLayoutVars>
      </dgm:prSet>
      <dgm:spPr/>
    </dgm:pt>
  </dgm:ptLst>
  <dgm:cxnLst>
    <dgm:cxn modelId="{0F7CE61A-430B-426A-ACA8-E0EDF8D05B2A}" srcId="{A8CAA773-B25D-4AA0-85B5-15EE0E155C78}" destId="{FF10C646-612C-4D0A-971B-09545F1113E0}" srcOrd="4" destOrd="0" parTransId="{32A60121-2118-4165-9773-F3B83D971E76}" sibTransId="{14C82A59-2DCA-4DDE-8946-9F8F687BB6FB}"/>
    <dgm:cxn modelId="{8DF7C32C-FC0E-4D61-8667-A6FD2098967D}" srcId="{A8CAA773-B25D-4AA0-85B5-15EE0E155C78}" destId="{A8A0A15E-460F-4424-8A36-50FEA1514A83}" srcOrd="7" destOrd="0" parTransId="{E5D40186-BFE8-4D9B-B684-33F9EE8B5715}" sibTransId="{44665C29-F129-4AF9-98BF-3AD990020869}"/>
    <dgm:cxn modelId="{0B71D92D-7D04-4509-9EC5-338AA8F8F0C4}" type="presOf" srcId="{C1C8A3E4-389A-499A-8B96-A0EECE28F360}" destId="{CA1B35DF-B095-4851-B50A-B5F590E353D0}" srcOrd="0" destOrd="5" presId="urn:microsoft.com/office/officeart/2005/8/layout/list1"/>
    <dgm:cxn modelId="{8E38C92E-F915-48F0-942B-07D41C69D721}" type="presOf" srcId="{F141D321-FCE9-4980-8935-A4C6B02C2652}" destId="{CA1B35DF-B095-4851-B50A-B5F590E353D0}" srcOrd="0" destOrd="0" presId="urn:microsoft.com/office/officeart/2005/8/layout/list1"/>
    <dgm:cxn modelId="{5D0E0437-4ECE-48D7-8B31-00714E49B0D5}" srcId="{A8CAA773-B25D-4AA0-85B5-15EE0E155C78}" destId="{E3B547D5-40C9-47CA-AFE9-803AAC807F7A}" srcOrd="6" destOrd="0" parTransId="{5E503113-4239-44C6-81E4-CD951027F938}" sibTransId="{E8585D44-2F14-4075-B853-9818285DD3CA}"/>
    <dgm:cxn modelId="{5837B63C-55E5-44F0-BB7E-8686E9326660}" srcId="{A8CAA773-B25D-4AA0-85B5-15EE0E155C78}" destId="{0BE962A1-B8DF-48CB-A814-C7107A4F7E8B}" srcOrd="3" destOrd="0" parTransId="{1153A131-FA74-41B4-9981-3DB350C05405}" sibTransId="{97CAB21B-C182-4ED1-B1BB-69CA6A62481C}"/>
    <dgm:cxn modelId="{293B6E48-F16A-4E37-A7ED-DED54799B9A6}" type="presOf" srcId="{A8A0A15E-460F-4424-8A36-50FEA1514A83}" destId="{CA1B35DF-B095-4851-B50A-B5F590E353D0}" srcOrd="0" destOrd="7" presId="urn:microsoft.com/office/officeart/2005/8/layout/list1"/>
    <dgm:cxn modelId="{87BF8B55-5195-436B-982E-B6C5845F1B09}" srcId="{A8CAA773-B25D-4AA0-85B5-15EE0E155C78}" destId="{631B6DA2-5EEE-462D-AF5D-24FF792B97EE}" srcOrd="8" destOrd="0" parTransId="{B4E22D12-6663-4FAE-A069-E1BFC6DD6F54}" sibTransId="{EACC9ADD-5E82-467B-9CCF-8D4F7B96594C}"/>
    <dgm:cxn modelId="{97E82D63-FC7A-4FB2-BD75-D78EF0EE6359}" srcId="{A8CAA773-B25D-4AA0-85B5-15EE0E155C78}" destId="{47BFB46E-014B-464A-9579-6FB796962DDD}" srcOrd="9" destOrd="0" parTransId="{8DF174E5-FD97-450B-BF25-F9BFBD5F3E2D}" sibTransId="{672412AB-765C-4A65-A5F2-C747C6DA4A2B}"/>
    <dgm:cxn modelId="{BD74A864-36B5-4D72-B81A-69B06DC62402}" type="presOf" srcId="{C65218C2-7A3E-4F6A-ACC5-E78B9D568C91}" destId="{CA1B35DF-B095-4851-B50A-B5F590E353D0}" srcOrd="0" destOrd="2" presId="urn:microsoft.com/office/officeart/2005/8/layout/list1"/>
    <dgm:cxn modelId="{F8563668-D975-4810-8412-86A0A43432E3}" type="presOf" srcId="{A8CAA773-B25D-4AA0-85B5-15EE0E155C78}" destId="{13D72F62-9E27-45DE-BE23-1B9DCD04AF87}" srcOrd="0" destOrd="0" presId="urn:microsoft.com/office/officeart/2005/8/layout/list1"/>
    <dgm:cxn modelId="{717F7D6A-3CC2-4402-AB27-A33863EDE6BA}" type="presOf" srcId="{631B6DA2-5EEE-462D-AF5D-24FF792B97EE}" destId="{CA1B35DF-B095-4851-B50A-B5F590E353D0}" srcOrd="0" destOrd="8" presId="urn:microsoft.com/office/officeart/2005/8/layout/list1"/>
    <dgm:cxn modelId="{BFFAC973-D424-428F-9FB1-9ADAE874CA3A}" type="presOf" srcId="{FF10C646-612C-4D0A-971B-09545F1113E0}" destId="{CA1B35DF-B095-4851-B50A-B5F590E353D0}" srcOrd="0" destOrd="4" presId="urn:microsoft.com/office/officeart/2005/8/layout/list1"/>
    <dgm:cxn modelId="{F206F075-B906-436B-9A75-3187323CBFDC}" srcId="{A8CAA773-B25D-4AA0-85B5-15EE0E155C78}" destId="{F141D321-FCE9-4980-8935-A4C6B02C2652}" srcOrd="0" destOrd="0" parTransId="{709B91BE-5F84-4956-A935-7B5EE5D18E30}" sibTransId="{D41D94FB-4DA4-4222-9458-30B278B42228}"/>
    <dgm:cxn modelId="{67A70E77-15B0-454D-B823-DC53468822D3}" srcId="{D915159D-171A-437E-A5DA-C3D3C6E495DB}" destId="{A8CAA773-B25D-4AA0-85B5-15EE0E155C78}" srcOrd="0" destOrd="0" parTransId="{4FEF3451-89AA-452F-8B5C-3A9A5C750D3C}" sibTransId="{FF98BD2D-5D89-4DED-A978-63936D3E2D58}"/>
    <dgm:cxn modelId="{281E5F77-60CF-4F4A-927F-FAEE3740195F}" srcId="{A8CAA773-B25D-4AA0-85B5-15EE0E155C78}" destId="{70DE1C69-91C8-4C7D-97C2-2E1241B3503D}" srcOrd="1" destOrd="0" parTransId="{A6460C6E-A551-4F95-9702-787667A9E065}" sibTransId="{2E915992-3714-4689-A83D-12469D0DB836}"/>
    <dgm:cxn modelId="{F21A147A-681F-46A2-B028-1B19B742942A}" type="presOf" srcId="{D915159D-171A-437E-A5DA-C3D3C6E495DB}" destId="{D6A3D34D-A237-43AE-8E2F-997847B65F47}" srcOrd="0" destOrd="0" presId="urn:microsoft.com/office/officeart/2005/8/layout/list1"/>
    <dgm:cxn modelId="{8C91BB86-B405-4DAE-9559-0C166261CD6D}" type="presOf" srcId="{A8CAA773-B25D-4AA0-85B5-15EE0E155C78}" destId="{27855F27-5A3C-4842-BC4C-FA71730C63F9}" srcOrd="1" destOrd="0" presId="urn:microsoft.com/office/officeart/2005/8/layout/list1"/>
    <dgm:cxn modelId="{25468495-F01F-40B3-B201-946B6E0FCC60}" srcId="{A8CAA773-B25D-4AA0-85B5-15EE0E155C78}" destId="{C1C8A3E4-389A-499A-8B96-A0EECE28F360}" srcOrd="5" destOrd="0" parTransId="{49F05528-5A34-4C45-89B1-ABACD4D99C4D}" sibTransId="{B6427967-BA5A-4230-8E96-F3AD74BF8415}"/>
    <dgm:cxn modelId="{6BBF93AE-A5F0-4787-A474-AD9E04E16941}" srcId="{A8CAA773-B25D-4AA0-85B5-15EE0E155C78}" destId="{C65218C2-7A3E-4F6A-ACC5-E78B9D568C91}" srcOrd="2" destOrd="0" parTransId="{9AB4D1D9-1DE4-4E17-96D0-DEBF9D9D1FBB}" sibTransId="{BFB2FE03-F0CB-49AC-8AC7-52A3DF79A099}"/>
    <dgm:cxn modelId="{2813F8B6-C13B-4728-B736-03B60D9DA61B}" type="presOf" srcId="{E3B547D5-40C9-47CA-AFE9-803AAC807F7A}" destId="{CA1B35DF-B095-4851-B50A-B5F590E353D0}" srcOrd="0" destOrd="6" presId="urn:microsoft.com/office/officeart/2005/8/layout/list1"/>
    <dgm:cxn modelId="{E8D4FACF-77B4-4F1A-9E60-73E8C1464C0F}" type="presOf" srcId="{47BFB46E-014B-464A-9579-6FB796962DDD}" destId="{CA1B35DF-B095-4851-B50A-B5F590E353D0}" srcOrd="0" destOrd="9" presId="urn:microsoft.com/office/officeart/2005/8/layout/list1"/>
    <dgm:cxn modelId="{B3AE8AF4-599F-49BC-8C9E-ECF91CF589A2}" type="presOf" srcId="{70DE1C69-91C8-4C7D-97C2-2E1241B3503D}" destId="{CA1B35DF-B095-4851-B50A-B5F590E353D0}" srcOrd="0" destOrd="1" presId="urn:microsoft.com/office/officeart/2005/8/layout/list1"/>
    <dgm:cxn modelId="{73585AF7-09D1-4C14-B1AC-68485684DCE0}" type="presOf" srcId="{0BE962A1-B8DF-48CB-A814-C7107A4F7E8B}" destId="{CA1B35DF-B095-4851-B50A-B5F590E353D0}" srcOrd="0" destOrd="3" presId="urn:microsoft.com/office/officeart/2005/8/layout/list1"/>
    <dgm:cxn modelId="{711298A5-06C3-4409-BA54-1F2221C2C418}" type="presParOf" srcId="{D6A3D34D-A237-43AE-8E2F-997847B65F47}" destId="{6C2D2B6F-79EE-46F6-A871-73C11C89CA14}" srcOrd="0" destOrd="0" presId="urn:microsoft.com/office/officeart/2005/8/layout/list1"/>
    <dgm:cxn modelId="{D2EB7E00-BAAB-4714-A878-D9DC2E96D4E9}" type="presParOf" srcId="{6C2D2B6F-79EE-46F6-A871-73C11C89CA14}" destId="{13D72F62-9E27-45DE-BE23-1B9DCD04AF87}" srcOrd="0" destOrd="0" presId="urn:microsoft.com/office/officeart/2005/8/layout/list1"/>
    <dgm:cxn modelId="{D7308E2C-05CF-4602-B021-30A3D89A2C7D}" type="presParOf" srcId="{6C2D2B6F-79EE-46F6-A871-73C11C89CA14}" destId="{27855F27-5A3C-4842-BC4C-FA71730C63F9}" srcOrd="1" destOrd="0" presId="urn:microsoft.com/office/officeart/2005/8/layout/list1"/>
    <dgm:cxn modelId="{03151723-2300-4C75-B127-8325C0C70C01}" type="presParOf" srcId="{D6A3D34D-A237-43AE-8E2F-997847B65F47}" destId="{AEF0191B-4250-49D6-B0E1-9FB107E8E2FD}" srcOrd="1" destOrd="0" presId="urn:microsoft.com/office/officeart/2005/8/layout/list1"/>
    <dgm:cxn modelId="{4945EAA1-61BC-415E-BD85-06F75597168C}" type="presParOf" srcId="{D6A3D34D-A237-43AE-8E2F-997847B65F47}" destId="{CA1B35DF-B095-4851-B50A-B5F590E353D0}" srcOrd="2" destOrd="0" presId="urn:microsoft.com/office/officeart/2005/8/layout/list1"/>
  </dgm:cxnLst>
  <dgm:bg>
    <a:solidFill>
      <a:schemeClr val="accent1">
        <a:lumMod val="40000"/>
        <a:lumOff val="6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458068-BD35-4F4A-B945-6F252583734C}" type="doc">
      <dgm:prSet loTypeId="urn:microsoft.com/office/officeart/2005/8/layout/hChevron3" loCatId="process" qsTypeId="urn:microsoft.com/office/officeart/2005/8/quickstyle/simple3" qsCatId="simple" csTypeId="urn:microsoft.com/office/officeart/2005/8/colors/accent1_2" csCatId="accent1" phldr="1"/>
      <dgm:spPr/>
    </dgm:pt>
    <dgm:pt modelId="{928F1915-081A-4D38-AFCE-46F68E172819}">
      <dgm:prSet phldrT="[Text]"/>
      <dgm:spPr/>
      <dgm:t>
        <a:bodyPr/>
        <a:lstStyle/>
        <a:p>
          <a:r>
            <a:rPr lang="en-US" b="1" dirty="0"/>
            <a:t>Ease of Living</a:t>
          </a:r>
          <a:endParaRPr lang="en-US" dirty="0"/>
        </a:p>
      </dgm:t>
    </dgm:pt>
    <dgm:pt modelId="{EDA07CC5-1A49-44FF-A6F1-0745DF55D867}" type="parTrans" cxnId="{39109D16-224E-4CB5-AFF6-0B0034112653}">
      <dgm:prSet/>
      <dgm:spPr/>
      <dgm:t>
        <a:bodyPr/>
        <a:lstStyle/>
        <a:p>
          <a:endParaRPr lang="en-US"/>
        </a:p>
      </dgm:t>
    </dgm:pt>
    <dgm:pt modelId="{6167498A-DFD9-496A-878B-C8251638C7E7}" type="sibTrans" cxnId="{39109D16-224E-4CB5-AFF6-0B0034112653}">
      <dgm:prSet/>
      <dgm:spPr/>
      <dgm:t>
        <a:bodyPr/>
        <a:lstStyle/>
        <a:p>
          <a:endParaRPr lang="en-US"/>
        </a:p>
      </dgm:t>
    </dgm:pt>
    <dgm:pt modelId="{EF2FEE45-5845-4DF3-A10E-C3FA67613543}">
      <dgm:prSet phldrT="[Text]"/>
      <dgm:spPr/>
      <dgm:t>
        <a:bodyPr/>
        <a:lstStyle/>
        <a:p>
          <a:r>
            <a:rPr lang="en-US" b="1" dirty="0"/>
            <a:t>Economic-ability</a:t>
          </a:r>
          <a:endParaRPr lang="en-US" dirty="0"/>
        </a:p>
      </dgm:t>
    </dgm:pt>
    <dgm:pt modelId="{4CEB188E-A952-4824-AFFC-577FF1481E46}" type="parTrans" cxnId="{4DD64178-6A3C-4AE4-8207-F76737BBCB3D}">
      <dgm:prSet/>
      <dgm:spPr/>
      <dgm:t>
        <a:bodyPr/>
        <a:lstStyle/>
        <a:p>
          <a:endParaRPr lang="en-US"/>
        </a:p>
      </dgm:t>
    </dgm:pt>
    <dgm:pt modelId="{A18B0D61-CFEF-48A2-A11B-6B19F0B6BEC7}" type="sibTrans" cxnId="{4DD64178-6A3C-4AE4-8207-F76737BBCB3D}">
      <dgm:prSet/>
      <dgm:spPr/>
      <dgm:t>
        <a:bodyPr/>
        <a:lstStyle/>
        <a:p>
          <a:endParaRPr lang="en-US"/>
        </a:p>
      </dgm:t>
    </dgm:pt>
    <dgm:pt modelId="{779EE3C7-EBDC-4CB2-AD76-B5FDF8669633}">
      <dgm:prSet phldrT="[Text]"/>
      <dgm:spPr/>
      <dgm:t>
        <a:bodyPr/>
        <a:lstStyle/>
        <a:p>
          <a:r>
            <a:rPr lang="en-US" b="1" dirty="0"/>
            <a:t>Sustainability</a:t>
          </a:r>
          <a:endParaRPr lang="en-US" dirty="0"/>
        </a:p>
      </dgm:t>
    </dgm:pt>
    <dgm:pt modelId="{01629627-0C20-4919-BAEB-015DABBDAF83}" type="parTrans" cxnId="{26B16E30-0035-43AF-89B1-497B3BDAECAD}">
      <dgm:prSet/>
      <dgm:spPr/>
      <dgm:t>
        <a:bodyPr/>
        <a:lstStyle/>
        <a:p>
          <a:endParaRPr lang="en-US"/>
        </a:p>
      </dgm:t>
    </dgm:pt>
    <dgm:pt modelId="{BB646B40-64D2-42B8-8EB5-CE61BB551BFF}" type="sibTrans" cxnId="{26B16E30-0035-43AF-89B1-497B3BDAECAD}">
      <dgm:prSet/>
      <dgm:spPr/>
      <dgm:t>
        <a:bodyPr/>
        <a:lstStyle/>
        <a:p>
          <a:endParaRPr lang="en-US"/>
        </a:p>
      </dgm:t>
    </dgm:pt>
    <dgm:pt modelId="{32F2BF4E-6721-401D-8321-D988BD48BF5A}" type="pres">
      <dgm:prSet presAssocID="{B0458068-BD35-4F4A-B945-6F252583734C}" presName="Name0" presStyleCnt="0">
        <dgm:presLayoutVars>
          <dgm:dir/>
          <dgm:resizeHandles val="exact"/>
        </dgm:presLayoutVars>
      </dgm:prSet>
      <dgm:spPr/>
    </dgm:pt>
    <dgm:pt modelId="{AC51536D-AD9D-4B74-9843-9A046A81A22E}" type="pres">
      <dgm:prSet presAssocID="{928F1915-081A-4D38-AFCE-46F68E172819}" presName="parTxOnly" presStyleLbl="node1" presStyleIdx="0" presStyleCnt="3">
        <dgm:presLayoutVars>
          <dgm:bulletEnabled val="1"/>
        </dgm:presLayoutVars>
      </dgm:prSet>
      <dgm:spPr/>
    </dgm:pt>
    <dgm:pt modelId="{BC0D52FE-D91A-4E00-B88F-6BE7B09721D3}" type="pres">
      <dgm:prSet presAssocID="{6167498A-DFD9-496A-878B-C8251638C7E7}" presName="parSpace" presStyleCnt="0"/>
      <dgm:spPr/>
    </dgm:pt>
    <dgm:pt modelId="{D789A34B-A0AA-4AF3-A2A1-8971B237EC8E}" type="pres">
      <dgm:prSet presAssocID="{EF2FEE45-5845-4DF3-A10E-C3FA67613543}" presName="parTxOnly" presStyleLbl="node1" presStyleIdx="1" presStyleCnt="3">
        <dgm:presLayoutVars>
          <dgm:bulletEnabled val="1"/>
        </dgm:presLayoutVars>
      </dgm:prSet>
      <dgm:spPr/>
    </dgm:pt>
    <dgm:pt modelId="{20D73B5C-5BAD-4053-B52A-1BD3E78068DC}" type="pres">
      <dgm:prSet presAssocID="{A18B0D61-CFEF-48A2-A11B-6B19F0B6BEC7}" presName="parSpace" presStyleCnt="0"/>
      <dgm:spPr/>
    </dgm:pt>
    <dgm:pt modelId="{EF1C1776-45AA-402A-8BD6-12530F60300F}" type="pres">
      <dgm:prSet presAssocID="{779EE3C7-EBDC-4CB2-AD76-B5FDF8669633}" presName="parTxOnly" presStyleLbl="node1" presStyleIdx="2" presStyleCnt="3">
        <dgm:presLayoutVars>
          <dgm:bulletEnabled val="1"/>
        </dgm:presLayoutVars>
      </dgm:prSet>
      <dgm:spPr/>
    </dgm:pt>
  </dgm:ptLst>
  <dgm:cxnLst>
    <dgm:cxn modelId="{5658E310-C1B3-40CF-A06B-83DED909A6FF}" type="presOf" srcId="{779EE3C7-EBDC-4CB2-AD76-B5FDF8669633}" destId="{EF1C1776-45AA-402A-8BD6-12530F60300F}" srcOrd="0" destOrd="0" presId="urn:microsoft.com/office/officeart/2005/8/layout/hChevron3"/>
    <dgm:cxn modelId="{39109D16-224E-4CB5-AFF6-0B0034112653}" srcId="{B0458068-BD35-4F4A-B945-6F252583734C}" destId="{928F1915-081A-4D38-AFCE-46F68E172819}" srcOrd="0" destOrd="0" parTransId="{EDA07CC5-1A49-44FF-A6F1-0745DF55D867}" sibTransId="{6167498A-DFD9-496A-878B-C8251638C7E7}"/>
    <dgm:cxn modelId="{26B16E30-0035-43AF-89B1-497B3BDAECAD}" srcId="{B0458068-BD35-4F4A-B945-6F252583734C}" destId="{779EE3C7-EBDC-4CB2-AD76-B5FDF8669633}" srcOrd="2" destOrd="0" parTransId="{01629627-0C20-4919-BAEB-015DABBDAF83}" sibTransId="{BB646B40-64D2-42B8-8EB5-CE61BB551BFF}"/>
    <dgm:cxn modelId="{90C52B5F-6607-4308-B580-53A150EF657F}" type="presOf" srcId="{EF2FEE45-5845-4DF3-A10E-C3FA67613543}" destId="{D789A34B-A0AA-4AF3-A2A1-8971B237EC8E}" srcOrd="0" destOrd="0" presId="urn:microsoft.com/office/officeart/2005/8/layout/hChevron3"/>
    <dgm:cxn modelId="{4DD64178-6A3C-4AE4-8207-F76737BBCB3D}" srcId="{B0458068-BD35-4F4A-B945-6F252583734C}" destId="{EF2FEE45-5845-4DF3-A10E-C3FA67613543}" srcOrd="1" destOrd="0" parTransId="{4CEB188E-A952-4824-AFFC-577FF1481E46}" sibTransId="{A18B0D61-CFEF-48A2-A11B-6B19F0B6BEC7}"/>
    <dgm:cxn modelId="{89B04D89-BA18-4889-8C55-BEA05C894321}" type="presOf" srcId="{928F1915-081A-4D38-AFCE-46F68E172819}" destId="{AC51536D-AD9D-4B74-9843-9A046A81A22E}" srcOrd="0" destOrd="0" presId="urn:microsoft.com/office/officeart/2005/8/layout/hChevron3"/>
    <dgm:cxn modelId="{C7FE8FF0-9D37-4F53-B232-826227308F1C}" type="presOf" srcId="{B0458068-BD35-4F4A-B945-6F252583734C}" destId="{32F2BF4E-6721-401D-8321-D988BD48BF5A}" srcOrd="0" destOrd="0" presId="urn:microsoft.com/office/officeart/2005/8/layout/hChevron3"/>
    <dgm:cxn modelId="{DE554989-5C23-4C11-82B8-593800C5085A}" type="presParOf" srcId="{32F2BF4E-6721-401D-8321-D988BD48BF5A}" destId="{AC51536D-AD9D-4B74-9843-9A046A81A22E}" srcOrd="0" destOrd="0" presId="urn:microsoft.com/office/officeart/2005/8/layout/hChevron3"/>
    <dgm:cxn modelId="{ED7E6591-938A-47B6-940E-1DBB5269A9B8}" type="presParOf" srcId="{32F2BF4E-6721-401D-8321-D988BD48BF5A}" destId="{BC0D52FE-D91A-4E00-B88F-6BE7B09721D3}" srcOrd="1" destOrd="0" presId="urn:microsoft.com/office/officeart/2005/8/layout/hChevron3"/>
    <dgm:cxn modelId="{11606F79-3117-415A-BE07-C9A64D752F6A}" type="presParOf" srcId="{32F2BF4E-6721-401D-8321-D988BD48BF5A}" destId="{D789A34B-A0AA-4AF3-A2A1-8971B237EC8E}" srcOrd="2" destOrd="0" presId="urn:microsoft.com/office/officeart/2005/8/layout/hChevron3"/>
    <dgm:cxn modelId="{5BC27B58-64BE-4C86-A098-EE71EF123E7D}" type="presParOf" srcId="{32F2BF4E-6721-401D-8321-D988BD48BF5A}" destId="{20D73B5C-5BAD-4053-B52A-1BD3E78068DC}" srcOrd="3" destOrd="0" presId="urn:microsoft.com/office/officeart/2005/8/layout/hChevron3"/>
    <dgm:cxn modelId="{BC6334DD-328F-4DF4-83AB-BF1AE25F07D7}" type="presParOf" srcId="{32F2BF4E-6721-401D-8321-D988BD48BF5A}" destId="{EF1C1776-45AA-402A-8BD6-12530F60300F}"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B7A30B6-F51C-43CF-8954-7FEE753F70C3}" type="doc">
      <dgm:prSet loTypeId="urn:microsoft.com/office/officeart/2005/8/layout/process4" loCatId="process" qsTypeId="urn:microsoft.com/office/officeart/2005/8/quickstyle/3d3" qsCatId="3D" csTypeId="urn:microsoft.com/office/officeart/2005/8/colors/accent0_3" csCatId="mainScheme" phldr="1"/>
      <dgm:spPr/>
      <dgm:t>
        <a:bodyPr/>
        <a:lstStyle/>
        <a:p>
          <a:endParaRPr lang="en-GB"/>
        </a:p>
      </dgm:t>
    </dgm:pt>
    <dgm:pt modelId="{3B99D0C1-32C9-4084-9156-2B4C1827761A}">
      <dgm:prSet phldrT="[Text]"/>
      <dgm:spPr>
        <a:solidFill>
          <a:srgbClr val="379BB3"/>
        </a:solidFill>
      </dgm:spPr>
      <dgm:t>
        <a:bodyPr/>
        <a:lstStyle/>
        <a:p>
          <a:r>
            <a:rPr lang="en-US" dirty="0"/>
            <a:t>MISSION PROJECTS</a:t>
          </a:r>
          <a:endParaRPr lang="en-GB" dirty="0"/>
        </a:p>
      </dgm:t>
    </dgm:pt>
    <dgm:pt modelId="{F7ADD6A3-FD58-4CEB-A807-631A9CB5D1E9}" type="parTrans" cxnId="{92BC7344-0668-4539-A83B-27C2341390E2}">
      <dgm:prSet/>
      <dgm:spPr/>
      <dgm:t>
        <a:bodyPr/>
        <a:lstStyle/>
        <a:p>
          <a:endParaRPr lang="en-GB"/>
        </a:p>
      </dgm:t>
    </dgm:pt>
    <dgm:pt modelId="{B16F98A9-7A8A-493D-B921-282224A5DE44}" type="sibTrans" cxnId="{92BC7344-0668-4539-A83B-27C2341390E2}">
      <dgm:prSet/>
      <dgm:spPr/>
      <dgm:t>
        <a:bodyPr/>
        <a:lstStyle/>
        <a:p>
          <a:endParaRPr lang="en-GB"/>
        </a:p>
      </dgm:t>
    </dgm:pt>
    <dgm:pt modelId="{37C7875B-892D-41E8-8DA1-30685A54C81E}">
      <dgm:prSet phldrT="[Text]"/>
      <dgm:spPr/>
      <dgm:t>
        <a:bodyPr/>
        <a:lstStyle/>
        <a:p>
          <a:r>
            <a:rPr lang="en-US" dirty="0"/>
            <a:t>QUALITY OF LIFE</a:t>
          </a:r>
          <a:endParaRPr lang="en-GB" dirty="0"/>
        </a:p>
      </dgm:t>
    </dgm:pt>
    <dgm:pt modelId="{029F99B3-B4B8-4A64-A9ED-4A92530F7826}" type="parTrans" cxnId="{008DE763-E5B2-409A-9C7C-81E39B78EAC1}">
      <dgm:prSet/>
      <dgm:spPr/>
      <dgm:t>
        <a:bodyPr/>
        <a:lstStyle/>
        <a:p>
          <a:endParaRPr lang="en-GB"/>
        </a:p>
      </dgm:t>
    </dgm:pt>
    <dgm:pt modelId="{E7978FCB-F3B1-4738-BF05-CF1F37B594E2}" type="sibTrans" cxnId="{008DE763-E5B2-409A-9C7C-81E39B78EAC1}">
      <dgm:prSet/>
      <dgm:spPr/>
      <dgm:t>
        <a:bodyPr/>
        <a:lstStyle/>
        <a:p>
          <a:endParaRPr lang="en-GB"/>
        </a:p>
      </dgm:t>
    </dgm:pt>
    <dgm:pt modelId="{AE259B7A-FEFD-4FE0-B01F-327B60DD8F9B}">
      <dgm:prSet phldrT="[Text]"/>
      <dgm:spPr/>
      <dgm:t>
        <a:bodyPr/>
        <a:lstStyle/>
        <a:p>
          <a:r>
            <a:rPr lang="en-US" dirty="0"/>
            <a:t>ECONOMIC ABILITY</a:t>
          </a:r>
          <a:endParaRPr lang="en-GB" dirty="0"/>
        </a:p>
      </dgm:t>
    </dgm:pt>
    <dgm:pt modelId="{BBE74020-C45B-48B7-9B9D-DE51FC510726}" type="parTrans" cxnId="{0C53C834-EA27-459B-BA41-996C1EC3BEA3}">
      <dgm:prSet/>
      <dgm:spPr/>
      <dgm:t>
        <a:bodyPr/>
        <a:lstStyle/>
        <a:p>
          <a:endParaRPr lang="en-GB"/>
        </a:p>
      </dgm:t>
    </dgm:pt>
    <dgm:pt modelId="{142D75FA-AA48-4385-B3D4-BAE5F0B7A3A8}" type="sibTrans" cxnId="{0C53C834-EA27-459B-BA41-996C1EC3BEA3}">
      <dgm:prSet/>
      <dgm:spPr/>
      <dgm:t>
        <a:bodyPr/>
        <a:lstStyle/>
        <a:p>
          <a:endParaRPr lang="en-GB"/>
        </a:p>
      </dgm:t>
    </dgm:pt>
    <dgm:pt modelId="{ECEB3C3C-C391-4FAC-9447-5EACF6F52EC4}">
      <dgm:prSet phldrT="[Text]"/>
      <dgm:spPr>
        <a:solidFill>
          <a:srgbClr val="113037"/>
        </a:solidFill>
      </dgm:spPr>
      <dgm:t>
        <a:bodyPr/>
        <a:lstStyle/>
        <a:p>
          <a:r>
            <a:rPr lang="en-US" b="1" dirty="0"/>
            <a:t>SMART CITIES</a:t>
          </a:r>
          <a:endParaRPr lang="en-GB" b="1" dirty="0"/>
        </a:p>
      </dgm:t>
    </dgm:pt>
    <dgm:pt modelId="{CBA8270B-54B2-4A5D-BCB6-7C6E9BD70583}" type="parTrans" cxnId="{1FE8D01C-D4AE-476C-8C91-C33EC9931624}">
      <dgm:prSet/>
      <dgm:spPr/>
      <dgm:t>
        <a:bodyPr/>
        <a:lstStyle/>
        <a:p>
          <a:endParaRPr lang="en-GB"/>
        </a:p>
      </dgm:t>
    </dgm:pt>
    <dgm:pt modelId="{47376D1F-ECF8-4E9A-A8EF-C0B6DE886B60}" type="sibTrans" cxnId="{1FE8D01C-D4AE-476C-8C91-C33EC9931624}">
      <dgm:prSet/>
      <dgm:spPr/>
      <dgm:t>
        <a:bodyPr/>
        <a:lstStyle/>
        <a:p>
          <a:endParaRPr lang="en-GB"/>
        </a:p>
      </dgm:t>
    </dgm:pt>
    <dgm:pt modelId="{0D59A9F2-E189-45D8-B058-C00B1C3607F3}">
      <dgm:prSet phldrT="[Text]"/>
      <dgm:spPr/>
      <dgm:t>
        <a:bodyPr/>
        <a:lstStyle/>
        <a:p>
          <a:r>
            <a:rPr lang="en-US" dirty="0"/>
            <a:t>SERVICES</a:t>
          </a:r>
          <a:endParaRPr lang="en-GB" dirty="0"/>
        </a:p>
      </dgm:t>
    </dgm:pt>
    <dgm:pt modelId="{D970483B-16AE-49F2-A0D0-0861ED0FDE69}" type="parTrans" cxnId="{410B6E80-3C5B-4D62-8B42-A3193401AF33}">
      <dgm:prSet/>
      <dgm:spPr/>
      <dgm:t>
        <a:bodyPr/>
        <a:lstStyle/>
        <a:p>
          <a:endParaRPr lang="en-GB"/>
        </a:p>
      </dgm:t>
    </dgm:pt>
    <dgm:pt modelId="{902A68FD-740B-4524-92E6-65BD768922AD}" type="sibTrans" cxnId="{410B6E80-3C5B-4D62-8B42-A3193401AF33}">
      <dgm:prSet/>
      <dgm:spPr/>
      <dgm:t>
        <a:bodyPr/>
        <a:lstStyle/>
        <a:p>
          <a:endParaRPr lang="en-GB"/>
        </a:p>
      </dgm:t>
    </dgm:pt>
    <dgm:pt modelId="{CAD262FE-C072-438C-AE75-93CB4802D97E}">
      <dgm:prSet phldrT="[Text]"/>
      <dgm:spPr/>
      <dgm:t>
        <a:bodyPr/>
        <a:lstStyle/>
        <a:p>
          <a:r>
            <a:rPr lang="en-US" dirty="0"/>
            <a:t>FINANACE</a:t>
          </a:r>
          <a:endParaRPr lang="en-GB" dirty="0"/>
        </a:p>
      </dgm:t>
    </dgm:pt>
    <dgm:pt modelId="{A75DD5EE-5264-4EAA-A370-371A0510D8F4}" type="parTrans" cxnId="{C19CF7D0-AD90-434C-8144-2DFC6E89E2B8}">
      <dgm:prSet/>
      <dgm:spPr/>
      <dgm:t>
        <a:bodyPr/>
        <a:lstStyle/>
        <a:p>
          <a:endParaRPr lang="en-GB"/>
        </a:p>
      </dgm:t>
    </dgm:pt>
    <dgm:pt modelId="{631894CA-4EE4-4F0C-95C5-73ADB2860DD9}" type="sibTrans" cxnId="{C19CF7D0-AD90-434C-8144-2DFC6E89E2B8}">
      <dgm:prSet/>
      <dgm:spPr/>
      <dgm:t>
        <a:bodyPr/>
        <a:lstStyle/>
        <a:p>
          <a:endParaRPr lang="en-GB"/>
        </a:p>
      </dgm:t>
    </dgm:pt>
    <dgm:pt modelId="{9D42FF5A-680C-4666-8DBD-59684C009FAB}">
      <dgm:prSet phldrT="[Text]" custT="1"/>
      <dgm:spPr>
        <a:solidFill>
          <a:srgbClr val="FCB859"/>
        </a:solidFill>
      </dgm:spPr>
      <dgm:t>
        <a:bodyPr/>
        <a:lstStyle/>
        <a:p>
          <a:r>
            <a:rPr lang="en-US" sz="5400" b="1" dirty="0"/>
            <a:t>DATA</a:t>
          </a:r>
          <a:endParaRPr lang="en-GB" sz="5400" b="1" dirty="0"/>
        </a:p>
      </dgm:t>
    </dgm:pt>
    <dgm:pt modelId="{F46F147D-3A92-4B0D-9139-4E8D4C855913}" type="parTrans" cxnId="{CACE02D6-E6AD-46AC-996F-B29EBA0EE382}">
      <dgm:prSet/>
      <dgm:spPr/>
      <dgm:t>
        <a:bodyPr/>
        <a:lstStyle/>
        <a:p>
          <a:endParaRPr lang="en-GB"/>
        </a:p>
      </dgm:t>
    </dgm:pt>
    <dgm:pt modelId="{46BCBEED-86A2-432D-8403-A1E072F0F4F7}" type="sibTrans" cxnId="{CACE02D6-E6AD-46AC-996F-B29EBA0EE382}">
      <dgm:prSet/>
      <dgm:spPr/>
      <dgm:t>
        <a:bodyPr/>
        <a:lstStyle/>
        <a:p>
          <a:endParaRPr lang="en-GB"/>
        </a:p>
      </dgm:t>
    </dgm:pt>
    <dgm:pt modelId="{EC4B83EE-94B8-44DB-9245-11C86779721F}">
      <dgm:prSet/>
      <dgm:spPr/>
      <dgm:t>
        <a:bodyPr/>
        <a:lstStyle/>
        <a:p>
          <a:r>
            <a:rPr lang="en-US" dirty="0"/>
            <a:t>SUSTAINABILITY</a:t>
          </a:r>
          <a:endParaRPr lang="en-GB" dirty="0"/>
        </a:p>
      </dgm:t>
    </dgm:pt>
    <dgm:pt modelId="{2955732C-D45E-423D-A4F0-682F1F9CFE39}" type="parTrans" cxnId="{B28A4A13-912E-49AC-954E-C6B30C9A7ECD}">
      <dgm:prSet/>
      <dgm:spPr/>
      <dgm:t>
        <a:bodyPr/>
        <a:lstStyle/>
        <a:p>
          <a:endParaRPr lang="en-GB"/>
        </a:p>
      </dgm:t>
    </dgm:pt>
    <dgm:pt modelId="{1F2D00A3-9C71-4836-A6B6-F634A450692E}" type="sibTrans" cxnId="{B28A4A13-912E-49AC-954E-C6B30C9A7ECD}">
      <dgm:prSet/>
      <dgm:spPr/>
      <dgm:t>
        <a:bodyPr/>
        <a:lstStyle/>
        <a:p>
          <a:endParaRPr lang="en-GB"/>
        </a:p>
      </dgm:t>
    </dgm:pt>
    <dgm:pt modelId="{8D033B50-7FC3-4343-87B4-798941D0C06C}">
      <dgm:prSet/>
      <dgm:spPr/>
      <dgm:t>
        <a:bodyPr/>
        <a:lstStyle/>
        <a:p>
          <a:r>
            <a:rPr lang="en-US" dirty="0"/>
            <a:t>PLANNING</a:t>
          </a:r>
          <a:endParaRPr lang="en-GB" dirty="0"/>
        </a:p>
      </dgm:t>
    </dgm:pt>
    <dgm:pt modelId="{28725CC6-216E-429A-8D91-4E9475FCD518}" type="parTrans" cxnId="{2B13FFCE-68BA-4EFA-8D48-4C66FBCE94B0}">
      <dgm:prSet/>
      <dgm:spPr/>
      <dgm:t>
        <a:bodyPr/>
        <a:lstStyle/>
        <a:p>
          <a:endParaRPr lang="en-GB"/>
        </a:p>
      </dgm:t>
    </dgm:pt>
    <dgm:pt modelId="{ECC715DC-6B1D-4971-A629-B0EA08C020AF}" type="sibTrans" cxnId="{2B13FFCE-68BA-4EFA-8D48-4C66FBCE94B0}">
      <dgm:prSet/>
      <dgm:spPr/>
      <dgm:t>
        <a:bodyPr/>
        <a:lstStyle/>
        <a:p>
          <a:endParaRPr lang="en-GB"/>
        </a:p>
      </dgm:t>
    </dgm:pt>
    <dgm:pt modelId="{12F646AB-2EC8-4D30-B056-1ACEC21E6BB8}">
      <dgm:prSet/>
      <dgm:spPr/>
      <dgm:t>
        <a:bodyPr/>
        <a:lstStyle/>
        <a:p>
          <a:r>
            <a:rPr lang="en-US" dirty="0"/>
            <a:t>TECHNOLOGY</a:t>
          </a:r>
          <a:endParaRPr lang="en-GB" dirty="0"/>
        </a:p>
      </dgm:t>
    </dgm:pt>
    <dgm:pt modelId="{624AE7C8-A09D-4A2C-8F43-17C9A7B881D7}" type="parTrans" cxnId="{623CDF5C-E493-4D1E-B59E-8AB343B65059}">
      <dgm:prSet/>
      <dgm:spPr/>
      <dgm:t>
        <a:bodyPr/>
        <a:lstStyle/>
        <a:p>
          <a:endParaRPr lang="en-GB"/>
        </a:p>
      </dgm:t>
    </dgm:pt>
    <dgm:pt modelId="{7ECFC521-922A-4BB9-AA74-38AC23A7E412}" type="sibTrans" cxnId="{623CDF5C-E493-4D1E-B59E-8AB343B65059}">
      <dgm:prSet/>
      <dgm:spPr/>
      <dgm:t>
        <a:bodyPr/>
        <a:lstStyle/>
        <a:p>
          <a:endParaRPr lang="en-GB"/>
        </a:p>
      </dgm:t>
    </dgm:pt>
    <dgm:pt modelId="{C9AE2E49-3823-43FE-B9BC-BD312D3E5D7B}">
      <dgm:prSet/>
      <dgm:spPr/>
      <dgm:t>
        <a:bodyPr/>
        <a:lstStyle/>
        <a:p>
          <a:r>
            <a:rPr lang="en-US" dirty="0"/>
            <a:t>GOVERNANCE</a:t>
          </a:r>
          <a:endParaRPr lang="en-GB" dirty="0"/>
        </a:p>
      </dgm:t>
    </dgm:pt>
    <dgm:pt modelId="{CE3170FB-67B3-4633-8FEE-82D4E9CF7851}" type="parTrans" cxnId="{4617AF86-5019-4ABC-AD8D-7EF3A0C125DC}">
      <dgm:prSet/>
      <dgm:spPr/>
      <dgm:t>
        <a:bodyPr/>
        <a:lstStyle/>
        <a:p>
          <a:endParaRPr lang="en-GB"/>
        </a:p>
      </dgm:t>
    </dgm:pt>
    <dgm:pt modelId="{4A7820A5-018D-4FF0-9271-9BF4310A7BFB}" type="sibTrans" cxnId="{4617AF86-5019-4ABC-AD8D-7EF3A0C125DC}">
      <dgm:prSet/>
      <dgm:spPr/>
      <dgm:t>
        <a:bodyPr/>
        <a:lstStyle/>
        <a:p>
          <a:endParaRPr lang="en-GB"/>
        </a:p>
      </dgm:t>
    </dgm:pt>
    <dgm:pt modelId="{E623E575-E69E-47D9-93F2-9092CDD93104}" type="pres">
      <dgm:prSet presAssocID="{FB7A30B6-F51C-43CF-8954-7FEE753F70C3}" presName="Name0" presStyleCnt="0">
        <dgm:presLayoutVars>
          <dgm:dir/>
          <dgm:animLvl val="lvl"/>
          <dgm:resizeHandles val="exact"/>
        </dgm:presLayoutVars>
      </dgm:prSet>
      <dgm:spPr/>
    </dgm:pt>
    <dgm:pt modelId="{DB99D6B0-1ED1-461A-AC3F-26F43BA4ED11}" type="pres">
      <dgm:prSet presAssocID="{9D42FF5A-680C-4666-8DBD-59684C009FAB}" presName="boxAndChildren" presStyleCnt="0"/>
      <dgm:spPr/>
    </dgm:pt>
    <dgm:pt modelId="{2173A7E6-755B-41FD-8ED1-A0D6D0532EEA}" type="pres">
      <dgm:prSet presAssocID="{9D42FF5A-680C-4666-8DBD-59684C009FAB}" presName="parentTextBox" presStyleLbl="node1" presStyleIdx="0" presStyleCnt="3" custScaleX="33785" custScaleY="57078"/>
      <dgm:spPr/>
    </dgm:pt>
    <dgm:pt modelId="{1FD4A864-A018-4C23-8278-E97E41193DF9}" type="pres">
      <dgm:prSet presAssocID="{47376D1F-ECF8-4E9A-A8EF-C0B6DE886B60}" presName="sp" presStyleCnt="0"/>
      <dgm:spPr/>
    </dgm:pt>
    <dgm:pt modelId="{9549723E-4548-4AA0-9C72-6F913D6C5CD4}" type="pres">
      <dgm:prSet presAssocID="{ECEB3C3C-C391-4FAC-9447-5EACF6F52EC4}" presName="arrowAndChildren" presStyleCnt="0"/>
      <dgm:spPr/>
    </dgm:pt>
    <dgm:pt modelId="{20AD8F35-9542-47D3-8FA0-0800DF345F77}" type="pres">
      <dgm:prSet presAssocID="{ECEB3C3C-C391-4FAC-9447-5EACF6F52EC4}" presName="parentTextArrow" presStyleLbl="node1" presStyleIdx="0" presStyleCnt="3"/>
      <dgm:spPr/>
    </dgm:pt>
    <dgm:pt modelId="{004E27C2-9DD9-4D30-BDC7-BA7DE7BF67DE}" type="pres">
      <dgm:prSet presAssocID="{ECEB3C3C-C391-4FAC-9447-5EACF6F52EC4}" presName="arrow" presStyleLbl="node1" presStyleIdx="1" presStyleCnt="3"/>
      <dgm:spPr/>
    </dgm:pt>
    <dgm:pt modelId="{467DA2CF-70B3-48B2-949B-B6B41CAD1C84}" type="pres">
      <dgm:prSet presAssocID="{ECEB3C3C-C391-4FAC-9447-5EACF6F52EC4}" presName="descendantArrow" presStyleCnt="0"/>
      <dgm:spPr/>
    </dgm:pt>
    <dgm:pt modelId="{7B9225DF-337D-49AA-8977-F6E456F4ACA8}" type="pres">
      <dgm:prSet presAssocID="{0D59A9F2-E189-45D8-B058-C00B1C3607F3}" presName="childTextArrow" presStyleLbl="fgAccFollowNode1" presStyleIdx="0" presStyleCnt="8">
        <dgm:presLayoutVars>
          <dgm:bulletEnabled val="1"/>
        </dgm:presLayoutVars>
      </dgm:prSet>
      <dgm:spPr/>
    </dgm:pt>
    <dgm:pt modelId="{1A8DC358-9D64-44CA-B381-EA1D3C0E16F5}" type="pres">
      <dgm:prSet presAssocID="{CAD262FE-C072-438C-AE75-93CB4802D97E}" presName="childTextArrow" presStyleLbl="fgAccFollowNode1" presStyleIdx="1" presStyleCnt="8">
        <dgm:presLayoutVars>
          <dgm:bulletEnabled val="1"/>
        </dgm:presLayoutVars>
      </dgm:prSet>
      <dgm:spPr/>
    </dgm:pt>
    <dgm:pt modelId="{D6069EBC-711F-4434-A83E-1C6AD900CDDD}" type="pres">
      <dgm:prSet presAssocID="{8D033B50-7FC3-4343-87B4-798941D0C06C}" presName="childTextArrow" presStyleLbl="fgAccFollowNode1" presStyleIdx="2" presStyleCnt="8">
        <dgm:presLayoutVars>
          <dgm:bulletEnabled val="1"/>
        </dgm:presLayoutVars>
      </dgm:prSet>
      <dgm:spPr/>
    </dgm:pt>
    <dgm:pt modelId="{B6AC6236-FAD0-4435-9C7C-4E8A7231BA85}" type="pres">
      <dgm:prSet presAssocID="{12F646AB-2EC8-4D30-B056-1ACEC21E6BB8}" presName="childTextArrow" presStyleLbl="fgAccFollowNode1" presStyleIdx="3" presStyleCnt="8">
        <dgm:presLayoutVars>
          <dgm:bulletEnabled val="1"/>
        </dgm:presLayoutVars>
      </dgm:prSet>
      <dgm:spPr/>
    </dgm:pt>
    <dgm:pt modelId="{0F748891-1D87-4D03-8A48-51B989A92510}" type="pres">
      <dgm:prSet presAssocID="{C9AE2E49-3823-43FE-B9BC-BD312D3E5D7B}" presName="childTextArrow" presStyleLbl="fgAccFollowNode1" presStyleIdx="4" presStyleCnt="8">
        <dgm:presLayoutVars>
          <dgm:bulletEnabled val="1"/>
        </dgm:presLayoutVars>
      </dgm:prSet>
      <dgm:spPr/>
    </dgm:pt>
    <dgm:pt modelId="{48DF4730-BE9F-4C8A-A804-1EF4137DCE75}" type="pres">
      <dgm:prSet presAssocID="{B16F98A9-7A8A-493D-B921-282224A5DE44}" presName="sp" presStyleCnt="0"/>
      <dgm:spPr/>
    </dgm:pt>
    <dgm:pt modelId="{C0FCE935-ED0C-4BF2-89F5-B7E9F9D26ED7}" type="pres">
      <dgm:prSet presAssocID="{3B99D0C1-32C9-4084-9156-2B4C1827761A}" presName="arrowAndChildren" presStyleCnt="0"/>
      <dgm:spPr/>
    </dgm:pt>
    <dgm:pt modelId="{228E56D8-7238-46DC-990E-6827AAF6751E}" type="pres">
      <dgm:prSet presAssocID="{3B99D0C1-32C9-4084-9156-2B4C1827761A}" presName="parentTextArrow" presStyleLbl="node1" presStyleIdx="1" presStyleCnt="3"/>
      <dgm:spPr/>
    </dgm:pt>
    <dgm:pt modelId="{E751300A-E192-49FE-9FE1-01C87C0691C7}" type="pres">
      <dgm:prSet presAssocID="{3B99D0C1-32C9-4084-9156-2B4C1827761A}" presName="arrow" presStyleLbl="node1" presStyleIdx="2" presStyleCnt="3"/>
      <dgm:spPr/>
    </dgm:pt>
    <dgm:pt modelId="{95FF3C06-9BD6-483D-A35C-2DB274A9364A}" type="pres">
      <dgm:prSet presAssocID="{3B99D0C1-32C9-4084-9156-2B4C1827761A}" presName="descendantArrow" presStyleCnt="0"/>
      <dgm:spPr/>
    </dgm:pt>
    <dgm:pt modelId="{52077E0A-2719-489D-8390-447EEBD01D83}" type="pres">
      <dgm:prSet presAssocID="{37C7875B-892D-41E8-8DA1-30685A54C81E}" presName="childTextArrow" presStyleLbl="fgAccFollowNode1" presStyleIdx="5" presStyleCnt="8">
        <dgm:presLayoutVars>
          <dgm:bulletEnabled val="1"/>
        </dgm:presLayoutVars>
      </dgm:prSet>
      <dgm:spPr/>
    </dgm:pt>
    <dgm:pt modelId="{518EE0CE-B441-4794-8698-174DE78B06EF}" type="pres">
      <dgm:prSet presAssocID="{AE259B7A-FEFD-4FE0-B01F-327B60DD8F9B}" presName="childTextArrow" presStyleLbl="fgAccFollowNode1" presStyleIdx="6" presStyleCnt="8">
        <dgm:presLayoutVars>
          <dgm:bulletEnabled val="1"/>
        </dgm:presLayoutVars>
      </dgm:prSet>
      <dgm:spPr/>
    </dgm:pt>
    <dgm:pt modelId="{CB8DB631-ED49-4279-AE76-3BD002062DB0}" type="pres">
      <dgm:prSet presAssocID="{EC4B83EE-94B8-44DB-9245-11C86779721F}" presName="childTextArrow" presStyleLbl="fgAccFollowNode1" presStyleIdx="7" presStyleCnt="8">
        <dgm:presLayoutVars>
          <dgm:bulletEnabled val="1"/>
        </dgm:presLayoutVars>
      </dgm:prSet>
      <dgm:spPr/>
    </dgm:pt>
  </dgm:ptLst>
  <dgm:cxnLst>
    <dgm:cxn modelId="{CB53AC12-03F8-4079-9E08-D1ADFC9D8F4A}" type="presOf" srcId="{3B99D0C1-32C9-4084-9156-2B4C1827761A}" destId="{E751300A-E192-49FE-9FE1-01C87C0691C7}" srcOrd="1" destOrd="0" presId="urn:microsoft.com/office/officeart/2005/8/layout/process4"/>
    <dgm:cxn modelId="{B28A4A13-912E-49AC-954E-C6B30C9A7ECD}" srcId="{3B99D0C1-32C9-4084-9156-2B4C1827761A}" destId="{EC4B83EE-94B8-44DB-9245-11C86779721F}" srcOrd="2" destOrd="0" parTransId="{2955732C-D45E-423D-A4F0-682F1F9CFE39}" sibTransId="{1F2D00A3-9C71-4836-A6B6-F634A450692E}"/>
    <dgm:cxn modelId="{0D93C316-8261-4C7E-ACAF-C78106596FF7}" type="presOf" srcId="{9D42FF5A-680C-4666-8DBD-59684C009FAB}" destId="{2173A7E6-755B-41FD-8ED1-A0D6D0532EEA}" srcOrd="0" destOrd="0" presId="urn:microsoft.com/office/officeart/2005/8/layout/process4"/>
    <dgm:cxn modelId="{1FE8D01C-D4AE-476C-8C91-C33EC9931624}" srcId="{FB7A30B6-F51C-43CF-8954-7FEE753F70C3}" destId="{ECEB3C3C-C391-4FAC-9447-5EACF6F52EC4}" srcOrd="1" destOrd="0" parTransId="{CBA8270B-54B2-4A5D-BCB6-7C6E9BD70583}" sibTransId="{47376D1F-ECF8-4E9A-A8EF-C0B6DE886B60}"/>
    <dgm:cxn modelId="{F4B17023-78F8-4205-8B38-DD61F9510E09}" type="presOf" srcId="{8D033B50-7FC3-4343-87B4-798941D0C06C}" destId="{D6069EBC-711F-4434-A83E-1C6AD900CDDD}" srcOrd="0" destOrd="0" presId="urn:microsoft.com/office/officeart/2005/8/layout/process4"/>
    <dgm:cxn modelId="{55317C30-A61B-488F-9357-FDDBA0DC3D83}" type="presOf" srcId="{0D59A9F2-E189-45D8-B058-C00B1C3607F3}" destId="{7B9225DF-337D-49AA-8977-F6E456F4ACA8}" srcOrd="0" destOrd="0" presId="urn:microsoft.com/office/officeart/2005/8/layout/process4"/>
    <dgm:cxn modelId="{0C53C834-EA27-459B-BA41-996C1EC3BEA3}" srcId="{3B99D0C1-32C9-4084-9156-2B4C1827761A}" destId="{AE259B7A-FEFD-4FE0-B01F-327B60DD8F9B}" srcOrd="1" destOrd="0" parTransId="{BBE74020-C45B-48B7-9B9D-DE51FC510726}" sibTransId="{142D75FA-AA48-4385-B3D4-BAE5F0B7A3A8}"/>
    <dgm:cxn modelId="{92BC7344-0668-4539-A83B-27C2341390E2}" srcId="{FB7A30B6-F51C-43CF-8954-7FEE753F70C3}" destId="{3B99D0C1-32C9-4084-9156-2B4C1827761A}" srcOrd="0" destOrd="0" parTransId="{F7ADD6A3-FD58-4CEB-A807-631A9CB5D1E9}" sibTransId="{B16F98A9-7A8A-493D-B921-282224A5DE44}"/>
    <dgm:cxn modelId="{623CDF5C-E493-4D1E-B59E-8AB343B65059}" srcId="{ECEB3C3C-C391-4FAC-9447-5EACF6F52EC4}" destId="{12F646AB-2EC8-4D30-B056-1ACEC21E6BB8}" srcOrd="3" destOrd="0" parTransId="{624AE7C8-A09D-4A2C-8F43-17C9A7B881D7}" sibTransId="{7ECFC521-922A-4BB9-AA74-38AC23A7E412}"/>
    <dgm:cxn modelId="{008DE763-E5B2-409A-9C7C-81E39B78EAC1}" srcId="{3B99D0C1-32C9-4084-9156-2B4C1827761A}" destId="{37C7875B-892D-41E8-8DA1-30685A54C81E}" srcOrd="0" destOrd="0" parTransId="{029F99B3-B4B8-4A64-A9ED-4A92530F7826}" sibTransId="{E7978FCB-F3B1-4738-BF05-CF1F37B594E2}"/>
    <dgm:cxn modelId="{96CF3371-16AC-4BF7-A336-E72FA0CDFEA8}" type="presOf" srcId="{FB7A30B6-F51C-43CF-8954-7FEE753F70C3}" destId="{E623E575-E69E-47D9-93F2-9092CDD93104}" srcOrd="0" destOrd="0" presId="urn:microsoft.com/office/officeart/2005/8/layout/process4"/>
    <dgm:cxn modelId="{AFB92B7D-01CE-424D-A5E2-42941F38C3A4}" type="presOf" srcId="{C9AE2E49-3823-43FE-B9BC-BD312D3E5D7B}" destId="{0F748891-1D87-4D03-8A48-51B989A92510}" srcOrd="0" destOrd="0" presId="urn:microsoft.com/office/officeart/2005/8/layout/process4"/>
    <dgm:cxn modelId="{410B6E80-3C5B-4D62-8B42-A3193401AF33}" srcId="{ECEB3C3C-C391-4FAC-9447-5EACF6F52EC4}" destId="{0D59A9F2-E189-45D8-B058-C00B1C3607F3}" srcOrd="0" destOrd="0" parTransId="{D970483B-16AE-49F2-A0D0-0861ED0FDE69}" sibTransId="{902A68FD-740B-4524-92E6-65BD768922AD}"/>
    <dgm:cxn modelId="{4617AF86-5019-4ABC-AD8D-7EF3A0C125DC}" srcId="{ECEB3C3C-C391-4FAC-9447-5EACF6F52EC4}" destId="{C9AE2E49-3823-43FE-B9BC-BD312D3E5D7B}" srcOrd="4" destOrd="0" parTransId="{CE3170FB-67B3-4633-8FEE-82D4E9CF7851}" sibTransId="{4A7820A5-018D-4FF0-9271-9BF4310A7BFB}"/>
    <dgm:cxn modelId="{1583CC86-EFBF-4195-8259-474BA7DF7A62}" type="presOf" srcId="{CAD262FE-C072-438C-AE75-93CB4802D97E}" destId="{1A8DC358-9D64-44CA-B381-EA1D3C0E16F5}" srcOrd="0" destOrd="0" presId="urn:microsoft.com/office/officeart/2005/8/layout/process4"/>
    <dgm:cxn modelId="{154333AA-9296-4B81-9404-B847B8503C95}" type="presOf" srcId="{EC4B83EE-94B8-44DB-9245-11C86779721F}" destId="{CB8DB631-ED49-4279-AE76-3BD002062DB0}" srcOrd="0" destOrd="0" presId="urn:microsoft.com/office/officeart/2005/8/layout/process4"/>
    <dgm:cxn modelId="{780014AC-02D1-46B0-9CB1-8D877BF6319D}" type="presOf" srcId="{12F646AB-2EC8-4D30-B056-1ACEC21E6BB8}" destId="{B6AC6236-FAD0-4435-9C7C-4E8A7231BA85}" srcOrd="0" destOrd="0" presId="urn:microsoft.com/office/officeart/2005/8/layout/process4"/>
    <dgm:cxn modelId="{2D531FAC-FECC-4D0E-9C7C-7965DD0E5075}" type="presOf" srcId="{AE259B7A-FEFD-4FE0-B01F-327B60DD8F9B}" destId="{518EE0CE-B441-4794-8698-174DE78B06EF}" srcOrd="0" destOrd="0" presId="urn:microsoft.com/office/officeart/2005/8/layout/process4"/>
    <dgm:cxn modelId="{534AF0B9-53B0-4E4E-9661-B49F9AA9E447}" type="presOf" srcId="{3B99D0C1-32C9-4084-9156-2B4C1827761A}" destId="{228E56D8-7238-46DC-990E-6827AAF6751E}" srcOrd="0" destOrd="0" presId="urn:microsoft.com/office/officeart/2005/8/layout/process4"/>
    <dgm:cxn modelId="{2B13FFCE-68BA-4EFA-8D48-4C66FBCE94B0}" srcId="{ECEB3C3C-C391-4FAC-9447-5EACF6F52EC4}" destId="{8D033B50-7FC3-4343-87B4-798941D0C06C}" srcOrd="2" destOrd="0" parTransId="{28725CC6-216E-429A-8D91-4E9475FCD518}" sibTransId="{ECC715DC-6B1D-4971-A629-B0EA08C020AF}"/>
    <dgm:cxn modelId="{C19CF7D0-AD90-434C-8144-2DFC6E89E2B8}" srcId="{ECEB3C3C-C391-4FAC-9447-5EACF6F52EC4}" destId="{CAD262FE-C072-438C-AE75-93CB4802D97E}" srcOrd="1" destOrd="0" parTransId="{A75DD5EE-5264-4EAA-A370-371A0510D8F4}" sibTransId="{631894CA-4EE4-4F0C-95C5-73ADB2860DD9}"/>
    <dgm:cxn modelId="{CACE02D6-E6AD-46AC-996F-B29EBA0EE382}" srcId="{FB7A30B6-F51C-43CF-8954-7FEE753F70C3}" destId="{9D42FF5A-680C-4666-8DBD-59684C009FAB}" srcOrd="2" destOrd="0" parTransId="{F46F147D-3A92-4B0D-9139-4E8D4C855913}" sibTransId="{46BCBEED-86A2-432D-8403-A1E072F0F4F7}"/>
    <dgm:cxn modelId="{05F6D5E5-1999-4630-BA19-2049FEF3ED2A}" type="presOf" srcId="{37C7875B-892D-41E8-8DA1-30685A54C81E}" destId="{52077E0A-2719-489D-8390-447EEBD01D83}" srcOrd="0" destOrd="0" presId="urn:microsoft.com/office/officeart/2005/8/layout/process4"/>
    <dgm:cxn modelId="{60990FEF-798B-4520-9A83-8C142EE402F9}" type="presOf" srcId="{ECEB3C3C-C391-4FAC-9447-5EACF6F52EC4}" destId="{20AD8F35-9542-47D3-8FA0-0800DF345F77}" srcOrd="0" destOrd="0" presId="urn:microsoft.com/office/officeart/2005/8/layout/process4"/>
    <dgm:cxn modelId="{F46739F5-2A8E-4494-AB5C-FCDFB8379BB9}" type="presOf" srcId="{ECEB3C3C-C391-4FAC-9447-5EACF6F52EC4}" destId="{004E27C2-9DD9-4D30-BDC7-BA7DE7BF67DE}" srcOrd="1" destOrd="0" presId="urn:microsoft.com/office/officeart/2005/8/layout/process4"/>
    <dgm:cxn modelId="{F0120589-D25B-4A8B-8C5E-BA5ECBA7E639}" type="presParOf" srcId="{E623E575-E69E-47D9-93F2-9092CDD93104}" destId="{DB99D6B0-1ED1-461A-AC3F-26F43BA4ED11}" srcOrd="0" destOrd="0" presId="urn:microsoft.com/office/officeart/2005/8/layout/process4"/>
    <dgm:cxn modelId="{12EE6BE1-5DC8-4844-9E9C-EDB5B05DC444}" type="presParOf" srcId="{DB99D6B0-1ED1-461A-AC3F-26F43BA4ED11}" destId="{2173A7E6-755B-41FD-8ED1-A0D6D0532EEA}" srcOrd="0" destOrd="0" presId="urn:microsoft.com/office/officeart/2005/8/layout/process4"/>
    <dgm:cxn modelId="{27A29EC8-FB12-4A7A-8521-EB34A813C906}" type="presParOf" srcId="{E623E575-E69E-47D9-93F2-9092CDD93104}" destId="{1FD4A864-A018-4C23-8278-E97E41193DF9}" srcOrd="1" destOrd="0" presId="urn:microsoft.com/office/officeart/2005/8/layout/process4"/>
    <dgm:cxn modelId="{D4BD91BC-2603-450D-B230-3AB0C181C006}" type="presParOf" srcId="{E623E575-E69E-47D9-93F2-9092CDD93104}" destId="{9549723E-4548-4AA0-9C72-6F913D6C5CD4}" srcOrd="2" destOrd="0" presId="urn:microsoft.com/office/officeart/2005/8/layout/process4"/>
    <dgm:cxn modelId="{9FBB6CF0-9D77-4DAA-80AC-94E06013117D}" type="presParOf" srcId="{9549723E-4548-4AA0-9C72-6F913D6C5CD4}" destId="{20AD8F35-9542-47D3-8FA0-0800DF345F77}" srcOrd="0" destOrd="0" presId="urn:microsoft.com/office/officeart/2005/8/layout/process4"/>
    <dgm:cxn modelId="{CD017870-5B81-4AAF-9CD6-130849F97D3A}" type="presParOf" srcId="{9549723E-4548-4AA0-9C72-6F913D6C5CD4}" destId="{004E27C2-9DD9-4D30-BDC7-BA7DE7BF67DE}" srcOrd="1" destOrd="0" presId="urn:microsoft.com/office/officeart/2005/8/layout/process4"/>
    <dgm:cxn modelId="{5A862B47-0FE4-4164-9E55-25677579BBA7}" type="presParOf" srcId="{9549723E-4548-4AA0-9C72-6F913D6C5CD4}" destId="{467DA2CF-70B3-48B2-949B-B6B41CAD1C84}" srcOrd="2" destOrd="0" presId="urn:microsoft.com/office/officeart/2005/8/layout/process4"/>
    <dgm:cxn modelId="{4FE2E778-6B06-411C-9F1E-760BE19523D7}" type="presParOf" srcId="{467DA2CF-70B3-48B2-949B-B6B41CAD1C84}" destId="{7B9225DF-337D-49AA-8977-F6E456F4ACA8}" srcOrd="0" destOrd="0" presId="urn:microsoft.com/office/officeart/2005/8/layout/process4"/>
    <dgm:cxn modelId="{8830B238-6C5F-4A3F-AD4E-996ECF748C55}" type="presParOf" srcId="{467DA2CF-70B3-48B2-949B-B6B41CAD1C84}" destId="{1A8DC358-9D64-44CA-B381-EA1D3C0E16F5}" srcOrd="1" destOrd="0" presId="urn:microsoft.com/office/officeart/2005/8/layout/process4"/>
    <dgm:cxn modelId="{F784F19D-9782-4A7F-8928-ACC7411A5D9F}" type="presParOf" srcId="{467DA2CF-70B3-48B2-949B-B6B41CAD1C84}" destId="{D6069EBC-711F-4434-A83E-1C6AD900CDDD}" srcOrd="2" destOrd="0" presId="urn:microsoft.com/office/officeart/2005/8/layout/process4"/>
    <dgm:cxn modelId="{C5ABFB3D-9D2D-4FAF-A19A-3186A96898A3}" type="presParOf" srcId="{467DA2CF-70B3-48B2-949B-B6B41CAD1C84}" destId="{B6AC6236-FAD0-4435-9C7C-4E8A7231BA85}" srcOrd="3" destOrd="0" presId="urn:microsoft.com/office/officeart/2005/8/layout/process4"/>
    <dgm:cxn modelId="{A5801456-A196-41A8-972E-E6BECD20D255}" type="presParOf" srcId="{467DA2CF-70B3-48B2-949B-B6B41CAD1C84}" destId="{0F748891-1D87-4D03-8A48-51B989A92510}" srcOrd="4" destOrd="0" presId="urn:microsoft.com/office/officeart/2005/8/layout/process4"/>
    <dgm:cxn modelId="{A2D84125-82CF-4432-AAA9-164F06552F24}" type="presParOf" srcId="{E623E575-E69E-47D9-93F2-9092CDD93104}" destId="{48DF4730-BE9F-4C8A-A804-1EF4137DCE75}" srcOrd="3" destOrd="0" presId="urn:microsoft.com/office/officeart/2005/8/layout/process4"/>
    <dgm:cxn modelId="{7B51CF3A-899D-43DF-B7DA-D424092CA7D0}" type="presParOf" srcId="{E623E575-E69E-47D9-93F2-9092CDD93104}" destId="{C0FCE935-ED0C-4BF2-89F5-B7E9F9D26ED7}" srcOrd="4" destOrd="0" presId="urn:microsoft.com/office/officeart/2005/8/layout/process4"/>
    <dgm:cxn modelId="{A3BBA15B-DBEC-45F5-A4E1-5A515520C1B9}" type="presParOf" srcId="{C0FCE935-ED0C-4BF2-89F5-B7E9F9D26ED7}" destId="{228E56D8-7238-46DC-990E-6827AAF6751E}" srcOrd="0" destOrd="0" presId="urn:microsoft.com/office/officeart/2005/8/layout/process4"/>
    <dgm:cxn modelId="{6D9B5534-287E-4A38-BA18-2B693BA0DEEE}" type="presParOf" srcId="{C0FCE935-ED0C-4BF2-89F5-B7E9F9D26ED7}" destId="{E751300A-E192-49FE-9FE1-01C87C0691C7}" srcOrd="1" destOrd="0" presId="urn:microsoft.com/office/officeart/2005/8/layout/process4"/>
    <dgm:cxn modelId="{76C586CF-F4B8-40A3-BE87-63A9D1DE5F27}" type="presParOf" srcId="{C0FCE935-ED0C-4BF2-89F5-B7E9F9D26ED7}" destId="{95FF3C06-9BD6-483D-A35C-2DB274A9364A}" srcOrd="2" destOrd="0" presId="urn:microsoft.com/office/officeart/2005/8/layout/process4"/>
    <dgm:cxn modelId="{F45FAF5E-C350-4CCF-B3BB-594D72C45551}" type="presParOf" srcId="{95FF3C06-9BD6-483D-A35C-2DB274A9364A}" destId="{52077E0A-2719-489D-8390-447EEBD01D83}" srcOrd="0" destOrd="0" presId="urn:microsoft.com/office/officeart/2005/8/layout/process4"/>
    <dgm:cxn modelId="{90891914-8756-4CD9-B404-663FF634BE9B}" type="presParOf" srcId="{95FF3C06-9BD6-483D-A35C-2DB274A9364A}" destId="{518EE0CE-B441-4794-8698-174DE78B06EF}" srcOrd="1" destOrd="0" presId="urn:microsoft.com/office/officeart/2005/8/layout/process4"/>
    <dgm:cxn modelId="{8F4B5E91-6497-467B-A79E-010AD9C7B238}" type="presParOf" srcId="{95FF3C06-9BD6-483D-A35C-2DB274A9364A}" destId="{CB8DB631-ED49-4279-AE76-3BD002062DB0}" srcOrd="2"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9CB1896-6809-4D90-920F-D0B853FBC78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04380BF-37C5-42FA-9F31-503C0716C566}">
      <dgm:prSet/>
      <dgm:spPr/>
      <dgm:t>
        <a:bodyPr/>
        <a:lstStyle/>
        <a:p>
          <a:pPr rtl="0"/>
          <a:r>
            <a:rPr lang="en-IN" dirty="0"/>
            <a:t>Citizen participation </a:t>
          </a:r>
        </a:p>
      </dgm:t>
    </dgm:pt>
    <dgm:pt modelId="{A4C7FE80-3271-4174-9F58-9F2176C6C7E7}" type="parTrans" cxnId="{A928A573-6121-4B51-899C-228A798D5DA6}">
      <dgm:prSet/>
      <dgm:spPr/>
      <dgm:t>
        <a:bodyPr/>
        <a:lstStyle/>
        <a:p>
          <a:endParaRPr lang="en-US"/>
        </a:p>
      </dgm:t>
    </dgm:pt>
    <dgm:pt modelId="{E0AF66CF-60E1-4E4F-B05A-445403613945}" type="sibTrans" cxnId="{A928A573-6121-4B51-899C-228A798D5DA6}">
      <dgm:prSet/>
      <dgm:spPr/>
      <dgm:t>
        <a:bodyPr/>
        <a:lstStyle/>
        <a:p>
          <a:endParaRPr lang="en-US"/>
        </a:p>
      </dgm:t>
    </dgm:pt>
    <dgm:pt modelId="{2A7E5286-1A3B-4768-B238-930D0254BCFB}">
      <dgm:prSet/>
      <dgm:spPr/>
      <dgm:t>
        <a:bodyPr/>
        <a:lstStyle/>
        <a:p>
          <a:pPr rtl="0"/>
          <a:r>
            <a:rPr lang="en-IN"/>
            <a:t>Identity and culture</a:t>
          </a:r>
        </a:p>
      </dgm:t>
    </dgm:pt>
    <dgm:pt modelId="{DB6569FD-C8A4-4A00-BD99-3EBE35398131}" type="parTrans" cxnId="{5817A607-5AEA-47C2-8649-C28F581C9F17}">
      <dgm:prSet/>
      <dgm:spPr/>
      <dgm:t>
        <a:bodyPr/>
        <a:lstStyle/>
        <a:p>
          <a:endParaRPr lang="en-US"/>
        </a:p>
      </dgm:t>
    </dgm:pt>
    <dgm:pt modelId="{3CA313FB-D753-4A62-A7A2-BB8B6EC0D8BD}" type="sibTrans" cxnId="{5817A607-5AEA-47C2-8649-C28F581C9F17}">
      <dgm:prSet/>
      <dgm:spPr/>
      <dgm:t>
        <a:bodyPr/>
        <a:lstStyle/>
        <a:p>
          <a:endParaRPr lang="en-US"/>
        </a:p>
      </dgm:t>
    </dgm:pt>
    <dgm:pt modelId="{C1CE8760-804B-4437-8481-15A95B200F83}">
      <dgm:prSet/>
      <dgm:spPr/>
      <dgm:t>
        <a:bodyPr/>
        <a:lstStyle/>
        <a:p>
          <a:pPr rtl="0"/>
          <a:r>
            <a:rPr lang="en-IN"/>
            <a:t>Economy and employment</a:t>
          </a:r>
        </a:p>
      </dgm:t>
    </dgm:pt>
    <dgm:pt modelId="{502D8BD7-E6D7-4ECC-BAEE-25EF56687252}" type="parTrans" cxnId="{7CC1332B-0DA9-48E1-BFFD-8AEA4149A220}">
      <dgm:prSet/>
      <dgm:spPr/>
      <dgm:t>
        <a:bodyPr/>
        <a:lstStyle/>
        <a:p>
          <a:endParaRPr lang="en-US"/>
        </a:p>
      </dgm:t>
    </dgm:pt>
    <dgm:pt modelId="{F5165C77-8710-484F-AEB2-0478AA875436}" type="sibTrans" cxnId="{7CC1332B-0DA9-48E1-BFFD-8AEA4149A220}">
      <dgm:prSet/>
      <dgm:spPr/>
      <dgm:t>
        <a:bodyPr/>
        <a:lstStyle/>
        <a:p>
          <a:endParaRPr lang="en-US"/>
        </a:p>
      </dgm:t>
    </dgm:pt>
    <dgm:pt modelId="{C7C621B3-ED76-411F-B2FD-09486C432863}">
      <dgm:prSet custT="1"/>
      <dgm:spPr/>
      <dgm:t>
        <a:bodyPr/>
        <a:lstStyle/>
        <a:p>
          <a:pPr rtl="0">
            <a:lnSpc>
              <a:spcPct val="100000"/>
            </a:lnSpc>
          </a:pPr>
          <a:r>
            <a:rPr lang="en-IN" sz="1600"/>
            <a:t>Health</a:t>
          </a:r>
        </a:p>
      </dgm:t>
    </dgm:pt>
    <dgm:pt modelId="{FAB21667-3032-40A6-9AB4-00CEB23FFBE4}" type="parTrans" cxnId="{3D9CFC24-E768-48D4-8294-AF425B53709D}">
      <dgm:prSet/>
      <dgm:spPr/>
      <dgm:t>
        <a:bodyPr/>
        <a:lstStyle/>
        <a:p>
          <a:endParaRPr lang="en-US"/>
        </a:p>
      </dgm:t>
    </dgm:pt>
    <dgm:pt modelId="{B32D603D-9BB9-431C-808E-00271F3227D9}" type="sibTrans" cxnId="{3D9CFC24-E768-48D4-8294-AF425B53709D}">
      <dgm:prSet/>
      <dgm:spPr/>
      <dgm:t>
        <a:bodyPr/>
        <a:lstStyle/>
        <a:p>
          <a:endParaRPr lang="en-US"/>
        </a:p>
      </dgm:t>
    </dgm:pt>
    <dgm:pt modelId="{0E52CAA0-697F-4506-92F9-68B0B6522DAB}">
      <dgm:prSet/>
      <dgm:spPr/>
      <dgm:t>
        <a:bodyPr/>
        <a:lstStyle/>
        <a:p>
          <a:pPr rtl="0"/>
          <a:r>
            <a:rPr lang="en-IN"/>
            <a:t>Education</a:t>
          </a:r>
        </a:p>
      </dgm:t>
    </dgm:pt>
    <dgm:pt modelId="{EC3E71A2-8C78-40DF-B160-FA2D75C216FC}" type="parTrans" cxnId="{208A8630-4513-4811-8EC7-EC786176A01A}">
      <dgm:prSet/>
      <dgm:spPr/>
      <dgm:t>
        <a:bodyPr/>
        <a:lstStyle/>
        <a:p>
          <a:endParaRPr lang="en-US"/>
        </a:p>
      </dgm:t>
    </dgm:pt>
    <dgm:pt modelId="{6EE954FE-025E-4E79-9513-A45F5077A042}" type="sibTrans" cxnId="{208A8630-4513-4811-8EC7-EC786176A01A}">
      <dgm:prSet/>
      <dgm:spPr/>
      <dgm:t>
        <a:bodyPr/>
        <a:lstStyle/>
        <a:p>
          <a:endParaRPr lang="en-US"/>
        </a:p>
      </dgm:t>
    </dgm:pt>
    <dgm:pt modelId="{DA338605-166E-46C4-ACA1-3B363957A31F}">
      <dgm:prSet/>
      <dgm:spPr/>
      <dgm:t>
        <a:bodyPr/>
        <a:lstStyle/>
        <a:p>
          <a:pPr rtl="0"/>
          <a:r>
            <a:rPr lang="en-IN"/>
            <a:t>Mixed use </a:t>
          </a:r>
        </a:p>
      </dgm:t>
    </dgm:pt>
    <dgm:pt modelId="{D9B36CC7-B4DA-4583-9BE8-C753F279BBA5}" type="parTrans" cxnId="{FDBF0C77-34E0-49F5-B6EC-AB8DD0C74804}">
      <dgm:prSet/>
      <dgm:spPr/>
      <dgm:t>
        <a:bodyPr/>
        <a:lstStyle/>
        <a:p>
          <a:endParaRPr lang="en-US"/>
        </a:p>
      </dgm:t>
    </dgm:pt>
    <dgm:pt modelId="{3A22DF32-9CCD-49F4-BE00-E443085FEAB9}" type="sibTrans" cxnId="{FDBF0C77-34E0-49F5-B6EC-AB8DD0C74804}">
      <dgm:prSet/>
      <dgm:spPr/>
      <dgm:t>
        <a:bodyPr/>
        <a:lstStyle/>
        <a:p>
          <a:endParaRPr lang="en-US"/>
        </a:p>
      </dgm:t>
    </dgm:pt>
    <dgm:pt modelId="{163AE78F-C1BF-4EF1-80D2-77D4069B5B7C}">
      <dgm:prSet/>
      <dgm:spPr/>
      <dgm:t>
        <a:bodyPr/>
        <a:lstStyle/>
        <a:p>
          <a:pPr rtl="0"/>
          <a:r>
            <a:rPr lang="en-IN"/>
            <a:t>Compactness </a:t>
          </a:r>
        </a:p>
      </dgm:t>
    </dgm:pt>
    <dgm:pt modelId="{4B60DC6D-A425-4E39-9AFC-A5649115C8C2}" type="parTrans" cxnId="{22F5E4E9-6BF3-4BE6-BED2-5A5B54FB1B8D}">
      <dgm:prSet/>
      <dgm:spPr/>
      <dgm:t>
        <a:bodyPr/>
        <a:lstStyle/>
        <a:p>
          <a:endParaRPr lang="en-US"/>
        </a:p>
      </dgm:t>
    </dgm:pt>
    <dgm:pt modelId="{B3749E75-14B1-45EE-B683-92039108214C}" type="sibTrans" cxnId="{22F5E4E9-6BF3-4BE6-BED2-5A5B54FB1B8D}">
      <dgm:prSet/>
      <dgm:spPr/>
      <dgm:t>
        <a:bodyPr/>
        <a:lstStyle/>
        <a:p>
          <a:endParaRPr lang="en-US"/>
        </a:p>
      </dgm:t>
    </dgm:pt>
    <dgm:pt modelId="{3FD7D732-E738-478A-A5B5-1567E695B982}">
      <dgm:prSet/>
      <dgm:spPr/>
      <dgm:t>
        <a:bodyPr/>
        <a:lstStyle/>
        <a:p>
          <a:pPr rtl="0"/>
          <a:r>
            <a:rPr lang="en-IN" dirty="0"/>
            <a:t>Open spaces </a:t>
          </a:r>
        </a:p>
      </dgm:t>
    </dgm:pt>
    <dgm:pt modelId="{CF4CA777-3EFB-448B-B16A-4441E4CB7E97}" type="parTrans" cxnId="{EFFEE2FC-B37F-4EC6-AB91-8573D24F194E}">
      <dgm:prSet/>
      <dgm:spPr/>
      <dgm:t>
        <a:bodyPr/>
        <a:lstStyle/>
        <a:p>
          <a:endParaRPr lang="en-US"/>
        </a:p>
      </dgm:t>
    </dgm:pt>
    <dgm:pt modelId="{7301C40C-EF8C-45EB-9984-BAFB49E97520}" type="sibTrans" cxnId="{EFFEE2FC-B37F-4EC6-AB91-8573D24F194E}">
      <dgm:prSet/>
      <dgm:spPr/>
      <dgm:t>
        <a:bodyPr/>
        <a:lstStyle/>
        <a:p>
          <a:endParaRPr lang="en-US"/>
        </a:p>
      </dgm:t>
    </dgm:pt>
    <dgm:pt modelId="{FBE8C6E1-97C5-4E98-9ABF-52CCFAE3323F}">
      <dgm:prSet/>
      <dgm:spPr/>
      <dgm:t>
        <a:bodyPr/>
        <a:lstStyle/>
        <a:p>
          <a:pPr rtl="0"/>
          <a:r>
            <a:rPr lang="en-IN"/>
            <a:t>Housing and Inclusiveness</a:t>
          </a:r>
        </a:p>
      </dgm:t>
    </dgm:pt>
    <dgm:pt modelId="{0F3CA299-56C7-484F-92C3-2AFC6292DDF6}" type="parTrans" cxnId="{A9AEB706-2D2F-463D-B6BA-527C1588D2F9}">
      <dgm:prSet/>
      <dgm:spPr/>
      <dgm:t>
        <a:bodyPr/>
        <a:lstStyle/>
        <a:p>
          <a:endParaRPr lang="en-US"/>
        </a:p>
      </dgm:t>
    </dgm:pt>
    <dgm:pt modelId="{1A617D9C-31C2-4864-B89A-1A94722E75F4}" type="sibTrans" cxnId="{A9AEB706-2D2F-463D-B6BA-527C1588D2F9}">
      <dgm:prSet/>
      <dgm:spPr/>
      <dgm:t>
        <a:bodyPr/>
        <a:lstStyle/>
        <a:p>
          <a:endParaRPr lang="en-US"/>
        </a:p>
      </dgm:t>
    </dgm:pt>
    <dgm:pt modelId="{D19D664D-E283-4487-8214-ECAB383DD033}">
      <dgm:prSet/>
      <dgm:spPr/>
      <dgm:t>
        <a:bodyPr/>
        <a:lstStyle/>
        <a:p>
          <a:pPr rtl="0"/>
          <a:r>
            <a:rPr lang="en-IN"/>
            <a:t>Transportation &amp; Mobility</a:t>
          </a:r>
        </a:p>
      </dgm:t>
    </dgm:pt>
    <dgm:pt modelId="{0D7E42AE-87EE-46ED-99CB-2E209AEDB9CF}" type="parTrans" cxnId="{8FF91781-6652-46D2-B8C6-BE9434A2166B}">
      <dgm:prSet/>
      <dgm:spPr/>
      <dgm:t>
        <a:bodyPr/>
        <a:lstStyle/>
        <a:p>
          <a:endParaRPr lang="en-US"/>
        </a:p>
      </dgm:t>
    </dgm:pt>
    <dgm:pt modelId="{DBDFBC7C-DF4C-43F9-AADA-8D5F341A98B7}" type="sibTrans" cxnId="{8FF91781-6652-46D2-B8C6-BE9434A2166B}">
      <dgm:prSet/>
      <dgm:spPr/>
      <dgm:t>
        <a:bodyPr/>
        <a:lstStyle/>
        <a:p>
          <a:endParaRPr lang="en-US"/>
        </a:p>
      </dgm:t>
    </dgm:pt>
    <dgm:pt modelId="{65F0A215-EFD2-4640-AAB9-1A410579607C}">
      <dgm:prSet/>
      <dgm:spPr/>
      <dgm:t>
        <a:bodyPr/>
        <a:lstStyle/>
        <a:p>
          <a:pPr rtl="0"/>
          <a:r>
            <a:rPr lang="en-IN"/>
            <a:t>Walkable</a:t>
          </a:r>
        </a:p>
      </dgm:t>
    </dgm:pt>
    <dgm:pt modelId="{623AFF44-DBE1-4BCB-982D-B608DD31C3CB}" type="parTrans" cxnId="{165294B2-6E5B-4D4F-81EB-FB607320ED8B}">
      <dgm:prSet/>
      <dgm:spPr/>
      <dgm:t>
        <a:bodyPr/>
        <a:lstStyle/>
        <a:p>
          <a:endParaRPr lang="en-US"/>
        </a:p>
      </dgm:t>
    </dgm:pt>
    <dgm:pt modelId="{3A504A87-6892-4891-AA0D-CB796692BCC5}" type="sibTrans" cxnId="{165294B2-6E5B-4D4F-81EB-FB607320ED8B}">
      <dgm:prSet/>
      <dgm:spPr/>
      <dgm:t>
        <a:bodyPr/>
        <a:lstStyle/>
        <a:p>
          <a:endParaRPr lang="en-US"/>
        </a:p>
      </dgm:t>
    </dgm:pt>
    <dgm:pt modelId="{E033FC2C-9FB0-4F08-BCAB-2C79CAE00D9A}">
      <dgm:prSet/>
      <dgm:spPr/>
      <dgm:t>
        <a:bodyPr/>
        <a:lstStyle/>
        <a:p>
          <a:pPr rtl="0"/>
          <a:r>
            <a:rPr lang="en-IN"/>
            <a:t>IT connctivity</a:t>
          </a:r>
        </a:p>
      </dgm:t>
    </dgm:pt>
    <dgm:pt modelId="{BF26F867-35B4-4270-9C5D-D4DF2FE9397E}" type="parTrans" cxnId="{A90FC6BB-E899-4205-869B-61852EFBC839}">
      <dgm:prSet/>
      <dgm:spPr/>
      <dgm:t>
        <a:bodyPr/>
        <a:lstStyle/>
        <a:p>
          <a:endParaRPr lang="en-US"/>
        </a:p>
      </dgm:t>
    </dgm:pt>
    <dgm:pt modelId="{EBBC9BD3-7FE5-4D06-9426-5202DD61A713}" type="sibTrans" cxnId="{A90FC6BB-E899-4205-869B-61852EFBC839}">
      <dgm:prSet/>
      <dgm:spPr/>
      <dgm:t>
        <a:bodyPr/>
        <a:lstStyle/>
        <a:p>
          <a:endParaRPr lang="en-US"/>
        </a:p>
      </dgm:t>
    </dgm:pt>
    <dgm:pt modelId="{551A5A59-142A-4C67-96EB-B2BD1BD08EF1}" type="pres">
      <dgm:prSet presAssocID="{69CB1896-6809-4D90-920F-D0B853FBC78B}" presName="linear" presStyleCnt="0">
        <dgm:presLayoutVars>
          <dgm:animLvl val="lvl"/>
          <dgm:resizeHandles val="exact"/>
        </dgm:presLayoutVars>
      </dgm:prSet>
      <dgm:spPr/>
    </dgm:pt>
    <dgm:pt modelId="{D6DC8F2A-F02D-4313-8611-AD029FF97A4D}" type="pres">
      <dgm:prSet presAssocID="{404380BF-37C5-42FA-9F31-503C0716C566}" presName="parentText" presStyleLbl="node1" presStyleIdx="0" presStyleCnt="12" custLinFactY="45188" custLinFactNeighborY="100000">
        <dgm:presLayoutVars>
          <dgm:chMax val="0"/>
          <dgm:bulletEnabled val="1"/>
        </dgm:presLayoutVars>
      </dgm:prSet>
      <dgm:spPr/>
    </dgm:pt>
    <dgm:pt modelId="{AC01C74D-3C7E-4748-9948-7EE38006E34D}" type="pres">
      <dgm:prSet presAssocID="{E0AF66CF-60E1-4E4F-B05A-445403613945}" presName="spacer" presStyleCnt="0"/>
      <dgm:spPr/>
    </dgm:pt>
    <dgm:pt modelId="{B8C360BF-BCB5-4DFF-A178-F542FBD620A1}" type="pres">
      <dgm:prSet presAssocID="{2A7E5286-1A3B-4768-B238-930D0254BCFB}" presName="parentText" presStyleLbl="node1" presStyleIdx="1" presStyleCnt="12" custLinFactY="33486" custLinFactNeighborX="-452" custLinFactNeighborY="100000">
        <dgm:presLayoutVars>
          <dgm:chMax val="0"/>
          <dgm:bulletEnabled val="1"/>
        </dgm:presLayoutVars>
      </dgm:prSet>
      <dgm:spPr/>
    </dgm:pt>
    <dgm:pt modelId="{DDFE6099-2D4D-4119-A96E-F14E0702A027}" type="pres">
      <dgm:prSet presAssocID="{3CA313FB-D753-4A62-A7A2-BB8B6EC0D8BD}" presName="spacer" presStyleCnt="0"/>
      <dgm:spPr/>
    </dgm:pt>
    <dgm:pt modelId="{32939B1D-236C-4722-BED5-6B570DDE0B67}" type="pres">
      <dgm:prSet presAssocID="{C1CE8760-804B-4437-8481-15A95B200F83}" presName="parentText" presStyleLbl="node1" presStyleIdx="2" presStyleCnt="12" custLinFactY="18024" custLinFactNeighborY="100000">
        <dgm:presLayoutVars>
          <dgm:chMax val="0"/>
          <dgm:bulletEnabled val="1"/>
        </dgm:presLayoutVars>
      </dgm:prSet>
      <dgm:spPr/>
    </dgm:pt>
    <dgm:pt modelId="{1C852BCF-4E7D-4E91-B9A0-06D0F440952E}" type="pres">
      <dgm:prSet presAssocID="{F5165C77-8710-484F-AEB2-0478AA875436}" presName="spacer" presStyleCnt="0"/>
      <dgm:spPr/>
    </dgm:pt>
    <dgm:pt modelId="{9B76216C-1BD8-49F1-8E47-D879D9CFE02A}" type="pres">
      <dgm:prSet presAssocID="{C7C621B3-ED76-411F-B2FD-09486C432863}" presName="parentText" presStyleLbl="node1" presStyleIdx="3" presStyleCnt="12" custLinFactY="6016" custLinFactNeighborY="100000">
        <dgm:presLayoutVars>
          <dgm:chMax val="0"/>
          <dgm:bulletEnabled val="1"/>
        </dgm:presLayoutVars>
      </dgm:prSet>
      <dgm:spPr/>
    </dgm:pt>
    <dgm:pt modelId="{4A5389B9-446F-426F-A4BB-D168CFDE3B27}" type="pres">
      <dgm:prSet presAssocID="{B32D603D-9BB9-431C-808E-00271F3227D9}" presName="spacer" presStyleCnt="0"/>
      <dgm:spPr/>
    </dgm:pt>
    <dgm:pt modelId="{CC6D5635-6D03-49B3-A298-883488D7E61B}" type="pres">
      <dgm:prSet presAssocID="{0E52CAA0-697F-4506-92F9-68B0B6522DAB}" presName="parentText" presStyleLbl="node1" presStyleIdx="4" presStyleCnt="12">
        <dgm:presLayoutVars>
          <dgm:chMax val="0"/>
          <dgm:bulletEnabled val="1"/>
        </dgm:presLayoutVars>
      </dgm:prSet>
      <dgm:spPr/>
    </dgm:pt>
    <dgm:pt modelId="{F38503CF-A958-4BB9-924F-D4160CAD11E5}" type="pres">
      <dgm:prSet presAssocID="{6EE954FE-025E-4E79-9513-A45F5077A042}" presName="spacer" presStyleCnt="0"/>
      <dgm:spPr/>
    </dgm:pt>
    <dgm:pt modelId="{C92C7CDE-9799-4AEE-9C61-1F46215951AC}" type="pres">
      <dgm:prSet presAssocID="{DA338605-166E-46C4-ACA1-3B363957A31F}" presName="parentText" presStyleLbl="node1" presStyleIdx="5" presStyleCnt="12" custLinFactY="-3157" custLinFactNeighborY="-100000">
        <dgm:presLayoutVars>
          <dgm:chMax val="0"/>
          <dgm:bulletEnabled val="1"/>
        </dgm:presLayoutVars>
      </dgm:prSet>
      <dgm:spPr/>
    </dgm:pt>
    <dgm:pt modelId="{E0EF4C21-9429-428D-B9AA-0B76698E6762}" type="pres">
      <dgm:prSet presAssocID="{3A22DF32-9CCD-49F4-BE00-E443085FEAB9}" presName="spacer" presStyleCnt="0"/>
      <dgm:spPr/>
    </dgm:pt>
    <dgm:pt modelId="{1B90FA74-70AF-4A60-8AE6-E56D5C176B63}" type="pres">
      <dgm:prSet presAssocID="{163AE78F-C1BF-4EF1-80D2-77D4069B5B7C}" presName="parentText" presStyleLbl="node1" presStyleIdx="6" presStyleCnt="12" custLinFactY="-18322" custLinFactNeighborY="-100000">
        <dgm:presLayoutVars>
          <dgm:chMax val="0"/>
          <dgm:bulletEnabled val="1"/>
        </dgm:presLayoutVars>
      </dgm:prSet>
      <dgm:spPr/>
    </dgm:pt>
    <dgm:pt modelId="{E823FCDC-C29B-457D-BCA5-43D25EB119F5}" type="pres">
      <dgm:prSet presAssocID="{B3749E75-14B1-45EE-B683-92039108214C}" presName="spacer" presStyleCnt="0"/>
      <dgm:spPr/>
    </dgm:pt>
    <dgm:pt modelId="{D15F1125-51D8-4F7D-AB13-569C7B2AAC03}" type="pres">
      <dgm:prSet presAssocID="{3FD7D732-E738-478A-A5B5-1567E695B982}" presName="parentText" presStyleLbl="node1" presStyleIdx="7" presStyleCnt="12" custLinFactY="-27421" custLinFactNeighborY="-100000">
        <dgm:presLayoutVars>
          <dgm:chMax val="0"/>
          <dgm:bulletEnabled val="1"/>
        </dgm:presLayoutVars>
      </dgm:prSet>
      <dgm:spPr/>
    </dgm:pt>
    <dgm:pt modelId="{6A205C13-F5AB-4747-B2DA-6042300A736C}" type="pres">
      <dgm:prSet presAssocID="{7301C40C-EF8C-45EB-9984-BAFB49E97520}" presName="spacer" presStyleCnt="0"/>
      <dgm:spPr/>
    </dgm:pt>
    <dgm:pt modelId="{5B0F6D0F-3FB3-449C-8392-068EF662A8E0}" type="pres">
      <dgm:prSet presAssocID="{FBE8C6E1-97C5-4E98-9ABF-52CCFAE3323F}" presName="parentText" presStyleLbl="node1" presStyleIdx="8" presStyleCnt="12" custLinFactY="-39552" custLinFactNeighborY="-100000">
        <dgm:presLayoutVars>
          <dgm:chMax val="0"/>
          <dgm:bulletEnabled val="1"/>
        </dgm:presLayoutVars>
      </dgm:prSet>
      <dgm:spPr/>
    </dgm:pt>
    <dgm:pt modelId="{D2307E6C-78AC-4E57-82B3-5FA0FFB1C117}" type="pres">
      <dgm:prSet presAssocID="{1A617D9C-31C2-4864-B89A-1A94722E75F4}" presName="spacer" presStyleCnt="0"/>
      <dgm:spPr/>
    </dgm:pt>
    <dgm:pt modelId="{F937EF7A-2AE0-4394-8D14-694C3B4270FC}" type="pres">
      <dgm:prSet presAssocID="{D19D664D-E283-4487-8214-ECAB383DD033}" presName="parentText" presStyleLbl="node1" presStyleIdx="9" presStyleCnt="12" custLinFactY="-54717" custLinFactNeighborY="-100000">
        <dgm:presLayoutVars>
          <dgm:chMax val="0"/>
          <dgm:bulletEnabled val="1"/>
        </dgm:presLayoutVars>
      </dgm:prSet>
      <dgm:spPr/>
    </dgm:pt>
    <dgm:pt modelId="{729AE455-688C-46AB-94C1-673D9B8FA5D3}" type="pres">
      <dgm:prSet presAssocID="{DBDFBC7C-DF4C-43F9-AADA-8D5F341A98B7}" presName="spacer" presStyleCnt="0"/>
      <dgm:spPr/>
    </dgm:pt>
    <dgm:pt modelId="{F74A9515-958A-45C9-9D23-AD3CE6252666}" type="pres">
      <dgm:prSet presAssocID="{65F0A215-EFD2-4640-AAB9-1A410579607C}" presName="parentText" presStyleLbl="node1" presStyleIdx="10" presStyleCnt="12" custLinFactY="-63815" custLinFactNeighborY="-100000">
        <dgm:presLayoutVars>
          <dgm:chMax val="0"/>
          <dgm:bulletEnabled val="1"/>
        </dgm:presLayoutVars>
      </dgm:prSet>
      <dgm:spPr/>
    </dgm:pt>
    <dgm:pt modelId="{86E8F3E3-953D-48B6-86BA-A6F3C5D796A8}" type="pres">
      <dgm:prSet presAssocID="{3A504A87-6892-4891-AA0D-CB796692BCC5}" presName="spacer" presStyleCnt="0"/>
      <dgm:spPr/>
    </dgm:pt>
    <dgm:pt modelId="{71531078-8C6A-4CC7-B98F-C032AB333EED}" type="pres">
      <dgm:prSet presAssocID="{E033FC2C-9FB0-4F08-BCAB-2C79CAE00D9A}" presName="parentText" presStyleLbl="node1" presStyleIdx="11" presStyleCnt="12" custLinFactY="-66849" custLinFactNeighborY="-100000">
        <dgm:presLayoutVars>
          <dgm:chMax val="0"/>
          <dgm:bulletEnabled val="1"/>
        </dgm:presLayoutVars>
      </dgm:prSet>
      <dgm:spPr/>
    </dgm:pt>
  </dgm:ptLst>
  <dgm:cxnLst>
    <dgm:cxn modelId="{FF59F101-7708-5D47-92A1-8BDD8CE20B19}" type="presOf" srcId="{163AE78F-C1BF-4EF1-80D2-77D4069B5B7C}" destId="{1B90FA74-70AF-4A60-8AE6-E56D5C176B63}" srcOrd="0" destOrd="0" presId="urn:microsoft.com/office/officeart/2005/8/layout/vList2"/>
    <dgm:cxn modelId="{A9AEB706-2D2F-463D-B6BA-527C1588D2F9}" srcId="{69CB1896-6809-4D90-920F-D0B853FBC78B}" destId="{FBE8C6E1-97C5-4E98-9ABF-52CCFAE3323F}" srcOrd="8" destOrd="0" parTransId="{0F3CA299-56C7-484F-92C3-2AFC6292DDF6}" sibTransId="{1A617D9C-31C2-4864-B89A-1A94722E75F4}"/>
    <dgm:cxn modelId="{5817A607-5AEA-47C2-8649-C28F581C9F17}" srcId="{69CB1896-6809-4D90-920F-D0B853FBC78B}" destId="{2A7E5286-1A3B-4768-B238-930D0254BCFB}" srcOrd="1" destOrd="0" parTransId="{DB6569FD-C8A4-4A00-BD99-3EBE35398131}" sibTransId="{3CA313FB-D753-4A62-A7A2-BB8B6EC0D8BD}"/>
    <dgm:cxn modelId="{0760CB0E-3617-744C-A348-28CE9D1115ED}" type="presOf" srcId="{2A7E5286-1A3B-4768-B238-930D0254BCFB}" destId="{B8C360BF-BCB5-4DFF-A178-F542FBD620A1}" srcOrd="0" destOrd="0" presId="urn:microsoft.com/office/officeart/2005/8/layout/vList2"/>
    <dgm:cxn modelId="{3D9CFC24-E768-48D4-8294-AF425B53709D}" srcId="{69CB1896-6809-4D90-920F-D0B853FBC78B}" destId="{C7C621B3-ED76-411F-B2FD-09486C432863}" srcOrd="3" destOrd="0" parTransId="{FAB21667-3032-40A6-9AB4-00CEB23FFBE4}" sibTransId="{B32D603D-9BB9-431C-808E-00271F3227D9}"/>
    <dgm:cxn modelId="{7CC1332B-0DA9-48E1-BFFD-8AEA4149A220}" srcId="{69CB1896-6809-4D90-920F-D0B853FBC78B}" destId="{C1CE8760-804B-4437-8481-15A95B200F83}" srcOrd="2" destOrd="0" parTransId="{502D8BD7-E6D7-4ECC-BAEE-25EF56687252}" sibTransId="{F5165C77-8710-484F-AEB2-0478AA875436}"/>
    <dgm:cxn modelId="{208A8630-4513-4811-8EC7-EC786176A01A}" srcId="{69CB1896-6809-4D90-920F-D0B853FBC78B}" destId="{0E52CAA0-697F-4506-92F9-68B0B6522DAB}" srcOrd="4" destOrd="0" parTransId="{EC3E71A2-8C78-40DF-B160-FA2D75C216FC}" sibTransId="{6EE954FE-025E-4E79-9513-A45F5077A042}"/>
    <dgm:cxn modelId="{A79B323C-0FDB-4B4B-86A4-5D4ABC559653}" type="presOf" srcId="{404380BF-37C5-42FA-9F31-503C0716C566}" destId="{D6DC8F2A-F02D-4313-8611-AD029FF97A4D}" srcOrd="0" destOrd="0" presId="urn:microsoft.com/office/officeart/2005/8/layout/vList2"/>
    <dgm:cxn modelId="{53135E4F-DED3-CD43-8293-956AB4F147D1}" type="presOf" srcId="{C7C621B3-ED76-411F-B2FD-09486C432863}" destId="{9B76216C-1BD8-49F1-8E47-D879D9CFE02A}" srcOrd="0" destOrd="0" presId="urn:microsoft.com/office/officeart/2005/8/layout/vList2"/>
    <dgm:cxn modelId="{3B59C562-D96C-9746-BDEA-F94D8D72965E}" type="presOf" srcId="{DA338605-166E-46C4-ACA1-3B363957A31F}" destId="{C92C7CDE-9799-4AEE-9C61-1F46215951AC}" srcOrd="0" destOrd="0" presId="urn:microsoft.com/office/officeart/2005/8/layout/vList2"/>
    <dgm:cxn modelId="{20B50172-1B14-F24B-9648-1EA04234CA95}" type="presOf" srcId="{65F0A215-EFD2-4640-AAB9-1A410579607C}" destId="{F74A9515-958A-45C9-9D23-AD3CE6252666}" srcOrd="0" destOrd="0" presId="urn:microsoft.com/office/officeart/2005/8/layout/vList2"/>
    <dgm:cxn modelId="{A928A573-6121-4B51-899C-228A798D5DA6}" srcId="{69CB1896-6809-4D90-920F-D0B853FBC78B}" destId="{404380BF-37C5-42FA-9F31-503C0716C566}" srcOrd="0" destOrd="0" parTransId="{A4C7FE80-3271-4174-9F58-9F2176C6C7E7}" sibTransId="{E0AF66CF-60E1-4E4F-B05A-445403613945}"/>
    <dgm:cxn modelId="{CB860074-BD39-5D4B-941F-D1B9E8191320}" type="presOf" srcId="{FBE8C6E1-97C5-4E98-9ABF-52CCFAE3323F}" destId="{5B0F6D0F-3FB3-449C-8392-068EF662A8E0}" srcOrd="0" destOrd="0" presId="urn:microsoft.com/office/officeart/2005/8/layout/vList2"/>
    <dgm:cxn modelId="{75819274-ED25-DC48-AEC9-ED953A4A0316}" type="presOf" srcId="{0E52CAA0-697F-4506-92F9-68B0B6522DAB}" destId="{CC6D5635-6D03-49B3-A298-883488D7E61B}" srcOrd="0" destOrd="0" presId="urn:microsoft.com/office/officeart/2005/8/layout/vList2"/>
    <dgm:cxn modelId="{FDBF0C77-34E0-49F5-B6EC-AB8DD0C74804}" srcId="{69CB1896-6809-4D90-920F-D0B853FBC78B}" destId="{DA338605-166E-46C4-ACA1-3B363957A31F}" srcOrd="5" destOrd="0" parTransId="{D9B36CC7-B4DA-4583-9BE8-C753F279BBA5}" sibTransId="{3A22DF32-9CCD-49F4-BE00-E443085FEAB9}"/>
    <dgm:cxn modelId="{8FF91781-6652-46D2-B8C6-BE9434A2166B}" srcId="{69CB1896-6809-4D90-920F-D0B853FBC78B}" destId="{D19D664D-E283-4487-8214-ECAB383DD033}" srcOrd="9" destOrd="0" parTransId="{0D7E42AE-87EE-46ED-99CB-2E209AEDB9CF}" sibTransId="{DBDFBC7C-DF4C-43F9-AADA-8D5F341A98B7}"/>
    <dgm:cxn modelId="{8055F092-2319-3346-A90B-5124D306A88D}" type="presOf" srcId="{3FD7D732-E738-478A-A5B5-1567E695B982}" destId="{D15F1125-51D8-4F7D-AB13-569C7B2AAC03}" srcOrd="0" destOrd="0" presId="urn:microsoft.com/office/officeart/2005/8/layout/vList2"/>
    <dgm:cxn modelId="{F5CFF6AE-F2CD-A84F-B512-FD82B4940D8E}" type="presOf" srcId="{E033FC2C-9FB0-4F08-BCAB-2C79CAE00D9A}" destId="{71531078-8C6A-4CC7-B98F-C032AB333EED}" srcOrd="0" destOrd="0" presId="urn:microsoft.com/office/officeart/2005/8/layout/vList2"/>
    <dgm:cxn modelId="{165294B2-6E5B-4D4F-81EB-FB607320ED8B}" srcId="{69CB1896-6809-4D90-920F-D0B853FBC78B}" destId="{65F0A215-EFD2-4640-AAB9-1A410579607C}" srcOrd="10" destOrd="0" parTransId="{623AFF44-DBE1-4BCB-982D-B608DD31C3CB}" sibTransId="{3A504A87-6892-4891-AA0D-CB796692BCC5}"/>
    <dgm:cxn modelId="{A90FC6BB-E899-4205-869B-61852EFBC839}" srcId="{69CB1896-6809-4D90-920F-D0B853FBC78B}" destId="{E033FC2C-9FB0-4F08-BCAB-2C79CAE00D9A}" srcOrd="11" destOrd="0" parTransId="{BF26F867-35B4-4270-9C5D-D4DF2FE9397E}" sibTransId="{EBBC9BD3-7FE5-4D06-9426-5202DD61A713}"/>
    <dgm:cxn modelId="{D610C6E0-6826-B742-BD58-92CF077F39CA}" type="presOf" srcId="{69CB1896-6809-4D90-920F-D0B853FBC78B}" destId="{551A5A59-142A-4C67-96EB-B2BD1BD08EF1}" srcOrd="0" destOrd="0" presId="urn:microsoft.com/office/officeart/2005/8/layout/vList2"/>
    <dgm:cxn modelId="{22F5E4E9-6BF3-4BE6-BED2-5A5B54FB1B8D}" srcId="{69CB1896-6809-4D90-920F-D0B853FBC78B}" destId="{163AE78F-C1BF-4EF1-80D2-77D4069B5B7C}" srcOrd="6" destOrd="0" parTransId="{4B60DC6D-A425-4E39-9AFC-A5649115C8C2}" sibTransId="{B3749E75-14B1-45EE-B683-92039108214C}"/>
    <dgm:cxn modelId="{D2AFCBEB-19E7-EE4A-8DF4-0B8E07831CFD}" type="presOf" srcId="{C1CE8760-804B-4437-8481-15A95B200F83}" destId="{32939B1D-236C-4722-BED5-6B570DDE0B67}" srcOrd="0" destOrd="0" presId="urn:microsoft.com/office/officeart/2005/8/layout/vList2"/>
    <dgm:cxn modelId="{17C625FC-7644-014C-B654-AF147BB33464}" type="presOf" srcId="{D19D664D-E283-4487-8214-ECAB383DD033}" destId="{F937EF7A-2AE0-4394-8D14-694C3B4270FC}" srcOrd="0" destOrd="0" presId="urn:microsoft.com/office/officeart/2005/8/layout/vList2"/>
    <dgm:cxn modelId="{EFFEE2FC-B37F-4EC6-AB91-8573D24F194E}" srcId="{69CB1896-6809-4D90-920F-D0B853FBC78B}" destId="{3FD7D732-E738-478A-A5B5-1567E695B982}" srcOrd="7" destOrd="0" parTransId="{CF4CA777-3EFB-448B-B16A-4441E4CB7E97}" sibTransId="{7301C40C-EF8C-45EB-9984-BAFB49E97520}"/>
    <dgm:cxn modelId="{86910118-29F6-A64B-B29A-300ED2038D21}" type="presParOf" srcId="{551A5A59-142A-4C67-96EB-B2BD1BD08EF1}" destId="{D6DC8F2A-F02D-4313-8611-AD029FF97A4D}" srcOrd="0" destOrd="0" presId="urn:microsoft.com/office/officeart/2005/8/layout/vList2"/>
    <dgm:cxn modelId="{EC81048F-678C-6B4D-B997-AD9FEC1CB676}" type="presParOf" srcId="{551A5A59-142A-4C67-96EB-B2BD1BD08EF1}" destId="{AC01C74D-3C7E-4748-9948-7EE38006E34D}" srcOrd="1" destOrd="0" presId="urn:microsoft.com/office/officeart/2005/8/layout/vList2"/>
    <dgm:cxn modelId="{9C775679-CCE4-0D4C-9BF5-1328AAFE56BE}" type="presParOf" srcId="{551A5A59-142A-4C67-96EB-B2BD1BD08EF1}" destId="{B8C360BF-BCB5-4DFF-A178-F542FBD620A1}" srcOrd="2" destOrd="0" presId="urn:microsoft.com/office/officeart/2005/8/layout/vList2"/>
    <dgm:cxn modelId="{A9B74B8E-23B4-664E-956B-B7CFD243C6D2}" type="presParOf" srcId="{551A5A59-142A-4C67-96EB-B2BD1BD08EF1}" destId="{DDFE6099-2D4D-4119-A96E-F14E0702A027}" srcOrd="3" destOrd="0" presId="urn:microsoft.com/office/officeart/2005/8/layout/vList2"/>
    <dgm:cxn modelId="{04D4BB0A-AE56-A545-A652-89E169EA4CBE}" type="presParOf" srcId="{551A5A59-142A-4C67-96EB-B2BD1BD08EF1}" destId="{32939B1D-236C-4722-BED5-6B570DDE0B67}" srcOrd="4" destOrd="0" presId="urn:microsoft.com/office/officeart/2005/8/layout/vList2"/>
    <dgm:cxn modelId="{B127B736-625B-9547-BBBC-44B447271540}" type="presParOf" srcId="{551A5A59-142A-4C67-96EB-B2BD1BD08EF1}" destId="{1C852BCF-4E7D-4E91-B9A0-06D0F440952E}" srcOrd="5" destOrd="0" presId="urn:microsoft.com/office/officeart/2005/8/layout/vList2"/>
    <dgm:cxn modelId="{0286A513-5547-D841-BAA0-EBE786AC4510}" type="presParOf" srcId="{551A5A59-142A-4C67-96EB-B2BD1BD08EF1}" destId="{9B76216C-1BD8-49F1-8E47-D879D9CFE02A}" srcOrd="6" destOrd="0" presId="urn:microsoft.com/office/officeart/2005/8/layout/vList2"/>
    <dgm:cxn modelId="{7DE4C7A5-9AC9-B94B-B24E-5C48C5B92E2F}" type="presParOf" srcId="{551A5A59-142A-4C67-96EB-B2BD1BD08EF1}" destId="{4A5389B9-446F-426F-A4BB-D168CFDE3B27}" srcOrd="7" destOrd="0" presId="urn:microsoft.com/office/officeart/2005/8/layout/vList2"/>
    <dgm:cxn modelId="{C7AB2CE8-3F54-624D-80F4-C40A3701599E}" type="presParOf" srcId="{551A5A59-142A-4C67-96EB-B2BD1BD08EF1}" destId="{CC6D5635-6D03-49B3-A298-883488D7E61B}" srcOrd="8" destOrd="0" presId="urn:microsoft.com/office/officeart/2005/8/layout/vList2"/>
    <dgm:cxn modelId="{9041A6E3-FE48-BB4F-805D-E0505630CA02}" type="presParOf" srcId="{551A5A59-142A-4C67-96EB-B2BD1BD08EF1}" destId="{F38503CF-A958-4BB9-924F-D4160CAD11E5}" srcOrd="9" destOrd="0" presId="urn:microsoft.com/office/officeart/2005/8/layout/vList2"/>
    <dgm:cxn modelId="{CD2F8CF3-A266-0A47-B5BD-1568C6B8B1DA}" type="presParOf" srcId="{551A5A59-142A-4C67-96EB-B2BD1BD08EF1}" destId="{C92C7CDE-9799-4AEE-9C61-1F46215951AC}" srcOrd="10" destOrd="0" presId="urn:microsoft.com/office/officeart/2005/8/layout/vList2"/>
    <dgm:cxn modelId="{86019053-2014-A04A-8203-28822AF89D33}" type="presParOf" srcId="{551A5A59-142A-4C67-96EB-B2BD1BD08EF1}" destId="{E0EF4C21-9429-428D-B9AA-0B76698E6762}" srcOrd="11" destOrd="0" presId="urn:microsoft.com/office/officeart/2005/8/layout/vList2"/>
    <dgm:cxn modelId="{28E232E8-E2DC-F844-84E9-5AEBCA5C7DFE}" type="presParOf" srcId="{551A5A59-142A-4C67-96EB-B2BD1BD08EF1}" destId="{1B90FA74-70AF-4A60-8AE6-E56D5C176B63}" srcOrd="12" destOrd="0" presId="urn:microsoft.com/office/officeart/2005/8/layout/vList2"/>
    <dgm:cxn modelId="{882B6C28-7515-9044-8629-E381314F8B05}" type="presParOf" srcId="{551A5A59-142A-4C67-96EB-B2BD1BD08EF1}" destId="{E823FCDC-C29B-457D-BCA5-43D25EB119F5}" srcOrd="13" destOrd="0" presId="urn:microsoft.com/office/officeart/2005/8/layout/vList2"/>
    <dgm:cxn modelId="{0B751B14-FF41-684E-8282-7605EB7EC8D4}" type="presParOf" srcId="{551A5A59-142A-4C67-96EB-B2BD1BD08EF1}" destId="{D15F1125-51D8-4F7D-AB13-569C7B2AAC03}" srcOrd="14" destOrd="0" presId="urn:microsoft.com/office/officeart/2005/8/layout/vList2"/>
    <dgm:cxn modelId="{F0DFA62F-9055-544D-9C6D-41DD161C2DC5}" type="presParOf" srcId="{551A5A59-142A-4C67-96EB-B2BD1BD08EF1}" destId="{6A205C13-F5AB-4747-B2DA-6042300A736C}" srcOrd="15" destOrd="0" presId="urn:microsoft.com/office/officeart/2005/8/layout/vList2"/>
    <dgm:cxn modelId="{A56DF417-8287-EE4E-A890-A6CC8F669CA6}" type="presParOf" srcId="{551A5A59-142A-4C67-96EB-B2BD1BD08EF1}" destId="{5B0F6D0F-3FB3-449C-8392-068EF662A8E0}" srcOrd="16" destOrd="0" presId="urn:microsoft.com/office/officeart/2005/8/layout/vList2"/>
    <dgm:cxn modelId="{D0889402-3304-D84F-8C80-64A175B3995E}" type="presParOf" srcId="{551A5A59-142A-4C67-96EB-B2BD1BD08EF1}" destId="{D2307E6C-78AC-4E57-82B3-5FA0FFB1C117}" srcOrd="17" destOrd="0" presId="urn:microsoft.com/office/officeart/2005/8/layout/vList2"/>
    <dgm:cxn modelId="{2B918DED-3BDB-8245-802D-2D80E37BF071}" type="presParOf" srcId="{551A5A59-142A-4C67-96EB-B2BD1BD08EF1}" destId="{F937EF7A-2AE0-4394-8D14-694C3B4270FC}" srcOrd="18" destOrd="0" presId="urn:microsoft.com/office/officeart/2005/8/layout/vList2"/>
    <dgm:cxn modelId="{416080A1-79D4-1245-B32B-9AAD2794F23B}" type="presParOf" srcId="{551A5A59-142A-4C67-96EB-B2BD1BD08EF1}" destId="{729AE455-688C-46AB-94C1-673D9B8FA5D3}" srcOrd="19" destOrd="0" presId="urn:microsoft.com/office/officeart/2005/8/layout/vList2"/>
    <dgm:cxn modelId="{539D8EAF-D04C-2540-B42F-75D26FA6AF2B}" type="presParOf" srcId="{551A5A59-142A-4C67-96EB-B2BD1BD08EF1}" destId="{F74A9515-958A-45C9-9D23-AD3CE6252666}" srcOrd="20" destOrd="0" presId="urn:microsoft.com/office/officeart/2005/8/layout/vList2"/>
    <dgm:cxn modelId="{5E274EE2-849D-1548-A5A4-C4242E6D0F24}" type="presParOf" srcId="{551A5A59-142A-4C67-96EB-B2BD1BD08EF1}" destId="{86E8F3E3-953D-48B6-86BA-A6F3C5D796A8}" srcOrd="21" destOrd="0" presId="urn:microsoft.com/office/officeart/2005/8/layout/vList2"/>
    <dgm:cxn modelId="{CF5818F3-B689-214F-9806-D72602617C83}" type="presParOf" srcId="{551A5A59-142A-4C67-96EB-B2BD1BD08EF1}" destId="{71531078-8C6A-4CC7-B98F-C032AB333EED}" srcOrd="2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BD73AEA-73E9-40D4-AB92-8C986EF5AAE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7531239-0ACD-4735-85E2-CCED81E35257}">
      <dgm:prSet custT="1"/>
      <dgm:spPr/>
      <dgm:t>
        <a:bodyPr/>
        <a:lstStyle/>
        <a:p>
          <a:pPr algn="r" rtl="0">
            <a:lnSpc>
              <a:spcPct val="100000"/>
            </a:lnSpc>
          </a:pPr>
          <a:r>
            <a:rPr lang="en-IN" sz="1600" dirty="0"/>
            <a:t>Intelligent government services</a:t>
          </a:r>
        </a:p>
      </dgm:t>
    </dgm:pt>
    <dgm:pt modelId="{F0EDAF53-AA10-452C-AEF4-688782520B61}" type="parTrans" cxnId="{BD7BE496-191E-4C11-8016-567656EB006A}">
      <dgm:prSet/>
      <dgm:spPr/>
      <dgm:t>
        <a:bodyPr/>
        <a:lstStyle/>
        <a:p>
          <a:pPr algn="r">
            <a:lnSpc>
              <a:spcPct val="100000"/>
            </a:lnSpc>
          </a:pPr>
          <a:endParaRPr lang="en-US" sz="1600"/>
        </a:p>
      </dgm:t>
    </dgm:pt>
    <dgm:pt modelId="{2F42ED81-3557-46E1-82F6-908C5071573F}" type="sibTrans" cxnId="{BD7BE496-191E-4C11-8016-567656EB006A}">
      <dgm:prSet/>
      <dgm:spPr/>
      <dgm:t>
        <a:bodyPr/>
        <a:lstStyle/>
        <a:p>
          <a:pPr algn="r">
            <a:lnSpc>
              <a:spcPct val="100000"/>
            </a:lnSpc>
          </a:pPr>
          <a:endParaRPr lang="en-US" sz="1600"/>
        </a:p>
      </dgm:t>
    </dgm:pt>
    <dgm:pt modelId="{46FD1069-5A57-4F18-B751-6AA3123C401A}">
      <dgm:prSet custT="1"/>
      <dgm:spPr/>
      <dgm:t>
        <a:bodyPr/>
        <a:lstStyle/>
        <a:p>
          <a:pPr algn="r" rtl="0">
            <a:lnSpc>
              <a:spcPct val="100000"/>
            </a:lnSpc>
          </a:pPr>
          <a:r>
            <a:rPr lang="en-IN" sz="1600" dirty="0"/>
            <a:t>Energy supply</a:t>
          </a:r>
        </a:p>
      </dgm:t>
    </dgm:pt>
    <dgm:pt modelId="{F7999EE1-585F-4B25-88EE-E2294A89CD1D}" type="parTrans" cxnId="{A56ABA0D-A5E1-4AC6-A710-F530A79537A1}">
      <dgm:prSet/>
      <dgm:spPr/>
      <dgm:t>
        <a:bodyPr/>
        <a:lstStyle/>
        <a:p>
          <a:pPr algn="r">
            <a:lnSpc>
              <a:spcPct val="100000"/>
            </a:lnSpc>
          </a:pPr>
          <a:endParaRPr lang="en-US" sz="1600"/>
        </a:p>
      </dgm:t>
    </dgm:pt>
    <dgm:pt modelId="{5DB7B0F4-A412-4FA7-AA40-4FB4D8D9B8D0}" type="sibTrans" cxnId="{A56ABA0D-A5E1-4AC6-A710-F530A79537A1}">
      <dgm:prSet/>
      <dgm:spPr/>
      <dgm:t>
        <a:bodyPr/>
        <a:lstStyle/>
        <a:p>
          <a:pPr algn="r">
            <a:lnSpc>
              <a:spcPct val="100000"/>
            </a:lnSpc>
          </a:pPr>
          <a:endParaRPr lang="en-US" sz="1600"/>
        </a:p>
      </dgm:t>
    </dgm:pt>
    <dgm:pt modelId="{1088EAED-B1A9-4995-BF7B-FDC723A80786}">
      <dgm:prSet custT="1"/>
      <dgm:spPr/>
      <dgm:t>
        <a:bodyPr/>
        <a:lstStyle/>
        <a:p>
          <a:pPr algn="r" rtl="0">
            <a:lnSpc>
              <a:spcPct val="100000"/>
            </a:lnSpc>
          </a:pPr>
          <a:r>
            <a:rPr lang="en-IN" sz="1600"/>
            <a:t>Energy source</a:t>
          </a:r>
        </a:p>
      </dgm:t>
    </dgm:pt>
    <dgm:pt modelId="{2BBD6350-5466-4585-A780-E3063571F828}" type="parTrans" cxnId="{CB9FCBAB-6A0E-4150-85D1-C4DC7C63A1BC}">
      <dgm:prSet/>
      <dgm:spPr/>
      <dgm:t>
        <a:bodyPr/>
        <a:lstStyle/>
        <a:p>
          <a:pPr algn="r">
            <a:lnSpc>
              <a:spcPct val="100000"/>
            </a:lnSpc>
          </a:pPr>
          <a:endParaRPr lang="en-US" sz="1600"/>
        </a:p>
      </dgm:t>
    </dgm:pt>
    <dgm:pt modelId="{B819BD22-0EFA-4A95-8E7E-70F1BB7A71F1}" type="sibTrans" cxnId="{CB9FCBAB-6A0E-4150-85D1-C4DC7C63A1BC}">
      <dgm:prSet/>
      <dgm:spPr/>
      <dgm:t>
        <a:bodyPr/>
        <a:lstStyle/>
        <a:p>
          <a:pPr algn="r">
            <a:lnSpc>
              <a:spcPct val="100000"/>
            </a:lnSpc>
          </a:pPr>
          <a:endParaRPr lang="en-US" sz="1600"/>
        </a:p>
      </dgm:t>
    </dgm:pt>
    <dgm:pt modelId="{BD01E6EC-DCA7-4BDE-9332-3BBFBC3BE0F8}">
      <dgm:prSet custT="1"/>
      <dgm:spPr/>
      <dgm:t>
        <a:bodyPr/>
        <a:lstStyle/>
        <a:p>
          <a:pPr algn="r" rtl="0">
            <a:lnSpc>
              <a:spcPct val="100000"/>
            </a:lnSpc>
          </a:pPr>
          <a:r>
            <a:rPr lang="en-IN" sz="1600" dirty="0"/>
            <a:t>Water supply </a:t>
          </a:r>
        </a:p>
      </dgm:t>
    </dgm:pt>
    <dgm:pt modelId="{BD9CF234-D65E-4325-9607-A7A99AC5E8E8}" type="parTrans" cxnId="{4548618A-EC43-4F79-BF37-4B7BA68D0A67}">
      <dgm:prSet/>
      <dgm:spPr/>
      <dgm:t>
        <a:bodyPr/>
        <a:lstStyle/>
        <a:p>
          <a:pPr algn="r">
            <a:lnSpc>
              <a:spcPct val="100000"/>
            </a:lnSpc>
          </a:pPr>
          <a:endParaRPr lang="en-US" sz="1600"/>
        </a:p>
      </dgm:t>
    </dgm:pt>
    <dgm:pt modelId="{08AEE08A-8FF2-4994-A9C2-A9AACEB702C4}" type="sibTrans" cxnId="{4548618A-EC43-4F79-BF37-4B7BA68D0A67}">
      <dgm:prSet/>
      <dgm:spPr/>
      <dgm:t>
        <a:bodyPr/>
        <a:lstStyle/>
        <a:p>
          <a:pPr algn="r">
            <a:lnSpc>
              <a:spcPct val="100000"/>
            </a:lnSpc>
          </a:pPr>
          <a:endParaRPr lang="en-US" sz="1600"/>
        </a:p>
      </dgm:t>
    </dgm:pt>
    <dgm:pt modelId="{9AF1DDCC-F7BB-4AC4-833C-B792D5A9376D}">
      <dgm:prSet custT="1"/>
      <dgm:spPr/>
      <dgm:t>
        <a:bodyPr/>
        <a:lstStyle/>
        <a:p>
          <a:pPr algn="r" rtl="0">
            <a:lnSpc>
              <a:spcPct val="100000"/>
            </a:lnSpc>
          </a:pPr>
          <a:r>
            <a:rPr lang="en-IN" sz="1600"/>
            <a:t>Waste water management</a:t>
          </a:r>
        </a:p>
      </dgm:t>
    </dgm:pt>
    <dgm:pt modelId="{38911BBD-C25C-4F4D-A7F3-6BCC153AD503}" type="parTrans" cxnId="{BF807934-3A47-4072-AEEE-41885C1086C9}">
      <dgm:prSet/>
      <dgm:spPr/>
      <dgm:t>
        <a:bodyPr/>
        <a:lstStyle/>
        <a:p>
          <a:pPr algn="r">
            <a:lnSpc>
              <a:spcPct val="100000"/>
            </a:lnSpc>
          </a:pPr>
          <a:endParaRPr lang="en-US" sz="1600"/>
        </a:p>
      </dgm:t>
    </dgm:pt>
    <dgm:pt modelId="{A6229B8D-2D10-4A7B-AFC8-33BD731C561A}" type="sibTrans" cxnId="{BF807934-3A47-4072-AEEE-41885C1086C9}">
      <dgm:prSet/>
      <dgm:spPr/>
      <dgm:t>
        <a:bodyPr/>
        <a:lstStyle/>
        <a:p>
          <a:pPr algn="r">
            <a:lnSpc>
              <a:spcPct val="100000"/>
            </a:lnSpc>
          </a:pPr>
          <a:endParaRPr lang="en-US" sz="1600"/>
        </a:p>
      </dgm:t>
    </dgm:pt>
    <dgm:pt modelId="{73533804-E304-4A75-A101-268FCC88E964}">
      <dgm:prSet custT="1"/>
      <dgm:spPr/>
      <dgm:t>
        <a:bodyPr/>
        <a:lstStyle/>
        <a:p>
          <a:pPr algn="r" rtl="0">
            <a:lnSpc>
              <a:spcPct val="100000"/>
            </a:lnSpc>
          </a:pPr>
          <a:r>
            <a:rPr lang="en-IN" sz="1600"/>
            <a:t>Water quality</a:t>
          </a:r>
        </a:p>
      </dgm:t>
    </dgm:pt>
    <dgm:pt modelId="{565B0309-53F2-480E-B110-AEEDA35B8DF9}" type="parTrans" cxnId="{24DCDE33-E30F-4928-A599-34100DFE21DA}">
      <dgm:prSet/>
      <dgm:spPr/>
      <dgm:t>
        <a:bodyPr/>
        <a:lstStyle/>
        <a:p>
          <a:pPr algn="r">
            <a:lnSpc>
              <a:spcPct val="100000"/>
            </a:lnSpc>
          </a:pPr>
          <a:endParaRPr lang="en-US" sz="1600"/>
        </a:p>
      </dgm:t>
    </dgm:pt>
    <dgm:pt modelId="{B1AB0C35-C6E4-43E9-9664-8E5E454DB795}" type="sibTrans" cxnId="{24DCDE33-E30F-4928-A599-34100DFE21DA}">
      <dgm:prSet/>
      <dgm:spPr/>
      <dgm:t>
        <a:bodyPr/>
        <a:lstStyle/>
        <a:p>
          <a:pPr algn="r">
            <a:lnSpc>
              <a:spcPct val="100000"/>
            </a:lnSpc>
          </a:pPr>
          <a:endParaRPr lang="en-US" sz="1600"/>
        </a:p>
      </dgm:t>
    </dgm:pt>
    <dgm:pt modelId="{067FE47E-2C91-492A-8C8D-0D21DA00D8F9}">
      <dgm:prSet custT="1"/>
      <dgm:spPr/>
      <dgm:t>
        <a:bodyPr/>
        <a:lstStyle/>
        <a:p>
          <a:pPr algn="r" rtl="0">
            <a:lnSpc>
              <a:spcPct val="100000"/>
            </a:lnSpc>
          </a:pPr>
          <a:r>
            <a:rPr lang="en-IN" sz="1600"/>
            <a:t>Air quality</a:t>
          </a:r>
        </a:p>
      </dgm:t>
    </dgm:pt>
    <dgm:pt modelId="{E21ED6A1-634A-42D8-B3B0-06BFA92C8E33}" type="parTrans" cxnId="{4B988ABA-4109-4FFA-A468-6D4C101A8E16}">
      <dgm:prSet/>
      <dgm:spPr/>
      <dgm:t>
        <a:bodyPr/>
        <a:lstStyle/>
        <a:p>
          <a:pPr algn="r">
            <a:lnSpc>
              <a:spcPct val="100000"/>
            </a:lnSpc>
          </a:pPr>
          <a:endParaRPr lang="en-US" sz="1600"/>
        </a:p>
      </dgm:t>
    </dgm:pt>
    <dgm:pt modelId="{52BBEF52-376E-4F63-A23A-6BF0C60C2F1E}" type="sibTrans" cxnId="{4B988ABA-4109-4FFA-A468-6D4C101A8E16}">
      <dgm:prSet/>
      <dgm:spPr/>
      <dgm:t>
        <a:bodyPr/>
        <a:lstStyle/>
        <a:p>
          <a:pPr algn="r">
            <a:lnSpc>
              <a:spcPct val="100000"/>
            </a:lnSpc>
          </a:pPr>
          <a:endParaRPr lang="en-US" sz="1600"/>
        </a:p>
      </dgm:t>
    </dgm:pt>
    <dgm:pt modelId="{1D3DDC56-0903-4260-ABC6-6E86F8E1E270}">
      <dgm:prSet custT="1"/>
      <dgm:spPr/>
      <dgm:t>
        <a:bodyPr/>
        <a:lstStyle/>
        <a:p>
          <a:pPr algn="r" rtl="0">
            <a:lnSpc>
              <a:spcPct val="100000"/>
            </a:lnSpc>
          </a:pPr>
          <a:r>
            <a:rPr lang="en-IN" sz="1600"/>
            <a:t>Energy efficiency </a:t>
          </a:r>
        </a:p>
      </dgm:t>
    </dgm:pt>
    <dgm:pt modelId="{2B737893-4090-4C09-8091-7789B5E79C01}" type="parTrans" cxnId="{A882074C-3FBD-4A4A-9551-173DB382357F}">
      <dgm:prSet/>
      <dgm:spPr/>
      <dgm:t>
        <a:bodyPr/>
        <a:lstStyle/>
        <a:p>
          <a:pPr algn="r">
            <a:lnSpc>
              <a:spcPct val="100000"/>
            </a:lnSpc>
          </a:pPr>
          <a:endParaRPr lang="en-US" sz="1600"/>
        </a:p>
      </dgm:t>
    </dgm:pt>
    <dgm:pt modelId="{4A3EE477-205B-46D5-B178-D3BE12F607C6}" type="sibTrans" cxnId="{A882074C-3FBD-4A4A-9551-173DB382357F}">
      <dgm:prSet/>
      <dgm:spPr/>
      <dgm:t>
        <a:bodyPr/>
        <a:lstStyle/>
        <a:p>
          <a:pPr algn="r">
            <a:lnSpc>
              <a:spcPct val="100000"/>
            </a:lnSpc>
          </a:pPr>
          <a:endParaRPr lang="en-US" sz="1600"/>
        </a:p>
      </dgm:t>
    </dgm:pt>
    <dgm:pt modelId="{AB01F38A-FBE9-4867-A802-FEC6B557E138}">
      <dgm:prSet custT="1"/>
      <dgm:spPr/>
      <dgm:t>
        <a:bodyPr/>
        <a:lstStyle/>
        <a:p>
          <a:pPr algn="r" rtl="0">
            <a:lnSpc>
              <a:spcPct val="100000"/>
            </a:lnSpc>
          </a:pPr>
          <a:r>
            <a:rPr lang="en-IN" sz="1600"/>
            <a:t>Underground electric wiring </a:t>
          </a:r>
        </a:p>
      </dgm:t>
    </dgm:pt>
    <dgm:pt modelId="{13135935-4B6B-4193-914F-66E29698905D}" type="parTrans" cxnId="{C9D4980E-BA92-45BD-A072-5D29CB8F5D4B}">
      <dgm:prSet/>
      <dgm:spPr/>
      <dgm:t>
        <a:bodyPr/>
        <a:lstStyle/>
        <a:p>
          <a:pPr algn="r">
            <a:lnSpc>
              <a:spcPct val="100000"/>
            </a:lnSpc>
          </a:pPr>
          <a:endParaRPr lang="en-US" sz="1600"/>
        </a:p>
      </dgm:t>
    </dgm:pt>
    <dgm:pt modelId="{BE027FDE-2039-4842-AC3E-4563E97012F8}" type="sibTrans" cxnId="{C9D4980E-BA92-45BD-A072-5D29CB8F5D4B}">
      <dgm:prSet/>
      <dgm:spPr/>
      <dgm:t>
        <a:bodyPr/>
        <a:lstStyle/>
        <a:p>
          <a:pPr algn="r">
            <a:lnSpc>
              <a:spcPct val="100000"/>
            </a:lnSpc>
          </a:pPr>
          <a:endParaRPr lang="en-US" sz="1600"/>
        </a:p>
      </dgm:t>
    </dgm:pt>
    <dgm:pt modelId="{6B91ED31-72E5-4C1B-BCB8-EA121E91B68B}">
      <dgm:prSet custT="1"/>
      <dgm:spPr/>
      <dgm:t>
        <a:bodyPr/>
        <a:lstStyle/>
        <a:p>
          <a:pPr algn="r" rtl="0">
            <a:lnSpc>
              <a:spcPct val="100000"/>
            </a:lnSpc>
          </a:pPr>
          <a:r>
            <a:rPr lang="en-IN" sz="1600"/>
            <a:t>SanitatIon</a:t>
          </a:r>
        </a:p>
      </dgm:t>
    </dgm:pt>
    <dgm:pt modelId="{A455C930-6C9E-4A0B-B45F-20DD8E552E20}" type="parTrans" cxnId="{F0DFCDD1-3D88-4455-A843-0BDFEEDC7DE9}">
      <dgm:prSet/>
      <dgm:spPr/>
      <dgm:t>
        <a:bodyPr/>
        <a:lstStyle/>
        <a:p>
          <a:pPr algn="r">
            <a:lnSpc>
              <a:spcPct val="100000"/>
            </a:lnSpc>
          </a:pPr>
          <a:endParaRPr lang="en-US" sz="1600"/>
        </a:p>
      </dgm:t>
    </dgm:pt>
    <dgm:pt modelId="{A1522CEA-4A3F-46FF-A4BC-E89171A7AF9B}" type="sibTrans" cxnId="{F0DFCDD1-3D88-4455-A843-0BDFEEDC7DE9}">
      <dgm:prSet/>
      <dgm:spPr/>
      <dgm:t>
        <a:bodyPr/>
        <a:lstStyle/>
        <a:p>
          <a:pPr algn="r">
            <a:lnSpc>
              <a:spcPct val="100000"/>
            </a:lnSpc>
          </a:pPr>
          <a:endParaRPr lang="en-US" sz="1600"/>
        </a:p>
      </dgm:t>
    </dgm:pt>
    <dgm:pt modelId="{DF08FB8C-3BD5-4B7F-9000-0C184EDBD83A}">
      <dgm:prSet custT="1"/>
      <dgm:spPr/>
      <dgm:t>
        <a:bodyPr/>
        <a:lstStyle/>
        <a:p>
          <a:pPr algn="r" rtl="0">
            <a:lnSpc>
              <a:spcPct val="100000"/>
            </a:lnSpc>
          </a:pPr>
          <a:r>
            <a:rPr lang="en-IN" sz="1600"/>
            <a:t>Waste management </a:t>
          </a:r>
        </a:p>
      </dgm:t>
    </dgm:pt>
    <dgm:pt modelId="{CC3212FB-F7D1-46F5-8A01-1DAC5823EE93}" type="parTrans" cxnId="{D3100DB9-6B48-42E9-8B3A-4B6BC0176FF0}">
      <dgm:prSet/>
      <dgm:spPr/>
      <dgm:t>
        <a:bodyPr/>
        <a:lstStyle/>
        <a:p>
          <a:pPr algn="r">
            <a:lnSpc>
              <a:spcPct val="100000"/>
            </a:lnSpc>
          </a:pPr>
          <a:endParaRPr lang="en-US" sz="1600"/>
        </a:p>
      </dgm:t>
    </dgm:pt>
    <dgm:pt modelId="{FC537FAE-89BB-46BA-B74C-5EF4D5825E1B}" type="sibTrans" cxnId="{D3100DB9-6B48-42E9-8B3A-4B6BC0176FF0}">
      <dgm:prSet/>
      <dgm:spPr/>
      <dgm:t>
        <a:bodyPr/>
        <a:lstStyle/>
        <a:p>
          <a:pPr algn="r">
            <a:lnSpc>
              <a:spcPct val="100000"/>
            </a:lnSpc>
          </a:pPr>
          <a:endParaRPr lang="en-US" sz="1600"/>
        </a:p>
      </dgm:t>
    </dgm:pt>
    <dgm:pt modelId="{33EE0F38-C9D9-4910-BE44-42EE4067BC3E}">
      <dgm:prSet custT="1"/>
      <dgm:spPr/>
      <dgm:t>
        <a:bodyPr/>
        <a:lstStyle/>
        <a:p>
          <a:pPr algn="r" rtl="0">
            <a:lnSpc>
              <a:spcPct val="100000"/>
            </a:lnSpc>
          </a:pPr>
          <a:r>
            <a:rPr lang="en-IN" sz="1600"/>
            <a:t>Safety </a:t>
          </a:r>
        </a:p>
      </dgm:t>
    </dgm:pt>
    <dgm:pt modelId="{9569E4B6-7459-4886-ACF1-64F0AA7BC4C4}" type="parTrans" cxnId="{462C19C7-9506-4666-98A8-D6E646BBF71D}">
      <dgm:prSet/>
      <dgm:spPr/>
      <dgm:t>
        <a:bodyPr/>
        <a:lstStyle/>
        <a:p>
          <a:pPr algn="r">
            <a:lnSpc>
              <a:spcPct val="100000"/>
            </a:lnSpc>
          </a:pPr>
          <a:endParaRPr lang="en-US" sz="1600"/>
        </a:p>
      </dgm:t>
    </dgm:pt>
    <dgm:pt modelId="{7E6C2C4C-9029-4179-AC50-BAC8E4C78F30}" type="sibTrans" cxnId="{462C19C7-9506-4666-98A8-D6E646BBF71D}">
      <dgm:prSet/>
      <dgm:spPr/>
      <dgm:t>
        <a:bodyPr/>
        <a:lstStyle/>
        <a:p>
          <a:pPr algn="r">
            <a:lnSpc>
              <a:spcPct val="100000"/>
            </a:lnSpc>
          </a:pPr>
          <a:endParaRPr lang="en-US" sz="1600"/>
        </a:p>
      </dgm:t>
    </dgm:pt>
    <dgm:pt modelId="{44F74276-4554-4EC7-AEE9-4CF4B6C0BD82}" type="pres">
      <dgm:prSet presAssocID="{CBD73AEA-73E9-40D4-AB92-8C986EF5AAE5}" presName="linear" presStyleCnt="0">
        <dgm:presLayoutVars>
          <dgm:animLvl val="lvl"/>
          <dgm:resizeHandles val="exact"/>
        </dgm:presLayoutVars>
      </dgm:prSet>
      <dgm:spPr/>
    </dgm:pt>
    <dgm:pt modelId="{A0EAD223-26CB-46BE-A221-CFA20CF8C09D}" type="pres">
      <dgm:prSet presAssocID="{37531239-0ACD-4735-85E2-CCED81E35257}" presName="parentText" presStyleLbl="node1" presStyleIdx="0" presStyleCnt="12" custLinFactY="51521" custLinFactNeighborX="0" custLinFactNeighborY="100000">
        <dgm:presLayoutVars>
          <dgm:chMax val="0"/>
          <dgm:bulletEnabled val="1"/>
        </dgm:presLayoutVars>
      </dgm:prSet>
      <dgm:spPr/>
    </dgm:pt>
    <dgm:pt modelId="{9F454EF4-369A-4EE8-87A1-32A245C05315}" type="pres">
      <dgm:prSet presAssocID="{2F42ED81-3557-46E1-82F6-908C5071573F}" presName="spacer" presStyleCnt="0"/>
      <dgm:spPr/>
    </dgm:pt>
    <dgm:pt modelId="{0751F58A-49C2-4A46-B972-BB6F2BBFD4A0}" type="pres">
      <dgm:prSet presAssocID="{46FD1069-5A57-4F18-B751-6AA3123C401A}" presName="parentText" presStyleLbl="node1" presStyleIdx="1" presStyleCnt="12" custLinFactY="33274" custLinFactNeighborX="0" custLinFactNeighborY="100000">
        <dgm:presLayoutVars>
          <dgm:chMax val="0"/>
          <dgm:bulletEnabled val="1"/>
        </dgm:presLayoutVars>
      </dgm:prSet>
      <dgm:spPr/>
    </dgm:pt>
    <dgm:pt modelId="{00F6EFC1-4ECD-484C-B619-682295A2456F}" type="pres">
      <dgm:prSet presAssocID="{5DB7B0F4-A412-4FA7-AA40-4FB4D8D9B8D0}" presName="spacer" presStyleCnt="0"/>
      <dgm:spPr/>
    </dgm:pt>
    <dgm:pt modelId="{82134912-EF71-48D5-83D7-D19EA0535598}" type="pres">
      <dgm:prSet presAssocID="{1088EAED-B1A9-4995-BF7B-FDC723A80786}" presName="parentText" presStyleLbl="node1" presStyleIdx="2" presStyleCnt="12" custLinFactY="19536" custLinFactNeighborX="0" custLinFactNeighborY="100000">
        <dgm:presLayoutVars>
          <dgm:chMax val="0"/>
          <dgm:bulletEnabled val="1"/>
        </dgm:presLayoutVars>
      </dgm:prSet>
      <dgm:spPr/>
    </dgm:pt>
    <dgm:pt modelId="{75C84E43-BE9E-454F-9E9F-1A268B8EC7E5}" type="pres">
      <dgm:prSet presAssocID="{B819BD22-0EFA-4A95-8E7E-70F1BB7A71F1}" presName="spacer" presStyleCnt="0"/>
      <dgm:spPr/>
    </dgm:pt>
    <dgm:pt modelId="{4D3257CD-60FE-4D71-98F8-C28B1CD9A8AF}" type="pres">
      <dgm:prSet presAssocID="{BD01E6EC-DCA7-4BDE-9332-3BBFBC3BE0F8}" presName="parentText" presStyleLbl="node1" presStyleIdx="3" presStyleCnt="12" custLinFactY="4152" custLinFactNeighborY="100000">
        <dgm:presLayoutVars>
          <dgm:chMax val="0"/>
          <dgm:bulletEnabled val="1"/>
        </dgm:presLayoutVars>
      </dgm:prSet>
      <dgm:spPr/>
    </dgm:pt>
    <dgm:pt modelId="{2784F01E-1787-43B8-9E51-1A4F88093CAA}" type="pres">
      <dgm:prSet presAssocID="{08AEE08A-8FF2-4994-A9C2-A9AACEB702C4}" presName="spacer" presStyleCnt="0"/>
      <dgm:spPr/>
    </dgm:pt>
    <dgm:pt modelId="{A1B130C3-1136-4D31-B9A9-9861BC684E47}" type="pres">
      <dgm:prSet presAssocID="{9AF1DDCC-F7BB-4AC4-833C-B792D5A9376D}" presName="parentText" presStyleLbl="node1" presStyleIdx="4" presStyleCnt="12" custLinFactNeighborX="-4383" custLinFactNeighborY="78980">
        <dgm:presLayoutVars>
          <dgm:chMax val="0"/>
          <dgm:bulletEnabled val="1"/>
        </dgm:presLayoutVars>
      </dgm:prSet>
      <dgm:spPr/>
    </dgm:pt>
    <dgm:pt modelId="{6435AE44-0603-46A2-9B41-9314A623BCE6}" type="pres">
      <dgm:prSet presAssocID="{A6229B8D-2D10-4A7B-AFC8-33BD731C561A}" presName="spacer" presStyleCnt="0"/>
      <dgm:spPr/>
    </dgm:pt>
    <dgm:pt modelId="{66F055E2-76CE-49E1-A543-32C63533BF69}" type="pres">
      <dgm:prSet presAssocID="{73533804-E304-4A75-A101-268FCC88E964}" presName="parentText" presStyleLbl="node1" presStyleIdx="5" presStyleCnt="12">
        <dgm:presLayoutVars>
          <dgm:chMax val="0"/>
          <dgm:bulletEnabled val="1"/>
        </dgm:presLayoutVars>
      </dgm:prSet>
      <dgm:spPr/>
    </dgm:pt>
    <dgm:pt modelId="{4DF47545-9369-49BE-9699-EBD99403369C}" type="pres">
      <dgm:prSet presAssocID="{B1AB0C35-C6E4-43E9-9664-8E5E454DB795}" presName="spacer" presStyleCnt="0"/>
      <dgm:spPr/>
    </dgm:pt>
    <dgm:pt modelId="{E4DB6AC4-69D2-46A0-9E6B-52949AD998BA}" type="pres">
      <dgm:prSet presAssocID="{067FE47E-2C91-492A-8C8D-0D21DA00D8F9}" presName="parentText" presStyleLbl="node1" presStyleIdx="6" presStyleCnt="12" custLinFactY="-5904" custLinFactNeighborY="-100000">
        <dgm:presLayoutVars>
          <dgm:chMax val="0"/>
          <dgm:bulletEnabled val="1"/>
        </dgm:presLayoutVars>
      </dgm:prSet>
      <dgm:spPr/>
    </dgm:pt>
    <dgm:pt modelId="{7EDCF657-A50D-4EF9-BB5C-2B4EE5402713}" type="pres">
      <dgm:prSet presAssocID="{52BBEF52-376E-4F63-A23A-6BF0C60C2F1E}" presName="spacer" presStyleCnt="0"/>
      <dgm:spPr/>
    </dgm:pt>
    <dgm:pt modelId="{91ADD3D8-F6C6-406B-AB85-A88F8F5A940A}" type="pres">
      <dgm:prSet presAssocID="{1D3DDC56-0903-4260-ABC6-6E86F8E1E270}" presName="parentText" presStyleLbl="node1" presStyleIdx="7" presStyleCnt="12" custLinFactY="-21109" custLinFactNeighborX="-89" custLinFactNeighborY="-100000">
        <dgm:presLayoutVars>
          <dgm:chMax val="0"/>
          <dgm:bulletEnabled val="1"/>
        </dgm:presLayoutVars>
      </dgm:prSet>
      <dgm:spPr/>
    </dgm:pt>
    <dgm:pt modelId="{797347C1-B046-4547-BC5C-32ED6C296784}" type="pres">
      <dgm:prSet presAssocID="{4A3EE477-205B-46D5-B178-D3BE12F607C6}" presName="spacer" presStyleCnt="0"/>
      <dgm:spPr/>
    </dgm:pt>
    <dgm:pt modelId="{EA7EC53A-93C0-4DC7-8E25-F782FA3A8DA6}" type="pres">
      <dgm:prSet presAssocID="{AB01F38A-FBE9-4867-A802-FEC6B557E138}" presName="parentText" presStyleLbl="node1" presStyleIdx="8" presStyleCnt="12" custLinFactY="-39356" custLinFactNeighborX="-89" custLinFactNeighborY="-100000">
        <dgm:presLayoutVars>
          <dgm:chMax val="0"/>
          <dgm:bulletEnabled val="1"/>
        </dgm:presLayoutVars>
      </dgm:prSet>
      <dgm:spPr/>
    </dgm:pt>
    <dgm:pt modelId="{41A5280F-6C32-4897-BF20-F746FC4E6BD9}" type="pres">
      <dgm:prSet presAssocID="{BE027FDE-2039-4842-AC3E-4563E97012F8}" presName="spacer" presStyleCnt="0"/>
      <dgm:spPr/>
    </dgm:pt>
    <dgm:pt modelId="{0A09939D-3153-4C74-9A10-E6DFDF26EF44}" type="pres">
      <dgm:prSet presAssocID="{6B91ED31-72E5-4C1B-BCB8-EA121E91B68B}" presName="parentText" presStyleLbl="node1" presStyleIdx="9" presStyleCnt="12" custLinFactY="-57603" custLinFactNeighborX="1090" custLinFactNeighborY="-100000">
        <dgm:presLayoutVars>
          <dgm:chMax val="0"/>
          <dgm:bulletEnabled val="1"/>
        </dgm:presLayoutVars>
      </dgm:prSet>
      <dgm:spPr/>
    </dgm:pt>
    <dgm:pt modelId="{57824D9E-BD44-46D0-AA13-B4946EACC060}" type="pres">
      <dgm:prSet presAssocID="{A1522CEA-4A3F-46FF-A4BC-E89171A7AF9B}" presName="spacer" presStyleCnt="0"/>
      <dgm:spPr/>
    </dgm:pt>
    <dgm:pt modelId="{9DD1FA68-C616-413A-8FB7-5E82FA3CD073}" type="pres">
      <dgm:prSet presAssocID="{DF08FB8C-3BD5-4B7F-9000-0C184EDBD83A}" presName="parentText" presStyleLbl="node1" presStyleIdx="10" presStyleCnt="12" custLinFactY="-72809" custLinFactNeighborX="-89" custLinFactNeighborY="-100000">
        <dgm:presLayoutVars>
          <dgm:chMax val="0"/>
          <dgm:bulletEnabled val="1"/>
        </dgm:presLayoutVars>
      </dgm:prSet>
      <dgm:spPr/>
    </dgm:pt>
    <dgm:pt modelId="{451DC646-292A-4B55-B348-14637A52BCA3}" type="pres">
      <dgm:prSet presAssocID="{FC537FAE-89BB-46BA-B74C-5EF4D5825E1B}" presName="spacer" presStyleCnt="0"/>
      <dgm:spPr/>
    </dgm:pt>
    <dgm:pt modelId="{8B22EF16-09B5-4DBD-9EE9-581C5AFDBFEC}" type="pres">
      <dgm:prSet presAssocID="{33EE0F38-C9D9-4910-BE44-42EE4067BC3E}" presName="parentText" presStyleLbl="node1" presStyleIdx="11" presStyleCnt="12" custLinFactY="-94097" custLinFactNeighborX="-89" custLinFactNeighborY="-100000">
        <dgm:presLayoutVars>
          <dgm:chMax val="0"/>
          <dgm:bulletEnabled val="1"/>
        </dgm:presLayoutVars>
      </dgm:prSet>
      <dgm:spPr/>
    </dgm:pt>
  </dgm:ptLst>
  <dgm:cxnLst>
    <dgm:cxn modelId="{A56ABA0D-A5E1-4AC6-A710-F530A79537A1}" srcId="{CBD73AEA-73E9-40D4-AB92-8C986EF5AAE5}" destId="{46FD1069-5A57-4F18-B751-6AA3123C401A}" srcOrd="1" destOrd="0" parTransId="{F7999EE1-585F-4B25-88EE-E2294A89CD1D}" sibTransId="{5DB7B0F4-A412-4FA7-AA40-4FB4D8D9B8D0}"/>
    <dgm:cxn modelId="{C9D4980E-BA92-45BD-A072-5D29CB8F5D4B}" srcId="{CBD73AEA-73E9-40D4-AB92-8C986EF5AAE5}" destId="{AB01F38A-FBE9-4867-A802-FEC6B557E138}" srcOrd="8" destOrd="0" parTransId="{13135935-4B6B-4193-914F-66E29698905D}" sibTransId="{BE027FDE-2039-4842-AC3E-4563E97012F8}"/>
    <dgm:cxn modelId="{235EB00E-64A1-BE4E-9786-E1979F0E5328}" type="presOf" srcId="{DF08FB8C-3BD5-4B7F-9000-0C184EDBD83A}" destId="{9DD1FA68-C616-413A-8FB7-5E82FA3CD073}" srcOrd="0" destOrd="0" presId="urn:microsoft.com/office/officeart/2005/8/layout/vList2"/>
    <dgm:cxn modelId="{C9B8BF1E-67D5-C64A-B920-CA7AC1F4EB3A}" type="presOf" srcId="{33EE0F38-C9D9-4910-BE44-42EE4067BC3E}" destId="{8B22EF16-09B5-4DBD-9EE9-581C5AFDBFEC}" srcOrd="0" destOrd="0" presId="urn:microsoft.com/office/officeart/2005/8/layout/vList2"/>
    <dgm:cxn modelId="{76381723-85BB-D64D-ACEC-CC5CBBF24246}" type="presOf" srcId="{CBD73AEA-73E9-40D4-AB92-8C986EF5AAE5}" destId="{44F74276-4554-4EC7-AEE9-4CF4B6C0BD82}" srcOrd="0" destOrd="0" presId="urn:microsoft.com/office/officeart/2005/8/layout/vList2"/>
    <dgm:cxn modelId="{F183292D-F27A-9046-999F-AB2234364F9C}" type="presOf" srcId="{1088EAED-B1A9-4995-BF7B-FDC723A80786}" destId="{82134912-EF71-48D5-83D7-D19EA0535598}" srcOrd="0" destOrd="0" presId="urn:microsoft.com/office/officeart/2005/8/layout/vList2"/>
    <dgm:cxn modelId="{0B178C2E-FBD9-2649-8D1F-0B20D8B48E2B}" type="presOf" srcId="{37531239-0ACD-4735-85E2-CCED81E35257}" destId="{A0EAD223-26CB-46BE-A221-CFA20CF8C09D}" srcOrd="0" destOrd="0" presId="urn:microsoft.com/office/officeart/2005/8/layout/vList2"/>
    <dgm:cxn modelId="{24DCDE33-E30F-4928-A599-34100DFE21DA}" srcId="{CBD73AEA-73E9-40D4-AB92-8C986EF5AAE5}" destId="{73533804-E304-4A75-A101-268FCC88E964}" srcOrd="5" destOrd="0" parTransId="{565B0309-53F2-480E-B110-AEEDA35B8DF9}" sibTransId="{B1AB0C35-C6E4-43E9-9664-8E5E454DB795}"/>
    <dgm:cxn modelId="{BF807934-3A47-4072-AEEE-41885C1086C9}" srcId="{CBD73AEA-73E9-40D4-AB92-8C986EF5AAE5}" destId="{9AF1DDCC-F7BB-4AC4-833C-B792D5A9376D}" srcOrd="4" destOrd="0" parTransId="{38911BBD-C25C-4F4D-A7F3-6BCC153AD503}" sibTransId="{A6229B8D-2D10-4A7B-AFC8-33BD731C561A}"/>
    <dgm:cxn modelId="{5F5D5935-DE14-3A46-9EF0-A65F2332CC6B}" type="presOf" srcId="{067FE47E-2C91-492A-8C8D-0D21DA00D8F9}" destId="{E4DB6AC4-69D2-46A0-9E6B-52949AD998BA}" srcOrd="0" destOrd="0" presId="urn:microsoft.com/office/officeart/2005/8/layout/vList2"/>
    <dgm:cxn modelId="{1A5DE13C-EE76-DD4B-B07B-2855D75CC8E8}" type="presOf" srcId="{BD01E6EC-DCA7-4BDE-9332-3BBFBC3BE0F8}" destId="{4D3257CD-60FE-4D71-98F8-C28B1CD9A8AF}" srcOrd="0" destOrd="0" presId="urn:microsoft.com/office/officeart/2005/8/layout/vList2"/>
    <dgm:cxn modelId="{3ADBAA40-6AC1-924A-A299-7B606C7637E3}" type="presOf" srcId="{9AF1DDCC-F7BB-4AC4-833C-B792D5A9376D}" destId="{A1B130C3-1136-4D31-B9A9-9861BC684E47}" srcOrd="0" destOrd="0" presId="urn:microsoft.com/office/officeart/2005/8/layout/vList2"/>
    <dgm:cxn modelId="{A882074C-3FBD-4A4A-9551-173DB382357F}" srcId="{CBD73AEA-73E9-40D4-AB92-8C986EF5AAE5}" destId="{1D3DDC56-0903-4260-ABC6-6E86F8E1E270}" srcOrd="7" destOrd="0" parTransId="{2B737893-4090-4C09-8091-7789B5E79C01}" sibTransId="{4A3EE477-205B-46D5-B178-D3BE12F607C6}"/>
    <dgm:cxn modelId="{654F584E-CC7C-DD4F-A426-801FA975CAC9}" type="presOf" srcId="{73533804-E304-4A75-A101-268FCC88E964}" destId="{66F055E2-76CE-49E1-A543-32C63533BF69}" srcOrd="0" destOrd="0" presId="urn:microsoft.com/office/officeart/2005/8/layout/vList2"/>
    <dgm:cxn modelId="{45B5236D-5734-BE4F-8F8B-B70B2FBEBC3A}" type="presOf" srcId="{AB01F38A-FBE9-4867-A802-FEC6B557E138}" destId="{EA7EC53A-93C0-4DC7-8E25-F782FA3A8DA6}" srcOrd="0" destOrd="0" presId="urn:microsoft.com/office/officeart/2005/8/layout/vList2"/>
    <dgm:cxn modelId="{20A7886F-4B96-784B-B9DE-A599B2640D03}" type="presOf" srcId="{1D3DDC56-0903-4260-ABC6-6E86F8E1E270}" destId="{91ADD3D8-F6C6-406B-AB85-A88F8F5A940A}" srcOrd="0" destOrd="0" presId="urn:microsoft.com/office/officeart/2005/8/layout/vList2"/>
    <dgm:cxn modelId="{4548618A-EC43-4F79-BF37-4B7BA68D0A67}" srcId="{CBD73AEA-73E9-40D4-AB92-8C986EF5AAE5}" destId="{BD01E6EC-DCA7-4BDE-9332-3BBFBC3BE0F8}" srcOrd="3" destOrd="0" parTransId="{BD9CF234-D65E-4325-9607-A7A99AC5E8E8}" sibTransId="{08AEE08A-8FF2-4994-A9C2-A9AACEB702C4}"/>
    <dgm:cxn modelId="{BD7BE496-191E-4C11-8016-567656EB006A}" srcId="{CBD73AEA-73E9-40D4-AB92-8C986EF5AAE5}" destId="{37531239-0ACD-4735-85E2-CCED81E35257}" srcOrd="0" destOrd="0" parTransId="{F0EDAF53-AA10-452C-AEF4-688782520B61}" sibTransId="{2F42ED81-3557-46E1-82F6-908C5071573F}"/>
    <dgm:cxn modelId="{CB9FCBAB-6A0E-4150-85D1-C4DC7C63A1BC}" srcId="{CBD73AEA-73E9-40D4-AB92-8C986EF5AAE5}" destId="{1088EAED-B1A9-4995-BF7B-FDC723A80786}" srcOrd="2" destOrd="0" parTransId="{2BBD6350-5466-4585-A780-E3063571F828}" sibTransId="{B819BD22-0EFA-4A95-8E7E-70F1BB7A71F1}"/>
    <dgm:cxn modelId="{CD7E02AF-0BF2-CD4C-90CD-DA2DD7579143}" type="presOf" srcId="{46FD1069-5A57-4F18-B751-6AA3123C401A}" destId="{0751F58A-49C2-4A46-B972-BB6F2BBFD4A0}" srcOrd="0" destOrd="0" presId="urn:microsoft.com/office/officeart/2005/8/layout/vList2"/>
    <dgm:cxn modelId="{D3100DB9-6B48-42E9-8B3A-4B6BC0176FF0}" srcId="{CBD73AEA-73E9-40D4-AB92-8C986EF5AAE5}" destId="{DF08FB8C-3BD5-4B7F-9000-0C184EDBD83A}" srcOrd="10" destOrd="0" parTransId="{CC3212FB-F7D1-46F5-8A01-1DAC5823EE93}" sibTransId="{FC537FAE-89BB-46BA-B74C-5EF4D5825E1B}"/>
    <dgm:cxn modelId="{4B988ABA-4109-4FFA-A468-6D4C101A8E16}" srcId="{CBD73AEA-73E9-40D4-AB92-8C986EF5AAE5}" destId="{067FE47E-2C91-492A-8C8D-0D21DA00D8F9}" srcOrd="6" destOrd="0" parTransId="{E21ED6A1-634A-42D8-B3B0-06BFA92C8E33}" sibTransId="{52BBEF52-376E-4F63-A23A-6BF0C60C2F1E}"/>
    <dgm:cxn modelId="{462C19C7-9506-4666-98A8-D6E646BBF71D}" srcId="{CBD73AEA-73E9-40D4-AB92-8C986EF5AAE5}" destId="{33EE0F38-C9D9-4910-BE44-42EE4067BC3E}" srcOrd="11" destOrd="0" parTransId="{9569E4B6-7459-4886-ACF1-64F0AA7BC4C4}" sibTransId="{7E6C2C4C-9029-4179-AC50-BAC8E4C78F30}"/>
    <dgm:cxn modelId="{1E9AFFC9-FE81-DA4E-9B54-B581328B9F79}" type="presOf" srcId="{6B91ED31-72E5-4C1B-BCB8-EA121E91B68B}" destId="{0A09939D-3153-4C74-9A10-E6DFDF26EF44}" srcOrd="0" destOrd="0" presId="urn:microsoft.com/office/officeart/2005/8/layout/vList2"/>
    <dgm:cxn modelId="{F0DFCDD1-3D88-4455-A843-0BDFEEDC7DE9}" srcId="{CBD73AEA-73E9-40D4-AB92-8C986EF5AAE5}" destId="{6B91ED31-72E5-4C1B-BCB8-EA121E91B68B}" srcOrd="9" destOrd="0" parTransId="{A455C930-6C9E-4A0B-B45F-20DD8E552E20}" sibTransId="{A1522CEA-4A3F-46FF-A4BC-E89171A7AF9B}"/>
    <dgm:cxn modelId="{9138F916-F930-5A4D-B9FA-F4FE6F78C481}" type="presParOf" srcId="{44F74276-4554-4EC7-AEE9-4CF4B6C0BD82}" destId="{A0EAD223-26CB-46BE-A221-CFA20CF8C09D}" srcOrd="0" destOrd="0" presId="urn:microsoft.com/office/officeart/2005/8/layout/vList2"/>
    <dgm:cxn modelId="{E3EA0FE1-B1C8-1446-8A12-A78DAED18921}" type="presParOf" srcId="{44F74276-4554-4EC7-AEE9-4CF4B6C0BD82}" destId="{9F454EF4-369A-4EE8-87A1-32A245C05315}" srcOrd="1" destOrd="0" presId="urn:microsoft.com/office/officeart/2005/8/layout/vList2"/>
    <dgm:cxn modelId="{E4E27001-EF29-4B46-AD9C-DC3F431AC36A}" type="presParOf" srcId="{44F74276-4554-4EC7-AEE9-4CF4B6C0BD82}" destId="{0751F58A-49C2-4A46-B972-BB6F2BBFD4A0}" srcOrd="2" destOrd="0" presId="urn:microsoft.com/office/officeart/2005/8/layout/vList2"/>
    <dgm:cxn modelId="{BBA4B200-40AD-B34F-B158-935523FF0F0A}" type="presParOf" srcId="{44F74276-4554-4EC7-AEE9-4CF4B6C0BD82}" destId="{00F6EFC1-4ECD-484C-B619-682295A2456F}" srcOrd="3" destOrd="0" presId="urn:microsoft.com/office/officeart/2005/8/layout/vList2"/>
    <dgm:cxn modelId="{0392C7EF-E28B-0849-A5C0-EACDD92A141E}" type="presParOf" srcId="{44F74276-4554-4EC7-AEE9-4CF4B6C0BD82}" destId="{82134912-EF71-48D5-83D7-D19EA0535598}" srcOrd="4" destOrd="0" presId="urn:microsoft.com/office/officeart/2005/8/layout/vList2"/>
    <dgm:cxn modelId="{D8C0BA9C-ED25-644F-9199-E08995EBFE90}" type="presParOf" srcId="{44F74276-4554-4EC7-AEE9-4CF4B6C0BD82}" destId="{75C84E43-BE9E-454F-9E9F-1A268B8EC7E5}" srcOrd="5" destOrd="0" presId="urn:microsoft.com/office/officeart/2005/8/layout/vList2"/>
    <dgm:cxn modelId="{36F45928-B93A-DB4F-B929-89540A0BDCF8}" type="presParOf" srcId="{44F74276-4554-4EC7-AEE9-4CF4B6C0BD82}" destId="{4D3257CD-60FE-4D71-98F8-C28B1CD9A8AF}" srcOrd="6" destOrd="0" presId="urn:microsoft.com/office/officeart/2005/8/layout/vList2"/>
    <dgm:cxn modelId="{19E706CD-5C93-E84D-B41D-B1923903CE5B}" type="presParOf" srcId="{44F74276-4554-4EC7-AEE9-4CF4B6C0BD82}" destId="{2784F01E-1787-43B8-9E51-1A4F88093CAA}" srcOrd="7" destOrd="0" presId="urn:microsoft.com/office/officeart/2005/8/layout/vList2"/>
    <dgm:cxn modelId="{78DD9B86-95B3-FA4A-8877-D61B86EB2566}" type="presParOf" srcId="{44F74276-4554-4EC7-AEE9-4CF4B6C0BD82}" destId="{A1B130C3-1136-4D31-B9A9-9861BC684E47}" srcOrd="8" destOrd="0" presId="urn:microsoft.com/office/officeart/2005/8/layout/vList2"/>
    <dgm:cxn modelId="{ED9B5DB4-BAC8-7E47-A24D-B45A6B7F7663}" type="presParOf" srcId="{44F74276-4554-4EC7-AEE9-4CF4B6C0BD82}" destId="{6435AE44-0603-46A2-9B41-9314A623BCE6}" srcOrd="9" destOrd="0" presId="urn:microsoft.com/office/officeart/2005/8/layout/vList2"/>
    <dgm:cxn modelId="{AAAEECFE-AE94-0242-AC31-7CDB27B3EFCF}" type="presParOf" srcId="{44F74276-4554-4EC7-AEE9-4CF4B6C0BD82}" destId="{66F055E2-76CE-49E1-A543-32C63533BF69}" srcOrd="10" destOrd="0" presId="urn:microsoft.com/office/officeart/2005/8/layout/vList2"/>
    <dgm:cxn modelId="{B93DE760-7D0D-D542-8B73-3CBE457516E5}" type="presParOf" srcId="{44F74276-4554-4EC7-AEE9-4CF4B6C0BD82}" destId="{4DF47545-9369-49BE-9699-EBD99403369C}" srcOrd="11" destOrd="0" presId="urn:microsoft.com/office/officeart/2005/8/layout/vList2"/>
    <dgm:cxn modelId="{6545624B-DFD5-D146-A1AB-AE5AB02C739C}" type="presParOf" srcId="{44F74276-4554-4EC7-AEE9-4CF4B6C0BD82}" destId="{E4DB6AC4-69D2-46A0-9E6B-52949AD998BA}" srcOrd="12" destOrd="0" presId="urn:microsoft.com/office/officeart/2005/8/layout/vList2"/>
    <dgm:cxn modelId="{79CEAA73-5BFF-5E4A-AF5A-503B64E54CC9}" type="presParOf" srcId="{44F74276-4554-4EC7-AEE9-4CF4B6C0BD82}" destId="{7EDCF657-A50D-4EF9-BB5C-2B4EE5402713}" srcOrd="13" destOrd="0" presId="urn:microsoft.com/office/officeart/2005/8/layout/vList2"/>
    <dgm:cxn modelId="{D43E3B0E-54C3-144A-83C6-E702D0BFC4D7}" type="presParOf" srcId="{44F74276-4554-4EC7-AEE9-4CF4B6C0BD82}" destId="{91ADD3D8-F6C6-406B-AB85-A88F8F5A940A}" srcOrd="14" destOrd="0" presId="urn:microsoft.com/office/officeart/2005/8/layout/vList2"/>
    <dgm:cxn modelId="{7682F67F-0C3C-8E48-83BA-54A695028DC3}" type="presParOf" srcId="{44F74276-4554-4EC7-AEE9-4CF4B6C0BD82}" destId="{797347C1-B046-4547-BC5C-32ED6C296784}" srcOrd="15" destOrd="0" presId="urn:microsoft.com/office/officeart/2005/8/layout/vList2"/>
    <dgm:cxn modelId="{3297CB4B-BAD8-734F-A102-4A0BEFE425EE}" type="presParOf" srcId="{44F74276-4554-4EC7-AEE9-4CF4B6C0BD82}" destId="{EA7EC53A-93C0-4DC7-8E25-F782FA3A8DA6}" srcOrd="16" destOrd="0" presId="urn:microsoft.com/office/officeart/2005/8/layout/vList2"/>
    <dgm:cxn modelId="{ECC62FB5-A175-0342-BA40-87661AAD7BBF}" type="presParOf" srcId="{44F74276-4554-4EC7-AEE9-4CF4B6C0BD82}" destId="{41A5280F-6C32-4897-BF20-F746FC4E6BD9}" srcOrd="17" destOrd="0" presId="urn:microsoft.com/office/officeart/2005/8/layout/vList2"/>
    <dgm:cxn modelId="{B9D659E6-0C2F-1440-97D0-C75AD08412A7}" type="presParOf" srcId="{44F74276-4554-4EC7-AEE9-4CF4B6C0BD82}" destId="{0A09939D-3153-4C74-9A10-E6DFDF26EF44}" srcOrd="18" destOrd="0" presId="urn:microsoft.com/office/officeart/2005/8/layout/vList2"/>
    <dgm:cxn modelId="{55B32CCA-6BA2-3144-B826-2B9ADF8CCE4A}" type="presParOf" srcId="{44F74276-4554-4EC7-AEE9-4CF4B6C0BD82}" destId="{57824D9E-BD44-46D0-AA13-B4946EACC060}" srcOrd="19" destOrd="0" presId="urn:microsoft.com/office/officeart/2005/8/layout/vList2"/>
    <dgm:cxn modelId="{2F5CEE36-22F9-0446-B4F7-9B2258979317}" type="presParOf" srcId="{44F74276-4554-4EC7-AEE9-4CF4B6C0BD82}" destId="{9DD1FA68-C616-413A-8FB7-5E82FA3CD073}" srcOrd="20" destOrd="0" presId="urn:microsoft.com/office/officeart/2005/8/layout/vList2"/>
    <dgm:cxn modelId="{D2EC51A8-C4F4-3B46-8493-1D3BB0E21550}" type="presParOf" srcId="{44F74276-4554-4EC7-AEE9-4CF4B6C0BD82}" destId="{451DC646-292A-4B55-B348-14637A52BCA3}" srcOrd="21" destOrd="0" presId="urn:microsoft.com/office/officeart/2005/8/layout/vList2"/>
    <dgm:cxn modelId="{A9C2518D-8E73-834D-87C4-53E9A64A52DB}" type="presParOf" srcId="{44F74276-4554-4EC7-AEE9-4CF4B6C0BD82}" destId="{8B22EF16-09B5-4DBD-9EE9-581C5AFDBFEC}" srcOrd="2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1B35DF-B095-4851-B50A-B5F590E353D0}">
      <dsp:nvSpPr>
        <dsp:cNvPr id="0" name=""/>
        <dsp:cNvSpPr/>
      </dsp:nvSpPr>
      <dsp:spPr>
        <a:xfrm>
          <a:off x="0" y="385133"/>
          <a:ext cx="6534083" cy="6231646"/>
        </a:xfrm>
        <a:prstGeom prst="rect">
          <a:avLst/>
        </a:prstGeom>
        <a:solidFill>
          <a:schemeClr val="lt1">
            <a:alpha val="90000"/>
            <a:hueOff val="0"/>
            <a:satOff val="0"/>
            <a:lumOff val="0"/>
            <a:alphaOff val="0"/>
          </a:schemeClr>
        </a:solidFill>
        <a:ln w="25400" cap="flat" cmpd="sng" algn="ctr">
          <a:solidFill>
            <a:srgbClr val="95A9A7"/>
          </a:solidFill>
          <a:prstDash val="solid"/>
        </a:ln>
        <a:effectLst/>
      </dsp:spPr>
      <dsp:style>
        <a:lnRef idx="2">
          <a:scrgbClr r="0" g="0" b="0"/>
        </a:lnRef>
        <a:fillRef idx="1">
          <a:scrgbClr r="0" g="0" b="0"/>
        </a:fillRef>
        <a:effectRef idx="0">
          <a:scrgbClr r="0" g="0" b="0"/>
        </a:effectRef>
        <a:fontRef idx="minor"/>
      </dsp:style>
      <dsp:txBody>
        <a:bodyPr spcFirstLastPara="0" vert="horz" wrap="square" lIns="507117" tIns="165624" rIns="507117" bIns="170688" numCol="1" spcCol="1270" anchor="t" anchorCtr="0">
          <a:noAutofit/>
        </a:bodyPr>
        <a:lstStyle/>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Ease of Living</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Economic Growth</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Connected</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Inclusiveness</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Safe</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Resilient</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Adaptive</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Sustainable</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Trust and Privacy</a:t>
          </a:r>
          <a:endParaRPr lang="en-IN" sz="2400" b="1" kern="1200" dirty="0">
            <a:latin typeface="+mj-lt"/>
            <a:ea typeface="Verdana" panose="020B0604030504040204" pitchFamily="34" charset="0"/>
            <a:cs typeface="Verdana" panose="020B0604030504040204" pitchFamily="34" charset="0"/>
          </a:endParaRPr>
        </a:p>
        <a:p>
          <a:pPr marL="228600" lvl="1" indent="-228600" algn="l" defTabSz="1066800" rtl="0">
            <a:lnSpc>
              <a:spcPct val="150000"/>
            </a:lnSpc>
            <a:spcBef>
              <a:spcPct val="0"/>
            </a:spcBef>
            <a:spcAft>
              <a:spcPct val="15000"/>
            </a:spcAft>
            <a:buChar char="•"/>
          </a:pPr>
          <a:r>
            <a:rPr lang="en-US" sz="2400" b="1" kern="1200" dirty="0">
              <a:latin typeface="+mj-lt"/>
              <a:ea typeface="Verdana" panose="020B0604030504040204" pitchFamily="34" charset="0"/>
              <a:cs typeface="Verdana" panose="020B0604030504040204" pitchFamily="34" charset="0"/>
            </a:rPr>
            <a:t>Energy Efficient</a:t>
          </a:r>
          <a:endParaRPr lang="en-IN" sz="2400" b="1" kern="1200" dirty="0">
            <a:latin typeface="+mj-lt"/>
            <a:ea typeface="Verdana" panose="020B0604030504040204" pitchFamily="34" charset="0"/>
            <a:cs typeface="Verdana" panose="020B0604030504040204" pitchFamily="34" charset="0"/>
          </a:endParaRPr>
        </a:p>
      </dsp:txBody>
      <dsp:txXfrm>
        <a:off x="0" y="385133"/>
        <a:ext cx="6534083" cy="6231646"/>
      </dsp:txXfrm>
    </dsp:sp>
    <dsp:sp modelId="{27855F27-5A3C-4842-BC4C-FA71730C63F9}">
      <dsp:nvSpPr>
        <dsp:cNvPr id="0" name=""/>
        <dsp:cNvSpPr/>
      </dsp:nvSpPr>
      <dsp:spPr>
        <a:xfrm>
          <a:off x="146604" y="21480"/>
          <a:ext cx="6273776" cy="449309"/>
        </a:xfrm>
        <a:prstGeom prst="roundRect">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2881" tIns="0" rIns="172881" bIns="0" numCol="1" spcCol="1270" anchor="ctr" anchorCtr="0">
          <a:noAutofit/>
        </a:bodyPr>
        <a:lstStyle/>
        <a:p>
          <a:pPr marL="0" lvl="0" indent="0" algn="l" defTabSz="1066800" rtl="0">
            <a:lnSpc>
              <a:spcPct val="150000"/>
            </a:lnSpc>
            <a:spcBef>
              <a:spcPct val="0"/>
            </a:spcBef>
            <a:spcAft>
              <a:spcPct val="35000"/>
            </a:spcAft>
            <a:buNone/>
          </a:pPr>
          <a:r>
            <a:rPr lang="en-US" sz="2400" b="1" kern="1200" dirty="0">
              <a:solidFill>
                <a:srgbClr val="113037"/>
              </a:solidFill>
              <a:latin typeface="+mj-lt"/>
              <a:ea typeface="Verdana" panose="020B0604030504040204" pitchFamily="34" charset="0"/>
              <a:cs typeface="Verdana" panose="020B0604030504040204" pitchFamily="34" charset="0"/>
            </a:rPr>
            <a:t>*Collective Consciousness of Humanity</a:t>
          </a:r>
          <a:endParaRPr lang="en-IN" sz="2400" b="1" kern="1200" dirty="0">
            <a:solidFill>
              <a:srgbClr val="113037"/>
            </a:solidFill>
            <a:latin typeface="+mj-lt"/>
            <a:ea typeface="Verdana" panose="020B0604030504040204" pitchFamily="34" charset="0"/>
            <a:cs typeface="Verdana" panose="020B0604030504040204" pitchFamily="34" charset="0"/>
          </a:endParaRPr>
        </a:p>
      </dsp:txBody>
      <dsp:txXfrm>
        <a:off x="168537" y="43413"/>
        <a:ext cx="6229910" cy="4054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51536D-AD9D-4B74-9843-9A046A81A22E}">
      <dsp:nvSpPr>
        <dsp:cNvPr id="0" name=""/>
        <dsp:cNvSpPr/>
      </dsp:nvSpPr>
      <dsp:spPr>
        <a:xfrm>
          <a:off x="6332" y="0"/>
          <a:ext cx="5537097" cy="790215"/>
        </a:xfrm>
        <a:prstGeom prst="homePlat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53340" bIns="106680" numCol="1" spcCol="1270" anchor="ctr" anchorCtr="0">
          <a:noAutofit/>
        </a:bodyPr>
        <a:lstStyle/>
        <a:p>
          <a:pPr marL="0" lvl="0" indent="0" algn="ctr" defTabSz="1778000">
            <a:lnSpc>
              <a:spcPct val="90000"/>
            </a:lnSpc>
            <a:spcBef>
              <a:spcPct val="0"/>
            </a:spcBef>
            <a:spcAft>
              <a:spcPct val="35000"/>
            </a:spcAft>
            <a:buNone/>
          </a:pPr>
          <a:r>
            <a:rPr lang="en-US" sz="4000" b="1" kern="1200" dirty="0"/>
            <a:t>Ease of Living</a:t>
          </a:r>
          <a:endParaRPr lang="en-US" sz="4000" kern="1200" dirty="0"/>
        </a:p>
      </dsp:txBody>
      <dsp:txXfrm>
        <a:off x="6332" y="0"/>
        <a:ext cx="5339543" cy="790215"/>
      </dsp:txXfrm>
    </dsp:sp>
    <dsp:sp modelId="{D789A34B-A0AA-4AF3-A2A1-8971B237EC8E}">
      <dsp:nvSpPr>
        <dsp:cNvPr id="0" name=""/>
        <dsp:cNvSpPr/>
      </dsp:nvSpPr>
      <dsp:spPr>
        <a:xfrm>
          <a:off x="4436010" y="0"/>
          <a:ext cx="5537097" cy="790215"/>
        </a:xfrm>
        <a:prstGeom prst="chevr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0020" tIns="106680" rIns="53340" bIns="106680" numCol="1" spcCol="1270" anchor="ctr" anchorCtr="0">
          <a:noAutofit/>
        </a:bodyPr>
        <a:lstStyle/>
        <a:p>
          <a:pPr marL="0" lvl="0" indent="0" algn="ctr" defTabSz="1778000">
            <a:lnSpc>
              <a:spcPct val="90000"/>
            </a:lnSpc>
            <a:spcBef>
              <a:spcPct val="0"/>
            </a:spcBef>
            <a:spcAft>
              <a:spcPct val="35000"/>
            </a:spcAft>
            <a:buNone/>
          </a:pPr>
          <a:r>
            <a:rPr lang="en-US" sz="4000" b="1" kern="1200" dirty="0"/>
            <a:t>Economic-ability</a:t>
          </a:r>
          <a:endParaRPr lang="en-US" sz="4000" kern="1200" dirty="0"/>
        </a:p>
      </dsp:txBody>
      <dsp:txXfrm>
        <a:off x="4831118" y="0"/>
        <a:ext cx="4746882" cy="790215"/>
      </dsp:txXfrm>
    </dsp:sp>
    <dsp:sp modelId="{EF1C1776-45AA-402A-8BD6-12530F60300F}">
      <dsp:nvSpPr>
        <dsp:cNvPr id="0" name=""/>
        <dsp:cNvSpPr/>
      </dsp:nvSpPr>
      <dsp:spPr>
        <a:xfrm>
          <a:off x="8865688" y="0"/>
          <a:ext cx="5537097" cy="790215"/>
        </a:xfrm>
        <a:prstGeom prst="chevron">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0020" tIns="106680" rIns="53340" bIns="106680" numCol="1" spcCol="1270" anchor="ctr" anchorCtr="0">
          <a:noAutofit/>
        </a:bodyPr>
        <a:lstStyle/>
        <a:p>
          <a:pPr marL="0" lvl="0" indent="0" algn="ctr" defTabSz="1778000">
            <a:lnSpc>
              <a:spcPct val="90000"/>
            </a:lnSpc>
            <a:spcBef>
              <a:spcPct val="0"/>
            </a:spcBef>
            <a:spcAft>
              <a:spcPct val="35000"/>
            </a:spcAft>
            <a:buNone/>
          </a:pPr>
          <a:r>
            <a:rPr lang="en-US" sz="4000" b="1" kern="1200" dirty="0"/>
            <a:t>Sustainability</a:t>
          </a:r>
          <a:endParaRPr lang="en-US" sz="4000" kern="1200" dirty="0"/>
        </a:p>
      </dsp:txBody>
      <dsp:txXfrm>
        <a:off x="9260796" y="0"/>
        <a:ext cx="4746882" cy="79021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73A7E6-755B-41FD-8ED1-A0D6D0532EEA}">
      <dsp:nvSpPr>
        <dsp:cNvPr id="0" name=""/>
        <dsp:cNvSpPr/>
      </dsp:nvSpPr>
      <dsp:spPr>
        <a:xfrm>
          <a:off x="4899715" y="4856776"/>
          <a:ext cx="4999981" cy="909857"/>
        </a:xfrm>
        <a:prstGeom prst="rect">
          <a:avLst/>
        </a:prstGeom>
        <a:solidFill>
          <a:srgbClr val="FCB859"/>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84048" tIns="384048" rIns="384048" bIns="384048" numCol="1" spcCol="1270" anchor="ctr" anchorCtr="0">
          <a:noAutofit/>
        </a:bodyPr>
        <a:lstStyle/>
        <a:p>
          <a:pPr marL="0" lvl="0" indent="0" algn="ctr" defTabSz="2400300">
            <a:lnSpc>
              <a:spcPct val="90000"/>
            </a:lnSpc>
            <a:spcBef>
              <a:spcPct val="0"/>
            </a:spcBef>
            <a:spcAft>
              <a:spcPct val="35000"/>
            </a:spcAft>
            <a:buNone/>
          </a:pPr>
          <a:r>
            <a:rPr lang="en-US" sz="5400" b="1" kern="1200" dirty="0"/>
            <a:t>DATA</a:t>
          </a:r>
          <a:endParaRPr lang="en-GB" sz="5400" b="1" kern="1200" dirty="0"/>
        </a:p>
      </dsp:txBody>
      <dsp:txXfrm>
        <a:off x="4899715" y="4856776"/>
        <a:ext cx="4999981" cy="909857"/>
      </dsp:txXfrm>
    </dsp:sp>
    <dsp:sp modelId="{004E27C2-9DD9-4D30-BDC7-BA7DE7BF67DE}">
      <dsp:nvSpPr>
        <dsp:cNvPr id="0" name=""/>
        <dsp:cNvSpPr/>
      </dsp:nvSpPr>
      <dsp:spPr>
        <a:xfrm rot="10800000">
          <a:off x="0" y="2429023"/>
          <a:ext cx="14799413" cy="2451663"/>
        </a:xfrm>
        <a:prstGeom prst="upArrowCallout">
          <a:avLst/>
        </a:prstGeom>
        <a:solidFill>
          <a:srgbClr val="113037"/>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b="1" kern="1200" dirty="0"/>
            <a:t>SMART CITIES</a:t>
          </a:r>
          <a:endParaRPr lang="en-GB" sz="3000" b="1" kern="1200" dirty="0"/>
        </a:p>
      </dsp:txBody>
      <dsp:txXfrm rot="-10800000">
        <a:off x="0" y="2429023"/>
        <a:ext cx="14799413" cy="860533"/>
      </dsp:txXfrm>
    </dsp:sp>
    <dsp:sp modelId="{7B9225DF-337D-49AA-8977-F6E456F4ACA8}">
      <dsp:nvSpPr>
        <dsp:cNvPr id="0" name=""/>
        <dsp:cNvSpPr/>
      </dsp:nvSpPr>
      <dsp:spPr>
        <a:xfrm>
          <a:off x="1806" y="3289557"/>
          <a:ext cx="2959159"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SERVICES</a:t>
          </a:r>
          <a:endParaRPr lang="en-GB" sz="3300" kern="1200" dirty="0"/>
        </a:p>
      </dsp:txBody>
      <dsp:txXfrm>
        <a:off x="1806" y="3289557"/>
        <a:ext cx="2959159" cy="733047"/>
      </dsp:txXfrm>
    </dsp:sp>
    <dsp:sp modelId="{1A8DC358-9D64-44CA-B381-EA1D3C0E16F5}">
      <dsp:nvSpPr>
        <dsp:cNvPr id="0" name=""/>
        <dsp:cNvSpPr/>
      </dsp:nvSpPr>
      <dsp:spPr>
        <a:xfrm>
          <a:off x="2960966" y="3289557"/>
          <a:ext cx="2959159"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FINANACE</a:t>
          </a:r>
          <a:endParaRPr lang="en-GB" sz="3300" kern="1200" dirty="0"/>
        </a:p>
      </dsp:txBody>
      <dsp:txXfrm>
        <a:off x="2960966" y="3289557"/>
        <a:ext cx="2959159" cy="733047"/>
      </dsp:txXfrm>
    </dsp:sp>
    <dsp:sp modelId="{D6069EBC-711F-4434-A83E-1C6AD900CDDD}">
      <dsp:nvSpPr>
        <dsp:cNvPr id="0" name=""/>
        <dsp:cNvSpPr/>
      </dsp:nvSpPr>
      <dsp:spPr>
        <a:xfrm>
          <a:off x="5920126" y="3289557"/>
          <a:ext cx="2959159"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PLANNING</a:t>
          </a:r>
          <a:endParaRPr lang="en-GB" sz="3300" kern="1200" dirty="0"/>
        </a:p>
      </dsp:txBody>
      <dsp:txXfrm>
        <a:off x="5920126" y="3289557"/>
        <a:ext cx="2959159" cy="733047"/>
      </dsp:txXfrm>
    </dsp:sp>
    <dsp:sp modelId="{B6AC6236-FAD0-4435-9C7C-4E8A7231BA85}">
      <dsp:nvSpPr>
        <dsp:cNvPr id="0" name=""/>
        <dsp:cNvSpPr/>
      </dsp:nvSpPr>
      <dsp:spPr>
        <a:xfrm>
          <a:off x="8879286" y="3289557"/>
          <a:ext cx="2959159"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TECHNOLOGY</a:t>
          </a:r>
          <a:endParaRPr lang="en-GB" sz="3300" kern="1200" dirty="0"/>
        </a:p>
      </dsp:txBody>
      <dsp:txXfrm>
        <a:off x="8879286" y="3289557"/>
        <a:ext cx="2959159" cy="733047"/>
      </dsp:txXfrm>
    </dsp:sp>
    <dsp:sp modelId="{0F748891-1D87-4D03-8A48-51B989A92510}">
      <dsp:nvSpPr>
        <dsp:cNvPr id="0" name=""/>
        <dsp:cNvSpPr/>
      </dsp:nvSpPr>
      <dsp:spPr>
        <a:xfrm>
          <a:off x="11838446" y="3289557"/>
          <a:ext cx="2959159"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GOVERNANCE</a:t>
          </a:r>
          <a:endParaRPr lang="en-GB" sz="3300" kern="1200" dirty="0"/>
        </a:p>
      </dsp:txBody>
      <dsp:txXfrm>
        <a:off x="11838446" y="3289557"/>
        <a:ext cx="2959159" cy="733047"/>
      </dsp:txXfrm>
    </dsp:sp>
    <dsp:sp modelId="{E751300A-E192-49FE-9FE1-01C87C0691C7}">
      <dsp:nvSpPr>
        <dsp:cNvPr id="0" name=""/>
        <dsp:cNvSpPr/>
      </dsp:nvSpPr>
      <dsp:spPr>
        <a:xfrm rot="10800000">
          <a:off x="0" y="1270"/>
          <a:ext cx="14799413" cy="2451663"/>
        </a:xfrm>
        <a:prstGeom prst="upArrowCallout">
          <a:avLst/>
        </a:prstGeom>
        <a:solidFill>
          <a:srgbClr val="379BB3"/>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MISSION PROJECTS</a:t>
          </a:r>
          <a:endParaRPr lang="en-GB" sz="3000" kern="1200" dirty="0"/>
        </a:p>
      </dsp:txBody>
      <dsp:txXfrm rot="-10800000">
        <a:off x="0" y="1270"/>
        <a:ext cx="14799413" cy="860533"/>
      </dsp:txXfrm>
    </dsp:sp>
    <dsp:sp modelId="{52077E0A-2719-489D-8390-447EEBD01D83}">
      <dsp:nvSpPr>
        <dsp:cNvPr id="0" name=""/>
        <dsp:cNvSpPr/>
      </dsp:nvSpPr>
      <dsp:spPr>
        <a:xfrm>
          <a:off x="7226" y="861804"/>
          <a:ext cx="4928320"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QUALITY OF LIFE</a:t>
          </a:r>
          <a:endParaRPr lang="en-GB" sz="3300" kern="1200" dirty="0"/>
        </a:p>
      </dsp:txBody>
      <dsp:txXfrm>
        <a:off x="7226" y="861804"/>
        <a:ext cx="4928320" cy="733047"/>
      </dsp:txXfrm>
    </dsp:sp>
    <dsp:sp modelId="{518EE0CE-B441-4794-8698-174DE78B06EF}">
      <dsp:nvSpPr>
        <dsp:cNvPr id="0" name=""/>
        <dsp:cNvSpPr/>
      </dsp:nvSpPr>
      <dsp:spPr>
        <a:xfrm>
          <a:off x="4935546" y="861804"/>
          <a:ext cx="4928320"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ECONOMIC ABILITY</a:t>
          </a:r>
          <a:endParaRPr lang="en-GB" sz="3300" kern="1200" dirty="0"/>
        </a:p>
      </dsp:txBody>
      <dsp:txXfrm>
        <a:off x="4935546" y="861804"/>
        <a:ext cx="4928320" cy="733047"/>
      </dsp:txXfrm>
    </dsp:sp>
    <dsp:sp modelId="{CB8DB631-ED49-4279-AE76-3BD002062DB0}">
      <dsp:nvSpPr>
        <dsp:cNvPr id="0" name=""/>
        <dsp:cNvSpPr/>
      </dsp:nvSpPr>
      <dsp:spPr>
        <a:xfrm>
          <a:off x="9863866" y="861804"/>
          <a:ext cx="4928320" cy="733047"/>
        </a:xfrm>
        <a:prstGeom prst="rect">
          <a:avLst/>
        </a:prstGeom>
        <a:solidFill>
          <a:schemeClr val="dk2">
            <a:alpha val="90000"/>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234696" tIns="41910" rIns="234696" bIns="41910" numCol="1" spcCol="1270" anchor="ctr" anchorCtr="0">
          <a:noAutofit/>
        </a:bodyPr>
        <a:lstStyle/>
        <a:p>
          <a:pPr marL="0" lvl="0" indent="0" algn="ctr" defTabSz="1466850">
            <a:lnSpc>
              <a:spcPct val="90000"/>
            </a:lnSpc>
            <a:spcBef>
              <a:spcPct val="0"/>
            </a:spcBef>
            <a:spcAft>
              <a:spcPct val="35000"/>
            </a:spcAft>
            <a:buNone/>
          </a:pPr>
          <a:r>
            <a:rPr lang="en-US" sz="3300" kern="1200" dirty="0"/>
            <a:t>SUSTAINABILITY</a:t>
          </a:r>
          <a:endParaRPr lang="en-GB" sz="3300" kern="1200" dirty="0"/>
        </a:p>
      </dsp:txBody>
      <dsp:txXfrm>
        <a:off x="9863866" y="861804"/>
        <a:ext cx="4928320" cy="73304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DC8F2A-F02D-4313-8611-AD029FF97A4D}">
      <dsp:nvSpPr>
        <dsp:cNvPr id="0" name=""/>
        <dsp:cNvSpPr/>
      </dsp:nvSpPr>
      <dsp:spPr>
        <a:xfrm>
          <a:off x="0" y="370158"/>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dirty="0"/>
            <a:t>Citizen participation </a:t>
          </a:r>
        </a:p>
      </dsp:txBody>
      <dsp:txXfrm>
        <a:off x="25759" y="395917"/>
        <a:ext cx="4317282" cy="476152"/>
      </dsp:txXfrm>
    </dsp:sp>
    <dsp:sp modelId="{B8C360BF-BCB5-4DFF-A178-F542FBD620A1}">
      <dsp:nvSpPr>
        <dsp:cNvPr id="0" name=""/>
        <dsp:cNvSpPr/>
      </dsp:nvSpPr>
      <dsp:spPr>
        <a:xfrm>
          <a:off x="0" y="899440"/>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Identity and culture</a:t>
          </a:r>
        </a:p>
      </dsp:txBody>
      <dsp:txXfrm>
        <a:off x="25759" y="925199"/>
        <a:ext cx="4317282" cy="476152"/>
      </dsp:txXfrm>
    </dsp:sp>
    <dsp:sp modelId="{32939B1D-236C-4722-BED5-6B570DDE0B67}">
      <dsp:nvSpPr>
        <dsp:cNvPr id="0" name=""/>
        <dsp:cNvSpPr/>
      </dsp:nvSpPr>
      <dsp:spPr>
        <a:xfrm>
          <a:off x="0" y="1408882"/>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Economy and employment</a:t>
          </a:r>
        </a:p>
      </dsp:txBody>
      <dsp:txXfrm>
        <a:off x="25759" y="1434641"/>
        <a:ext cx="4317282" cy="476152"/>
      </dsp:txXfrm>
    </dsp:sp>
    <dsp:sp modelId="{9B76216C-1BD8-49F1-8E47-D879D9CFE02A}">
      <dsp:nvSpPr>
        <dsp:cNvPr id="0" name=""/>
        <dsp:cNvSpPr/>
      </dsp:nvSpPr>
      <dsp:spPr>
        <a:xfrm>
          <a:off x="0" y="1936549"/>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100000"/>
            </a:lnSpc>
            <a:spcBef>
              <a:spcPct val="0"/>
            </a:spcBef>
            <a:spcAft>
              <a:spcPct val="35000"/>
            </a:spcAft>
            <a:buNone/>
          </a:pPr>
          <a:r>
            <a:rPr lang="en-IN" sz="1600" kern="1200"/>
            <a:t>Health</a:t>
          </a:r>
        </a:p>
      </dsp:txBody>
      <dsp:txXfrm>
        <a:off x="25759" y="1962308"/>
        <a:ext cx="4317282" cy="476152"/>
      </dsp:txXfrm>
    </dsp:sp>
    <dsp:sp modelId="{CC6D5635-6D03-49B3-A298-883488D7E61B}">
      <dsp:nvSpPr>
        <dsp:cNvPr id="0" name=""/>
        <dsp:cNvSpPr/>
      </dsp:nvSpPr>
      <dsp:spPr>
        <a:xfrm>
          <a:off x="0" y="2432475"/>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Education</a:t>
          </a:r>
        </a:p>
      </dsp:txBody>
      <dsp:txXfrm>
        <a:off x="25759" y="2458234"/>
        <a:ext cx="4317282" cy="476152"/>
      </dsp:txXfrm>
    </dsp:sp>
    <dsp:sp modelId="{C92C7CDE-9799-4AEE-9C61-1F46215951AC}">
      <dsp:nvSpPr>
        <dsp:cNvPr id="0" name=""/>
        <dsp:cNvSpPr/>
      </dsp:nvSpPr>
      <dsp:spPr>
        <a:xfrm>
          <a:off x="0" y="2943486"/>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Mixed use </a:t>
          </a:r>
        </a:p>
      </dsp:txBody>
      <dsp:txXfrm>
        <a:off x="25759" y="2969245"/>
        <a:ext cx="4317282" cy="476152"/>
      </dsp:txXfrm>
    </dsp:sp>
    <dsp:sp modelId="{1B90FA74-70AF-4A60-8AE6-E56D5C176B63}">
      <dsp:nvSpPr>
        <dsp:cNvPr id="0" name=""/>
        <dsp:cNvSpPr/>
      </dsp:nvSpPr>
      <dsp:spPr>
        <a:xfrm>
          <a:off x="0" y="3454495"/>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Compactness </a:t>
          </a:r>
        </a:p>
      </dsp:txBody>
      <dsp:txXfrm>
        <a:off x="25759" y="3480254"/>
        <a:ext cx="4317282" cy="476152"/>
      </dsp:txXfrm>
    </dsp:sp>
    <dsp:sp modelId="{D15F1125-51D8-4F7D-AB13-569C7B2AAC03}">
      <dsp:nvSpPr>
        <dsp:cNvPr id="0" name=""/>
        <dsp:cNvSpPr/>
      </dsp:nvSpPr>
      <dsp:spPr>
        <a:xfrm>
          <a:off x="0" y="3997512"/>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dirty="0"/>
            <a:t>Open spaces </a:t>
          </a:r>
        </a:p>
      </dsp:txBody>
      <dsp:txXfrm>
        <a:off x="25759" y="4023271"/>
        <a:ext cx="4317282" cy="476152"/>
      </dsp:txXfrm>
    </dsp:sp>
    <dsp:sp modelId="{5B0F6D0F-3FB3-449C-8392-068EF662A8E0}">
      <dsp:nvSpPr>
        <dsp:cNvPr id="0" name=""/>
        <dsp:cNvSpPr/>
      </dsp:nvSpPr>
      <dsp:spPr>
        <a:xfrm>
          <a:off x="0" y="4524530"/>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Housing and Inclusiveness</a:t>
          </a:r>
        </a:p>
      </dsp:txBody>
      <dsp:txXfrm>
        <a:off x="25759" y="4550289"/>
        <a:ext cx="4317282" cy="476152"/>
      </dsp:txXfrm>
    </dsp:sp>
    <dsp:sp modelId="{F937EF7A-2AE0-4394-8D14-694C3B4270FC}">
      <dsp:nvSpPr>
        <dsp:cNvPr id="0" name=""/>
        <dsp:cNvSpPr/>
      </dsp:nvSpPr>
      <dsp:spPr>
        <a:xfrm>
          <a:off x="0" y="5035539"/>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Transportation &amp; Mobility</a:t>
          </a:r>
        </a:p>
      </dsp:txBody>
      <dsp:txXfrm>
        <a:off x="25759" y="5061298"/>
        <a:ext cx="4317282" cy="476152"/>
      </dsp:txXfrm>
    </dsp:sp>
    <dsp:sp modelId="{F74A9515-958A-45C9-9D23-AD3CE6252666}">
      <dsp:nvSpPr>
        <dsp:cNvPr id="0" name=""/>
        <dsp:cNvSpPr/>
      </dsp:nvSpPr>
      <dsp:spPr>
        <a:xfrm>
          <a:off x="0" y="5578562"/>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Walkable</a:t>
          </a:r>
        </a:p>
      </dsp:txBody>
      <dsp:txXfrm>
        <a:off x="25759" y="5604321"/>
        <a:ext cx="4317282" cy="476152"/>
      </dsp:txXfrm>
    </dsp:sp>
    <dsp:sp modelId="{71531078-8C6A-4CC7-B98F-C032AB333EED}">
      <dsp:nvSpPr>
        <dsp:cNvPr id="0" name=""/>
        <dsp:cNvSpPr/>
      </dsp:nvSpPr>
      <dsp:spPr>
        <a:xfrm>
          <a:off x="0" y="6153582"/>
          <a:ext cx="4368800" cy="52767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IN" sz="2200" kern="1200"/>
            <a:t>IT connctivity</a:t>
          </a:r>
        </a:p>
      </dsp:txBody>
      <dsp:txXfrm>
        <a:off x="25759" y="6179341"/>
        <a:ext cx="4317282" cy="4761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EAD223-26CB-46BE-A221-CFA20CF8C09D}">
      <dsp:nvSpPr>
        <dsp:cNvPr id="0" name=""/>
        <dsp:cNvSpPr/>
      </dsp:nvSpPr>
      <dsp:spPr>
        <a:xfrm>
          <a:off x="0" y="483816"/>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dirty="0"/>
            <a:t>Intelligent government services</a:t>
          </a:r>
        </a:p>
      </dsp:txBody>
      <dsp:txXfrm>
        <a:off x="27415" y="511231"/>
        <a:ext cx="4541075" cy="506770"/>
      </dsp:txXfrm>
    </dsp:sp>
    <dsp:sp modelId="{0751F58A-49C2-4A46-B972-BB6F2BBFD4A0}">
      <dsp:nvSpPr>
        <dsp:cNvPr id="0" name=""/>
        <dsp:cNvSpPr/>
      </dsp:nvSpPr>
      <dsp:spPr>
        <a:xfrm>
          <a:off x="0" y="1029341"/>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dirty="0"/>
            <a:t>Energy supply</a:t>
          </a:r>
        </a:p>
      </dsp:txBody>
      <dsp:txXfrm>
        <a:off x="27415" y="1056756"/>
        <a:ext cx="4541075" cy="506770"/>
      </dsp:txXfrm>
    </dsp:sp>
    <dsp:sp modelId="{82134912-EF71-48D5-83D7-D19EA0535598}">
      <dsp:nvSpPr>
        <dsp:cNvPr id="0" name=""/>
        <dsp:cNvSpPr/>
      </dsp:nvSpPr>
      <dsp:spPr>
        <a:xfrm>
          <a:off x="0" y="1600188"/>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Energy source</a:t>
          </a:r>
        </a:p>
      </dsp:txBody>
      <dsp:txXfrm>
        <a:off x="27415" y="1627603"/>
        <a:ext cx="4541075" cy="506770"/>
      </dsp:txXfrm>
    </dsp:sp>
    <dsp:sp modelId="{4D3257CD-60FE-4D71-98F8-C28B1CD9A8AF}">
      <dsp:nvSpPr>
        <dsp:cNvPr id="0" name=""/>
        <dsp:cNvSpPr/>
      </dsp:nvSpPr>
      <dsp:spPr>
        <a:xfrm>
          <a:off x="0" y="2161792"/>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dirty="0"/>
            <a:t>Water supply </a:t>
          </a:r>
        </a:p>
      </dsp:txBody>
      <dsp:txXfrm>
        <a:off x="27415" y="2189207"/>
        <a:ext cx="4541075" cy="506770"/>
      </dsp:txXfrm>
    </dsp:sp>
    <dsp:sp modelId="{A1B130C3-1136-4D31-B9A9-9861BC684E47}">
      <dsp:nvSpPr>
        <dsp:cNvPr id="0" name=""/>
        <dsp:cNvSpPr/>
      </dsp:nvSpPr>
      <dsp:spPr>
        <a:xfrm>
          <a:off x="0" y="2768313"/>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Waste water management</a:t>
          </a:r>
        </a:p>
      </dsp:txBody>
      <dsp:txXfrm>
        <a:off x="27415" y="2795728"/>
        <a:ext cx="4541075" cy="506770"/>
      </dsp:txXfrm>
    </dsp:sp>
    <dsp:sp modelId="{66F055E2-76CE-49E1-A543-32C63533BF69}">
      <dsp:nvSpPr>
        <dsp:cNvPr id="0" name=""/>
        <dsp:cNvSpPr/>
      </dsp:nvSpPr>
      <dsp:spPr>
        <a:xfrm>
          <a:off x="0" y="3348074"/>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Water quality</a:t>
          </a:r>
        </a:p>
      </dsp:txBody>
      <dsp:txXfrm>
        <a:off x="27415" y="3375489"/>
        <a:ext cx="4541075" cy="506770"/>
      </dsp:txXfrm>
    </dsp:sp>
    <dsp:sp modelId="{E4DB6AC4-69D2-46A0-9E6B-52949AD998BA}">
      <dsp:nvSpPr>
        <dsp:cNvPr id="0" name=""/>
        <dsp:cNvSpPr/>
      </dsp:nvSpPr>
      <dsp:spPr>
        <a:xfrm>
          <a:off x="0" y="3876517"/>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Air quality</a:t>
          </a:r>
        </a:p>
      </dsp:txBody>
      <dsp:txXfrm>
        <a:off x="27415" y="3903932"/>
        <a:ext cx="4541075" cy="506770"/>
      </dsp:txXfrm>
    </dsp:sp>
    <dsp:sp modelId="{91ADD3D8-F6C6-406B-AB85-A88F8F5A940A}">
      <dsp:nvSpPr>
        <dsp:cNvPr id="0" name=""/>
        <dsp:cNvSpPr/>
      </dsp:nvSpPr>
      <dsp:spPr>
        <a:xfrm>
          <a:off x="0" y="4439126"/>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Energy efficiency </a:t>
          </a:r>
        </a:p>
      </dsp:txBody>
      <dsp:txXfrm>
        <a:off x="27415" y="4466541"/>
        <a:ext cx="4541075" cy="506770"/>
      </dsp:txXfrm>
    </dsp:sp>
    <dsp:sp modelId="{EA7EC53A-93C0-4DC7-8E25-F782FA3A8DA6}">
      <dsp:nvSpPr>
        <dsp:cNvPr id="0" name=""/>
        <dsp:cNvSpPr/>
      </dsp:nvSpPr>
      <dsp:spPr>
        <a:xfrm>
          <a:off x="0" y="4984651"/>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Underground electric wiring </a:t>
          </a:r>
        </a:p>
      </dsp:txBody>
      <dsp:txXfrm>
        <a:off x="27415" y="5012066"/>
        <a:ext cx="4541075" cy="506770"/>
      </dsp:txXfrm>
    </dsp:sp>
    <dsp:sp modelId="{0A09939D-3153-4C74-9A10-E6DFDF26EF44}">
      <dsp:nvSpPr>
        <dsp:cNvPr id="0" name=""/>
        <dsp:cNvSpPr/>
      </dsp:nvSpPr>
      <dsp:spPr>
        <a:xfrm>
          <a:off x="0" y="5530176"/>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SanitatIon</a:t>
          </a:r>
        </a:p>
      </dsp:txBody>
      <dsp:txXfrm>
        <a:off x="27415" y="5557591"/>
        <a:ext cx="4541075" cy="506770"/>
      </dsp:txXfrm>
    </dsp:sp>
    <dsp:sp modelId="{9DD1FA68-C616-413A-8FB7-5E82FA3CD073}">
      <dsp:nvSpPr>
        <dsp:cNvPr id="0" name=""/>
        <dsp:cNvSpPr/>
      </dsp:nvSpPr>
      <dsp:spPr>
        <a:xfrm>
          <a:off x="0" y="6092779"/>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Waste management </a:t>
          </a:r>
        </a:p>
      </dsp:txBody>
      <dsp:txXfrm>
        <a:off x="27415" y="6120194"/>
        <a:ext cx="4541075" cy="506770"/>
      </dsp:txXfrm>
    </dsp:sp>
    <dsp:sp modelId="{8B22EF16-09B5-4DBD-9EE9-581C5AFDBFEC}">
      <dsp:nvSpPr>
        <dsp:cNvPr id="0" name=""/>
        <dsp:cNvSpPr/>
      </dsp:nvSpPr>
      <dsp:spPr>
        <a:xfrm>
          <a:off x="0" y="6621225"/>
          <a:ext cx="4595905" cy="5616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r" defTabSz="711200" rtl="0">
            <a:lnSpc>
              <a:spcPct val="100000"/>
            </a:lnSpc>
            <a:spcBef>
              <a:spcPct val="0"/>
            </a:spcBef>
            <a:spcAft>
              <a:spcPct val="35000"/>
            </a:spcAft>
            <a:buNone/>
          </a:pPr>
          <a:r>
            <a:rPr lang="en-IN" sz="1600" kern="1200"/>
            <a:t>Safety </a:t>
          </a:r>
        </a:p>
      </dsp:txBody>
      <dsp:txXfrm>
        <a:off x="27415" y="6648640"/>
        <a:ext cx="4541075" cy="50677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46725D-D58A-4C65-BE67-208C68374270}" type="datetimeFigureOut">
              <a:rPr lang="en-US" smtClean="0"/>
              <a:pPr/>
              <a:t>9/5/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BDE615-CA2D-4412-9EA8-D4AA8AFA93AC}" type="slidenum">
              <a:rPr lang="en-US" smtClean="0"/>
              <a:pPr/>
              <a:t>‹#›</a:t>
            </a:fld>
            <a:endParaRPr lang="en-US"/>
          </a:p>
        </p:txBody>
      </p:sp>
    </p:spTree>
    <p:extLst>
      <p:ext uri="{BB962C8B-B14F-4D97-AF65-F5344CB8AC3E}">
        <p14:creationId xmlns:p14="http://schemas.microsoft.com/office/powerpoint/2010/main" val="3584207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BDE615-CA2D-4412-9EA8-D4AA8AFA93AC}" type="slidenum">
              <a:rPr lang="en-US" smtClean="0"/>
              <a:pPr/>
              <a:t>2</a:t>
            </a:fld>
            <a:endParaRPr lang="en-US"/>
          </a:p>
        </p:txBody>
      </p:sp>
    </p:spTree>
    <p:extLst>
      <p:ext uri="{BB962C8B-B14F-4D97-AF65-F5344CB8AC3E}">
        <p14:creationId xmlns:p14="http://schemas.microsoft.com/office/powerpoint/2010/main" val="40743057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t>Such a systems level approach in design and standardization is likely to not only enable newer and better services, but also allow far greater synergies and cost-effective deployments, reducing the lifecycle (total) cost of ownership of any Infrastructure, be it the smart grid, a home, a building or even a city, with attendant environmental benefits, including carbon reductions. </a:t>
            </a:r>
          </a:p>
          <a:p>
            <a:pPr algn="just"/>
            <a:r>
              <a:rPr lang="en-US" dirty="0"/>
              <a:t>Fast, secure, interoperable, reliable and cost effective communications are critical for any ‘Smart Infrastructure’, an entire interconnected network of interactive smart devices.</a:t>
            </a:r>
          </a:p>
          <a:p>
            <a:pPr algn="just"/>
            <a:r>
              <a:rPr lang="en-US" dirty="0"/>
              <a:t>With the evolution of the converged and networked society, further fueled by the ‘Internet of Things’ era, a multitude of new applications of the Information and communication technologies have changed the way we live, work, play, interact and even think.</a:t>
            </a:r>
            <a:endParaRPr lang="en-IN"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A7B3332-A621-674B-8762-1A23CE0DE591}" type="slidenum">
              <a:rPr kumimoji="0" lang="en-US" sz="1200" b="0" i="0" u="none" strike="noStrike" kern="1200" cap="none" spc="0" normalizeH="0" baseline="0" noProof="0" smtClean="0">
                <a:ln>
                  <a:noFill/>
                </a:ln>
                <a:solidFill>
                  <a:prstClr val="black"/>
                </a:solidFill>
                <a:effectLst/>
                <a:uLnTx/>
                <a:uFillTx/>
                <a:latin typeface="Times"/>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Times"/>
              <a:ea typeface="+mn-ea"/>
              <a:cs typeface="+mn-cs"/>
            </a:endParaRPr>
          </a:p>
        </p:txBody>
      </p:sp>
    </p:spTree>
    <p:extLst>
      <p:ext uri="{BB962C8B-B14F-4D97-AF65-F5344CB8AC3E}">
        <p14:creationId xmlns:p14="http://schemas.microsoft.com/office/powerpoint/2010/main" val="28335385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249A2D3-E887-4924-80E3-0CFADD7DEE2F}" type="slidenum">
              <a:rPr lang="en-US" smtClean="0"/>
              <a:pPr/>
              <a:t>34</a:t>
            </a:fld>
            <a:endParaRPr lang="en-US" dirty="0"/>
          </a:p>
        </p:txBody>
      </p:sp>
    </p:spTree>
    <p:extLst>
      <p:ext uri="{BB962C8B-B14F-4D97-AF65-F5344CB8AC3E}">
        <p14:creationId xmlns:p14="http://schemas.microsoft.com/office/powerpoint/2010/main" val="35612320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800" dirty="0"/>
          </a:p>
        </p:txBody>
      </p:sp>
      <p:sp>
        <p:nvSpPr>
          <p:cNvPr id="4" name="Slide Number Placeholder 3"/>
          <p:cNvSpPr>
            <a:spLocks noGrp="1"/>
          </p:cNvSpPr>
          <p:nvPr>
            <p:ph type="sldNum" sz="quarter" idx="10"/>
          </p:nvPr>
        </p:nvSpPr>
        <p:spPr/>
        <p:txBody>
          <a:bodyPr/>
          <a:lstStyle/>
          <a:p>
            <a:fld id="{38E01283-E1C8-4004-A510-A8D85F483FAA}" type="slidenum">
              <a:rPr lang="en-US" smtClean="0"/>
              <a:t>39</a:t>
            </a:fld>
            <a:endParaRPr lang="en-US"/>
          </a:p>
        </p:txBody>
      </p:sp>
    </p:spTree>
    <p:extLst>
      <p:ext uri="{BB962C8B-B14F-4D97-AF65-F5344CB8AC3E}">
        <p14:creationId xmlns:p14="http://schemas.microsoft.com/office/powerpoint/2010/main" val="1630585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The total investment in Indian smart cities over a period of 5 years is estimated to be around US$30 bill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The first wave of projects in selected 100 smart cities is well underway and implementation efforts are proceeding rapidly.   </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F133AAB2-3AD4-44C7-9231-C3C82405712B}" type="slidenum">
              <a:rPr lang="en-IN" smtClean="0"/>
              <a:t>3</a:t>
            </a:fld>
            <a:endParaRPr lang="en-IN"/>
          </a:p>
        </p:txBody>
      </p:sp>
    </p:spTree>
    <p:extLst>
      <p:ext uri="{BB962C8B-B14F-4D97-AF65-F5344CB8AC3E}">
        <p14:creationId xmlns:p14="http://schemas.microsoft.com/office/powerpoint/2010/main" val="2926624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I would like to highlight that the Smart City projects were chosen through a comprehensive process of citizen engagement and public/private collaboration. The resulting outcomes are therefore quite different for each city, with each city investing in applications, infrastructure, and services that meet hopes and aspirations of their citizens and stakeholders.  </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F133AAB2-3AD4-44C7-9231-C3C82405712B}" type="slidenum">
              <a:rPr lang="en-IN" smtClean="0"/>
              <a:t>4</a:t>
            </a:fld>
            <a:endParaRPr lang="en-IN"/>
          </a:p>
        </p:txBody>
      </p:sp>
    </p:spTree>
    <p:extLst>
      <p:ext uri="{BB962C8B-B14F-4D97-AF65-F5344CB8AC3E}">
        <p14:creationId xmlns:p14="http://schemas.microsoft.com/office/powerpoint/2010/main" val="1162170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 Focus on people</a:t>
            </a:r>
          </a:p>
          <a:p>
            <a:r>
              <a:rPr lang="en-GB" dirty="0"/>
              <a:t>2. Outcomes</a:t>
            </a:r>
          </a:p>
          <a:p>
            <a:r>
              <a:rPr lang="en-GB" dirty="0"/>
              <a:t>3. Build Infra, services and info networks.</a:t>
            </a:r>
          </a:p>
          <a:p>
            <a:r>
              <a:rPr lang="en-GB" dirty="0"/>
              <a:t>4. GIAC </a:t>
            </a:r>
          </a:p>
          <a:p>
            <a:r>
              <a:rPr lang="en-GB" dirty="0"/>
              <a:t>5. Levers/Enablers</a:t>
            </a:r>
          </a:p>
          <a:p>
            <a:endParaRPr lang="en-GB" dirty="0"/>
          </a:p>
          <a:p>
            <a:endParaRPr lang="en-GB" dirty="0"/>
          </a:p>
        </p:txBody>
      </p:sp>
      <p:sp>
        <p:nvSpPr>
          <p:cNvPr id="4" name="Slide Number Placeholder 3"/>
          <p:cNvSpPr>
            <a:spLocks noGrp="1"/>
          </p:cNvSpPr>
          <p:nvPr>
            <p:ph type="sldNum" sz="quarter" idx="5"/>
          </p:nvPr>
        </p:nvSpPr>
        <p:spPr/>
        <p:txBody>
          <a:bodyPr/>
          <a:lstStyle/>
          <a:p>
            <a:fld id="{F133AAB2-3AD4-44C7-9231-C3C82405712B}" type="slidenum">
              <a:rPr lang="en-IN" smtClean="0"/>
              <a:t>5</a:t>
            </a:fld>
            <a:endParaRPr lang="en-IN"/>
          </a:p>
        </p:txBody>
      </p:sp>
    </p:spTree>
    <p:extLst>
      <p:ext uri="{BB962C8B-B14F-4D97-AF65-F5344CB8AC3E}">
        <p14:creationId xmlns:p14="http://schemas.microsoft.com/office/powerpoint/2010/main" val="1875972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The Indian Smart Cities are evolving as connected, </a:t>
            </a:r>
            <a:r>
              <a:rPr lang="en-IN" sz="1200" kern="1200" dirty="0" err="1">
                <a:solidFill>
                  <a:schemeClr val="tx1"/>
                </a:solidFill>
                <a:effectLst/>
                <a:latin typeface="+mn-lt"/>
                <a:ea typeface="+mn-ea"/>
                <a:cs typeface="+mn-cs"/>
              </a:rPr>
              <a:t>livable</a:t>
            </a:r>
            <a:r>
              <a:rPr lang="en-IN" sz="1200" kern="1200" dirty="0">
                <a:solidFill>
                  <a:schemeClr val="tx1"/>
                </a:solidFill>
                <a:effectLst/>
                <a:latin typeface="+mn-lt"/>
                <a:ea typeface="+mn-ea"/>
                <a:cs typeface="+mn-cs"/>
              </a:rPr>
              <a:t>, energy efficient, adaptive and resilient cities using cutting edge emerging technologies.</a:t>
            </a:r>
            <a:endParaRPr lang="en-GB"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1999985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 lot of the data generated in smart cities,  remains in silos within their organizations. In order to solve the myriad complex issues faced by cities, it is vital that data locked in such silos be unlocked and shared amongst these entities. Not to forget, Right data, to the right people, at the right time.</a:t>
            </a:r>
            <a:endParaRPr lang="en-GB"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F133AAB2-3AD4-44C7-9231-C3C82405712B}" type="slidenum">
              <a:rPr lang="en-IN" smtClean="0"/>
              <a:t>7</a:t>
            </a:fld>
            <a:endParaRPr lang="en-IN"/>
          </a:p>
        </p:txBody>
      </p:sp>
    </p:spTree>
    <p:extLst>
      <p:ext uri="{BB962C8B-B14F-4D97-AF65-F5344CB8AC3E}">
        <p14:creationId xmlns:p14="http://schemas.microsoft.com/office/powerpoint/2010/main" val="3818499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IN" sz="1200" dirty="0"/>
              <a:t>A Smart City, where the integration of multiple parties, devices and applications is a key requirement, presents its own security challenges. While there is no limit to security, enough standardisation is required in the manner we access and share the data securely.</a:t>
            </a:r>
          </a:p>
          <a:p>
            <a:pPr marL="342900" indent="-342900">
              <a:buFont typeface="Arial" panose="020B0604020202020204" pitchFamily="34" charset="0"/>
              <a:buChar char="•"/>
            </a:pPr>
            <a:r>
              <a:rPr lang="en-IN" sz="1200" dirty="0"/>
              <a:t>Platform agnostic, as such developments are designed to increased market adoption and reduce complexity  for adoption from one city to another.  </a:t>
            </a:r>
          </a:p>
          <a:p>
            <a:pPr marL="342900" indent="-342900">
              <a:buFont typeface="Arial" panose="020B0604020202020204" pitchFamily="34" charset="0"/>
              <a:buChar char="•"/>
            </a:pPr>
            <a:r>
              <a:rPr lang="en-IN" sz="1200" dirty="0"/>
              <a:t>Backward Compatibility and economy of scale.</a:t>
            </a:r>
          </a:p>
          <a:p>
            <a:pPr marL="342900" indent="-342900">
              <a:buFont typeface="Arial" panose="020B0604020202020204" pitchFamily="34" charset="0"/>
              <a:buChar char="•"/>
            </a:pPr>
            <a:r>
              <a:rPr lang="en-IN" sz="1200" dirty="0"/>
              <a:t>Capacity Building up for standardised deployment and long term sustenance.</a:t>
            </a:r>
          </a:p>
          <a:p>
            <a:pPr marL="342900" indent="-342900">
              <a:buFont typeface="Arial" panose="020B0604020202020204" pitchFamily="34" charset="0"/>
              <a:buChar char="•"/>
            </a:pPr>
            <a:r>
              <a:rPr lang="en-IN" sz="1200" dirty="0"/>
              <a:t>Move from Silo-ed Approach to Integrated approach.</a:t>
            </a:r>
          </a:p>
          <a:p>
            <a:pPr marL="342900" indent="-342900">
              <a:buFont typeface="Arial" panose="020B0604020202020204" pitchFamily="34" charset="0"/>
              <a:buChar char="•"/>
            </a:pPr>
            <a:endParaRPr lang="en-IN" sz="1200" dirty="0"/>
          </a:p>
          <a:p>
            <a:pPr marL="342900" indent="-342900">
              <a:buFont typeface="Arial" panose="020B0604020202020204" pitchFamily="34" charset="0"/>
              <a:buChar char="•"/>
            </a:pPr>
            <a:r>
              <a:rPr lang="en-IN" sz="1200" dirty="0"/>
              <a:t>One of the key objective of a Smart City is working towards “Ease of Living” and we need the systems to support this through </a:t>
            </a:r>
            <a:r>
              <a:rPr lang="en-IN" sz="1200" dirty="0" err="1"/>
              <a:t>standaridised</a:t>
            </a:r>
            <a:r>
              <a:rPr lang="en-IN" sz="1200" dirty="0"/>
              <a:t> way of data sharing and </a:t>
            </a:r>
            <a:r>
              <a:rPr lang="en-IN" sz="1200" dirty="0" err="1"/>
              <a:t>assessemnts</a:t>
            </a:r>
            <a:r>
              <a:rPr lang="en-IN" sz="1200" dirty="0"/>
              <a:t> as our Smart cities are now transitioning from “Input based approach” to “Output/Outcome based performance </a:t>
            </a:r>
            <a:r>
              <a:rPr lang="en-IN" sz="1200" dirty="0" err="1"/>
              <a:t>assessement</a:t>
            </a:r>
            <a:r>
              <a:rPr lang="en-IN" sz="1200" dirty="0"/>
              <a:t>”.  Same would hold true for other KPIs of a Smart City like economic growth, sustainability , improved delivery of government services etc.</a:t>
            </a:r>
          </a:p>
          <a:p>
            <a:endParaRPr lang="en-IN" dirty="0"/>
          </a:p>
        </p:txBody>
      </p:sp>
      <p:sp>
        <p:nvSpPr>
          <p:cNvPr id="4" name="Slide Number Placeholder 3"/>
          <p:cNvSpPr>
            <a:spLocks noGrp="1"/>
          </p:cNvSpPr>
          <p:nvPr>
            <p:ph type="sldNum" sz="quarter" idx="10"/>
          </p:nvPr>
        </p:nvSpPr>
        <p:spPr/>
        <p:txBody>
          <a:bodyPr/>
          <a:lstStyle/>
          <a:p>
            <a:fld id="{4CB6DB60-1944-4FC9-861D-1465C5AFF003}" type="slidenum">
              <a:rPr lang="en-IN" smtClean="0"/>
              <a:t>8</a:t>
            </a:fld>
            <a:endParaRPr lang="en-IN"/>
          </a:p>
        </p:txBody>
      </p:sp>
    </p:spTree>
    <p:extLst>
      <p:ext uri="{BB962C8B-B14F-4D97-AF65-F5344CB8AC3E}">
        <p14:creationId xmlns:p14="http://schemas.microsoft.com/office/powerpoint/2010/main" val="3781469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2581275" y="871538"/>
            <a:ext cx="4184650" cy="2354262"/>
          </a:xfrm>
        </p:spPr>
      </p:sp>
      <p:sp>
        <p:nvSpPr>
          <p:cNvPr id="3" name="文本占位符 2"/>
          <p:cNvSpPr>
            <a:spLocks noGrp="1"/>
          </p:cNvSpPr>
          <p:nvPr>
            <p:ph type="body" idx="3"/>
          </p:nvPr>
        </p:nvSpPr>
        <p:spPr/>
        <p:txBody>
          <a:bodyPr/>
          <a:lstStyle/>
          <a:p>
            <a:endParaRPr lang="zh-CN" altLang="en-US"/>
          </a:p>
        </p:txBody>
      </p:sp>
    </p:spTree>
    <p:extLst>
      <p:ext uri="{BB962C8B-B14F-4D97-AF65-F5344CB8AC3E}">
        <p14:creationId xmlns:p14="http://schemas.microsoft.com/office/powerpoint/2010/main" val="1070603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FEA022"/>
                </a:solidFill>
              </a:rPr>
              <a:t>The Interplay –  Smart Utility – Smart Cities</a:t>
            </a:r>
          </a:p>
          <a:p>
            <a:endParaRPr lang="en-US" b="0" dirty="0">
              <a:solidFill>
                <a:srgbClr val="FEA022"/>
              </a:solidFill>
            </a:endParaRPr>
          </a:p>
          <a:p>
            <a:pPr marL="0" indent="0" algn="just">
              <a:buNone/>
            </a:pPr>
            <a:r>
              <a:rPr lang="en-US" sz="1200" dirty="0"/>
              <a:t>The relationship between Smart Utilities and Smart Cities needs to be understood in this context: </a:t>
            </a:r>
          </a:p>
          <a:p>
            <a:pPr marL="0" indent="0" algn="just">
              <a:buNone/>
            </a:pPr>
            <a:endParaRPr lang="en-US" sz="800" dirty="0"/>
          </a:p>
          <a:p>
            <a:pPr marL="0" indent="0" algn="just">
              <a:buNone/>
            </a:pPr>
            <a:r>
              <a:rPr lang="en-US" sz="1200" dirty="0"/>
              <a:t>“In a smart city, energy, water, transportation, public health and safety, and other key services are managed in concert to support smooth operation of critical infrastructure while providing for a clean, economic and safe environment in which to live, work and play”. </a:t>
            </a:r>
          </a:p>
          <a:p>
            <a:pPr marL="0" indent="0" algn="just">
              <a:buNone/>
            </a:pPr>
            <a:endParaRPr lang="en-US" sz="800" dirty="0"/>
          </a:p>
          <a:p>
            <a:pPr marL="0" indent="0" algn="just">
              <a:buNone/>
            </a:pPr>
            <a:r>
              <a:rPr lang="en-US" sz="1200" dirty="0"/>
              <a:t>Hence, the perspective in Infrastructure Design for any city has undergone a paradigm shift with advent of convergence and networking technologies, solutions for information, communication, entertainment, security and surveillance; which are beginning to have a profound impact on the way we look at the Buildings’ Design (be it residential or commercial) and Town Planning. </a:t>
            </a:r>
            <a:endParaRPr lang="en-IN" sz="1200" dirty="0"/>
          </a:p>
          <a:p>
            <a:endParaRPr lang="en-US" dirty="0"/>
          </a:p>
        </p:txBody>
      </p:sp>
      <p:sp>
        <p:nvSpPr>
          <p:cNvPr id="4" name="Slide Number Placeholder 3"/>
          <p:cNvSpPr>
            <a:spLocks noGrp="1"/>
          </p:cNvSpPr>
          <p:nvPr>
            <p:ph type="sldNum" sz="quarter" idx="10"/>
          </p:nvPr>
        </p:nvSpPr>
        <p:spPr/>
        <p:txBody>
          <a:bodyPr/>
          <a:lstStyle/>
          <a:p>
            <a:fld id="{3A7B3332-A621-674B-8762-1A23CE0DE591}" type="slidenum">
              <a:rPr lang="en-US" smtClean="0"/>
              <a:t>18</a:t>
            </a:fld>
            <a:endParaRPr lang="en-US"/>
          </a:p>
        </p:txBody>
      </p:sp>
    </p:spTree>
    <p:extLst>
      <p:ext uri="{BB962C8B-B14F-4D97-AF65-F5344CB8AC3E}">
        <p14:creationId xmlns:p14="http://schemas.microsoft.com/office/powerpoint/2010/main" val="110938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jp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content">
    <p:spTree>
      <p:nvGrpSpPr>
        <p:cNvPr id="1" name=""/>
        <p:cNvGrpSpPr/>
        <p:nvPr/>
      </p:nvGrpSpPr>
      <p:grpSpPr>
        <a:xfrm>
          <a:off x="0" y="0"/>
          <a:ext cx="0" cy="0"/>
          <a:chOff x="0" y="0"/>
          <a:chExt cx="0" cy="0"/>
        </a:xfrm>
      </p:grpSpPr>
      <p:pic>
        <p:nvPicPr>
          <p:cNvPr id="5" name="그림 3">
            <a:extLst>
              <a:ext uri="{FF2B5EF4-FFF2-40B4-BE49-F238E27FC236}">
                <a16:creationId xmlns:a16="http://schemas.microsoft.com/office/drawing/2014/main" id="{FB79664C-889C-A24B-A9AB-FE70ADF8F8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6233" t="22340" r="3492" b="23854"/>
          <a:stretch/>
        </p:blipFill>
        <p:spPr>
          <a:xfrm>
            <a:off x="11480800" y="2743200"/>
            <a:ext cx="3962400" cy="3962400"/>
          </a:xfrm>
          <a:prstGeom prst="rect">
            <a:avLst/>
          </a:prstGeom>
          <a:noFill/>
          <a:ln>
            <a:noFill/>
          </a:ln>
        </p:spPr>
      </p:pic>
      <p:pic>
        <p:nvPicPr>
          <p:cNvPr id="7" name="그림 4">
            <a:extLst>
              <a:ext uri="{FF2B5EF4-FFF2-40B4-BE49-F238E27FC236}">
                <a16:creationId xmlns:a16="http://schemas.microsoft.com/office/drawing/2014/main" id="{A2C878DC-5F5B-2942-8F3C-324DB6A5A46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5235" y="6096000"/>
            <a:ext cx="16232365" cy="2743200"/>
          </a:xfrm>
          <a:prstGeom prst="rect">
            <a:avLst/>
          </a:prstGeom>
        </p:spPr>
      </p:pic>
      <p:sp>
        <p:nvSpPr>
          <p:cNvPr id="3" name="Title 2">
            <a:extLst>
              <a:ext uri="{FF2B5EF4-FFF2-40B4-BE49-F238E27FC236}">
                <a16:creationId xmlns:a16="http://schemas.microsoft.com/office/drawing/2014/main" id="{06022681-028D-A64E-B801-8D9A160D2F95}"/>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1426366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Footer Placeholder 4">
            <a:extLst>
              <a:ext uri="{FF2B5EF4-FFF2-40B4-BE49-F238E27FC236}">
                <a16:creationId xmlns:a16="http://schemas.microsoft.com/office/drawing/2014/main" id="{40FC1CEA-954B-024D-82F2-E6C16D7EA489}"/>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BF68A-A72F-CB47-AE3E-7924C67294CC}"/>
              </a:ext>
            </a:extLst>
          </p:cNvPr>
          <p:cNvSpPr>
            <a:spLocks noGrp="1"/>
          </p:cNvSpPr>
          <p:nvPr>
            <p:ph type="title"/>
          </p:nvPr>
        </p:nvSpPr>
        <p:spPr/>
        <p:txBody>
          <a:bodyPr/>
          <a:lstStyle/>
          <a:p>
            <a:r>
              <a:rPr lang="en-US"/>
              <a:t>Click to edit Master title style</a:t>
            </a:r>
          </a:p>
        </p:txBody>
      </p:sp>
      <p:sp>
        <p:nvSpPr>
          <p:cNvPr id="4" name="Footer Placeholder 5">
            <a:extLst>
              <a:ext uri="{FF2B5EF4-FFF2-40B4-BE49-F238E27FC236}">
                <a16:creationId xmlns:a16="http://schemas.microsoft.com/office/drawing/2014/main" id="{AEF25A3A-2B38-754A-9AE7-F43DC571D6E8}"/>
              </a:ext>
            </a:extLst>
          </p:cNvPr>
          <p:cNvSpPr>
            <a:spLocks noGrp="1"/>
          </p:cNvSpPr>
          <p:nvPr>
            <p:ph type="ftr" sz="quarter" idx="3"/>
          </p:nvPr>
        </p:nvSpPr>
        <p:spPr>
          <a:xfrm>
            <a:off x="1473939" y="8458200"/>
            <a:ext cx="14350261" cy="485775"/>
          </a:xfrm>
          <a:prstGeom prst="rect">
            <a:avLst/>
          </a:prstGeom>
        </p:spPr>
        <p:txBody>
          <a:bodyPr vert="horz" lIns="91440" tIns="45720" rIns="91440" bIns="45720" rtlCol="0" anchor="ctr"/>
          <a:lstStyle>
            <a:lvl1pPr algn="ctr">
              <a:defRPr sz="2400">
                <a:solidFill>
                  <a:srgbClr val="90F502"/>
                </a:solidFill>
                <a:latin typeface="Century Gothic" panose="020B0502020202020204" pitchFamily="34" charset="0"/>
              </a:defRPr>
            </a:lvl1pPr>
          </a:lstStyle>
          <a:p>
            <a:r>
              <a:rPr lang="en-US" dirty="0"/>
              <a:t>                                             designing with sustainable n secure dna                              ©️narnix 2019</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46602" y="1143000"/>
            <a:ext cx="5348112" cy="1097038"/>
          </a:xfrm>
        </p:spPr>
        <p:txBody>
          <a:bodyPr anchor="b"/>
          <a:lstStyle>
            <a:lvl1pPr algn="l">
              <a:defRPr sz="2730" b="1"/>
            </a:lvl1pPr>
          </a:lstStyle>
          <a:p>
            <a:r>
              <a:rPr lang="en-US"/>
              <a:t>Click to edit Master title style</a:t>
            </a:r>
          </a:p>
        </p:txBody>
      </p:sp>
      <p:sp>
        <p:nvSpPr>
          <p:cNvPr id="3" name="Content Placeholder 2"/>
          <p:cNvSpPr>
            <a:spLocks noGrp="1"/>
          </p:cNvSpPr>
          <p:nvPr>
            <p:ph idx="1"/>
          </p:nvPr>
        </p:nvSpPr>
        <p:spPr>
          <a:xfrm>
            <a:off x="6812844" y="1143000"/>
            <a:ext cx="9087556" cy="7025219"/>
          </a:xfrm>
        </p:spPr>
        <p:txBody>
          <a:bodyPr/>
          <a:lstStyle>
            <a:lvl1pPr>
              <a:defRPr sz="4381"/>
            </a:lvl1pPr>
            <a:lvl2pPr>
              <a:defRPr sz="3873"/>
            </a:lvl2pPr>
            <a:lvl3pPr>
              <a:defRPr sz="3301"/>
            </a:lvl3pPr>
            <a:lvl4pPr>
              <a:defRPr sz="2730"/>
            </a:lvl4pPr>
            <a:lvl5pPr>
              <a:defRPr sz="2730"/>
            </a:lvl5pPr>
            <a:lvl6pPr>
              <a:defRPr sz="2730"/>
            </a:lvl6pPr>
            <a:lvl7pPr>
              <a:defRPr sz="2730"/>
            </a:lvl7pPr>
            <a:lvl8pPr>
              <a:defRPr sz="2730"/>
            </a:lvl8pPr>
            <a:lvl9pPr>
              <a:defRPr sz="273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332088" y="2286000"/>
            <a:ext cx="5348112" cy="5882219"/>
          </a:xfrm>
        </p:spPr>
        <p:txBody>
          <a:bodyPr/>
          <a:lstStyle>
            <a:lvl1pPr marL="0" indent="0">
              <a:buNone/>
              <a:defRPr sz="1905"/>
            </a:lvl1pPr>
            <a:lvl2pPr marL="630306" indent="0">
              <a:buNone/>
              <a:defRPr sz="1651"/>
            </a:lvl2pPr>
            <a:lvl3pPr marL="1260612" indent="0">
              <a:buNone/>
              <a:defRPr sz="1397"/>
            </a:lvl3pPr>
            <a:lvl4pPr marL="1890918" indent="0">
              <a:buNone/>
              <a:defRPr sz="1270"/>
            </a:lvl4pPr>
            <a:lvl5pPr marL="2521223" indent="0">
              <a:buNone/>
              <a:defRPr sz="1270"/>
            </a:lvl5pPr>
            <a:lvl6pPr marL="3151529" indent="0">
              <a:buNone/>
              <a:defRPr sz="1270"/>
            </a:lvl6pPr>
            <a:lvl7pPr marL="3781835" indent="0">
              <a:buNone/>
              <a:defRPr sz="1270"/>
            </a:lvl7pPr>
            <a:lvl8pPr marL="4412142" indent="0">
              <a:buNone/>
              <a:defRPr sz="1270"/>
            </a:lvl8pPr>
            <a:lvl9pPr marL="5042448" indent="0">
              <a:buNone/>
              <a:defRPr sz="1270"/>
            </a:lvl9pPr>
          </a:lstStyle>
          <a:p>
            <a:pPr lvl="0"/>
            <a:r>
              <a:rPr lang="en-US"/>
              <a:t>Click to edit Master text styles</a:t>
            </a:r>
          </a:p>
        </p:txBody>
      </p:sp>
      <p:sp>
        <p:nvSpPr>
          <p:cNvPr id="7" name="Footer Placeholder 4">
            <a:extLst>
              <a:ext uri="{FF2B5EF4-FFF2-40B4-BE49-F238E27FC236}">
                <a16:creationId xmlns:a16="http://schemas.microsoft.com/office/drawing/2014/main" id="{697C9C19-7FBE-F748-A2BA-02BCB30E61CC}"/>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186290" y="6400801"/>
            <a:ext cx="9753600" cy="755651"/>
          </a:xfrm>
        </p:spPr>
        <p:txBody>
          <a:bodyPr anchor="b"/>
          <a:lstStyle>
            <a:lvl1pPr algn="l">
              <a:defRPr sz="2730" b="1"/>
            </a:lvl1pPr>
          </a:lstStyle>
          <a:p>
            <a:r>
              <a:rPr lang="en-US"/>
              <a:t>Click to edit Master title style</a:t>
            </a:r>
          </a:p>
        </p:txBody>
      </p:sp>
      <p:sp>
        <p:nvSpPr>
          <p:cNvPr id="3" name="Picture Placeholder 2"/>
          <p:cNvSpPr>
            <a:spLocks noGrp="1"/>
          </p:cNvSpPr>
          <p:nvPr>
            <p:ph type="pic" idx="1"/>
          </p:nvPr>
        </p:nvSpPr>
        <p:spPr>
          <a:xfrm>
            <a:off x="3186290" y="1219199"/>
            <a:ext cx="9753600" cy="5084233"/>
          </a:xfrm>
        </p:spPr>
        <p:txBody>
          <a:bodyPr/>
          <a:lstStyle>
            <a:lvl1pPr marL="0" indent="0">
              <a:buNone/>
              <a:defRPr sz="4381"/>
            </a:lvl1pPr>
            <a:lvl2pPr marL="630306" indent="0">
              <a:buNone/>
              <a:defRPr sz="3873"/>
            </a:lvl2pPr>
            <a:lvl3pPr marL="1260612" indent="0">
              <a:buNone/>
              <a:defRPr sz="3301"/>
            </a:lvl3pPr>
            <a:lvl4pPr marL="1890918" indent="0">
              <a:buNone/>
              <a:defRPr sz="2730"/>
            </a:lvl4pPr>
            <a:lvl5pPr marL="2521223" indent="0">
              <a:buNone/>
              <a:defRPr sz="2730"/>
            </a:lvl5pPr>
            <a:lvl6pPr marL="3151529" indent="0">
              <a:buNone/>
              <a:defRPr sz="2730"/>
            </a:lvl6pPr>
            <a:lvl7pPr marL="3781835" indent="0">
              <a:buNone/>
              <a:defRPr sz="2730"/>
            </a:lvl7pPr>
            <a:lvl8pPr marL="4412142" indent="0">
              <a:buNone/>
              <a:defRPr sz="2730"/>
            </a:lvl8pPr>
            <a:lvl9pPr marL="5042448" indent="0">
              <a:buNone/>
              <a:defRPr sz="2730"/>
            </a:lvl9pPr>
          </a:lstStyle>
          <a:p>
            <a:endParaRPr lang="en-US"/>
          </a:p>
        </p:txBody>
      </p:sp>
      <p:sp>
        <p:nvSpPr>
          <p:cNvPr id="4" name="Text Placeholder 3"/>
          <p:cNvSpPr>
            <a:spLocks noGrp="1"/>
          </p:cNvSpPr>
          <p:nvPr>
            <p:ph type="body" sz="half" idx="2"/>
          </p:nvPr>
        </p:nvSpPr>
        <p:spPr>
          <a:xfrm>
            <a:off x="3186290" y="7156452"/>
            <a:ext cx="9753600" cy="1073149"/>
          </a:xfrm>
        </p:spPr>
        <p:txBody>
          <a:bodyPr/>
          <a:lstStyle>
            <a:lvl1pPr marL="0" indent="0">
              <a:buNone/>
              <a:defRPr sz="1905"/>
            </a:lvl1pPr>
            <a:lvl2pPr marL="630306" indent="0">
              <a:buNone/>
              <a:defRPr sz="1651"/>
            </a:lvl2pPr>
            <a:lvl3pPr marL="1260612" indent="0">
              <a:buNone/>
              <a:defRPr sz="1397"/>
            </a:lvl3pPr>
            <a:lvl4pPr marL="1890918" indent="0">
              <a:buNone/>
              <a:defRPr sz="1270"/>
            </a:lvl4pPr>
            <a:lvl5pPr marL="2521223" indent="0">
              <a:buNone/>
              <a:defRPr sz="1270"/>
            </a:lvl5pPr>
            <a:lvl6pPr marL="3151529" indent="0">
              <a:buNone/>
              <a:defRPr sz="1270"/>
            </a:lvl6pPr>
            <a:lvl7pPr marL="3781835" indent="0">
              <a:buNone/>
              <a:defRPr sz="1270"/>
            </a:lvl7pPr>
            <a:lvl8pPr marL="4412142" indent="0">
              <a:buNone/>
              <a:defRPr sz="1270"/>
            </a:lvl8pPr>
            <a:lvl9pPr marL="5042448" indent="0">
              <a:buNone/>
              <a:defRPr sz="1270"/>
            </a:lvl9pPr>
          </a:lstStyle>
          <a:p>
            <a:pPr lvl="0"/>
            <a:r>
              <a:rPr lang="en-US"/>
              <a:t>Click to edit Master text styles</a:t>
            </a:r>
          </a:p>
        </p:txBody>
      </p:sp>
      <p:sp>
        <p:nvSpPr>
          <p:cNvPr id="7" name="Footer Placeholder 4">
            <a:extLst>
              <a:ext uri="{FF2B5EF4-FFF2-40B4-BE49-F238E27FC236}">
                <a16:creationId xmlns:a16="http://schemas.microsoft.com/office/drawing/2014/main" id="{800CC33C-D319-7A47-A37C-81BB72BD8913}"/>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4000">
                <a:latin typeface="Century Gothic" panose="020B0502020202020204" pitchFamily="34" charset="0"/>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3000246" y="488951"/>
            <a:ext cx="10241844" cy="104013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498600" y="1219200"/>
            <a:ext cx="14325601" cy="6934200"/>
          </a:xfrm>
        </p:spPr>
        <p:txBody>
          <a:bodyPr vert="eaVert"/>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812800" y="1839047"/>
            <a:ext cx="14630400" cy="6380527"/>
          </a:xfrm>
        </p:spPr>
        <p:txBody>
          <a:bodyPr/>
          <a:lstStyle>
            <a:lvl1pPr>
              <a:lnSpc>
                <a:spcPct val="100000"/>
              </a:lnSpc>
              <a:spcBef>
                <a:spcPts val="1368"/>
              </a:spcBef>
              <a:defRPr sz="2736">
                <a:latin typeface="Century Gothic" panose="020B0502020202020204" pitchFamily="34" charset="0"/>
                <a:ea typeface="Verdana" pitchFamily="34" charset="0"/>
                <a:cs typeface="Verdana" pitchFamily="34" charset="0"/>
              </a:defRPr>
            </a:lvl1pPr>
            <a:lvl2pPr>
              <a:lnSpc>
                <a:spcPct val="100000"/>
              </a:lnSpc>
              <a:spcBef>
                <a:spcPts val="1368"/>
              </a:spcBef>
              <a:defRPr sz="2280">
                <a:latin typeface="Century Gothic" panose="020B0502020202020204" pitchFamily="34" charset="0"/>
                <a:ea typeface="Verdana" pitchFamily="34" charset="0"/>
                <a:cs typeface="Verdana" pitchFamily="34" charset="0"/>
              </a:defRPr>
            </a:lvl2pPr>
            <a:lvl3pPr>
              <a:lnSpc>
                <a:spcPct val="100000"/>
              </a:lnSpc>
              <a:spcBef>
                <a:spcPts val="1368"/>
              </a:spcBef>
              <a:defRPr sz="2280">
                <a:latin typeface="Century Gothic" panose="020B0502020202020204" pitchFamily="34" charset="0"/>
                <a:ea typeface="Verdana" pitchFamily="34" charset="0"/>
                <a:cs typeface="Verdana" pitchFamily="34" charset="0"/>
              </a:defRPr>
            </a:lvl3pPr>
            <a:lvl4pPr>
              <a:lnSpc>
                <a:spcPct val="100000"/>
              </a:lnSpc>
              <a:spcBef>
                <a:spcPts val="1368"/>
              </a:spcBef>
              <a:defRPr>
                <a:latin typeface="Century Gothic" panose="020B0502020202020204" pitchFamily="34" charset="0"/>
                <a:ea typeface="Verdana" pitchFamily="34" charset="0"/>
                <a:cs typeface="Verdana" pitchFamily="34" charset="0"/>
              </a:defRPr>
            </a:lvl4pPr>
            <a:lvl5pPr>
              <a:lnSpc>
                <a:spcPct val="100000"/>
              </a:lnSpc>
              <a:spcBef>
                <a:spcPts val="1368"/>
              </a:spcBef>
              <a:defRPr>
                <a:latin typeface="Century Gothic" panose="020B0502020202020204" pitchFamily="34" charset="0"/>
                <a:ea typeface="Verdana" pitchFamily="34" charset="0"/>
                <a:cs typeface="Verdana" pitchFamily="34" charset="0"/>
              </a:defRPr>
            </a:lvl5pPr>
          </a:lstStyle>
          <a:p>
            <a:pPr lvl="0"/>
            <a:r>
              <a:rPr lang="en-GB" noProof="0" dirty="0" err="1"/>
              <a:t>Cliquez</a:t>
            </a:r>
            <a:r>
              <a:rPr lang="en-GB" noProof="0" dirty="0"/>
              <a:t> pour modifier les styles du </a:t>
            </a:r>
            <a:r>
              <a:rPr lang="en-GB" noProof="0" dirty="0" err="1"/>
              <a:t>texte</a:t>
            </a:r>
            <a:r>
              <a:rPr lang="en-GB" noProof="0" dirty="0"/>
              <a:t> du masque</a:t>
            </a:r>
          </a:p>
          <a:p>
            <a:pPr lvl="1"/>
            <a:r>
              <a:rPr lang="en-GB" noProof="0" dirty="0" err="1"/>
              <a:t>Deuxième</a:t>
            </a:r>
            <a:r>
              <a:rPr lang="en-GB" noProof="0" dirty="0"/>
              <a:t> </a:t>
            </a:r>
            <a:r>
              <a:rPr lang="en-GB" noProof="0" dirty="0" err="1"/>
              <a:t>niveau</a:t>
            </a:r>
            <a:endParaRPr lang="en-GB" noProof="0" dirty="0"/>
          </a:p>
          <a:p>
            <a:pPr lvl="2"/>
            <a:r>
              <a:rPr lang="en-GB" noProof="0" dirty="0" err="1"/>
              <a:t>Troisième</a:t>
            </a:r>
            <a:r>
              <a:rPr lang="en-GB" noProof="0" dirty="0"/>
              <a:t> </a:t>
            </a:r>
            <a:r>
              <a:rPr lang="en-GB" noProof="0" dirty="0" err="1"/>
              <a:t>niveau</a:t>
            </a:r>
            <a:endParaRPr lang="en-GB" noProof="0" dirty="0"/>
          </a:p>
          <a:p>
            <a:pPr lvl="3"/>
            <a:r>
              <a:rPr lang="en-GB" noProof="0" dirty="0" err="1"/>
              <a:t>Quatrième</a:t>
            </a:r>
            <a:r>
              <a:rPr lang="en-GB" noProof="0" dirty="0"/>
              <a:t> </a:t>
            </a:r>
            <a:r>
              <a:rPr lang="en-GB" noProof="0" dirty="0" err="1"/>
              <a:t>niveau</a:t>
            </a:r>
            <a:endParaRPr lang="en-GB" noProof="0" dirty="0"/>
          </a:p>
          <a:p>
            <a:pPr lvl="4"/>
            <a:r>
              <a:rPr lang="en-GB" noProof="0" dirty="0" err="1"/>
              <a:t>Cinquième</a:t>
            </a:r>
            <a:r>
              <a:rPr lang="en-GB" noProof="0" dirty="0"/>
              <a:t> </a:t>
            </a:r>
            <a:r>
              <a:rPr lang="en-GB" noProof="0" dirty="0" err="1"/>
              <a:t>niveau</a:t>
            </a:r>
            <a:endParaRPr lang="en-GB" noProof="0" dirty="0"/>
          </a:p>
        </p:txBody>
      </p:sp>
      <p:sp>
        <p:nvSpPr>
          <p:cNvPr id="12" name="Title 11"/>
          <p:cNvSpPr>
            <a:spLocks noGrp="1"/>
          </p:cNvSpPr>
          <p:nvPr>
            <p:ph type="title"/>
          </p:nvPr>
        </p:nvSpPr>
        <p:spPr>
          <a:xfrm>
            <a:off x="812801" y="332739"/>
            <a:ext cx="11069563" cy="697776"/>
          </a:xfrm>
        </p:spPr>
        <p:txBody>
          <a:bodyPr/>
          <a:lstStyle>
            <a:lvl1pPr>
              <a:defRPr>
                <a:latin typeface="+mj-lt"/>
                <a:ea typeface="Verdana" pitchFamily="34" charset="0"/>
                <a:cs typeface="Verdana" pitchFamily="34" charset="0"/>
              </a:defRPr>
            </a:lvl1pPr>
          </a:lstStyle>
          <a:p>
            <a:r>
              <a:rPr lang="en-GB" noProof="0" dirty="0"/>
              <a:t>Click to edit Master title style</a:t>
            </a:r>
          </a:p>
        </p:txBody>
      </p:sp>
    </p:spTree>
    <p:extLst>
      <p:ext uri="{BB962C8B-B14F-4D97-AF65-F5344CB8AC3E}">
        <p14:creationId xmlns:p14="http://schemas.microsoft.com/office/powerpoint/2010/main" val="6203099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9" name="Content Placeholder 2"/>
          <p:cNvSpPr>
            <a:spLocks noGrp="1"/>
          </p:cNvSpPr>
          <p:nvPr>
            <p:ph idx="13" hasCustomPrompt="1"/>
          </p:nvPr>
        </p:nvSpPr>
        <p:spPr>
          <a:xfrm>
            <a:off x="1481668" y="1883835"/>
            <a:ext cx="14096999" cy="6371167"/>
          </a:xfrm>
        </p:spPr>
        <p:txBody>
          <a:bodyPr/>
          <a:lstStyle>
            <a:lvl1pPr>
              <a:defRPr/>
            </a:lvl1pPr>
          </a:lstStyle>
          <a:p>
            <a:pPr lvl="0"/>
            <a:r>
              <a:rPr lang="en-US" dirty="0"/>
              <a:t>Text</a:t>
            </a:r>
          </a:p>
        </p:txBody>
      </p:sp>
      <p:sp>
        <p:nvSpPr>
          <p:cNvPr id="2" name="Title 1"/>
          <p:cNvSpPr>
            <a:spLocks noGrp="1"/>
          </p:cNvSpPr>
          <p:nvPr>
            <p:ph type="title" hasCustomPrompt="1"/>
          </p:nvPr>
        </p:nvSpPr>
        <p:spPr>
          <a:xfrm>
            <a:off x="1481668" y="142294"/>
            <a:ext cx="10634137" cy="782548"/>
          </a:xfrm>
        </p:spPr>
        <p:txBody>
          <a:bodyPr>
            <a:noAutofit/>
          </a:bodyPr>
          <a:lstStyle>
            <a:lvl1pPr>
              <a:defRPr sz="4400" baseline="0"/>
            </a:lvl1pPr>
          </a:lstStyle>
          <a:p>
            <a:r>
              <a:rPr lang="en-US" dirty="0"/>
              <a:t>Add title</a:t>
            </a:r>
          </a:p>
        </p:txBody>
      </p:sp>
    </p:spTree>
    <p:extLst>
      <p:ext uri="{BB962C8B-B14F-4D97-AF65-F5344CB8AC3E}">
        <p14:creationId xmlns:p14="http://schemas.microsoft.com/office/powerpoint/2010/main" val="36033955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2800" y="199392"/>
            <a:ext cx="12039599" cy="791208"/>
          </a:xfrm>
        </p:spPr>
        <p:txBody>
          <a:bodyPr/>
          <a:lstStyle>
            <a:lvl1pPr>
              <a:defRPr>
                <a:solidFill>
                  <a:srgbClr val="FEA022"/>
                </a:solidFill>
                <a:latin typeface="Century Gothic"/>
                <a:cs typeface="Century Gothic"/>
              </a:defRPr>
            </a:lvl1pPr>
          </a:lstStyle>
          <a:p>
            <a:r>
              <a:rPr lang="en-US" dirty="0"/>
              <a:t>Click to edit Master title style</a:t>
            </a:r>
          </a:p>
        </p:txBody>
      </p:sp>
      <p:sp>
        <p:nvSpPr>
          <p:cNvPr id="3" name="Text Placeholder 2"/>
          <p:cNvSpPr>
            <a:spLocks noGrp="1"/>
          </p:cNvSpPr>
          <p:nvPr>
            <p:ph type="body" idx="1"/>
          </p:nvPr>
        </p:nvSpPr>
        <p:spPr>
          <a:xfrm>
            <a:off x="812800" y="4738176"/>
            <a:ext cx="3584196" cy="1518483"/>
          </a:xfrm>
        </p:spPr>
        <p:txBody>
          <a:bodyPr anchor="b"/>
          <a:lstStyle>
            <a:lvl1pPr marL="0" indent="0">
              <a:buNone/>
              <a:defRPr sz="1867" b="1">
                <a:solidFill>
                  <a:schemeClr val="accent6">
                    <a:lumMod val="75000"/>
                  </a:schemeClr>
                </a:solidFill>
                <a:latin typeface="Century Gothic"/>
                <a:cs typeface="Century Gothic"/>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812801" y="1399661"/>
            <a:ext cx="3584194" cy="3041449"/>
          </a:xfrm>
        </p:spPr>
        <p:txBody>
          <a:bodyPr/>
          <a:lstStyle>
            <a:lvl1pPr marL="0" indent="0">
              <a:buNone/>
              <a:defRPr sz="3200"/>
            </a:lvl1pPr>
            <a:lvl2pPr marL="609585" indent="0">
              <a:buNone/>
              <a:defRPr sz="2667"/>
            </a:lvl2pPr>
            <a:lvl3pPr marL="1219170" indent="0">
              <a:buNone/>
              <a:defRPr sz="2400"/>
            </a:lvl3pPr>
            <a:lvl4pPr marL="1828754" indent="0">
              <a:buNone/>
              <a:defRPr sz="2133"/>
            </a:lvl4pPr>
            <a:lvl5pPr marL="2438339" indent="0">
              <a:buNone/>
              <a:defRPr sz="2133"/>
            </a:lvl5pPr>
            <a:lvl6pPr>
              <a:defRPr sz="2133"/>
            </a:lvl6pPr>
            <a:lvl7pPr>
              <a:defRPr sz="2133"/>
            </a:lvl7pPr>
            <a:lvl8pPr>
              <a:defRPr sz="2133"/>
            </a:lvl8pPr>
            <a:lvl9pPr>
              <a:defRPr sz="2133"/>
            </a:lvl9pPr>
          </a:lstStyle>
          <a:p>
            <a:pPr lvl="0"/>
            <a:endParaRPr lang="en-US" dirty="0"/>
          </a:p>
        </p:txBody>
      </p:sp>
      <p:sp>
        <p:nvSpPr>
          <p:cNvPr id="6" name="Content Placeholder 5"/>
          <p:cNvSpPr>
            <a:spLocks noGrp="1"/>
          </p:cNvSpPr>
          <p:nvPr>
            <p:ph sz="quarter" idx="4"/>
          </p:nvPr>
        </p:nvSpPr>
        <p:spPr>
          <a:xfrm>
            <a:off x="4555445" y="1247667"/>
            <a:ext cx="10887756" cy="7218655"/>
          </a:xfrm>
        </p:spPr>
        <p:txBody>
          <a:bodyPr/>
          <a:lstStyle>
            <a:lvl1pPr>
              <a:defRPr sz="3200">
                <a:latin typeface="Century Gothic"/>
                <a:cs typeface="Century Gothic"/>
              </a:defRPr>
            </a:lvl1pPr>
            <a:lvl2pPr>
              <a:defRPr sz="2667">
                <a:latin typeface="Century Gothic"/>
                <a:cs typeface="Century Gothic"/>
              </a:defRPr>
            </a:lvl2pPr>
            <a:lvl3pPr>
              <a:defRPr sz="2400">
                <a:latin typeface="Century Gothic"/>
                <a:cs typeface="Century Gothic"/>
              </a:defRPr>
            </a:lvl3pPr>
            <a:lvl4pPr>
              <a:defRPr sz="2133">
                <a:latin typeface="Century Gothic"/>
                <a:cs typeface="Century Gothic"/>
              </a:defRPr>
            </a:lvl4pPr>
            <a:lvl5pPr>
              <a:defRPr sz="2133">
                <a:latin typeface="Century Gothic"/>
                <a:cs typeface="Century Gothic"/>
              </a:defRPr>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a:extLst>
              <a:ext uri="{FF2B5EF4-FFF2-40B4-BE49-F238E27FC236}">
                <a16:creationId xmlns:a16="http://schemas.microsoft.com/office/drawing/2014/main" id="{1A030AC8-7B78-2F49-B9CF-964460A68205}"/>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234511275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mpty layout">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959BB214-0C76-2C49-BFB8-44DC134A0441}"/>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42404658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그림 9"/>
          <p:cNvPicPr>
            <a:picLocks noChangeAspect="1"/>
          </p:cNvPicPr>
          <p:nvPr userDrawn="1"/>
        </p:nvPicPr>
        <p:blipFill rotWithShape="1">
          <a:blip r:embed="rId3">
            <a:extLst>
              <a:ext uri="{28A0092B-C50C-407E-A947-70E740481C1C}">
                <a14:useLocalDpi xmlns:a14="http://schemas.microsoft.com/office/drawing/2010/main" val="0"/>
              </a:ext>
            </a:extLst>
          </a:blip>
          <a:srcRect l="6450" t="39942" r="64565" b="13210"/>
          <a:stretch/>
        </p:blipFill>
        <p:spPr>
          <a:xfrm>
            <a:off x="1211155" y="3962400"/>
            <a:ext cx="4461088" cy="4056933"/>
          </a:xfrm>
          <a:prstGeom prst="rect">
            <a:avLst/>
          </a:prstGeom>
        </p:spPr>
      </p:pic>
      <p:pic>
        <p:nvPicPr>
          <p:cNvPr id="9" name="그림 8"/>
          <p:cNvPicPr>
            <a:picLocks noChangeAspect="1"/>
          </p:cNvPicPr>
          <p:nvPr userDrawn="1"/>
        </p:nvPicPr>
        <p:blipFill rotWithShape="1">
          <a:blip r:embed="rId4">
            <a:extLst>
              <a:ext uri="{28A0092B-C50C-407E-A947-70E740481C1C}">
                <a14:useLocalDpi xmlns:a14="http://schemas.microsoft.com/office/drawing/2010/main" val="0"/>
              </a:ext>
            </a:extLst>
          </a:blip>
          <a:srcRect b="29061"/>
          <a:stretch/>
        </p:blipFill>
        <p:spPr>
          <a:xfrm>
            <a:off x="2981112" y="7441523"/>
            <a:ext cx="921175" cy="1706711"/>
          </a:xfrm>
          <a:prstGeom prst="rect">
            <a:avLst/>
          </a:prstGeom>
        </p:spPr>
      </p:pic>
      <p:pic>
        <p:nvPicPr>
          <p:cNvPr id="5" name="Picture 4" descr="logo narnix.jpg">
            <a:extLst>
              <a:ext uri="{FF2B5EF4-FFF2-40B4-BE49-F238E27FC236}">
                <a16:creationId xmlns:a16="http://schemas.microsoft.com/office/drawing/2014/main" id="{26B6BC0F-F5C1-B74E-B2F8-B7BCB571BDB5}"/>
              </a:ext>
            </a:extLst>
          </p:cNvPr>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3700" y="4724400"/>
            <a:ext cx="1300239" cy="4056933"/>
          </a:xfrm>
          <a:prstGeom prst="rect">
            <a:avLst/>
          </a:prstGeom>
        </p:spPr>
      </p:pic>
      <p:sp>
        <p:nvSpPr>
          <p:cNvPr id="2" name="Title 1">
            <a:extLst>
              <a:ext uri="{FF2B5EF4-FFF2-40B4-BE49-F238E27FC236}">
                <a16:creationId xmlns:a16="http://schemas.microsoft.com/office/drawing/2014/main" id="{C6023664-B8BE-5D40-85B6-A5C7B8165CA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13475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1 smaller column">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84F54AF-EED6-486A-9ACA-42061F4AAE9A}"/>
              </a:ext>
            </a:extLst>
          </p:cNvPr>
          <p:cNvSpPr>
            <a:spLocks noGrp="1"/>
          </p:cNvSpPr>
          <p:nvPr>
            <p:ph sz="quarter" idx="11" hasCustomPrompt="1"/>
          </p:nvPr>
        </p:nvSpPr>
        <p:spPr>
          <a:xfrm>
            <a:off x="4648804" y="2300818"/>
            <a:ext cx="11137902" cy="5856816"/>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dirty="0"/>
              <a:t>For heading, use Ericsson Hilda in bold. For copy and bullets, use Ericsson Hilda.</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Title_SM">
            <a:extLst>
              <a:ext uri="{FF2B5EF4-FFF2-40B4-BE49-F238E27FC236}">
                <a16:creationId xmlns:a16="http://schemas.microsoft.com/office/drawing/2014/main" id="{3F4EF873-DC0F-4698-BEC2-502DB043AA5C}"/>
              </a:ext>
            </a:extLst>
          </p:cNvPr>
          <p:cNvSpPr>
            <a:spLocks noGrp="1" noChangeArrowheads="1"/>
          </p:cNvSpPr>
          <p:nvPr>
            <p:ph type="title"/>
          </p:nvPr>
        </p:nvSpPr>
        <p:spPr bwMode="auto">
          <a:xfrm>
            <a:off x="812800" y="152400"/>
            <a:ext cx="12115800" cy="757311"/>
          </a:xfrm>
          <a:prstGeom prst="rect">
            <a:avLst/>
          </a:prstGeom>
          <a:noFill/>
          <a:ln w="9525">
            <a:noFill/>
            <a:miter lim="800000"/>
            <a:headEnd/>
            <a:tailEnd/>
          </a:ln>
        </p:spPr>
        <p:txBody>
          <a:bodyPr vert="horz" wrap="square" lIns="72000" tIns="36000" rIns="73152" bIns="36576" numCol="1" anchor="t" anchorCtr="0" compatLnSpc="1">
            <a:prstTxWarp prst="textNoShape">
              <a:avLst/>
            </a:prstTxWarp>
            <a:noAutofit/>
          </a:bodyPr>
          <a:lstStyle>
            <a:lvl1pPr>
              <a:defRPr sz="4000">
                <a:latin typeface="Century Gothic" panose="020B0502020202020204" pitchFamily="34" charset="0"/>
              </a:defRPr>
            </a:lvl1pPr>
          </a:lstStyle>
          <a:p>
            <a:pPr lvl="0"/>
            <a:endParaRPr lang="en-US" dirty="0"/>
          </a:p>
        </p:txBody>
      </p:sp>
      <p:sp>
        <p:nvSpPr>
          <p:cNvPr id="7" name="Footer Placeholder 4">
            <a:extLst>
              <a:ext uri="{FF2B5EF4-FFF2-40B4-BE49-F238E27FC236}">
                <a16:creationId xmlns:a16="http://schemas.microsoft.com/office/drawing/2014/main" id="{853118C9-4518-4A40-90BF-F484D28D58BD}"/>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17067760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7ECFA6D-FA86-A64F-BAC2-D638959BC3C7}"/>
              </a:ext>
            </a:extLst>
          </p:cNvPr>
          <p:cNvSpPr>
            <a:spLocks noGrp="1"/>
          </p:cNvSpPr>
          <p:nvPr>
            <p:ph type="title"/>
          </p:nvPr>
        </p:nvSpPr>
        <p:spPr/>
        <p:txBody>
          <a:bodyPr/>
          <a:lstStyle/>
          <a:p>
            <a:r>
              <a:rPr lang="en-US"/>
              <a:t>Click to edit Master title style</a:t>
            </a:r>
          </a:p>
        </p:txBody>
      </p:sp>
      <p:sp>
        <p:nvSpPr>
          <p:cNvPr id="4" name="Footer Placeholder 4">
            <a:extLst>
              <a:ext uri="{FF2B5EF4-FFF2-40B4-BE49-F238E27FC236}">
                <a16:creationId xmlns:a16="http://schemas.microsoft.com/office/drawing/2014/main" id="{DF7DFB94-D242-AB48-B59A-722BDC897771}"/>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cxnSp>
        <p:nvCxnSpPr>
          <p:cNvPr id="6" name="직선 연결선 11">
            <a:extLst>
              <a:ext uri="{FF2B5EF4-FFF2-40B4-BE49-F238E27FC236}">
                <a16:creationId xmlns:a16="http://schemas.microsoft.com/office/drawing/2014/main" id="{9D739919-AE76-DB45-89CB-14B700D0D058}"/>
              </a:ext>
            </a:extLst>
          </p:cNvPr>
          <p:cNvCxnSpPr>
            <a:cxnSpLocks/>
          </p:cNvCxnSpPr>
          <p:nvPr userDrawn="1"/>
        </p:nvCxnSpPr>
        <p:spPr>
          <a:xfrm>
            <a:off x="-14375" y="8489787"/>
            <a:ext cx="16253593" cy="0"/>
          </a:xfrm>
          <a:prstGeom prst="line">
            <a:avLst/>
          </a:prstGeom>
          <a:ln>
            <a:solidFill>
              <a:srgbClr val="3BFFFF">
                <a:alpha val="50000"/>
              </a:srgb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9E7A68D-F7FF-FA4B-BC85-167D1C61F320}"/>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D2CF5CE7-E807-3948-A460-B43D784AD47A}"/>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extLst>
      <p:ext uri="{BB962C8B-B14F-4D97-AF65-F5344CB8AC3E}">
        <p14:creationId xmlns:p14="http://schemas.microsoft.com/office/powerpoint/2010/main" val="2499616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2800" y="76200"/>
            <a:ext cx="12219528" cy="833486"/>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FD1753E9-9CEE-A140-8246-4EF2600CD51A}"/>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cxnSp>
        <p:nvCxnSpPr>
          <p:cNvPr id="6" name="직선 연결선 11">
            <a:extLst>
              <a:ext uri="{FF2B5EF4-FFF2-40B4-BE49-F238E27FC236}">
                <a16:creationId xmlns:a16="http://schemas.microsoft.com/office/drawing/2014/main" id="{9D739919-AE76-DB45-89CB-14B700D0D058}"/>
              </a:ext>
            </a:extLst>
          </p:cNvPr>
          <p:cNvCxnSpPr>
            <a:cxnSpLocks/>
          </p:cNvCxnSpPr>
          <p:nvPr userDrawn="1"/>
        </p:nvCxnSpPr>
        <p:spPr>
          <a:xfrm>
            <a:off x="-14375" y="8489787"/>
            <a:ext cx="16253593" cy="0"/>
          </a:xfrm>
          <a:prstGeom prst="line">
            <a:avLst/>
          </a:prstGeom>
          <a:ln>
            <a:solidFill>
              <a:srgbClr val="3BFFFF">
                <a:alpha val="50000"/>
              </a:srgb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FBC51DF-27BF-8E49-BF94-470823C0AC93}"/>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3827A06A-90A5-0648-81C7-89D49E2E4CF7}"/>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extLst>
      <p:ext uri="{BB962C8B-B14F-4D97-AF65-F5344CB8AC3E}">
        <p14:creationId xmlns:p14="http://schemas.microsoft.com/office/powerpoint/2010/main" val="5124091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84112" y="5875867"/>
            <a:ext cx="13817600" cy="1816100"/>
          </a:xfrm>
        </p:spPr>
        <p:txBody>
          <a:bodyPr anchor="t"/>
          <a:lstStyle>
            <a:lvl1pPr algn="l">
              <a:defRPr sz="5400" b="1" cap="all"/>
            </a:lvl1pPr>
          </a:lstStyle>
          <a:p>
            <a:r>
              <a:rPr lang="en-US" dirty="0"/>
              <a:t>Click to edit Master title style</a:t>
            </a:r>
          </a:p>
        </p:txBody>
      </p:sp>
      <p:sp>
        <p:nvSpPr>
          <p:cNvPr id="3" name="Text Placeholder 2"/>
          <p:cNvSpPr>
            <a:spLocks noGrp="1"/>
          </p:cNvSpPr>
          <p:nvPr>
            <p:ph type="body" idx="1"/>
          </p:nvPr>
        </p:nvSpPr>
        <p:spPr>
          <a:xfrm>
            <a:off x="1284112" y="3875619"/>
            <a:ext cx="13817600" cy="2000249"/>
          </a:xfrm>
        </p:spPr>
        <p:txBody>
          <a:bodyPr anchor="b">
            <a:normAutofit/>
          </a:bodyPr>
          <a:lstStyle>
            <a:lvl1pPr marL="0" indent="0">
              <a:buNone/>
              <a:defRPr sz="2800">
                <a:solidFill>
                  <a:schemeClr val="tx1">
                    <a:tint val="75000"/>
                  </a:schemeClr>
                </a:solidFill>
              </a:defRPr>
            </a:lvl1pPr>
            <a:lvl2pPr marL="630306" indent="0">
              <a:buNone/>
              <a:defRPr sz="2476">
                <a:solidFill>
                  <a:schemeClr val="tx1">
                    <a:tint val="75000"/>
                  </a:schemeClr>
                </a:solidFill>
              </a:defRPr>
            </a:lvl2pPr>
            <a:lvl3pPr marL="1260612" indent="0">
              <a:buNone/>
              <a:defRPr sz="2222">
                <a:solidFill>
                  <a:schemeClr val="tx1">
                    <a:tint val="75000"/>
                  </a:schemeClr>
                </a:solidFill>
              </a:defRPr>
            </a:lvl3pPr>
            <a:lvl4pPr marL="1890918" indent="0">
              <a:buNone/>
              <a:defRPr sz="1905">
                <a:solidFill>
                  <a:schemeClr val="tx1">
                    <a:tint val="75000"/>
                  </a:schemeClr>
                </a:solidFill>
              </a:defRPr>
            </a:lvl4pPr>
            <a:lvl5pPr marL="2521223" indent="0">
              <a:buNone/>
              <a:defRPr sz="1905">
                <a:solidFill>
                  <a:schemeClr val="tx1">
                    <a:tint val="75000"/>
                  </a:schemeClr>
                </a:solidFill>
              </a:defRPr>
            </a:lvl5pPr>
            <a:lvl6pPr marL="3151529" indent="0">
              <a:buNone/>
              <a:defRPr sz="1905">
                <a:solidFill>
                  <a:schemeClr val="tx1">
                    <a:tint val="75000"/>
                  </a:schemeClr>
                </a:solidFill>
              </a:defRPr>
            </a:lvl6pPr>
            <a:lvl7pPr marL="3781835" indent="0">
              <a:buNone/>
              <a:defRPr sz="1905">
                <a:solidFill>
                  <a:schemeClr val="tx1">
                    <a:tint val="75000"/>
                  </a:schemeClr>
                </a:solidFill>
              </a:defRPr>
            </a:lvl7pPr>
            <a:lvl8pPr marL="4412142" indent="0">
              <a:buNone/>
              <a:defRPr sz="1905">
                <a:solidFill>
                  <a:schemeClr val="tx1">
                    <a:tint val="75000"/>
                  </a:schemeClr>
                </a:solidFill>
              </a:defRPr>
            </a:lvl8pPr>
            <a:lvl9pPr marL="5042448" indent="0">
              <a:buNone/>
              <a:defRPr sz="1905">
                <a:solidFill>
                  <a:schemeClr val="tx1">
                    <a:tint val="75000"/>
                  </a:schemeClr>
                </a:solidFill>
              </a:defRPr>
            </a:lvl9pPr>
          </a:lstStyle>
          <a:p>
            <a:pPr lvl="0"/>
            <a:r>
              <a:rPr lang="en-US" dirty="0"/>
              <a:t>Click to edit Master text style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2274712" y="2844801"/>
            <a:ext cx="20348222" cy="8045451"/>
          </a:xfrm>
        </p:spPr>
        <p:txBody>
          <a:bodyPr/>
          <a:lstStyle>
            <a:lvl1pPr>
              <a:defRPr sz="3873"/>
            </a:lvl1pPr>
            <a:lvl2pPr>
              <a:defRPr sz="3301"/>
            </a:lvl2pPr>
            <a:lvl3pPr>
              <a:defRPr sz="2730"/>
            </a:lvl3pPr>
            <a:lvl4pPr>
              <a:defRPr sz="2476"/>
            </a:lvl4pPr>
            <a:lvl5pPr>
              <a:defRPr sz="2476"/>
            </a:lvl5pPr>
            <a:lvl6pPr>
              <a:defRPr sz="2476"/>
            </a:lvl6pPr>
            <a:lvl7pPr>
              <a:defRPr sz="2476"/>
            </a:lvl7pPr>
            <a:lvl8pPr>
              <a:defRPr sz="2476"/>
            </a:lvl8pPr>
            <a:lvl9pPr>
              <a:defRPr sz="24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2893867" y="2844801"/>
            <a:ext cx="20348222" cy="8045451"/>
          </a:xfrm>
        </p:spPr>
        <p:txBody>
          <a:bodyPr/>
          <a:lstStyle>
            <a:lvl1pPr>
              <a:defRPr sz="3873"/>
            </a:lvl1pPr>
            <a:lvl2pPr>
              <a:defRPr sz="3301"/>
            </a:lvl2pPr>
            <a:lvl3pPr>
              <a:defRPr sz="2730"/>
            </a:lvl3pPr>
            <a:lvl4pPr>
              <a:defRPr sz="2476"/>
            </a:lvl4pPr>
            <a:lvl5pPr>
              <a:defRPr sz="2476"/>
            </a:lvl5pPr>
            <a:lvl6pPr>
              <a:defRPr sz="2476"/>
            </a:lvl6pPr>
            <a:lvl7pPr>
              <a:defRPr sz="2476"/>
            </a:lvl7pPr>
            <a:lvl8pPr>
              <a:defRPr sz="2476"/>
            </a:lvl8pPr>
            <a:lvl9pPr>
              <a:defRPr sz="247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9860723D-408F-E949-8FAB-CA55DB7A08E1}"/>
              </a:ext>
            </a:extLst>
          </p:cNvPr>
          <p:cNvSpPr>
            <a:spLocks noGrp="1"/>
          </p:cNvSpPr>
          <p:nvPr>
            <p:ph type="ftr" sz="quarter" idx="3"/>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2800" y="304801"/>
            <a:ext cx="12115800" cy="60959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2800" y="2046817"/>
            <a:ext cx="7182556" cy="853016"/>
          </a:xfrm>
        </p:spPr>
        <p:txBody>
          <a:bodyPr anchor="b"/>
          <a:lstStyle>
            <a:lvl1pPr marL="0" indent="0">
              <a:buNone/>
              <a:defRPr sz="3301" b="1"/>
            </a:lvl1pPr>
            <a:lvl2pPr marL="630306" indent="0">
              <a:buNone/>
              <a:defRPr sz="2730" b="1"/>
            </a:lvl2pPr>
            <a:lvl3pPr marL="1260612" indent="0">
              <a:buNone/>
              <a:defRPr sz="2476" b="1"/>
            </a:lvl3pPr>
            <a:lvl4pPr marL="1890918" indent="0">
              <a:buNone/>
              <a:defRPr sz="2222" b="1"/>
            </a:lvl4pPr>
            <a:lvl5pPr marL="2521223" indent="0">
              <a:buNone/>
              <a:defRPr sz="2222" b="1"/>
            </a:lvl5pPr>
            <a:lvl6pPr marL="3151529" indent="0">
              <a:buNone/>
              <a:defRPr sz="2222" b="1"/>
            </a:lvl6pPr>
            <a:lvl7pPr marL="3781835" indent="0">
              <a:buNone/>
              <a:defRPr sz="2222" b="1"/>
            </a:lvl7pPr>
            <a:lvl8pPr marL="4412142" indent="0">
              <a:buNone/>
              <a:defRPr sz="2222" b="1"/>
            </a:lvl8pPr>
            <a:lvl9pPr marL="5042448" indent="0">
              <a:buNone/>
              <a:defRPr sz="2222" b="1"/>
            </a:lvl9pPr>
          </a:lstStyle>
          <a:p>
            <a:pPr lvl="0"/>
            <a:r>
              <a:rPr lang="en-US"/>
              <a:t>Click to edit Master text styles</a:t>
            </a:r>
          </a:p>
        </p:txBody>
      </p:sp>
      <p:sp>
        <p:nvSpPr>
          <p:cNvPr id="4" name="Content Placeholder 3"/>
          <p:cNvSpPr>
            <a:spLocks noGrp="1"/>
          </p:cNvSpPr>
          <p:nvPr>
            <p:ph sz="half" idx="2"/>
          </p:nvPr>
        </p:nvSpPr>
        <p:spPr>
          <a:xfrm>
            <a:off x="812800" y="2899833"/>
            <a:ext cx="7182556" cy="5268384"/>
          </a:xfrm>
        </p:spPr>
        <p:txBody>
          <a:bodyPr/>
          <a:lstStyle>
            <a:lvl1pPr>
              <a:defRPr sz="3301"/>
            </a:lvl1pPr>
            <a:lvl2pPr>
              <a:defRPr sz="2730"/>
            </a:lvl2pPr>
            <a:lvl3pPr>
              <a:defRPr sz="2476"/>
            </a:lvl3pPr>
            <a:lvl4pPr>
              <a:defRPr sz="2222"/>
            </a:lvl4pPr>
            <a:lvl5pPr>
              <a:defRPr sz="2222"/>
            </a:lvl5pPr>
            <a:lvl6pPr>
              <a:defRPr sz="2222"/>
            </a:lvl6pPr>
            <a:lvl7pPr>
              <a:defRPr sz="2222"/>
            </a:lvl7pPr>
            <a:lvl8pPr>
              <a:defRPr sz="2222"/>
            </a:lvl8pPr>
            <a:lvl9pPr>
              <a:defRPr sz="22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8257823" y="2046817"/>
            <a:ext cx="7185378" cy="853016"/>
          </a:xfrm>
        </p:spPr>
        <p:txBody>
          <a:bodyPr anchor="b"/>
          <a:lstStyle>
            <a:lvl1pPr marL="0" indent="0">
              <a:buNone/>
              <a:defRPr sz="3301" b="1"/>
            </a:lvl1pPr>
            <a:lvl2pPr marL="630306" indent="0">
              <a:buNone/>
              <a:defRPr sz="2730" b="1"/>
            </a:lvl2pPr>
            <a:lvl3pPr marL="1260612" indent="0">
              <a:buNone/>
              <a:defRPr sz="2476" b="1"/>
            </a:lvl3pPr>
            <a:lvl4pPr marL="1890918" indent="0">
              <a:buNone/>
              <a:defRPr sz="2222" b="1"/>
            </a:lvl4pPr>
            <a:lvl5pPr marL="2521223" indent="0">
              <a:buNone/>
              <a:defRPr sz="2222" b="1"/>
            </a:lvl5pPr>
            <a:lvl6pPr marL="3151529" indent="0">
              <a:buNone/>
              <a:defRPr sz="2222" b="1"/>
            </a:lvl6pPr>
            <a:lvl7pPr marL="3781835" indent="0">
              <a:buNone/>
              <a:defRPr sz="2222" b="1"/>
            </a:lvl7pPr>
            <a:lvl8pPr marL="4412142" indent="0">
              <a:buNone/>
              <a:defRPr sz="2222" b="1"/>
            </a:lvl8pPr>
            <a:lvl9pPr marL="5042448" indent="0">
              <a:buNone/>
              <a:defRPr sz="2222" b="1"/>
            </a:lvl9pPr>
          </a:lstStyle>
          <a:p>
            <a:pPr lvl="0"/>
            <a:r>
              <a:rPr lang="en-US"/>
              <a:t>Click to edit Master text styles</a:t>
            </a:r>
          </a:p>
        </p:txBody>
      </p:sp>
      <p:sp>
        <p:nvSpPr>
          <p:cNvPr id="6" name="Content Placeholder 5"/>
          <p:cNvSpPr>
            <a:spLocks noGrp="1"/>
          </p:cNvSpPr>
          <p:nvPr>
            <p:ph sz="quarter" idx="4"/>
          </p:nvPr>
        </p:nvSpPr>
        <p:spPr>
          <a:xfrm>
            <a:off x="8257823" y="2899833"/>
            <a:ext cx="7185378" cy="5268384"/>
          </a:xfrm>
        </p:spPr>
        <p:txBody>
          <a:bodyPr/>
          <a:lstStyle>
            <a:lvl1pPr>
              <a:defRPr sz="3301"/>
            </a:lvl1pPr>
            <a:lvl2pPr>
              <a:defRPr sz="2730"/>
            </a:lvl2pPr>
            <a:lvl3pPr>
              <a:defRPr sz="2476"/>
            </a:lvl3pPr>
            <a:lvl4pPr>
              <a:defRPr sz="2222"/>
            </a:lvl4pPr>
            <a:lvl5pPr>
              <a:defRPr sz="2222"/>
            </a:lvl5pPr>
            <a:lvl6pPr>
              <a:defRPr sz="2222"/>
            </a:lvl6pPr>
            <a:lvl7pPr>
              <a:defRPr sz="2222"/>
            </a:lvl7pPr>
            <a:lvl8pPr>
              <a:defRPr sz="2222"/>
            </a:lvl8pPr>
            <a:lvl9pPr>
              <a:defRPr sz="222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a:extLst>
              <a:ext uri="{FF2B5EF4-FFF2-40B4-BE49-F238E27FC236}">
                <a16:creationId xmlns:a16="http://schemas.microsoft.com/office/drawing/2014/main" id="{EFF293FD-ECA8-5147-AB0D-E837A0B5823B}"/>
              </a:ext>
            </a:extLst>
          </p:cNvPr>
          <p:cNvSpPr>
            <a:spLocks noGrp="1"/>
          </p:cNvSpPr>
          <p:nvPr>
            <p:ph type="ftr" sz="quarter" idx="10"/>
          </p:nvPr>
        </p:nvSpPr>
        <p:spPr>
          <a:xfrm>
            <a:off x="1473938" y="8524294"/>
            <a:ext cx="14350262" cy="619706"/>
          </a:xfrm>
          <a:prstGeom prst="rect">
            <a:avLst/>
          </a:prstGeom>
        </p:spPr>
        <p:txBody>
          <a:bodyPr vert="horz" lIns="198553" tIns="99276" rIns="198553" bIns="99276" rtlCol="0" anchor="ctr"/>
          <a:lstStyle>
            <a:lvl1pPr algn="ctr">
              <a:defRPr sz="2400">
                <a:solidFill>
                  <a:srgbClr val="90F502"/>
                </a:solidFill>
              </a:defRPr>
            </a:lvl1pPr>
          </a:lstStyle>
          <a:p>
            <a:pPr algn="r"/>
            <a:r>
              <a:rPr lang="en-US">
                <a:latin typeface="Century Gothic"/>
                <a:cs typeface="Century Gothic"/>
              </a:rPr>
              <a:t>designing with secure n sustainable dna                     ©️narnix 2019</a:t>
            </a:r>
            <a:endParaRPr lang="en-US" sz="1400" dirty="0">
              <a:latin typeface="Century Gothic"/>
              <a:cs typeface="Century Gothic"/>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2800" y="152400"/>
            <a:ext cx="12219528" cy="793747"/>
          </a:xfrm>
          <a:prstGeom prst="rect">
            <a:avLst/>
          </a:prstGeom>
        </p:spPr>
        <p:txBody>
          <a:bodyPr vert="horz" lIns="198553" tIns="99276" rIns="198553" bIns="99276" rtlCol="0" anchor="ctr">
            <a:noAutofit/>
          </a:bodyPr>
          <a:lstStyle/>
          <a:p>
            <a:r>
              <a:rPr lang="en-US" dirty="0"/>
              <a:t>Click to edit Master title style</a:t>
            </a:r>
          </a:p>
        </p:txBody>
      </p:sp>
      <p:sp>
        <p:nvSpPr>
          <p:cNvPr id="3" name="Text Placeholder 2"/>
          <p:cNvSpPr>
            <a:spLocks noGrp="1"/>
          </p:cNvSpPr>
          <p:nvPr>
            <p:ph type="body" idx="1"/>
          </p:nvPr>
        </p:nvSpPr>
        <p:spPr>
          <a:xfrm>
            <a:off x="1473939" y="1371600"/>
            <a:ext cx="14350261" cy="6796619"/>
          </a:xfrm>
          <a:prstGeom prst="rect">
            <a:avLst/>
          </a:prstGeom>
        </p:spPr>
        <p:txBody>
          <a:bodyPr vert="horz" lIns="198553" tIns="99276" rIns="198553" bIns="9927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a:extLst>
              <a:ext uri="{FF2B5EF4-FFF2-40B4-BE49-F238E27FC236}">
                <a16:creationId xmlns:a16="http://schemas.microsoft.com/office/drawing/2014/main" id="{787D4DA2-B768-7E49-8BD1-876AB09A0B6C}"/>
              </a:ext>
            </a:extLst>
          </p:cNvPr>
          <p:cNvGrpSpPr/>
          <p:nvPr userDrawn="1"/>
        </p:nvGrpSpPr>
        <p:grpSpPr>
          <a:xfrm>
            <a:off x="13014476" y="15240"/>
            <a:ext cx="3222171" cy="1051560"/>
            <a:chOff x="6263545" y="0"/>
            <a:chExt cx="2728275" cy="1005841"/>
          </a:xfrm>
        </p:grpSpPr>
        <p:sp>
          <p:nvSpPr>
            <p:cNvPr id="8" name="Rectangle 7">
              <a:extLst>
                <a:ext uri="{FF2B5EF4-FFF2-40B4-BE49-F238E27FC236}">
                  <a16:creationId xmlns:a16="http://schemas.microsoft.com/office/drawing/2014/main" id="{EB4165E8-EE2E-FB48-9769-37FAB709E3E2}"/>
                </a:ext>
              </a:extLst>
            </p:cNvPr>
            <p:cNvSpPr/>
            <p:nvPr/>
          </p:nvSpPr>
          <p:spPr bwMode="auto">
            <a:xfrm>
              <a:off x="8077420" y="0"/>
              <a:ext cx="914400" cy="1005840"/>
            </a:xfrm>
            <a:prstGeom prst="rect">
              <a:avLst/>
            </a:prstGeom>
            <a:solidFill>
              <a:srgbClr val="3399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80553" rtl="0" eaLnBrk="0" fontAlgn="base" latinLnBrk="0" hangingPunct="0">
                <a:lnSpc>
                  <a:spcPct val="100000"/>
                </a:lnSpc>
                <a:spcBef>
                  <a:spcPct val="0"/>
                </a:spcBef>
                <a:spcAft>
                  <a:spcPct val="0"/>
                </a:spcAft>
                <a:buClrTx/>
                <a:buSzTx/>
                <a:buFontTx/>
                <a:buNone/>
                <a:tabLst/>
              </a:pPr>
              <a:endParaRPr kumimoji="0" lang="en-US" sz="1524" b="0" i="0" u="none" strike="noStrike" cap="none" normalizeH="0" baseline="0">
                <a:ln>
                  <a:noFill/>
                </a:ln>
                <a:solidFill>
                  <a:schemeClr val="tx1"/>
                </a:solidFill>
                <a:effectLst/>
                <a:latin typeface="Times" pitchFamily="18" charset="0"/>
              </a:endParaRPr>
            </a:p>
          </p:txBody>
        </p:sp>
        <p:sp>
          <p:nvSpPr>
            <p:cNvPr id="9" name="Rectangle 8">
              <a:extLst>
                <a:ext uri="{FF2B5EF4-FFF2-40B4-BE49-F238E27FC236}">
                  <a16:creationId xmlns:a16="http://schemas.microsoft.com/office/drawing/2014/main" id="{6F7CDD12-C516-4840-92EE-29DB7340EC9C}"/>
                </a:ext>
              </a:extLst>
            </p:cNvPr>
            <p:cNvSpPr/>
            <p:nvPr/>
          </p:nvSpPr>
          <p:spPr bwMode="auto">
            <a:xfrm>
              <a:off x="7178040" y="0"/>
              <a:ext cx="914400" cy="1005840"/>
            </a:xfrm>
            <a:prstGeom prst="rect">
              <a:avLst/>
            </a:prstGeom>
            <a:solidFill>
              <a:srgbClr val="33CC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80553" rtl="0" eaLnBrk="0" fontAlgn="base" latinLnBrk="0" hangingPunct="0">
                <a:lnSpc>
                  <a:spcPct val="100000"/>
                </a:lnSpc>
                <a:spcBef>
                  <a:spcPct val="0"/>
                </a:spcBef>
                <a:spcAft>
                  <a:spcPct val="0"/>
                </a:spcAft>
                <a:buClrTx/>
                <a:buSzTx/>
                <a:buFontTx/>
                <a:buNone/>
                <a:tabLst/>
              </a:pPr>
              <a:endParaRPr kumimoji="0" lang="en-US" sz="1524" b="0" i="0" u="none" strike="noStrike" cap="none" normalizeH="0" baseline="0">
                <a:ln>
                  <a:noFill/>
                </a:ln>
                <a:solidFill>
                  <a:schemeClr val="tx1"/>
                </a:solidFill>
                <a:effectLst/>
                <a:latin typeface="Times" pitchFamily="18" charset="0"/>
              </a:endParaRPr>
            </a:p>
          </p:txBody>
        </p:sp>
        <p:sp>
          <p:nvSpPr>
            <p:cNvPr id="10" name="Rectangle 9">
              <a:extLst>
                <a:ext uri="{FF2B5EF4-FFF2-40B4-BE49-F238E27FC236}">
                  <a16:creationId xmlns:a16="http://schemas.microsoft.com/office/drawing/2014/main" id="{0251651F-D1F2-3D4D-84F2-51A073963BEE}"/>
                </a:ext>
              </a:extLst>
            </p:cNvPr>
            <p:cNvSpPr/>
            <p:nvPr/>
          </p:nvSpPr>
          <p:spPr bwMode="auto">
            <a:xfrm>
              <a:off x="6263545" y="1"/>
              <a:ext cx="914400" cy="1005840"/>
            </a:xfrm>
            <a:prstGeom prst="rect">
              <a:avLst/>
            </a:prstGeom>
            <a:solidFill>
              <a:srgbClr val="99663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580553" rtl="0" eaLnBrk="0" fontAlgn="base" latinLnBrk="0" hangingPunct="0">
                <a:lnSpc>
                  <a:spcPct val="100000"/>
                </a:lnSpc>
                <a:spcBef>
                  <a:spcPct val="0"/>
                </a:spcBef>
                <a:spcAft>
                  <a:spcPct val="0"/>
                </a:spcAft>
                <a:buClrTx/>
                <a:buSzTx/>
                <a:buFontTx/>
                <a:buNone/>
                <a:tabLst/>
              </a:pPr>
              <a:endParaRPr kumimoji="0" lang="en-US" sz="1524" b="0" i="0" u="none" strike="noStrike" cap="none" normalizeH="0" baseline="0">
                <a:ln>
                  <a:noFill/>
                </a:ln>
                <a:solidFill>
                  <a:schemeClr val="tx1"/>
                </a:solidFill>
                <a:effectLst/>
                <a:latin typeface="Times" pitchFamily="18" charset="0"/>
              </a:endParaRPr>
            </a:p>
          </p:txBody>
        </p:sp>
      </p:grpSp>
      <p:sp>
        <p:nvSpPr>
          <p:cNvPr id="11" name="Rectangle 15">
            <a:extLst>
              <a:ext uri="{FF2B5EF4-FFF2-40B4-BE49-F238E27FC236}">
                <a16:creationId xmlns:a16="http://schemas.microsoft.com/office/drawing/2014/main" id="{0789A7BC-DB8B-144F-AA96-F0B7F39B5D18}"/>
              </a:ext>
            </a:extLst>
          </p:cNvPr>
          <p:cNvSpPr>
            <a:spLocks noChangeArrowheads="1"/>
          </p:cNvSpPr>
          <p:nvPr userDrawn="1"/>
        </p:nvSpPr>
        <p:spPr bwMode="auto">
          <a:xfrm flipV="1">
            <a:off x="812800" y="1021081"/>
            <a:ext cx="12219528" cy="45719"/>
          </a:xfrm>
          <a:prstGeom prst="rect">
            <a:avLst/>
          </a:prstGeom>
          <a:solidFill>
            <a:srgbClr val="33CC33"/>
          </a:solidFill>
          <a:ln w="9525">
            <a:noFill/>
            <a:miter lim="800000"/>
            <a:headEnd/>
            <a:tailEnd/>
          </a:ln>
        </p:spPr>
        <p:txBody>
          <a:bodyPr wrap="none" anchor="ctr"/>
          <a:lstStyle/>
          <a:p>
            <a:pPr>
              <a:defRPr/>
            </a:pPr>
            <a:endParaRPr lang="en-US" sz="1143" dirty="0">
              <a:latin typeface="Arial" charset="0"/>
            </a:endParaRPr>
          </a:p>
        </p:txBody>
      </p:sp>
      <p:pic>
        <p:nvPicPr>
          <p:cNvPr id="21" name="그림 3">
            <a:extLst>
              <a:ext uri="{FF2B5EF4-FFF2-40B4-BE49-F238E27FC236}">
                <a16:creationId xmlns:a16="http://schemas.microsoft.com/office/drawing/2014/main" id="{61D4EDAA-AF40-ED45-9E1D-2E790D93FAF8}"/>
              </a:ext>
            </a:extLst>
          </p:cNvPr>
          <p:cNvPicPr>
            <a:picLocks noChangeAspect="1"/>
          </p:cNvPicPr>
          <p:nvPr userDrawn="1"/>
        </p:nvPicPr>
        <p:blipFill rotWithShape="1">
          <a:blip r:embed="rId23">
            <a:extLst>
              <a:ext uri="{28A0092B-C50C-407E-A947-70E740481C1C}">
                <a14:useLocalDpi xmlns:a14="http://schemas.microsoft.com/office/drawing/2010/main" val="0"/>
              </a:ext>
            </a:extLst>
          </a:blip>
          <a:srcRect t="16482"/>
          <a:stretch/>
        </p:blipFill>
        <p:spPr>
          <a:xfrm>
            <a:off x="2382337" y="2803648"/>
            <a:ext cx="13338249" cy="6268055"/>
          </a:xfrm>
          <a:prstGeom prst="rect">
            <a:avLst/>
          </a:prstGeom>
        </p:spPr>
      </p:pic>
      <p:pic>
        <p:nvPicPr>
          <p:cNvPr id="15" name="Picture 14" descr="logo narnix.jpg">
            <a:extLst>
              <a:ext uri="{FF2B5EF4-FFF2-40B4-BE49-F238E27FC236}">
                <a16:creationId xmlns:a16="http://schemas.microsoft.com/office/drawing/2014/main" id="{7C64702E-C418-BD4E-BA0F-FED488068616}"/>
              </a:ext>
            </a:extLst>
          </p:cNvPr>
          <p:cNvPicPr>
            <a:picLocks noChangeAspect="1"/>
          </p:cNvPicPr>
          <p:nvPr userDrawn="1"/>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3700" y="4724400"/>
            <a:ext cx="1300239" cy="4056933"/>
          </a:xfrm>
          <a:prstGeom prst="rect">
            <a:avLst/>
          </a:prstGeom>
        </p:spPr>
      </p:pic>
      <p:cxnSp>
        <p:nvCxnSpPr>
          <p:cNvPr id="17" name="직선 연결선 11">
            <a:extLst>
              <a:ext uri="{FF2B5EF4-FFF2-40B4-BE49-F238E27FC236}">
                <a16:creationId xmlns:a16="http://schemas.microsoft.com/office/drawing/2014/main" id="{3EF8FD41-8BF2-984C-8B6D-8AA9665D0462}"/>
              </a:ext>
            </a:extLst>
          </p:cNvPr>
          <p:cNvCxnSpPr>
            <a:cxnSpLocks/>
          </p:cNvCxnSpPr>
          <p:nvPr userDrawn="1"/>
        </p:nvCxnSpPr>
        <p:spPr>
          <a:xfrm>
            <a:off x="-14375" y="8489787"/>
            <a:ext cx="16253593" cy="0"/>
          </a:xfrm>
          <a:prstGeom prst="line">
            <a:avLst/>
          </a:prstGeom>
          <a:ln>
            <a:solidFill>
              <a:srgbClr val="3BFFFF">
                <a:alpha val="50000"/>
              </a:srgbClr>
            </a:solidFill>
          </a:ln>
        </p:spPr>
        <p:style>
          <a:lnRef idx="1">
            <a:schemeClr val="accent1"/>
          </a:lnRef>
          <a:fillRef idx="0">
            <a:schemeClr val="accent1"/>
          </a:fillRef>
          <a:effectRef idx="0">
            <a:schemeClr val="accent1"/>
          </a:effectRef>
          <a:fontRef idx="minor">
            <a:schemeClr val="tx1"/>
          </a:fontRef>
        </p:style>
      </p:cxnSp>
      <p:sp>
        <p:nvSpPr>
          <p:cNvPr id="20" name="Footer Placeholder 4">
            <a:extLst>
              <a:ext uri="{FF2B5EF4-FFF2-40B4-BE49-F238E27FC236}">
                <a16:creationId xmlns:a16="http://schemas.microsoft.com/office/drawing/2014/main" id="{08D86BED-7DA5-DE4C-AE59-4F417B5AFD9A}"/>
              </a:ext>
            </a:extLst>
          </p:cNvPr>
          <p:cNvSpPr txBox="1">
            <a:spLocks/>
          </p:cNvSpPr>
          <p:nvPr userDrawn="1"/>
        </p:nvSpPr>
        <p:spPr>
          <a:xfrm>
            <a:off x="1473939" y="8489786"/>
            <a:ext cx="14350261" cy="578013"/>
          </a:xfrm>
          <a:prstGeom prst="rect">
            <a:avLst/>
          </a:prstGeom>
        </p:spPr>
        <p:txBody>
          <a:bodyPr vert="horz" lIns="91440" tIns="45720" rIns="91440" bIns="45720" rtlCol="0" anchor="ctr"/>
          <a:lstStyle>
            <a:defPPr>
              <a:defRPr lang="en-US"/>
            </a:defPPr>
            <a:lvl1pPr marL="0" algn="l" defTabSz="457200" rtl="0" eaLnBrk="1" latinLnBrk="0" hangingPunct="1">
              <a:defRPr sz="2000" b="1"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2400" b="0" kern="1200" dirty="0">
                <a:solidFill>
                  <a:srgbClr val="48E50D"/>
                </a:solidFill>
                <a:effectLst/>
                <a:latin typeface="Century Gothic" panose="020B0502020202020204" pitchFamily="34" charset="0"/>
                <a:ea typeface="+mn-ea"/>
                <a:cs typeface="+mn-cs"/>
              </a:rPr>
              <a:t>Enabling Sustainable Transformation of Urban Landscape through Standards        </a:t>
            </a:r>
            <a:r>
              <a:rPr lang="en-US" sz="2400" dirty="0">
                <a:latin typeface="Century Gothic"/>
                <a:cs typeface="Century Gothic"/>
              </a:rPr>
              <a:t>©️narnix 2019</a:t>
            </a:r>
            <a:r>
              <a:rPr lang="en-US" sz="2400" b="0" kern="1200" dirty="0">
                <a:solidFill>
                  <a:srgbClr val="48E50D"/>
                </a:solidFill>
                <a:effectLst/>
                <a:latin typeface="Century Gothic" panose="020B0502020202020204" pitchFamily="34" charset="0"/>
                <a:ea typeface="+mn-ea"/>
                <a:cs typeface="+mn-cs"/>
              </a:rPr>
              <a:t>       </a:t>
            </a:r>
            <a:endParaRPr lang="en-IN" sz="3200" b="0" kern="1200" dirty="0">
              <a:solidFill>
                <a:srgbClr val="48E50D"/>
              </a:solidFill>
              <a:effectLst/>
              <a:latin typeface="Century Gothic" panose="020B0502020202020204" pitchFamily="34" charset="0"/>
              <a:ea typeface="+mn-ea"/>
              <a:cs typeface="+mn-cs"/>
            </a:endParaRPr>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49" r:id="rId3"/>
    <p:sldLayoutId id="2147483670" r:id="rId4"/>
    <p:sldLayoutId id="2147483650" r:id="rId5"/>
    <p:sldLayoutId id="2147483671" r:id="rId6"/>
    <p:sldLayoutId id="2147483651" r:id="rId7"/>
    <p:sldLayoutId id="2147483652" r:id="rId8"/>
    <p:sldLayoutId id="2147483653" r:id="rId9"/>
    <p:sldLayoutId id="2147483654" r:id="rId10"/>
    <p:sldLayoutId id="2147483655" r:id="rId11"/>
    <p:sldLayoutId id="2147483656" r:id="rId12"/>
    <p:sldLayoutId id="2147483657" r:id="rId13"/>
    <p:sldLayoutId id="2147483658" r:id="rId14"/>
    <p:sldLayoutId id="2147483659" r:id="rId15"/>
    <p:sldLayoutId id="2147483676" r:id="rId16"/>
    <p:sldLayoutId id="2147483677" r:id="rId17"/>
    <p:sldLayoutId id="2147483678" r:id="rId18"/>
    <p:sldLayoutId id="2147483679" r:id="rId19"/>
    <p:sldLayoutId id="2147483680" r:id="rId20"/>
  </p:sldLayoutIdLst>
  <p:hf sldNum="0" hdr="0" dt="0"/>
  <p:txStyles>
    <p:titleStyle>
      <a:lvl1pPr algn="l" defTabSz="1260612" rtl="0" eaLnBrk="1" latinLnBrk="0" hangingPunct="1">
        <a:spcBef>
          <a:spcPct val="0"/>
        </a:spcBef>
        <a:buNone/>
        <a:defRPr sz="4400" b="1" kern="1200">
          <a:solidFill>
            <a:srgbClr val="90F502"/>
          </a:solidFill>
          <a:latin typeface="+mj-lt"/>
          <a:ea typeface="+mj-ea"/>
          <a:cs typeface="+mj-cs"/>
        </a:defRPr>
      </a:lvl1pPr>
    </p:titleStyle>
    <p:bodyStyle>
      <a:lvl1pPr marL="472729" indent="-472729" algn="l" defTabSz="1260612" rtl="0" eaLnBrk="1" latinLnBrk="0" hangingPunct="1">
        <a:spcBef>
          <a:spcPct val="20000"/>
        </a:spcBef>
        <a:buFont typeface="Arial" pitchFamily="34" charset="0"/>
        <a:buChar char="•"/>
        <a:defRPr sz="4381" kern="1200">
          <a:solidFill>
            <a:schemeClr val="bg1"/>
          </a:solidFill>
          <a:latin typeface="Century Gothic" panose="020B0502020202020204" pitchFamily="34" charset="0"/>
          <a:ea typeface="+mn-ea"/>
          <a:cs typeface="+mn-cs"/>
        </a:defRPr>
      </a:lvl1pPr>
      <a:lvl2pPr marL="1024247" indent="-393941" algn="l" defTabSz="1260612" rtl="0" eaLnBrk="1" latinLnBrk="0" hangingPunct="1">
        <a:spcBef>
          <a:spcPct val="20000"/>
        </a:spcBef>
        <a:buFont typeface="Arial" pitchFamily="34" charset="0"/>
        <a:buChar char="–"/>
        <a:defRPr sz="3873" kern="1200">
          <a:solidFill>
            <a:schemeClr val="bg1"/>
          </a:solidFill>
          <a:latin typeface="Century Gothic" panose="020B0502020202020204" pitchFamily="34" charset="0"/>
          <a:ea typeface="+mn-ea"/>
          <a:cs typeface="+mn-cs"/>
        </a:defRPr>
      </a:lvl2pPr>
      <a:lvl3pPr marL="1575765" indent="-315153" algn="l" defTabSz="1260612" rtl="0" eaLnBrk="1" latinLnBrk="0" hangingPunct="1">
        <a:spcBef>
          <a:spcPct val="20000"/>
        </a:spcBef>
        <a:buFont typeface="Arial" pitchFamily="34" charset="0"/>
        <a:buChar char="•"/>
        <a:defRPr sz="3301" kern="1200">
          <a:solidFill>
            <a:schemeClr val="bg1"/>
          </a:solidFill>
          <a:latin typeface="Century Gothic" panose="020B0502020202020204" pitchFamily="34" charset="0"/>
          <a:ea typeface="+mn-ea"/>
          <a:cs typeface="+mn-cs"/>
        </a:defRPr>
      </a:lvl3pPr>
      <a:lvl4pPr marL="2206071" indent="-315153" algn="l" defTabSz="1260612" rtl="0" eaLnBrk="1" latinLnBrk="0" hangingPunct="1">
        <a:spcBef>
          <a:spcPct val="20000"/>
        </a:spcBef>
        <a:buFont typeface="Arial" pitchFamily="34" charset="0"/>
        <a:buChar char="–"/>
        <a:defRPr sz="2730" kern="1200">
          <a:solidFill>
            <a:schemeClr val="bg1"/>
          </a:solidFill>
          <a:latin typeface="Century Gothic" panose="020B0502020202020204" pitchFamily="34" charset="0"/>
          <a:ea typeface="+mn-ea"/>
          <a:cs typeface="+mn-cs"/>
        </a:defRPr>
      </a:lvl4pPr>
      <a:lvl5pPr marL="2836376" indent="-315153" algn="l" defTabSz="1260612" rtl="0" eaLnBrk="1" latinLnBrk="0" hangingPunct="1">
        <a:spcBef>
          <a:spcPct val="20000"/>
        </a:spcBef>
        <a:buFont typeface="Arial" pitchFamily="34" charset="0"/>
        <a:buChar char="»"/>
        <a:defRPr sz="2730" kern="1200">
          <a:solidFill>
            <a:schemeClr val="bg1"/>
          </a:solidFill>
          <a:latin typeface="Century Gothic" panose="020B0502020202020204" pitchFamily="34" charset="0"/>
          <a:ea typeface="+mn-ea"/>
          <a:cs typeface="+mn-cs"/>
        </a:defRPr>
      </a:lvl5pPr>
      <a:lvl6pPr marL="3466682"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6pPr>
      <a:lvl7pPr marL="4096989"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7pPr>
      <a:lvl8pPr marL="4727295"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8pPr>
      <a:lvl9pPr marL="5357600"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9pPr>
    </p:bodyStyle>
    <p:otherStyle>
      <a:defPPr>
        <a:defRPr lang="en-US"/>
      </a:defPPr>
      <a:lvl1pPr marL="0" algn="l" defTabSz="1260612" rtl="0" eaLnBrk="1" latinLnBrk="0" hangingPunct="1">
        <a:defRPr sz="2476" kern="1200">
          <a:solidFill>
            <a:schemeClr val="tx1"/>
          </a:solidFill>
          <a:latin typeface="+mn-lt"/>
          <a:ea typeface="+mn-ea"/>
          <a:cs typeface="+mn-cs"/>
        </a:defRPr>
      </a:lvl1pPr>
      <a:lvl2pPr marL="630306" algn="l" defTabSz="1260612" rtl="0" eaLnBrk="1" latinLnBrk="0" hangingPunct="1">
        <a:defRPr sz="2476" kern="1200">
          <a:solidFill>
            <a:schemeClr val="tx1"/>
          </a:solidFill>
          <a:latin typeface="+mn-lt"/>
          <a:ea typeface="+mn-ea"/>
          <a:cs typeface="+mn-cs"/>
        </a:defRPr>
      </a:lvl2pPr>
      <a:lvl3pPr marL="1260612" algn="l" defTabSz="1260612" rtl="0" eaLnBrk="1" latinLnBrk="0" hangingPunct="1">
        <a:defRPr sz="2476" kern="1200">
          <a:solidFill>
            <a:schemeClr val="tx1"/>
          </a:solidFill>
          <a:latin typeface="+mn-lt"/>
          <a:ea typeface="+mn-ea"/>
          <a:cs typeface="+mn-cs"/>
        </a:defRPr>
      </a:lvl3pPr>
      <a:lvl4pPr marL="1890918" algn="l" defTabSz="1260612" rtl="0" eaLnBrk="1" latinLnBrk="0" hangingPunct="1">
        <a:defRPr sz="2476" kern="1200">
          <a:solidFill>
            <a:schemeClr val="tx1"/>
          </a:solidFill>
          <a:latin typeface="+mn-lt"/>
          <a:ea typeface="+mn-ea"/>
          <a:cs typeface="+mn-cs"/>
        </a:defRPr>
      </a:lvl4pPr>
      <a:lvl5pPr marL="2521223" algn="l" defTabSz="1260612" rtl="0" eaLnBrk="1" latinLnBrk="0" hangingPunct="1">
        <a:defRPr sz="2476" kern="1200">
          <a:solidFill>
            <a:schemeClr val="tx1"/>
          </a:solidFill>
          <a:latin typeface="+mn-lt"/>
          <a:ea typeface="+mn-ea"/>
          <a:cs typeface="+mn-cs"/>
        </a:defRPr>
      </a:lvl5pPr>
      <a:lvl6pPr marL="3151529" algn="l" defTabSz="1260612" rtl="0" eaLnBrk="1" latinLnBrk="0" hangingPunct="1">
        <a:defRPr sz="2476" kern="1200">
          <a:solidFill>
            <a:schemeClr val="tx1"/>
          </a:solidFill>
          <a:latin typeface="+mn-lt"/>
          <a:ea typeface="+mn-ea"/>
          <a:cs typeface="+mn-cs"/>
        </a:defRPr>
      </a:lvl6pPr>
      <a:lvl7pPr marL="3781835" algn="l" defTabSz="1260612" rtl="0" eaLnBrk="1" latinLnBrk="0" hangingPunct="1">
        <a:defRPr sz="2476" kern="1200">
          <a:solidFill>
            <a:schemeClr val="tx1"/>
          </a:solidFill>
          <a:latin typeface="+mn-lt"/>
          <a:ea typeface="+mn-ea"/>
          <a:cs typeface="+mn-cs"/>
        </a:defRPr>
      </a:lvl7pPr>
      <a:lvl8pPr marL="4412142" algn="l" defTabSz="1260612" rtl="0" eaLnBrk="1" latinLnBrk="0" hangingPunct="1">
        <a:defRPr sz="2476" kern="1200">
          <a:solidFill>
            <a:schemeClr val="tx1"/>
          </a:solidFill>
          <a:latin typeface="+mn-lt"/>
          <a:ea typeface="+mn-ea"/>
          <a:cs typeface="+mn-cs"/>
        </a:defRPr>
      </a:lvl8pPr>
      <a:lvl9pPr marL="5042448" algn="l" defTabSz="1260612" rtl="0" eaLnBrk="1" latinLnBrk="0" hangingPunct="1">
        <a:defRPr sz="247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e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37.tiff"/><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38.tiff"/><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39.tiff"/><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jpg"/><Relationship Id="rId18" Type="http://schemas.openxmlformats.org/officeDocument/2006/relationships/image" Target="../media/image57.png"/><Relationship Id="rId3" Type="http://schemas.openxmlformats.org/officeDocument/2006/relationships/image" Target="../media/image42.jpg"/><Relationship Id="rId21" Type="http://schemas.openxmlformats.org/officeDocument/2006/relationships/image" Target="../media/image59.jpeg"/><Relationship Id="rId7" Type="http://schemas.openxmlformats.org/officeDocument/2006/relationships/image" Target="../media/image46.jpg"/><Relationship Id="rId12" Type="http://schemas.openxmlformats.org/officeDocument/2006/relationships/image" Target="../media/image51.png"/><Relationship Id="rId17" Type="http://schemas.openxmlformats.org/officeDocument/2006/relationships/image" Target="../media/image56.jpg"/><Relationship Id="rId2" Type="http://schemas.openxmlformats.org/officeDocument/2006/relationships/image" Target="../media/image41.png"/><Relationship Id="rId16" Type="http://schemas.openxmlformats.org/officeDocument/2006/relationships/image" Target="../media/image55.jpg"/><Relationship Id="rId20" Type="http://schemas.openxmlformats.org/officeDocument/2006/relationships/image" Target="../media/image58.jpeg"/><Relationship Id="rId1" Type="http://schemas.openxmlformats.org/officeDocument/2006/relationships/slideLayout" Target="../slideLayouts/slideLayout11.xml"/><Relationship Id="rId6" Type="http://schemas.openxmlformats.org/officeDocument/2006/relationships/image" Target="../media/image45.jpg"/><Relationship Id="rId11" Type="http://schemas.openxmlformats.org/officeDocument/2006/relationships/image" Target="../media/image50.jpg"/><Relationship Id="rId5" Type="http://schemas.openxmlformats.org/officeDocument/2006/relationships/image" Target="../media/image44.jpg"/><Relationship Id="rId15" Type="http://schemas.openxmlformats.org/officeDocument/2006/relationships/image" Target="../media/image54.png"/><Relationship Id="rId10" Type="http://schemas.openxmlformats.org/officeDocument/2006/relationships/image" Target="../media/image49.jpg"/><Relationship Id="rId19" Type="http://schemas.openxmlformats.org/officeDocument/2006/relationships/hyperlink" Target="mailto:narnix@bol.net.in" TargetMode="External"/><Relationship Id="rId4" Type="http://schemas.openxmlformats.org/officeDocument/2006/relationships/image" Target="../media/image43.jpg"/><Relationship Id="rId9" Type="http://schemas.openxmlformats.org/officeDocument/2006/relationships/image" Target="../media/image48.jpg"/><Relationship Id="rId14" Type="http://schemas.openxmlformats.org/officeDocument/2006/relationships/image" Target="../media/image53.png"/><Relationship Id="rId22" Type="http://schemas.openxmlformats.org/officeDocument/2006/relationships/image" Target="../media/image60.jpg"/></Relationships>
</file>

<file path=ppt/slides/_rels/slide7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E7486711-5E52-344C-BA1A-6626B900BECE}"/>
              </a:ext>
            </a:extLst>
          </p:cNvPr>
          <p:cNvSpPr/>
          <p:nvPr/>
        </p:nvSpPr>
        <p:spPr>
          <a:xfrm>
            <a:off x="6680198" y="3276600"/>
            <a:ext cx="3352802" cy="2316488"/>
          </a:xfrm>
          <a:prstGeom prst="roundRect">
            <a:avLst/>
          </a:prstGeom>
          <a:solidFill>
            <a:srgbClr val="D0EDF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545FF0B-326A-684A-A859-8A34C4425934}"/>
              </a:ext>
            </a:extLst>
          </p:cNvPr>
          <p:cNvSpPr>
            <a:spLocks noGrp="1"/>
          </p:cNvSpPr>
          <p:nvPr>
            <p:ph type="ctrTitle"/>
          </p:nvPr>
        </p:nvSpPr>
        <p:spPr>
          <a:xfrm>
            <a:off x="431800" y="533400"/>
            <a:ext cx="15544800" cy="7543800"/>
          </a:xfrm>
        </p:spPr>
        <p:txBody>
          <a:bodyPr>
            <a:noAutofit/>
          </a:bodyPr>
          <a:lstStyle/>
          <a:p>
            <a:pPr algn="ctr"/>
            <a:r>
              <a:rPr lang="en-GB" sz="7200" dirty="0"/>
              <a:t>India’s Approach to </a:t>
            </a:r>
            <a:br>
              <a:rPr lang="en-GB" sz="5400" dirty="0"/>
            </a:br>
            <a:br>
              <a:rPr lang="en-GB" sz="5400" dirty="0"/>
            </a:br>
            <a:br>
              <a:rPr lang="en-GB" sz="5400" dirty="0"/>
            </a:br>
            <a:br>
              <a:rPr lang="en-GB" sz="5400" dirty="0"/>
            </a:br>
            <a:br>
              <a:rPr lang="en-GB" sz="5400" dirty="0"/>
            </a:br>
            <a:r>
              <a:rPr lang="en-IN" sz="5400" dirty="0">
                <a:solidFill>
                  <a:srgbClr val="FFFF00"/>
                </a:solidFill>
              </a:rPr>
              <a:t>KPI Based QoS Framework for Smart Cities </a:t>
            </a:r>
            <a:endParaRPr lang="en-IN" sz="6600" dirty="0">
              <a:solidFill>
                <a:srgbClr val="FFFF00"/>
              </a:solidFill>
            </a:endParaRPr>
          </a:p>
        </p:txBody>
      </p:sp>
      <p:sp>
        <p:nvSpPr>
          <p:cNvPr id="15" name="Rectangle 15">
            <a:extLst>
              <a:ext uri="{FF2B5EF4-FFF2-40B4-BE49-F238E27FC236}">
                <a16:creationId xmlns:a16="http://schemas.microsoft.com/office/drawing/2014/main" id="{3CC7C01D-5683-2745-8F8F-9003D1812C9E}"/>
              </a:ext>
            </a:extLst>
          </p:cNvPr>
          <p:cNvSpPr>
            <a:spLocks noChangeArrowheads="1"/>
          </p:cNvSpPr>
          <p:nvPr/>
        </p:nvSpPr>
        <p:spPr bwMode="auto">
          <a:xfrm flipV="1">
            <a:off x="1879600" y="6965961"/>
            <a:ext cx="12496800" cy="45719"/>
          </a:xfrm>
          <a:prstGeom prst="rect">
            <a:avLst/>
          </a:prstGeom>
          <a:solidFill>
            <a:srgbClr val="33CC33"/>
          </a:solidFill>
          <a:ln w="9525">
            <a:noFill/>
            <a:miter lim="800000"/>
            <a:headEnd/>
            <a:tailEnd/>
          </a:ln>
        </p:spPr>
        <p:txBody>
          <a:bodyPr wrap="none" anchor="ctr"/>
          <a:lstStyle/>
          <a:p>
            <a:pPr>
              <a:defRPr/>
            </a:pPr>
            <a:endParaRPr lang="en-US" sz="1800" dirty="0">
              <a:latin typeface="Arial" charset="0"/>
            </a:endParaRPr>
          </a:p>
        </p:txBody>
      </p:sp>
      <p:sp>
        <p:nvSpPr>
          <p:cNvPr id="22" name="TextBox 21">
            <a:extLst>
              <a:ext uri="{FF2B5EF4-FFF2-40B4-BE49-F238E27FC236}">
                <a16:creationId xmlns:a16="http://schemas.microsoft.com/office/drawing/2014/main" id="{5E721B61-6349-A44B-A289-033CA054EEE7}"/>
              </a:ext>
            </a:extLst>
          </p:cNvPr>
          <p:cNvSpPr txBox="1"/>
          <p:nvPr/>
        </p:nvSpPr>
        <p:spPr>
          <a:xfrm>
            <a:off x="9701451" y="7150894"/>
            <a:ext cx="6477000" cy="1231106"/>
          </a:xfrm>
          <a:prstGeom prst="rect">
            <a:avLst/>
          </a:prstGeom>
          <a:noFill/>
        </p:spPr>
        <p:txBody>
          <a:bodyPr wrap="square" rtlCol="0">
            <a:spAutoFit/>
          </a:bodyPr>
          <a:lstStyle/>
          <a:p>
            <a:pPr algn="r"/>
            <a:r>
              <a:rPr lang="en-US" sz="2800" dirty="0">
                <a:solidFill>
                  <a:srgbClr val="90F502"/>
                </a:solidFill>
              </a:rPr>
              <a:t>narang n. kishor</a:t>
            </a:r>
          </a:p>
          <a:p>
            <a:pPr algn="r"/>
            <a:r>
              <a:rPr lang="en-US" sz="1800" dirty="0">
                <a:solidFill>
                  <a:srgbClr val="90F502"/>
                </a:solidFill>
              </a:rPr>
              <a:t>mentor &amp; principal design architect</a:t>
            </a:r>
          </a:p>
          <a:p>
            <a:pPr algn="r"/>
            <a:r>
              <a:rPr lang="en-US" sz="2800" dirty="0">
                <a:solidFill>
                  <a:srgbClr val="90F502"/>
                </a:solidFill>
              </a:rPr>
              <a:t>narnix technolabs pvt. ltd.</a:t>
            </a:r>
          </a:p>
        </p:txBody>
      </p:sp>
      <p:pic>
        <p:nvPicPr>
          <p:cNvPr id="4" name="Picture 3" descr="A picture containing crossword puzzle&#10;&#10;Description automatically generated">
            <a:extLst>
              <a:ext uri="{FF2B5EF4-FFF2-40B4-BE49-F238E27FC236}">
                <a16:creationId xmlns:a16="http://schemas.microsoft.com/office/drawing/2014/main" id="{40D54A7A-1C3C-C849-823F-5D455EB68F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0637" y="3378592"/>
            <a:ext cx="2595563" cy="2134036"/>
          </a:xfrm>
          <a:prstGeom prst="rect">
            <a:avLst/>
          </a:prstGeom>
        </p:spPr>
      </p:pic>
      <p:pic>
        <p:nvPicPr>
          <p:cNvPr id="8" name="Picture 3" descr="Animation1">
            <a:extLst>
              <a:ext uri="{FF2B5EF4-FFF2-40B4-BE49-F238E27FC236}">
                <a16:creationId xmlns:a16="http://schemas.microsoft.com/office/drawing/2014/main" id="{D5C6F87D-EA6F-914C-B945-9CAD83291430}"/>
              </a:ext>
            </a:extLst>
          </p:cNvPr>
          <p:cNvPicPr>
            <a:picLocks noChangeAspect="1" noChangeArrowheads="1" noCrop="1"/>
          </p:cNvPicPr>
          <p:nvPr/>
        </p:nvPicPr>
        <p:blipFill>
          <a:blip r:embed="rId3"/>
          <a:srcRect/>
          <a:stretch>
            <a:fillRect/>
          </a:stretch>
        </p:blipFill>
        <p:spPr bwMode="auto">
          <a:xfrm>
            <a:off x="6792435" y="3200401"/>
            <a:ext cx="3164366" cy="2852326"/>
          </a:xfrm>
          <a:prstGeom prst="rect">
            <a:avLst/>
          </a:prstGeom>
          <a:noFill/>
          <a:ln w="9525">
            <a:noFill/>
            <a:miter lim="800000"/>
            <a:headEnd/>
            <a:tailEnd/>
          </a:ln>
        </p:spPr>
      </p:pic>
    </p:spTree>
    <p:extLst>
      <p:ext uri="{BB962C8B-B14F-4D97-AF65-F5344CB8AC3E}">
        <p14:creationId xmlns:p14="http://schemas.microsoft.com/office/powerpoint/2010/main" val="649850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genesis of Smart City</a:t>
            </a:r>
          </a:p>
        </p:txBody>
      </p:sp>
      <p:sp>
        <p:nvSpPr>
          <p:cNvPr id="3" name="Content Placeholder 2"/>
          <p:cNvSpPr>
            <a:spLocks noGrp="1"/>
          </p:cNvSpPr>
          <p:nvPr>
            <p:ph idx="1"/>
          </p:nvPr>
        </p:nvSpPr>
        <p:spPr>
          <a:prstGeom prst="rect">
            <a:avLst/>
          </a:prstGeom>
        </p:spPr>
        <p:txBody>
          <a:bodyPr>
            <a:normAutofit/>
          </a:bodyPr>
          <a:lstStyle/>
          <a:p>
            <a:pPr marL="0" indent="0">
              <a:buNone/>
            </a:pPr>
            <a:r>
              <a:rPr lang="en-US" sz="4000" b="1" dirty="0">
                <a:solidFill>
                  <a:srgbClr val="90F502"/>
                </a:solidFill>
              </a:rPr>
              <a:t>In a Smart City-</a:t>
            </a:r>
          </a:p>
          <a:p>
            <a:pPr marL="0" indent="0">
              <a:buNone/>
            </a:pPr>
            <a:endParaRPr lang="en-US" sz="3733" dirty="0"/>
          </a:p>
          <a:p>
            <a:pPr lvl="1">
              <a:buFont typeface="Wingdings" pitchFamily="2" charset="2"/>
              <a:buChar char="Ø"/>
            </a:pPr>
            <a:r>
              <a:rPr lang="en-US" sz="4000" b="1" dirty="0"/>
              <a:t>‘Sustainability is the Destination’</a:t>
            </a:r>
          </a:p>
          <a:p>
            <a:pPr lvl="1">
              <a:buFont typeface="Wingdings" pitchFamily="2" charset="2"/>
              <a:buChar char="Ø"/>
            </a:pPr>
            <a:endParaRPr lang="en-US" sz="4000" b="1" dirty="0"/>
          </a:p>
          <a:p>
            <a:pPr lvl="1">
              <a:buFont typeface="Wingdings" pitchFamily="2" charset="2"/>
              <a:buChar char="Ø"/>
            </a:pPr>
            <a:r>
              <a:rPr lang="en-US" sz="4000" b="1" dirty="0"/>
              <a:t>‘Resilience is the Characteristic’</a:t>
            </a:r>
          </a:p>
          <a:p>
            <a:pPr lvl="1">
              <a:buFont typeface="Wingdings" pitchFamily="2" charset="2"/>
              <a:buChar char="Ø"/>
            </a:pPr>
            <a:endParaRPr lang="en-US" sz="4000" b="1" dirty="0"/>
          </a:p>
          <a:p>
            <a:pPr lvl="1">
              <a:buFont typeface="Wingdings" pitchFamily="2" charset="2"/>
              <a:buChar char="Ø"/>
            </a:pPr>
            <a:r>
              <a:rPr lang="en-US" sz="4000" b="1" dirty="0"/>
              <a:t>‘Smart is the Accelerator’</a:t>
            </a:r>
            <a:r>
              <a:rPr lang="en-IN" sz="4000" b="1" dirty="0"/>
              <a:t> </a:t>
            </a:r>
          </a:p>
          <a:p>
            <a:pPr lvl="1"/>
            <a:endParaRPr lang="en-IN" sz="3733" dirty="0"/>
          </a:p>
          <a:p>
            <a:pPr marL="0" indent="0" algn="ctr">
              <a:buNone/>
            </a:pPr>
            <a:r>
              <a:rPr lang="en-IN" sz="3733" b="1" dirty="0">
                <a:solidFill>
                  <a:srgbClr val="FFC000"/>
                </a:solidFill>
              </a:rPr>
              <a:t>Standards are the Chromosomes of Smart Infrastructure</a:t>
            </a:r>
            <a:endParaRPr lang="en-US" sz="3733" b="1" dirty="0">
              <a:solidFill>
                <a:srgbClr val="FFC000"/>
              </a:solidFill>
            </a:endParaRPr>
          </a:p>
        </p:txBody>
      </p:sp>
    </p:spTree>
    <p:extLst>
      <p:ext uri="{BB962C8B-B14F-4D97-AF65-F5344CB8AC3E}">
        <p14:creationId xmlns:p14="http://schemas.microsoft.com/office/powerpoint/2010/main" val="36504483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IN" sz="4000" dirty="0">
                <a:latin typeface="Century Gothic" panose="020B0502020202020204" pitchFamily="34" charset="0"/>
              </a:rPr>
              <a:t>Features of a Smart City</a:t>
            </a:r>
          </a:p>
        </p:txBody>
      </p:sp>
      <p:graphicFrame>
        <p:nvGraphicFramePr>
          <p:cNvPr id="4" name="Content Placeholder 4"/>
          <p:cNvGraphicFramePr>
            <a:graphicFrameLocks noGrp="1"/>
          </p:cNvGraphicFramePr>
          <p:nvPr>
            <p:ph idx="1"/>
          </p:nvPr>
        </p:nvGraphicFramePr>
        <p:xfrm>
          <a:off x="2184400" y="1301271"/>
          <a:ext cx="4368800" cy="71657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nvGraphicFramePr>
        <p:xfrm>
          <a:off x="8966200" y="931252"/>
          <a:ext cx="4595905" cy="790574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Rounded Rectangle 5"/>
          <p:cNvSpPr/>
          <p:nvPr/>
        </p:nvSpPr>
        <p:spPr>
          <a:xfrm>
            <a:off x="5613400" y="1204651"/>
            <a:ext cx="4368800" cy="7332659"/>
          </a:xfrm>
          <a:prstGeom prst="roundRect">
            <a:avLst/>
          </a:prstGeom>
          <a:noFill/>
          <a:ln w="571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lnSpc>
                <a:spcPct val="200000"/>
              </a:lnSpc>
            </a:pPr>
            <a:r>
              <a:rPr lang="en-IN" sz="4800" b="1" dirty="0">
                <a:solidFill>
                  <a:srgbClr val="90F502"/>
                </a:solidFill>
              </a:rPr>
              <a:t>ICT and IoT Opportunities in all these areas!</a:t>
            </a:r>
          </a:p>
        </p:txBody>
      </p:sp>
      <p:sp>
        <p:nvSpPr>
          <p:cNvPr id="7" name="Rectangle 6"/>
          <p:cNvSpPr/>
          <p:nvPr/>
        </p:nvSpPr>
        <p:spPr>
          <a:xfrm>
            <a:off x="13690601" y="1973805"/>
            <a:ext cx="2565400" cy="2369880"/>
          </a:xfrm>
          <a:prstGeom prst="rect">
            <a:avLst/>
          </a:prstGeom>
        </p:spPr>
        <p:txBody>
          <a:bodyPr wrap="square">
            <a:spAutoFit/>
          </a:bodyPr>
          <a:lstStyle/>
          <a:p>
            <a:pPr algn="ctr"/>
            <a:r>
              <a:rPr lang="en-IN" sz="3200" dirty="0">
                <a:solidFill>
                  <a:srgbClr val="90F502"/>
                </a:solidFill>
              </a:rPr>
              <a:t>24 Features identified by MoHUA</a:t>
            </a:r>
          </a:p>
          <a:p>
            <a:pPr algn="ctr"/>
            <a:r>
              <a:rPr lang="en-IN" sz="5200" dirty="0">
                <a:solidFill>
                  <a:srgbClr val="90F502"/>
                </a:solidFill>
              </a:rPr>
              <a:t>GoI</a:t>
            </a:r>
            <a:endParaRPr lang="en-IN" sz="3200" dirty="0">
              <a:solidFill>
                <a:srgbClr val="90F502"/>
              </a:solidFill>
            </a:endParaRPr>
          </a:p>
        </p:txBody>
      </p:sp>
      <p:sp>
        <p:nvSpPr>
          <p:cNvPr id="8" name="Footer Placeholder 4">
            <a:extLst>
              <a:ext uri="{FF2B5EF4-FFF2-40B4-BE49-F238E27FC236}">
                <a16:creationId xmlns:a16="http://schemas.microsoft.com/office/drawing/2014/main" id="{DBEBEF37-91B3-8047-95BF-9EFF3FD5089C}"/>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2434589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BDCE7A-6685-0C4A-BB50-CFA012066510}"/>
              </a:ext>
            </a:extLst>
          </p:cNvPr>
          <p:cNvSpPr>
            <a:spLocks noGrp="1"/>
          </p:cNvSpPr>
          <p:nvPr>
            <p:ph type="title"/>
          </p:nvPr>
        </p:nvSpPr>
        <p:spPr/>
        <p:txBody>
          <a:bodyPr>
            <a:normAutofit/>
          </a:bodyPr>
          <a:lstStyle/>
          <a:p>
            <a:r>
              <a:rPr lang="en-US" sz="4000" dirty="0">
                <a:latin typeface="Century Gothic"/>
                <a:cs typeface="Century Gothic"/>
              </a:rPr>
              <a:t>The Imperatives:</a:t>
            </a:r>
            <a:endParaRPr lang="en-US" sz="4000" dirty="0"/>
          </a:p>
        </p:txBody>
      </p:sp>
      <p:sp>
        <p:nvSpPr>
          <p:cNvPr id="3" name="Content Placeholder 2"/>
          <p:cNvSpPr>
            <a:spLocks noGrp="1"/>
          </p:cNvSpPr>
          <p:nvPr>
            <p:ph idx="1"/>
          </p:nvPr>
        </p:nvSpPr>
        <p:spPr/>
        <p:txBody>
          <a:bodyPr>
            <a:normAutofit/>
          </a:bodyPr>
          <a:lstStyle/>
          <a:p>
            <a:pPr marL="0" indent="0" algn="just">
              <a:buNone/>
            </a:pPr>
            <a:r>
              <a:rPr lang="en-US" sz="4800" dirty="0">
                <a:cs typeface="Century Gothic"/>
              </a:rPr>
              <a:t>The technological trends in </a:t>
            </a:r>
            <a:r>
              <a:rPr lang="en-US" sz="4800" i="1" dirty="0">
                <a:solidFill>
                  <a:srgbClr val="00B0F0"/>
                </a:solidFill>
                <a:cs typeface="Century Gothic"/>
              </a:rPr>
              <a:t>“Smart Homes”</a:t>
            </a:r>
            <a:r>
              <a:rPr lang="en-US" altLang="ja-JP" sz="4800" dirty="0">
                <a:solidFill>
                  <a:srgbClr val="00B0F0"/>
                </a:solidFill>
                <a:cs typeface="Century Gothic"/>
              </a:rPr>
              <a:t>, </a:t>
            </a:r>
            <a:r>
              <a:rPr lang="en-US" sz="4800" i="1" dirty="0">
                <a:solidFill>
                  <a:srgbClr val="00B0F0"/>
                </a:solidFill>
                <a:cs typeface="Century Gothic"/>
              </a:rPr>
              <a:t>“</a:t>
            </a:r>
            <a:r>
              <a:rPr lang="en-US" altLang="ja-JP" sz="4800" i="1" dirty="0">
                <a:solidFill>
                  <a:srgbClr val="00B0F0"/>
                </a:solidFill>
                <a:cs typeface="Century Gothic"/>
              </a:rPr>
              <a:t>Smart Buildings</a:t>
            </a:r>
            <a:r>
              <a:rPr lang="en-US" sz="4800" i="1" dirty="0">
                <a:solidFill>
                  <a:srgbClr val="00B0F0"/>
                </a:solidFill>
                <a:cs typeface="Century Gothic"/>
              </a:rPr>
              <a:t>”</a:t>
            </a:r>
            <a:r>
              <a:rPr lang="en-US" altLang="ja-JP" sz="4800" dirty="0">
                <a:solidFill>
                  <a:srgbClr val="00B0F0"/>
                </a:solidFill>
                <a:cs typeface="Century Gothic"/>
              </a:rPr>
              <a:t>, </a:t>
            </a:r>
            <a:r>
              <a:rPr lang="en-US" sz="4800" i="1" dirty="0">
                <a:solidFill>
                  <a:srgbClr val="00B0F0"/>
                </a:solidFill>
                <a:cs typeface="Century Gothic"/>
              </a:rPr>
              <a:t>“</a:t>
            </a:r>
            <a:r>
              <a:rPr lang="en-US" altLang="ja-JP" sz="4800" i="1" dirty="0">
                <a:solidFill>
                  <a:srgbClr val="00B0F0"/>
                </a:solidFill>
                <a:cs typeface="Century Gothic"/>
              </a:rPr>
              <a:t>Smart Cities</a:t>
            </a:r>
            <a:r>
              <a:rPr lang="en-US" sz="4800" i="1" dirty="0">
                <a:solidFill>
                  <a:srgbClr val="00B0F0"/>
                </a:solidFill>
                <a:cs typeface="Century Gothic"/>
              </a:rPr>
              <a:t>”</a:t>
            </a:r>
            <a:r>
              <a:rPr lang="en-US" altLang="ja-JP" sz="4800" dirty="0">
                <a:cs typeface="Century Gothic"/>
              </a:rPr>
              <a:t> &amp; </a:t>
            </a:r>
            <a:r>
              <a:rPr lang="en-US" sz="4800" i="1" dirty="0">
                <a:solidFill>
                  <a:srgbClr val="00B0F0"/>
                </a:solidFill>
                <a:cs typeface="Century Gothic"/>
              </a:rPr>
              <a:t>“</a:t>
            </a:r>
            <a:r>
              <a:rPr lang="en-US" altLang="ja-JP" sz="4800" i="1" dirty="0">
                <a:solidFill>
                  <a:srgbClr val="00B0F0"/>
                </a:solidFill>
                <a:cs typeface="Century Gothic"/>
              </a:rPr>
              <a:t>Smart Grid</a:t>
            </a:r>
            <a:r>
              <a:rPr lang="en-US" sz="4800" i="1" dirty="0">
                <a:solidFill>
                  <a:srgbClr val="00B0F0"/>
                </a:solidFill>
                <a:cs typeface="Century Gothic"/>
              </a:rPr>
              <a:t>”</a:t>
            </a:r>
            <a:r>
              <a:rPr lang="en-US" altLang="ja-JP" sz="4800" dirty="0">
                <a:solidFill>
                  <a:srgbClr val="00B0F0"/>
                </a:solidFill>
                <a:cs typeface="Century Gothic"/>
              </a:rPr>
              <a:t> </a:t>
            </a:r>
            <a:r>
              <a:rPr lang="en-US" altLang="ja-JP" sz="4800" dirty="0">
                <a:cs typeface="Century Gothic"/>
              </a:rPr>
              <a:t>are being considered and pursued in isolation from each other by the respective stake holders. In fact, they form a very tightly interwoven &amp; homogenous confluence of similar technologies being applied in different domains for a common cause of making our planet earth </a:t>
            </a:r>
            <a:r>
              <a:rPr lang="en-US" sz="4800" dirty="0">
                <a:solidFill>
                  <a:srgbClr val="33CC33"/>
                </a:solidFill>
                <a:cs typeface="Century Gothic"/>
              </a:rPr>
              <a:t>“</a:t>
            </a:r>
            <a:r>
              <a:rPr lang="en-US" altLang="ja-JP" sz="4800" dirty="0">
                <a:solidFill>
                  <a:srgbClr val="33CC33"/>
                </a:solidFill>
                <a:cs typeface="Century Gothic"/>
              </a:rPr>
              <a:t>smart, green n secure</a:t>
            </a:r>
            <a:r>
              <a:rPr lang="en-US" sz="4800" dirty="0">
                <a:solidFill>
                  <a:srgbClr val="33CC33"/>
                </a:solidFill>
                <a:cs typeface="Century Gothic"/>
              </a:rPr>
              <a:t>”</a:t>
            </a:r>
            <a:r>
              <a:rPr lang="en-US" altLang="ja-JP" sz="4800" dirty="0">
                <a:cs typeface="Century Gothic"/>
              </a:rPr>
              <a:t>. </a:t>
            </a:r>
            <a:endParaRPr lang="en-US" sz="4800" i="1" dirty="0">
              <a:cs typeface="Century Gothic"/>
            </a:endParaRPr>
          </a:p>
          <a:p>
            <a:pPr marL="0" indent="0" algn="just">
              <a:buNone/>
            </a:pPr>
            <a:endParaRPr lang="en-US" sz="4800" dirty="0"/>
          </a:p>
        </p:txBody>
      </p:sp>
      <p:sp>
        <p:nvSpPr>
          <p:cNvPr id="4" name="Footer Placeholder 4">
            <a:extLst>
              <a:ext uri="{FF2B5EF4-FFF2-40B4-BE49-F238E27FC236}">
                <a16:creationId xmlns:a16="http://schemas.microsoft.com/office/drawing/2014/main" id="{C36CD31A-B207-F540-A993-25502E1EEDF6}"/>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848621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000" y="99606"/>
            <a:ext cx="12115800" cy="853017"/>
          </a:xfrm>
        </p:spPr>
        <p:txBody>
          <a:bodyPr>
            <a:normAutofit/>
          </a:bodyPr>
          <a:lstStyle/>
          <a:p>
            <a:r>
              <a:rPr lang="en-GB" sz="4000" b="1" dirty="0"/>
              <a:t>Smart Cities &amp; Smart Infrastructure</a:t>
            </a:r>
            <a:endParaRPr lang="en-US" sz="4000" b="1" dirty="0"/>
          </a:p>
        </p:txBody>
      </p:sp>
      <p:sp>
        <p:nvSpPr>
          <p:cNvPr id="3" name="Content Placeholder 2"/>
          <p:cNvSpPr>
            <a:spLocks noGrp="1"/>
          </p:cNvSpPr>
          <p:nvPr>
            <p:ph idx="1"/>
          </p:nvPr>
        </p:nvSpPr>
        <p:spPr>
          <a:xfrm>
            <a:off x="889000" y="914400"/>
            <a:ext cx="15367000" cy="8183687"/>
          </a:xfrm>
        </p:spPr>
        <p:txBody>
          <a:bodyPr>
            <a:normAutofit/>
          </a:bodyPr>
          <a:lstStyle/>
          <a:p>
            <a:pPr marL="0" indent="0" algn="just">
              <a:buNone/>
            </a:pPr>
            <a:r>
              <a:rPr lang="en-GB" sz="4000" b="1" dirty="0">
                <a:solidFill>
                  <a:srgbClr val="90F502"/>
                </a:solidFill>
              </a:rPr>
              <a:t>A sample Indian business case for next 5-10 years:</a:t>
            </a:r>
          </a:p>
          <a:p>
            <a:pPr algn="just">
              <a:buFont typeface="Wingdings" pitchFamily="2" charset="2"/>
              <a:buChar char="Ø"/>
            </a:pPr>
            <a:r>
              <a:rPr lang="en-GB" sz="2200" dirty="0"/>
              <a:t>250 million Smart Electricity Meters are going to be procured &amp; deployed under the NSGM (National Smart Grid Mission).</a:t>
            </a:r>
            <a:r>
              <a:rPr lang="en-IN" sz="2200" dirty="0"/>
              <a:t> </a:t>
            </a:r>
          </a:p>
          <a:p>
            <a:pPr algn="just">
              <a:buFont typeface="Wingdings" pitchFamily="2" charset="2"/>
              <a:buChar char="Ø"/>
            </a:pPr>
            <a:r>
              <a:rPr lang="en-GB" sz="2200" dirty="0"/>
              <a:t>All these </a:t>
            </a:r>
            <a:r>
              <a:rPr lang="en-GB" sz="2200" b="1" dirty="0"/>
              <a:t>Smart Meters </a:t>
            </a:r>
            <a:r>
              <a:rPr lang="en-GB" sz="2200" dirty="0"/>
              <a:t>are going to use </a:t>
            </a:r>
            <a:r>
              <a:rPr lang="en-GB" sz="2200" b="1" dirty="0"/>
              <a:t>250 million Communication Modules</a:t>
            </a:r>
            <a:r>
              <a:rPr lang="en-GB" sz="2200" dirty="0"/>
              <a:t> and minimum</a:t>
            </a:r>
            <a:r>
              <a:rPr lang="en-GB" sz="2200" b="1" dirty="0"/>
              <a:t> </a:t>
            </a:r>
            <a:r>
              <a:rPr lang="en-IN" sz="2200" b="1" dirty="0"/>
              <a:t>0.5 million </a:t>
            </a:r>
            <a:r>
              <a:rPr lang="en-GB" sz="2200" b="1" dirty="0"/>
              <a:t>Gateways/DCUs </a:t>
            </a:r>
            <a:r>
              <a:rPr lang="en-GB" sz="2200" dirty="0"/>
              <a:t>(Data Concentrator Units).</a:t>
            </a:r>
            <a:endParaRPr lang="en-IN" sz="2200" dirty="0"/>
          </a:p>
          <a:p>
            <a:pPr lvl="0" algn="just">
              <a:buFont typeface="Wingdings" pitchFamily="2" charset="2"/>
              <a:buChar char="Ø"/>
            </a:pPr>
            <a:r>
              <a:rPr lang="en-GB" sz="2200" b="1" dirty="0"/>
              <a:t>Smart Streetlights </a:t>
            </a:r>
            <a:r>
              <a:rPr lang="en-GB" sz="2200" dirty="0"/>
              <a:t>are going to use more than </a:t>
            </a:r>
            <a:r>
              <a:rPr lang="en-GB" sz="2200" b="1" dirty="0"/>
              <a:t>100 million Communication Modules </a:t>
            </a:r>
            <a:r>
              <a:rPr lang="en-GB" sz="2200" dirty="0"/>
              <a:t>and at least </a:t>
            </a:r>
            <a:r>
              <a:rPr lang="en-GB" sz="2200" b="1" dirty="0"/>
              <a:t>half a million of DCUs/Gateways</a:t>
            </a:r>
            <a:r>
              <a:rPr lang="en-GB" sz="2200" dirty="0"/>
              <a:t>…</a:t>
            </a:r>
          </a:p>
          <a:p>
            <a:pPr algn="just">
              <a:buFont typeface="Wingdings" pitchFamily="2" charset="2"/>
              <a:buChar char="Ø"/>
            </a:pPr>
            <a:r>
              <a:rPr lang="en-GB" sz="2200" b="1" dirty="0"/>
              <a:t>Smart Buildings </a:t>
            </a:r>
            <a:r>
              <a:rPr lang="en-GB" sz="2200" dirty="0"/>
              <a:t>are going to deploy more than </a:t>
            </a:r>
            <a:r>
              <a:rPr lang="en-GB" sz="2200" b="1" dirty="0"/>
              <a:t>50 million smart Sensors </a:t>
            </a:r>
            <a:r>
              <a:rPr lang="en-GB" sz="2200" dirty="0"/>
              <a:t>and at </a:t>
            </a:r>
            <a:r>
              <a:rPr lang="en-GB" sz="2200" b="1" dirty="0"/>
              <a:t>least 100K – 200K DCUs/gateways…</a:t>
            </a:r>
          </a:p>
          <a:p>
            <a:pPr algn="just">
              <a:buFont typeface="Wingdings" pitchFamily="2" charset="2"/>
              <a:buChar char="Ø"/>
            </a:pPr>
            <a:r>
              <a:rPr lang="en-GB" sz="2200" b="1" dirty="0"/>
              <a:t>Automobile</a:t>
            </a:r>
            <a:r>
              <a:rPr lang="en-GB" sz="2200" dirty="0"/>
              <a:t>s shall be using at least </a:t>
            </a:r>
            <a:r>
              <a:rPr lang="en-GB" sz="2200" b="1" dirty="0"/>
              <a:t>100-200 million </a:t>
            </a:r>
            <a:r>
              <a:rPr lang="en-GB" sz="2200" dirty="0"/>
              <a:t>communication nodes for Vehicle O &amp; M,  V to V,  V to I  &amp; other telematics applications…</a:t>
            </a:r>
            <a:endParaRPr lang="en-IN" sz="2200" dirty="0"/>
          </a:p>
          <a:p>
            <a:pPr algn="just">
              <a:buFont typeface="Wingdings" pitchFamily="2" charset="2"/>
              <a:buChar char="Ø"/>
            </a:pPr>
            <a:r>
              <a:rPr lang="en-GB" sz="2200" dirty="0"/>
              <a:t>Similarly, various applications of the Smart Infrastructure paradigm like Smart Water, Smart Gas, Smart Traffic, Smart Environment, Smart sewage Disposal etc. are going to use a few billions of Smart Sensors with Communication Modules</a:t>
            </a:r>
          </a:p>
          <a:p>
            <a:pPr marL="0" indent="0" algn="just">
              <a:buNone/>
            </a:pPr>
            <a:r>
              <a:rPr lang="en-GB" sz="2600" b="1" dirty="0">
                <a:solidFill>
                  <a:srgbClr val="FFFF00"/>
                </a:solidFill>
              </a:rPr>
              <a:t>To summarize, India ALONE, is going to need a minimum of </a:t>
            </a:r>
            <a:r>
              <a:rPr lang="en-GB" sz="2600" b="1" dirty="0">
                <a:solidFill>
                  <a:srgbClr val="FF6600"/>
                </a:solidFill>
              </a:rPr>
              <a:t>5 - 10 billion Communication modules</a:t>
            </a:r>
            <a:r>
              <a:rPr lang="en-GB" sz="2600" b="1" dirty="0">
                <a:solidFill>
                  <a:schemeClr val="accent5"/>
                </a:solidFill>
              </a:rPr>
              <a:t> </a:t>
            </a:r>
            <a:r>
              <a:rPr lang="en-GB" sz="2600" b="1" dirty="0">
                <a:solidFill>
                  <a:srgbClr val="FFFF00"/>
                </a:solidFill>
              </a:rPr>
              <a:t>to be integrated into the Smart Sensors and Controllers and </a:t>
            </a:r>
            <a:r>
              <a:rPr lang="en-GB" sz="2600" b="1" dirty="0">
                <a:solidFill>
                  <a:srgbClr val="FF6600"/>
                </a:solidFill>
              </a:rPr>
              <a:t>10– 50 million Gateways </a:t>
            </a:r>
            <a:r>
              <a:rPr lang="en-GB" sz="2600" b="1" dirty="0">
                <a:solidFill>
                  <a:srgbClr val="FFFF00"/>
                </a:solidFill>
              </a:rPr>
              <a:t>that shall be needed to operate and maintain the</a:t>
            </a:r>
            <a:r>
              <a:rPr lang="en-GB" sz="2600" b="1" dirty="0">
                <a:solidFill>
                  <a:schemeClr val="accent5"/>
                </a:solidFill>
              </a:rPr>
              <a:t> </a:t>
            </a:r>
            <a:r>
              <a:rPr lang="en-GB" sz="2600" b="1" i="1" dirty="0">
                <a:solidFill>
                  <a:srgbClr val="FF6600"/>
                </a:solidFill>
              </a:rPr>
              <a:t>Nation Wide Critical Infrastructure</a:t>
            </a:r>
            <a:r>
              <a:rPr lang="en-GB" sz="2600" b="1" dirty="0">
                <a:solidFill>
                  <a:schemeClr val="accent5"/>
                </a:solidFill>
              </a:rPr>
              <a:t> </a:t>
            </a:r>
            <a:r>
              <a:rPr lang="en-GB" sz="2600" b="1" dirty="0">
                <a:solidFill>
                  <a:srgbClr val="FFFF00"/>
                </a:solidFill>
              </a:rPr>
              <a:t>that needs to be deployed to enable and empower the citizens to lead a sustainable, safe and secure life …</a:t>
            </a:r>
            <a:r>
              <a:rPr lang="en-GB" sz="2800" b="1" dirty="0">
                <a:solidFill>
                  <a:srgbClr val="FFFF00"/>
                </a:solidFill>
              </a:rPr>
              <a:t> </a:t>
            </a:r>
            <a:endParaRPr lang="en-IN" sz="2133" b="1" dirty="0">
              <a:solidFill>
                <a:srgbClr val="FFFF00"/>
              </a:solidFill>
            </a:endParaRPr>
          </a:p>
          <a:p>
            <a:pPr marL="0" indent="0" algn="just">
              <a:buNone/>
            </a:pPr>
            <a:endParaRPr lang="en-IN" sz="2133" dirty="0"/>
          </a:p>
          <a:p>
            <a:pPr lvl="0" algn="just"/>
            <a:endParaRPr lang="en-IN" sz="2133" dirty="0"/>
          </a:p>
          <a:p>
            <a:pPr algn="just"/>
            <a:endParaRPr lang="en-US" sz="2133" dirty="0"/>
          </a:p>
        </p:txBody>
      </p:sp>
      <p:sp>
        <p:nvSpPr>
          <p:cNvPr id="4" name="Footer Placeholder 4">
            <a:extLst>
              <a:ext uri="{FF2B5EF4-FFF2-40B4-BE49-F238E27FC236}">
                <a16:creationId xmlns:a16="http://schemas.microsoft.com/office/drawing/2014/main" id="{18B7E5B0-8B74-7541-BFA1-6B138F81B783}"/>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1089656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Image result for common understand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3735" y="1292121"/>
            <a:ext cx="6684265" cy="6884792"/>
          </a:xfrm>
          <a:prstGeom prst="rect">
            <a:avLst/>
          </a:prstGeom>
          <a:noFill/>
          <a:extLst>
            <a:ext uri="{909E8E84-426E-40dd-AFC4-6F175D3DCCD1}">
              <a14:hiddenFill xmlns="" xmlns:a14="http://schemas.microsoft.com/office/drawing/2010/main">
                <a:solidFill>
                  <a:srgbClr val="FFFFFF"/>
                </a:solidFill>
              </a14:hiddenFill>
            </a:ext>
          </a:extLst>
        </p:spPr>
      </p:pic>
      <p:sp>
        <p:nvSpPr>
          <p:cNvPr id="2" name="矩形 1"/>
          <p:cNvSpPr/>
          <p:nvPr/>
        </p:nvSpPr>
        <p:spPr>
          <a:xfrm>
            <a:off x="8225536" y="1103704"/>
            <a:ext cx="7827264" cy="7478970"/>
          </a:xfrm>
          <a:prstGeom prst="rect">
            <a:avLst/>
          </a:prstGeom>
        </p:spPr>
        <p:txBody>
          <a:bodyPr wrap="square">
            <a:spAutoFit/>
          </a:bodyPr>
          <a:lstStyle/>
          <a:p>
            <a:pPr marL="457189" indent="-457189" algn="just">
              <a:buFont typeface="Wingdings" charset="2"/>
              <a:buChar char="Ø"/>
            </a:pPr>
            <a:r>
              <a:rPr lang="en-US" altLang="zh-CN" sz="2800" b="1" dirty="0">
                <a:solidFill>
                  <a:schemeClr val="bg1"/>
                </a:solidFill>
                <a:latin typeface="Century Gothic"/>
                <a:cs typeface="Century Gothic"/>
              </a:rPr>
              <a:t>To </a:t>
            </a:r>
            <a:r>
              <a:rPr lang="en-GB" altLang="zh-CN" sz="2800" b="1" dirty="0">
                <a:solidFill>
                  <a:schemeClr val="bg1"/>
                </a:solidFill>
                <a:latin typeface="Century Gothic"/>
                <a:cs typeface="Century Gothic"/>
              </a:rPr>
              <a:t>map out the scope of smart city</a:t>
            </a:r>
          </a:p>
          <a:p>
            <a:pPr algn="just"/>
            <a:endParaRPr lang="en-GB" altLang="zh-CN" sz="2800" b="1" dirty="0">
              <a:solidFill>
                <a:schemeClr val="bg1"/>
              </a:solidFill>
              <a:latin typeface="Century Gothic"/>
              <a:cs typeface="Century Gothic"/>
            </a:endParaRPr>
          </a:p>
          <a:p>
            <a:pPr marL="457189" indent="-457189" algn="just">
              <a:buFont typeface="Wingdings" charset="2"/>
              <a:buChar char="Ø"/>
            </a:pPr>
            <a:r>
              <a:rPr lang="en-GB" altLang="zh-CN" sz="2800" b="1" dirty="0">
                <a:solidFill>
                  <a:schemeClr val="bg1"/>
                </a:solidFill>
                <a:latin typeface="Century Gothic"/>
                <a:cs typeface="Century Gothic"/>
              </a:rPr>
              <a:t>To clarify the universal values of smart city</a:t>
            </a:r>
          </a:p>
          <a:p>
            <a:pPr algn="just"/>
            <a:endParaRPr lang="en-GB" altLang="zh-CN" sz="2800" b="1" dirty="0">
              <a:solidFill>
                <a:schemeClr val="bg1"/>
              </a:solidFill>
              <a:latin typeface="Century Gothic"/>
              <a:cs typeface="Century Gothic"/>
            </a:endParaRPr>
          </a:p>
          <a:p>
            <a:pPr marL="457189" indent="-457189" algn="just">
              <a:buFont typeface="Wingdings" charset="2"/>
              <a:buChar char="Ø"/>
            </a:pPr>
            <a:r>
              <a:rPr lang="en-GB" altLang="zh-CN" sz="2800" b="1" dirty="0">
                <a:solidFill>
                  <a:schemeClr val="bg1"/>
                </a:solidFill>
                <a:latin typeface="Century Gothic"/>
                <a:cs typeface="Century Gothic"/>
              </a:rPr>
              <a:t>To reach consensus on the core capabilities of smart city</a:t>
            </a:r>
          </a:p>
          <a:p>
            <a:pPr algn="just"/>
            <a:endParaRPr lang="en-GB" altLang="zh-CN" sz="2800" b="1" dirty="0">
              <a:solidFill>
                <a:schemeClr val="bg1"/>
              </a:solidFill>
              <a:latin typeface="Century Gothic"/>
              <a:cs typeface="Century Gothic"/>
            </a:endParaRPr>
          </a:p>
          <a:p>
            <a:pPr marL="457189" indent="-457189" algn="just">
              <a:buFont typeface="Wingdings" charset="2"/>
              <a:buChar char="Ø"/>
            </a:pPr>
            <a:r>
              <a:rPr lang="en-GB" altLang="zh-CN" sz="2800" b="1" dirty="0">
                <a:solidFill>
                  <a:schemeClr val="bg1"/>
                </a:solidFill>
                <a:latin typeface="Century Gothic"/>
                <a:cs typeface="Century Gothic"/>
              </a:rPr>
              <a:t>To indicate commonalities between different city systems</a:t>
            </a:r>
          </a:p>
          <a:p>
            <a:pPr algn="just"/>
            <a:endParaRPr lang="en-GB" altLang="zh-CN" sz="2800" b="1" dirty="0">
              <a:solidFill>
                <a:schemeClr val="bg1"/>
              </a:solidFill>
              <a:latin typeface="Century Gothic"/>
              <a:cs typeface="Century Gothic"/>
            </a:endParaRPr>
          </a:p>
          <a:p>
            <a:pPr marL="457189" indent="-457189" algn="just">
              <a:buFont typeface="Wingdings" charset="2"/>
              <a:buChar char="Ø"/>
            </a:pPr>
            <a:r>
              <a:rPr lang="en-GB" altLang="zh-CN" sz="2800" b="1" dirty="0">
                <a:solidFill>
                  <a:schemeClr val="bg1"/>
                </a:solidFill>
                <a:latin typeface="Century Gothic"/>
                <a:cs typeface="Century Gothic"/>
              </a:rPr>
              <a:t>To provide the reference for integration &amp; interoperability</a:t>
            </a:r>
          </a:p>
          <a:p>
            <a:pPr algn="just"/>
            <a:endParaRPr lang="en-GB" altLang="zh-CN" sz="2800" b="1" dirty="0">
              <a:solidFill>
                <a:schemeClr val="bg1"/>
              </a:solidFill>
              <a:latin typeface="Century Gothic"/>
              <a:cs typeface="Century Gothic"/>
            </a:endParaRPr>
          </a:p>
          <a:p>
            <a:pPr marL="457189" indent="-457189" algn="just">
              <a:buFont typeface="Wingdings" charset="2"/>
              <a:buChar char="Ø"/>
            </a:pPr>
            <a:r>
              <a:rPr lang="en-GB" altLang="zh-CN" sz="2800" b="1" dirty="0">
                <a:solidFill>
                  <a:schemeClr val="bg1"/>
                </a:solidFill>
                <a:latin typeface="Century Gothic"/>
                <a:cs typeface="Century Gothic"/>
              </a:rPr>
              <a:t>To smooth the collaboration of SDOs and other </a:t>
            </a:r>
            <a:r>
              <a:rPr lang="en-GB" altLang="zh-CN" sz="3200" b="1" dirty="0">
                <a:solidFill>
                  <a:schemeClr val="bg1"/>
                </a:solidFill>
                <a:latin typeface="Century Gothic"/>
                <a:cs typeface="Century Gothic"/>
              </a:rPr>
              <a:t>city</a:t>
            </a:r>
            <a:r>
              <a:rPr lang="en-GB" altLang="zh-CN" sz="2800" b="1" dirty="0">
                <a:solidFill>
                  <a:schemeClr val="bg1"/>
                </a:solidFill>
                <a:latin typeface="Century Gothic"/>
                <a:cs typeface="Century Gothic"/>
              </a:rPr>
              <a:t> stakeholders</a:t>
            </a:r>
          </a:p>
          <a:p>
            <a:pPr marL="457189" indent="-457189" algn="just">
              <a:buFont typeface="Wingdings" charset="2"/>
              <a:buChar char="Ø"/>
            </a:pPr>
            <a:r>
              <a:rPr lang="en-GB" altLang="zh-CN" sz="2800" b="1" dirty="0">
                <a:solidFill>
                  <a:schemeClr val="bg1"/>
                </a:solidFill>
                <a:latin typeface="Century Gothic"/>
                <a:cs typeface="Century Gothic"/>
              </a:rPr>
              <a:t>……</a:t>
            </a:r>
          </a:p>
        </p:txBody>
      </p:sp>
      <p:sp>
        <p:nvSpPr>
          <p:cNvPr id="5" name="Title 4"/>
          <p:cNvSpPr>
            <a:spLocks noGrp="1"/>
          </p:cNvSpPr>
          <p:nvPr>
            <p:ph type="title"/>
          </p:nvPr>
        </p:nvSpPr>
        <p:spPr>
          <a:xfrm>
            <a:off x="889000" y="2478"/>
            <a:ext cx="9992005" cy="970268"/>
          </a:xfrm>
        </p:spPr>
        <p:txBody>
          <a:bodyPr/>
          <a:lstStyle/>
          <a:p>
            <a:r>
              <a:rPr lang="en-US" altLang="zh-CN" b="1" dirty="0">
                <a:ea typeface="隶书" panose="02010509060101010101" pitchFamily="49" charset="-122"/>
              </a:rPr>
              <a:t>Common Understanding is a Big Deal</a:t>
            </a:r>
            <a:endParaRPr lang="en-US" dirty="0"/>
          </a:p>
        </p:txBody>
      </p:sp>
    </p:spTree>
    <p:extLst>
      <p:ext uri="{BB962C8B-B14F-4D97-AF65-F5344CB8AC3E}">
        <p14:creationId xmlns:p14="http://schemas.microsoft.com/office/powerpoint/2010/main" val="8543507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a:extLst>
              <a:ext uri="{FF2B5EF4-FFF2-40B4-BE49-F238E27FC236}">
                <a16:creationId xmlns:a16="http://schemas.microsoft.com/office/drawing/2014/main" id="{43410590-54FD-084E-B51A-C838AEBEFB5E}"/>
              </a:ext>
            </a:extLst>
          </p:cNvPr>
          <p:cNvSpPr/>
          <p:nvPr/>
        </p:nvSpPr>
        <p:spPr>
          <a:xfrm>
            <a:off x="1422400" y="1516566"/>
            <a:ext cx="14554200" cy="6789234"/>
          </a:xfrm>
          <a:prstGeom prst="roundRect">
            <a:avLst/>
          </a:prstGeom>
          <a:ln>
            <a:solidFill>
              <a:srgbClr val="D0EDF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E422486-9EB3-0246-ACB9-16A4098B7B30}"/>
              </a:ext>
            </a:extLst>
          </p:cNvPr>
          <p:cNvSpPr>
            <a:spLocks noGrp="1"/>
          </p:cNvSpPr>
          <p:nvPr>
            <p:ph type="title"/>
          </p:nvPr>
        </p:nvSpPr>
        <p:spPr>
          <a:xfrm>
            <a:off x="50800" y="76200"/>
            <a:ext cx="13563600" cy="1143000"/>
          </a:xfrm>
        </p:spPr>
        <p:txBody>
          <a:bodyPr/>
          <a:lstStyle/>
          <a:p>
            <a:r>
              <a:rPr lang="en-US" sz="4000" dirty="0"/>
              <a:t>General Architecture of Smart City ICT Indicators –</a:t>
            </a:r>
            <a:r>
              <a:rPr lang="en-US" sz="4000" dirty="0">
                <a:solidFill>
                  <a:srgbClr val="FFFF00"/>
                </a:solidFill>
              </a:rPr>
              <a:t>ISO30146</a:t>
            </a:r>
          </a:p>
        </p:txBody>
      </p:sp>
      <p:pic>
        <p:nvPicPr>
          <p:cNvPr id="3" name="Picture 2">
            <a:extLst>
              <a:ext uri="{FF2B5EF4-FFF2-40B4-BE49-F238E27FC236}">
                <a16:creationId xmlns:a16="http://schemas.microsoft.com/office/drawing/2014/main" id="{100B0225-FEFC-8C46-BB0C-8731EF4F510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574800" y="1516566"/>
            <a:ext cx="14401800" cy="6941633"/>
          </a:xfrm>
          <a:prstGeom prst="rect">
            <a:avLst/>
          </a:prstGeom>
          <a:noFill/>
          <a:ln>
            <a:noFill/>
          </a:ln>
        </p:spPr>
      </p:pic>
    </p:spTree>
    <p:extLst>
      <p:ext uri="{BB962C8B-B14F-4D97-AF65-F5344CB8AC3E}">
        <p14:creationId xmlns:p14="http://schemas.microsoft.com/office/powerpoint/2010/main" val="844313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圆角 3"/>
          <p:cNvSpPr/>
          <p:nvPr/>
        </p:nvSpPr>
        <p:spPr>
          <a:xfrm rot="921287">
            <a:off x="9944930" y="8308978"/>
            <a:ext cx="597753" cy="651933"/>
          </a:xfrm>
          <a:prstGeom prst="roundRect">
            <a:avLst>
              <a:gd name="adj" fmla="val 0"/>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80000"/>
              </a:lnSpc>
            </a:pPr>
            <a:r>
              <a:rPr lang="en-US" altLang="zh-CN" sz="1600" dirty="0">
                <a:solidFill>
                  <a:srgbClr val="00B050"/>
                </a:solidFill>
                <a:latin typeface="Arial" panose="020B0604020202020204" pitchFamily="34" charset="0"/>
                <a:cs typeface="Arial" panose="020B0604020202020204" pitchFamily="34" charset="0"/>
              </a:rPr>
              <a:t>……</a:t>
            </a:r>
          </a:p>
        </p:txBody>
      </p:sp>
      <p:sp>
        <p:nvSpPr>
          <p:cNvPr id="2" name="Title 1"/>
          <p:cNvSpPr>
            <a:spLocks noGrp="1"/>
          </p:cNvSpPr>
          <p:nvPr>
            <p:ph type="title"/>
          </p:nvPr>
        </p:nvSpPr>
        <p:spPr/>
        <p:txBody>
          <a:bodyPr/>
          <a:lstStyle/>
          <a:p>
            <a:r>
              <a:rPr lang="en-US" altLang="zh-CN" dirty="0">
                <a:latin typeface="Arial" panose="020B0604020202020204" pitchFamily="34" charset="0"/>
                <a:cs typeface="Arial" panose="020B0604020202020204" pitchFamily="34" charset="0"/>
              </a:rPr>
              <a:t>Smart City Capabilities Framework</a:t>
            </a:r>
            <a:endParaRPr lang="en-US" dirty="0"/>
          </a:p>
        </p:txBody>
      </p:sp>
      <p:pic>
        <p:nvPicPr>
          <p:cNvPr id="144" name="Picture 143"/>
          <p:cNvPicPr/>
          <p:nvPr/>
        </p:nvPicPr>
        <p:blipFill>
          <a:blip r:embed="rId3" cstate="email">
            <a:extLst>
              <a:ext uri="{28A0092B-C50C-407E-A947-70E740481C1C}">
                <a14:useLocalDpi xmlns:a14="http://schemas.microsoft.com/office/drawing/2010/main" val="0"/>
              </a:ext>
            </a:extLst>
          </a:blip>
          <a:stretch>
            <a:fillRect/>
          </a:stretch>
        </p:blipFill>
        <p:spPr>
          <a:xfrm>
            <a:off x="2812288" y="1609344"/>
            <a:ext cx="11058144" cy="6534912"/>
          </a:xfrm>
          <a:prstGeom prst="rect">
            <a:avLst/>
          </a:prstGeom>
        </p:spPr>
      </p:pic>
    </p:spTree>
    <p:extLst>
      <p:ext uri="{BB962C8B-B14F-4D97-AF65-F5344CB8AC3E}">
        <p14:creationId xmlns:p14="http://schemas.microsoft.com/office/powerpoint/2010/main" val="14491437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22400" y="1524000"/>
            <a:ext cx="14401800" cy="6678751"/>
          </a:xfrm>
          <a:prstGeom prst="rect">
            <a:avLst/>
          </a:prstGeom>
          <a:noFill/>
        </p:spPr>
        <p:txBody>
          <a:bodyPr wrap="square" rtlCol="0">
            <a:spAutoFit/>
          </a:bodyPr>
          <a:lstStyle/>
          <a:p>
            <a:r>
              <a:rPr lang="en-IN" sz="4400" dirty="0">
                <a:solidFill>
                  <a:schemeClr val="bg1"/>
                </a:solidFill>
              </a:rPr>
              <a:t>What is the Vision, Mission, Objectives of the City</a:t>
            </a:r>
          </a:p>
          <a:p>
            <a:r>
              <a:rPr lang="en-IN" sz="4400" dirty="0">
                <a:solidFill>
                  <a:schemeClr val="bg1"/>
                </a:solidFill>
              </a:rPr>
              <a:t>What are the Key Short Term (1-3 years) and Long Term Goals</a:t>
            </a:r>
            <a:endParaRPr lang="en-IN" sz="4400" dirty="0"/>
          </a:p>
          <a:p>
            <a:r>
              <a:rPr lang="en-IN" sz="4400" dirty="0">
                <a:solidFill>
                  <a:srgbClr val="FFFF00"/>
                </a:solidFill>
              </a:rPr>
              <a:t>Has the City Identified them? </a:t>
            </a:r>
          </a:p>
          <a:p>
            <a:endParaRPr lang="en-IN" sz="4400" dirty="0">
              <a:solidFill>
                <a:srgbClr val="FFFF00"/>
              </a:solidFill>
            </a:endParaRPr>
          </a:p>
          <a:p>
            <a:pPr marL="1066773" lvl="1" indent="-457189">
              <a:buFont typeface="Arial" panose="020B0604020202020204" pitchFamily="34" charset="0"/>
              <a:buChar char="•"/>
            </a:pPr>
            <a:r>
              <a:rPr lang="en-IN" sz="3600" dirty="0">
                <a:solidFill>
                  <a:srgbClr val="FFFF00"/>
                </a:solidFill>
              </a:rPr>
              <a:t>Is Data to be captured identified (Sensors, Events, Social Networks)</a:t>
            </a:r>
          </a:p>
          <a:p>
            <a:pPr marL="1066773" lvl="1" indent="-457189">
              <a:buFont typeface="Arial" panose="020B0604020202020204" pitchFamily="34" charset="0"/>
              <a:buChar char="•"/>
            </a:pPr>
            <a:r>
              <a:rPr lang="en-IN" sz="3600" dirty="0">
                <a:solidFill>
                  <a:srgbClr val="FFFF00"/>
                </a:solidFill>
              </a:rPr>
              <a:t>Is the Data Catalogued</a:t>
            </a:r>
          </a:p>
          <a:p>
            <a:pPr marL="1066773" lvl="1" indent="-457189">
              <a:buFont typeface="Arial" panose="020B0604020202020204" pitchFamily="34" charset="0"/>
              <a:buChar char="•"/>
            </a:pPr>
            <a:r>
              <a:rPr lang="en-IN" sz="3600" dirty="0">
                <a:solidFill>
                  <a:srgbClr val="FFFF00"/>
                </a:solidFill>
              </a:rPr>
              <a:t>Has the Data been classified as private, public, temporary, permanent</a:t>
            </a:r>
          </a:p>
          <a:p>
            <a:pPr marL="1066773" lvl="1" indent="-457189">
              <a:buFont typeface="Arial" panose="020B0604020202020204" pitchFamily="34" charset="0"/>
              <a:buChar char="•"/>
            </a:pPr>
            <a:r>
              <a:rPr lang="en-IN" sz="3600" dirty="0">
                <a:solidFill>
                  <a:srgbClr val="FFFF00"/>
                </a:solidFill>
              </a:rPr>
              <a:t>Has the Data life cycle (ingestion, storage and deletion) documented</a:t>
            </a:r>
          </a:p>
          <a:p>
            <a:pPr marL="1066773" lvl="1" indent="-457189">
              <a:buFont typeface="Arial" panose="020B0604020202020204" pitchFamily="34" charset="0"/>
              <a:buChar char="•"/>
            </a:pPr>
            <a:r>
              <a:rPr lang="en-IN" sz="3600" dirty="0">
                <a:solidFill>
                  <a:srgbClr val="FFFF00"/>
                </a:solidFill>
              </a:rPr>
              <a:t>Is there a Data Monetization plan for key datasets of value</a:t>
            </a:r>
          </a:p>
          <a:p>
            <a:pPr marL="1066773" lvl="1" indent="-457189">
              <a:buFont typeface="Arial" panose="020B0604020202020204" pitchFamily="34" charset="0"/>
              <a:buChar char="•"/>
            </a:pPr>
            <a:r>
              <a:rPr lang="en-IN" sz="3600" dirty="0">
                <a:solidFill>
                  <a:srgbClr val="FFFF00"/>
                </a:solidFill>
              </a:rPr>
              <a:t>Is there a Data sharing plan for operations data (Transparency Goals)</a:t>
            </a:r>
          </a:p>
          <a:p>
            <a:pPr marL="1066773" lvl="1" indent="-457189">
              <a:buFont typeface="Arial" panose="020B0604020202020204" pitchFamily="34" charset="0"/>
              <a:buChar char="•"/>
            </a:pPr>
            <a:r>
              <a:rPr lang="en-IN" sz="3600" dirty="0">
                <a:solidFill>
                  <a:srgbClr val="FFFF00"/>
                </a:solidFill>
              </a:rPr>
              <a:t>Are there plans to engage citizens to annotate, augment sensor data</a:t>
            </a:r>
            <a:endParaRPr lang="en-IN" sz="4800" dirty="0">
              <a:solidFill>
                <a:srgbClr val="FFFF00"/>
              </a:solidFill>
            </a:endParaRPr>
          </a:p>
        </p:txBody>
      </p:sp>
      <p:sp>
        <p:nvSpPr>
          <p:cNvPr id="5" name="Title 2"/>
          <p:cNvSpPr txBox="1">
            <a:spLocks/>
          </p:cNvSpPr>
          <p:nvPr/>
        </p:nvSpPr>
        <p:spPr bwMode="auto">
          <a:xfrm>
            <a:off x="889000" y="345842"/>
            <a:ext cx="12192000" cy="1294319"/>
          </a:xfrm>
          <a:prstGeom prst="rect">
            <a:avLst/>
          </a:prstGeom>
          <a:noFill/>
          <a:ln w="9525">
            <a:noFill/>
            <a:miter lim="800000"/>
            <a:headEnd/>
            <a:tailEnd/>
          </a:ln>
        </p:spPr>
        <p:txBody>
          <a:bodyPr vert="horz" wrap="square" lIns="121920" tIns="60960" rIns="121920" bIns="60960" numCol="1" anchor="b" anchorCtr="0" compatLnSpc="1">
            <a:prstTxWarp prst="textNoShape">
              <a:avLst/>
            </a:prstTxWarp>
          </a:bodyPr>
          <a:lstStyle>
            <a:lvl1pPr algn="l" rtl="0" eaLnBrk="1" fontAlgn="base" hangingPunct="1">
              <a:spcBef>
                <a:spcPct val="0"/>
              </a:spcBef>
              <a:spcAft>
                <a:spcPct val="0"/>
              </a:spcAft>
              <a:defRPr sz="2800" b="0">
                <a:solidFill>
                  <a:srgbClr val="3366FF"/>
                </a:solidFill>
                <a:latin typeface="Century Gothic"/>
                <a:ea typeface="+mj-ea"/>
                <a:cs typeface="Century Gothic"/>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r>
              <a:rPr lang="en-IN" sz="4400" b="1" dirty="0">
                <a:solidFill>
                  <a:srgbClr val="90F502"/>
                </a:solidFill>
                <a:latin typeface="Century Gothic" panose="020B0502020202020204" pitchFamily="34" charset="0"/>
                <a:ea typeface="Verdana" pitchFamily="34" charset="0"/>
                <a:cs typeface="Verdana" pitchFamily="34" charset="0"/>
              </a:rPr>
              <a:t>Capabilities Evaluation Framework</a:t>
            </a:r>
            <a:br>
              <a:rPr lang="en-IN" sz="3733" kern="0" dirty="0"/>
            </a:br>
            <a:r>
              <a:rPr lang="en-IN" sz="3733" kern="0" dirty="0"/>
              <a:t>			</a:t>
            </a:r>
            <a:r>
              <a:rPr lang="en-IN" sz="4400" b="1" kern="0" dirty="0">
                <a:solidFill>
                  <a:srgbClr val="FFFF00"/>
                </a:solidFill>
              </a:rPr>
              <a:t>Questionnaire</a:t>
            </a:r>
            <a:endParaRPr lang="en-US" sz="3733" b="1" kern="0" dirty="0">
              <a:solidFill>
                <a:srgbClr val="FFFF00"/>
              </a:solidFill>
            </a:endParaRPr>
          </a:p>
        </p:txBody>
      </p:sp>
    </p:spTree>
    <p:extLst>
      <p:ext uri="{BB962C8B-B14F-4D97-AF65-F5344CB8AC3E}">
        <p14:creationId xmlns:p14="http://schemas.microsoft.com/office/powerpoint/2010/main" val="7290433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entury Gothic" panose="020B0502020202020204" pitchFamily="34" charset="0"/>
              </a:rPr>
              <a:t>Current Applications live in silos</a:t>
            </a:r>
          </a:p>
        </p:txBody>
      </p:sp>
      <p:pic>
        <p:nvPicPr>
          <p:cNvPr id="4" name="Content Placeholder 3"/>
          <p:cNvPicPr>
            <a:picLocks noGrp="1" noChangeAspect="1"/>
          </p:cNvPicPr>
          <p:nvPr>
            <p:ph idx="1"/>
          </p:nvPr>
        </p:nvPicPr>
        <p:blipFill rotWithShape="1">
          <a:blip r:embed="rId3"/>
          <a:stretch/>
        </p:blipFill>
        <p:spPr>
          <a:xfrm>
            <a:off x="1727200" y="1371600"/>
            <a:ext cx="14020800" cy="6796088"/>
          </a:xfrm>
        </p:spPr>
      </p:pic>
    </p:spTree>
    <p:extLst>
      <p:ext uri="{BB962C8B-B14F-4D97-AF65-F5344CB8AC3E}">
        <p14:creationId xmlns:p14="http://schemas.microsoft.com/office/powerpoint/2010/main" val="42814737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60400" y="406822"/>
            <a:ext cx="12219528" cy="1650578"/>
          </a:xfrm>
        </p:spPr>
        <p:txBody>
          <a:bodyPr>
            <a:noAutofit/>
          </a:bodyPr>
          <a:lstStyle/>
          <a:p>
            <a:pPr marL="88898" indent="-88898" algn="ctr">
              <a:lnSpc>
                <a:spcPts val="1700"/>
              </a:lnSpc>
              <a:spcAft>
                <a:spcPts val="300"/>
              </a:spcAft>
              <a:buClr>
                <a:schemeClr val="tx2"/>
              </a:buClr>
              <a:buSzPct val="70000"/>
            </a:pPr>
            <a:r>
              <a:rPr lang="en-US" sz="4000" i="1" dirty="0">
                <a:latin typeface="Century Gothic"/>
                <a:cs typeface="Century Gothic"/>
              </a:rPr>
              <a:t>“The beauty of standards is that there are  so </a:t>
            </a:r>
            <a:br>
              <a:rPr lang="en-US" sz="4000" i="1" dirty="0">
                <a:latin typeface="Century Gothic"/>
                <a:cs typeface="Century Gothic"/>
              </a:rPr>
            </a:br>
            <a:br>
              <a:rPr lang="en-US" sz="4000" i="1" dirty="0">
                <a:latin typeface="Century Gothic"/>
                <a:cs typeface="Century Gothic"/>
              </a:rPr>
            </a:br>
            <a:br>
              <a:rPr lang="en-US" sz="4000" i="1" dirty="0">
                <a:latin typeface="Century Gothic"/>
                <a:cs typeface="Century Gothic"/>
              </a:rPr>
            </a:br>
            <a:r>
              <a:rPr lang="en-US" sz="4000" i="1" dirty="0">
                <a:latin typeface="Century Gothic"/>
                <a:cs typeface="Century Gothic"/>
              </a:rPr>
              <a:t>many to choose from!“  </a:t>
            </a:r>
            <a:endParaRPr lang="en-US" sz="3600" i="1" dirty="0">
              <a:latin typeface="Century Gothic"/>
              <a:cs typeface="Century Gothic"/>
            </a:endParaRPr>
          </a:p>
        </p:txBody>
      </p:sp>
      <p:sp>
        <p:nvSpPr>
          <p:cNvPr id="5" name="Text Placeholder 4"/>
          <p:cNvSpPr>
            <a:spLocks noGrp="1"/>
          </p:cNvSpPr>
          <p:nvPr>
            <p:ph idx="1"/>
          </p:nvPr>
        </p:nvSpPr>
        <p:spPr>
          <a:xfrm>
            <a:off x="1193223" y="2057400"/>
            <a:ext cx="14350261" cy="6065519"/>
          </a:xfrm>
        </p:spPr>
        <p:txBody>
          <a:bodyPr>
            <a:normAutofit/>
          </a:bodyPr>
          <a:lstStyle/>
          <a:p>
            <a:pPr algn="just"/>
            <a:r>
              <a:rPr lang="en-US" sz="4000" i="1" dirty="0"/>
              <a:t>“Standards &amp; even SDOs are not at the forefront of city planners’, utilities’ or users’ minds”</a:t>
            </a:r>
          </a:p>
          <a:p>
            <a:pPr algn="just"/>
            <a:r>
              <a:rPr lang="en-US" sz="4000" dirty="0">
                <a:solidFill>
                  <a:srgbClr val="FCB859"/>
                </a:solidFill>
              </a:rPr>
              <a:t>There are misconceptions on what standards are for, and, the case for use of standards has not been made.</a:t>
            </a:r>
          </a:p>
          <a:p>
            <a:pPr algn="just"/>
            <a:r>
              <a:rPr lang="en-US" sz="4000" dirty="0">
                <a:solidFill>
                  <a:srgbClr val="90F502"/>
                </a:solidFill>
                <a:latin typeface="Century Gothic"/>
                <a:cs typeface="Century Gothic"/>
              </a:rPr>
              <a:t>Liberalization and Markets have a lot of great virtues, but they cannot create their own conditions of existences: they </a:t>
            </a:r>
            <a:r>
              <a:rPr lang="en-US" sz="4000" b="1" dirty="0">
                <a:solidFill>
                  <a:srgbClr val="90F502"/>
                </a:solidFill>
                <a:latin typeface="Century Gothic"/>
                <a:cs typeface="Century Gothic"/>
              </a:rPr>
              <a:t>must be designed</a:t>
            </a:r>
            <a:r>
              <a:rPr lang="en-US" sz="4000" dirty="0">
                <a:solidFill>
                  <a:srgbClr val="90F502"/>
                </a:solidFill>
                <a:latin typeface="Century Gothic"/>
                <a:cs typeface="Century Gothic"/>
              </a:rPr>
              <a:t>!</a:t>
            </a:r>
            <a:r>
              <a:rPr lang="en-US" sz="4000" dirty="0">
                <a:solidFill>
                  <a:srgbClr val="FFFF00"/>
                </a:solidFill>
                <a:latin typeface="Century Gothic"/>
                <a:cs typeface="Century Gothic"/>
              </a:rPr>
              <a:t> </a:t>
            </a:r>
            <a:br>
              <a:rPr lang="en-US" sz="4400" i="1" dirty="0">
                <a:latin typeface="Century Gothic"/>
                <a:cs typeface="Century Gothic"/>
              </a:rPr>
            </a:br>
            <a:endParaRPr lang="en-US" sz="4000" dirty="0">
              <a:solidFill>
                <a:srgbClr val="3366FF"/>
              </a:solidFill>
            </a:endParaRPr>
          </a:p>
          <a:p>
            <a:pPr algn="just"/>
            <a:endParaRPr lang="en-IN" sz="4000" dirty="0">
              <a:solidFill>
                <a:srgbClr val="3366FF"/>
              </a:solidFill>
            </a:endParaRPr>
          </a:p>
        </p:txBody>
      </p:sp>
      <p:sp>
        <p:nvSpPr>
          <p:cNvPr id="2" name="TextBox 1">
            <a:extLst>
              <a:ext uri="{FF2B5EF4-FFF2-40B4-BE49-F238E27FC236}">
                <a16:creationId xmlns:a16="http://schemas.microsoft.com/office/drawing/2014/main" id="{5556088D-4179-A240-B904-6818C3305A77}"/>
              </a:ext>
            </a:extLst>
          </p:cNvPr>
          <p:cNvSpPr txBox="1"/>
          <p:nvPr/>
        </p:nvSpPr>
        <p:spPr>
          <a:xfrm>
            <a:off x="10033000" y="1208864"/>
            <a:ext cx="3725700" cy="707886"/>
          </a:xfrm>
          <a:prstGeom prst="rect">
            <a:avLst/>
          </a:prstGeom>
          <a:noFill/>
        </p:spPr>
        <p:txBody>
          <a:bodyPr wrap="none" rtlCol="0">
            <a:spAutoFit/>
          </a:bodyPr>
          <a:lstStyle/>
          <a:p>
            <a:r>
              <a:rPr lang="en-US" sz="2000" dirty="0">
                <a:solidFill>
                  <a:schemeClr val="bg1"/>
                </a:solidFill>
                <a:latin typeface="Century Gothic"/>
                <a:cs typeface="Century Gothic"/>
              </a:rPr>
              <a:t>Andrew S. Tanenbaum, 1990</a:t>
            </a:r>
            <a:endParaRPr lang="en-IN" sz="2000" dirty="0">
              <a:solidFill>
                <a:schemeClr val="bg1"/>
              </a:solidFill>
              <a:latin typeface="Century Gothic"/>
              <a:cs typeface="Century Gothic"/>
            </a:endParaRPr>
          </a:p>
          <a:p>
            <a:endParaRPr lang="en-US" sz="2000" dirty="0">
              <a:solidFill>
                <a:schemeClr val="bg1"/>
              </a:solidFill>
            </a:endParaRPr>
          </a:p>
        </p:txBody>
      </p:sp>
    </p:spTree>
    <p:extLst>
      <p:ext uri="{BB962C8B-B14F-4D97-AF65-F5344CB8AC3E}">
        <p14:creationId xmlns:p14="http://schemas.microsoft.com/office/powerpoint/2010/main" val="3800528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31800" y="137981"/>
            <a:ext cx="13345886" cy="816185"/>
          </a:xfrm>
          <a:prstGeom prst="rect">
            <a:avLst/>
          </a:prstGeom>
          <a:noFill/>
        </p:spPr>
        <p:txBody>
          <a:bodyPr wrap="square" rtlCol="0">
            <a:spAutoFit/>
          </a:bodyPr>
          <a:lstStyle/>
          <a:p>
            <a:pPr>
              <a:lnSpc>
                <a:spcPct val="150000"/>
              </a:lnSpc>
            </a:pPr>
            <a:r>
              <a:rPr lang="en-US" sz="3600" b="1" dirty="0">
                <a:solidFill>
                  <a:srgbClr val="FFFF00"/>
                </a:solidFill>
                <a:latin typeface="Century Gothic" panose="020B0502020202020204" pitchFamily="34" charset="0"/>
              </a:rPr>
              <a:t>Cities &gt;&gt;&gt; Smart Cities &gt;&gt;&gt; Sustainable &amp; Secure Cities  </a:t>
            </a:r>
          </a:p>
        </p:txBody>
      </p:sp>
      <p:pic>
        <p:nvPicPr>
          <p:cNvPr id="9" name="Picture 2" descr="Image result for robots evolution">
            <a:extLst>
              <a:ext uri="{FF2B5EF4-FFF2-40B4-BE49-F238E27FC236}">
                <a16:creationId xmlns:a16="http://schemas.microsoft.com/office/drawing/2014/main" id="{ABAADE11-90AF-894C-A4DF-BBF1435CE2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63" t="16000" r="8744" b="22244"/>
          <a:stretch/>
        </p:blipFill>
        <p:spPr bwMode="auto">
          <a:xfrm>
            <a:off x="50801" y="1139007"/>
            <a:ext cx="16188266" cy="7319193"/>
          </a:xfrm>
          <a:prstGeom prst="rect">
            <a:avLst/>
          </a:prstGeom>
          <a:solidFill>
            <a:schemeClr val="bg2">
              <a:lumMod val="90000"/>
            </a:schemeClr>
          </a:solid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65957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CACOPHONY or SYMPHONY ? ? ?</a:t>
            </a:r>
          </a:p>
        </p:txBody>
      </p:sp>
      <p:pic>
        <p:nvPicPr>
          <p:cNvPr id="6" name="Content Placeholder 5"/>
          <p:cNvPicPr>
            <a:picLocks noGrp="1"/>
          </p:cNvPicPr>
          <p:nvPr>
            <p:ph idx="1"/>
          </p:nvPr>
        </p:nvPicPr>
        <p:blipFill rotWithShape="1">
          <a:blip r:embed="rId2" cstate="print"/>
          <a:stretch/>
        </p:blipFill>
        <p:spPr bwMode="auto">
          <a:xfrm>
            <a:off x="1651000" y="1066800"/>
            <a:ext cx="13106400" cy="6553200"/>
          </a:xfrm>
          <a:prstGeom prst="rect">
            <a:avLst/>
          </a:prstGeom>
          <a:noFill/>
          <a:ln>
            <a:noFill/>
          </a:ln>
          <a:extLst>
            <a:ext uri="{53640926-AAD7-44d8-BBD7-CCE9431645EC}">
              <a14:shadowObscured xmlns="" xmlns:a14="http://schemas.microsoft.com/office/drawing/2010/main"/>
            </a:ext>
          </a:extLst>
        </p:spPr>
      </p:pic>
      <p:sp>
        <p:nvSpPr>
          <p:cNvPr id="7" name="Rectangle 6"/>
          <p:cNvSpPr/>
          <p:nvPr/>
        </p:nvSpPr>
        <p:spPr>
          <a:xfrm>
            <a:off x="1727200" y="7597914"/>
            <a:ext cx="13944600" cy="707886"/>
          </a:xfrm>
          <a:prstGeom prst="rect">
            <a:avLst/>
          </a:prstGeom>
        </p:spPr>
        <p:txBody>
          <a:bodyPr wrap="square">
            <a:spAutoFit/>
          </a:bodyPr>
          <a:lstStyle/>
          <a:p>
            <a:pPr algn="ctr"/>
            <a:r>
              <a:rPr lang="en-US" sz="4000" b="1" dirty="0">
                <a:solidFill>
                  <a:schemeClr val="bg1"/>
                </a:solidFill>
                <a:latin typeface="Century Gothic"/>
                <a:cs typeface="Century Gothic"/>
              </a:rPr>
              <a:t>The Enraged Musician, William Hogarth, 1741 </a:t>
            </a:r>
            <a:endParaRPr lang="en-IN" sz="4000" b="1" dirty="0">
              <a:solidFill>
                <a:schemeClr val="bg1"/>
              </a:solidFill>
              <a:latin typeface="Century Gothic"/>
              <a:cs typeface="Century Gothic"/>
            </a:endParaRPr>
          </a:p>
        </p:txBody>
      </p:sp>
    </p:spTree>
    <p:extLst>
      <p:ext uri="{BB962C8B-B14F-4D97-AF65-F5344CB8AC3E}">
        <p14:creationId xmlns:p14="http://schemas.microsoft.com/office/powerpoint/2010/main" val="3441867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1"/>
          <p:cNvSpPr txBox="1">
            <a:spLocks/>
          </p:cNvSpPr>
          <p:nvPr/>
        </p:nvSpPr>
        <p:spPr bwMode="auto">
          <a:xfrm>
            <a:off x="1879601" y="1295400"/>
            <a:ext cx="13639800" cy="21652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5000"/>
              </a:lnSpc>
              <a:spcBef>
                <a:spcPct val="35000"/>
              </a:spcBef>
              <a:spcAft>
                <a:spcPct val="0"/>
              </a:spcAft>
              <a:buFont typeface="Wingdings" pitchFamily="2" charset="2"/>
              <a:buChar char="ð"/>
              <a:defRPr sz="2000">
                <a:solidFill>
                  <a:schemeClr val="tx1"/>
                </a:solidFill>
                <a:latin typeface="Century Gothic"/>
                <a:ea typeface="+mn-ea"/>
                <a:cs typeface="+mn-cs"/>
              </a:defRPr>
            </a:lvl1pPr>
            <a:lvl2pPr marL="800100" indent="-342900" algn="l" rtl="0" eaLnBrk="1" fontAlgn="base" hangingPunct="1">
              <a:lnSpc>
                <a:spcPct val="95000"/>
              </a:lnSpc>
              <a:spcBef>
                <a:spcPct val="35000"/>
              </a:spcBef>
              <a:spcAft>
                <a:spcPct val="0"/>
              </a:spcAft>
              <a:buFont typeface="Wingdings" pitchFamily="2" charset="2"/>
              <a:buChar char="Ø"/>
              <a:defRPr sz="2000">
                <a:solidFill>
                  <a:schemeClr val="tx1"/>
                </a:solidFill>
                <a:latin typeface="Century Gothic"/>
              </a:defRPr>
            </a:lvl2pPr>
            <a:lvl3pPr marL="1257300" indent="-342900" algn="l" rtl="0" eaLnBrk="1" fontAlgn="base" hangingPunct="1">
              <a:lnSpc>
                <a:spcPct val="95000"/>
              </a:lnSpc>
              <a:spcBef>
                <a:spcPct val="35000"/>
              </a:spcBef>
              <a:spcAft>
                <a:spcPct val="0"/>
              </a:spcAft>
              <a:buChar char="o"/>
              <a:defRPr sz="2000">
                <a:solidFill>
                  <a:schemeClr val="tx1"/>
                </a:solidFill>
                <a:latin typeface="Century Gothic"/>
              </a:defRPr>
            </a:lvl3pPr>
            <a:lvl4pPr marL="1600200" indent="-228600" algn="l" rtl="0" eaLnBrk="1" fontAlgn="base" hangingPunct="1">
              <a:lnSpc>
                <a:spcPct val="95000"/>
              </a:lnSpc>
              <a:spcBef>
                <a:spcPct val="35000"/>
              </a:spcBef>
              <a:spcAft>
                <a:spcPct val="0"/>
              </a:spcAft>
              <a:buChar char="-"/>
              <a:defRPr sz="2000">
                <a:solidFill>
                  <a:schemeClr val="tx1"/>
                </a:solidFill>
                <a:latin typeface="Century Gothic"/>
              </a:defRPr>
            </a:lvl4pPr>
            <a:lvl5pPr marL="2057400" indent="-228600" algn="l" rtl="0" eaLnBrk="1" fontAlgn="base" hangingPunct="1">
              <a:spcBef>
                <a:spcPct val="20000"/>
              </a:spcBef>
              <a:spcAft>
                <a:spcPct val="0"/>
              </a:spcAft>
              <a:buChar char="»"/>
              <a:defRPr sz="2000">
                <a:solidFill>
                  <a:schemeClr val="tx1"/>
                </a:solidFill>
                <a:latin typeface="Century Gothic"/>
              </a:defRPr>
            </a:lvl5pPr>
            <a:lvl6pPr marL="2514600" indent="-228600" algn="l" rtl="0" eaLnBrk="1" fontAlgn="base" hangingPunct="1">
              <a:spcBef>
                <a:spcPct val="20000"/>
              </a:spcBef>
              <a:spcAft>
                <a:spcPct val="0"/>
              </a:spcAft>
              <a:defRPr sz="2000">
                <a:solidFill>
                  <a:schemeClr val="tx1"/>
                </a:solidFill>
                <a:latin typeface="+mn-lt"/>
              </a:defRPr>
            </a:lvl6pPr>
            <a:lvl7pPr marL="2971800" indent="-228600" algn="l" rtl="0" eaLnBrk="1" fontAlgn="base" hangingPunct="1">
              <a:spcBef>
                <a:spcPct val="20000"/>
              </a:spcBef>
              <a:spcAft>
                <a:spcPct val="0"/>
              </a:spcAft>
              <a:defRPr sz="2000">
                <a:solidFill>
                  <a:schemeClr val="tx1"/>
                </a:solidFill>
                <a:latin typeface="+mn-lt"/>
              </a:defRPr>
            </a:lvl7pPr>
            <a:lvl8pPr marL="3429000" indent="-228600" algn="l" rtl="0" eaLnBrk="1" fontAlgn="base" hangingPunct="1">
              <a:spcBef>
                <a:spcPct val="20000"/>
              </a:spcBef>
              <a:spcAft>
                <a:spcPct val="0"/>
              </a:spcAft>
              <a:defRPr sz="2000">
                <a:solidFill>
                  <a:schemeClr val="tx1"/>
                </a:solidFill>
                <a:latin typeface="+mn-lt"/>
              </a:defRPr>
            </a:lvl8pPr>
            <a:lvl9pPr marL="3886200" indent="-228600" algn="l" rtl="0" eaLnBrk="1" fontAlgn="base" hangingPunct="1">
              <a:spcBef>
                <a:spcPct val="20000"/>
              </a:spcBef>
              <a:spcAft>
                <a:spcPct val="0"/>
              </a:spcAft>
              <a:defRPr sz="2000">
                <a:solidFill>
                  <a:schemeClr val="tx1"/>
                </a:solidFill>
                <a:latin typeface="+mn-lt"/>
              </a:defRPr>
            </a:lvl9pPr>
          </a:lstStyle>
          <a:p>
            <a:pPr marL="0" indent="0" algn="ctr">
              <a:buNone/>
            </a:pPr>
            <a:r>
              <a:rPr lang="en-US" sz="4000" b="1" dirty="0">
                <a:solidFill>
                  <a:srgbClr val="FFFF00"/>
                </a:solidFill>
              </a:rPr>
              <a:t>One of the most challenging Imperatives </a:t>
            </a:r>
          </a:p>
          <a:p>
            <a:pPr marL="0" indent="0" algn="ctr">
              <a:buNone/>
            </a:pPr>
            <a:r>
              <a:rPr lang="en-US" sz="4000" b="1" dirty="0">
                <a:solidFill>
                  <a:srgbClr val="FFFF00"/>
                </a:solidFill>
              </a:rPr>
              <a:t>for </a:t>
            </a:r>
          </a:p>
          <a:p>
            <a:pPr marL="0" indent="0" algn="ctr">
              <a:buNone/>
            </a:pPr>
            <a:r>
              <a:rPr lang="en-US" sz="4000" b="1" dirty="0">
                <a:solidFill>
                  <a:srgbClr val="FFFF00"/>
                </a:solidFill>
              </a:rPr>
              <a:t>“Standard Development Organizations” </a:t>
            </a:r>
            <a:endParaRPr lang="en-IN" sz="4000" b="1" dirty="0">
              <a:solidFill>
                <a:srgbClr val="FFFF00"/>
              </a:solidFill>
            </a:endParaRPr>
          </a:p>
        </p:txBody>
      </p:sp>
      <p:sp>
        <p:nvSpPr>
          <p:cNvPr id="5" name="Title 2"/>
          <p:cNvSpPr txBox="1">
            <a:spLocks/>
          </p:cNvSpPr>
          <p:nvPr/>
        </p:nvSpPr>
        <p:spPr bwMode="auto">
          <a:xfrm>
            <a:off x="1574800" y="3992348"/>
            <a:ext cx="14173199" cy="385625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2800" b="1">
                <a:solidFill>
                  <a:schemeClr val="tx1"/>
                </a:solidFill>
                <a:latin typeface="Century Gothic"/>
                <a:ea typeface="+mj-ea"/>
                <a:cs typeface="+mj-cs"/>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algn="ctr"/>
            <a:r>
              <a:rPr lang="en-US" sz="4800" b="0" dirty="0">
                <a:solidFill>
                  <a:srgbClr val="FCB859"/>
                </a:solidFill>
              </a:rPr>
              <a:t>Harmonization of Standards</a:t>
            </a:r>
            <a:br>
              <a:rPr lang="en-US" sz="4267" b="0" dirty="0">
                <a:solidFill>
                  <a:srgbClr val="94C600"/>
                </a:solidFill>
              </a:rPr>
            </a:br>
            <a:r>
              <a:rPr lang="en-US" sz="2667" b="0" dirty="0">
                <a:solidFill>
                  <a:srgbClr val="94C600"/>
                </a:solidFill>
              </a:rPr>
              <a:t>in</a:t>
            </a:r>
            <a:br>
              <a:rPr lang="en-IN" sz="2667" b="0" dirty="0">
                <a:solidFill>
                  <a:srgbClr val="94C600"/>
                </a:solidFill>
              </a:rPr>
            </a:br>
            <a:r>
              <a:rPr lang="en-US" sz="4267" b="0" dirty="0">
                <a:solidFill>
                  <a:srgbClr val="94C600"/>
                </a:solidFill>
              </a:rPr>
              <a:t> </a:t>
            </a:r>
            <a:r>
              <a:rPr lang="en-US" sz="3200" dirty="0">
                <a:solidFill>
                  <a:srgbClr val="00B0F0"/>
                </a:solidFill>
              </a:rPr>
              <a:t>Smart Homes, Smart Buildings, Smart Manufacturing, Smart Grid &amp; Smart Cities</a:t>
            </a:r>
            <a:br>
              <a:rPr lang="en-US" sz="3200" dirty="0">
                <a:solidFill>
                  <a:srgbClr val="94C600"/>
                </a:solidFill>
              </a:rPr>
            </a:br>
            <a:r>
              <a:rPr lang="en-US" sz="2667" b="0" dirty="0">
                <a:solidFill>
                  <a:srgbClr val="94C600"/>
                </a:solidFill>
              </a:rPr>
              <a:t>for</a:t>
            </a:r>
            <a:br>
              <a:rPr lang="en-US" sz="2667" b="0" dirty="0">
                <a:solidFill>
                  <a:srgbClr val="94C600"/>
                </a:solidFill>
              </a:rPr>
            </a:br>
            <a:r>
              <a:rPr lang="en-US" sz="4000" b="0" i="1" dirty="0">
                <a:solidFill>
                  <a:srgbClr val="90F502"/>
                </a:solidFill>
              </a:rPr>
              <a:t>smart, sustainable &amp; secure communities</a:t>
            </a:r>
            <a:endParaRPr lang="en-IN" sz="3200" b="0" i="1" dirty="0">
              <a:solidFill>
                <a:srgbClr val="90F502"/>
              </a:solidFill>
            </a:endParaRPr>
          </a:p>
        </p:txBody>
      </p:sp>
    </p:spTree>
    <p:extLst>
      <p:ext uri="{BB962C8B-B14F-4D97-AF65-F5344CB8AC3E}">
        <p14:creationId xmlns:p14="http://schemas.microsoft.com/office/powerpoint/2010/main" val="23390887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83700" y="2891281"/>
            <a:ext cx="11085399" cy="970268"/>
          </a:xfrm>
        </p:spPr>
        <p:txBody>
          <a:bodyPr/>
          <a:lstStyle/>
          <a:p>
            <a:pPr algn="ctr"/>
            <a:r>
              <a:rPr lang="en-US" sz="4267" dirty="0">
                <a:solidFill>
                  <a:srgbClr val="FCB859"/>
                </a:solidFill>
              </a:rPr>
              <a:t>If “Data is the Oil of the 21st Century” </a:t>
            </a:r>
          </a:p>
        </p:txBody>
      </p:sp>
      <p:sp>
        <p:nvSpPr>
          <p:cNvPr id="3" name="Content Placeholder 2"/>
          <p:cNvSpPr>
            <a:spLocks noGrp="1"/>
          </p:cNvSpPr>
          <p:nvPr>
            <p:ph idx="1"/>
          </p:nvPr>
        </p:nvSpPr>
        <p:spPr>
          <a:xfrm>
            <a:off x="2890381" y="4039096"/>
            <a:ext cx="10272036" cy="958731"/>
          </a:xfrm>
        </p:spPr>
        <p:txBody>
          <a:bodyPr/>
          <a:lstStyle/>
          <a:p>
            <a:pPr marL="0" indent="0" algn="ctr">
              <a:buNone/>
            </a:pPr>
            <a:r>
              <a:rPr lang="en-US" sz="3733" dirty="0">
                <a:solidFill>
                  <a:srgbClr val="FFFF00"/>
                </a:solidFill>
              </a:rPr>
              <a:t>(without pollution side effects) </a:t>
            </a:r>
          </a:p>
        </p:txBody>
      </p:sp>
      <p:sp>
        <p:nvSpPr>
          <p:cNvPr id="5" name="TextBox 4"/>
          <p:cNvSpPr txBox="1"/>
          <p:nvPr/>
        </p:nvSpPr>
        <p:spPr>
          <a:xfrm>
            <a:off x="7288918" y="3550563"/>
            <a:ext cx="8318303" cy="400110"/>
          </a:xfrm>
          <a:prstGeom prst="rect">
            <a:avLst/>
          </a:prstGeom>
          <a:noFill/>
        </p:spPr>
        <p:txBody>
          <a:bodyPr wrap="none" rtlCol="0">
            <a:spAutoFit/>
          </a:bodyPr>
          <a:lstStyle/>
          <a:p>
            <a:r>
              <a:rPr lang="en-US" sz="2000" dirty="0" err="1">
                <a:solidFill>
                  <a:schemeClr val="bg1"/>
                </a:solidFill>
                <a:latin typeface="Century Gothic"/>
                <a:cs typeface="Century Gothic"/>
              </a:rPr>
              <a:t>Neelie</a:t>
            </a:r>
            <a:r>
              <a:rPr lang="en-US" sz="2000" dirty="0">
                <a:solidFill>
                  <a:schemeClr val="bg1"/>
                </a:solidFill>
                <a:latin typeface="Century Gothic"/>
                <a:cs typeface="Century Gothic"/>
              </a:rPr>
              <a:t> </a:t>
            </a:r>
            <a:r>
              <a:rPr lang="en-US" sz="2000" dirty="0" err="1">
                <a:solidFill>
                  <a:schemeClr val="bg1"/>
                </a:solidFill>
                <a:latin typeface="Century Gothic"/>
                <a:cs typeface="Century Gothic"/>
              </a:rPr>
              <a:t>Kroes</a:t>
            </a:r>
            <a:r>
              <a:rPr lang="en-US" sz="2000" dirty="0">
                <a:solidFill>
                  <a:schemeClr val="bg1"/>
                </a:solidFill>
                <a:latin typeface="Century Gothic"/>
                <a:cs typeface="Century Gothic"/>
              </a:rPr>
              <a:t>, EU Commissioner responsible for the Digital Agenda </a:t>
            </a:r>
          </a:p>
        </p:txBody>
      </p:sp>
      <p:sp>
        <p:nvSpPr>
          <p:cNvPr id="2" name="TextBox 1"/>
          <p:cNvSpPr txBox="1"/>
          <p:nvPr/>
        </p:nvSpPr>
        <p:spPr>
          <a:xfrm>
            <a:off x="2361081" y="4940149"/>
            <a:ext cx="11887199" cy="830997"/>
          </a:xfrm>
          <a:prstGeom prst="rect">
            <a:avLst/>
          </a:prstGeom>
          <a:noFill/>
        </p:spPr>
        <p:txBody>
          <a:bodyPr wrap="square" rtlCol="0">
            <a:spAutoFit/>
          </a:bodyPr>
          <a:lstStyle/>
          <a:p>
            <a:pPr algn="ctr"/>
            <a:r>
              <a:rPr lang="en-US" sz="4800" dirty="0">
                <a:solidFill>
                  <a:srgbClr val="FEA022"/>
                </a:solidFill>
                <a:latin typeface="Century Gothic"/>
                <a:cs typeface="Century Gothic"/>
              </a:rPr>
              <a:t>Then</a:t>
            </a:r>
            <a:r>
              <a:rPr lang="en-US" sz="4800" b="1" dirty="0">
                <a:solidFill>
                  <a:srgbClr val="FEA022"/>
                </a:solidFill>
                <a:latin typeface="Century Gothic"/>
                <a:cs typeface="Century Gothic"/>
              </a:rPr>
              <a:t> “Big Data” is the Crude Oil</a:t>
            </a:r>
          </a:p>
        </p:txBody>
      </p:sp>
      <p:sp>
        <p:nvSpPr>
          <p:cNvPr id="6" name="TextBox 5"/>
          <p:cNvSpPr txBox="1"/>
          <p:nvPr/>
        </p:nvSpPr>
        <p:spPr>
          <a:xfrm>
            <a:off x="1574800" y="6639040"/>
            <a:ext cx="14478000" cy="707886"/>
          </a:xfrm>
          <a:prstGeom prst="rect">
            <a:avLst/>
          </a:prstGeom>
          <a:noFill/>
        </p:spPr>
        <p:txBody>
          <a:bodyPr wrap="square" rtlCol="0">
            <a:spAutoFit/>
          </a:bodyPr>
          <a:lstStyle/>
          <a:p>
            <a:r>
              <a:rPr lang="en-US" sz="4000" dirty="0">
                <a:solidFill>
                  <a:srgbClr val="90F502"/>
                </a:solidFill>
                <a:latin typeface="Century Gothic"/>
                <a:cs typeface="Century Gothic"/>
              </a:rPr>
              <a:t>As it needs lot of processing before it becomes usable</a:t>
            </a:r>
          </a:p>
        </p:txBody>
      </p:sp>
      <p:sp>
        <p:nvSpPr>
          <p:cNvPr id="7" name="TextBox 6"/>
          <p:cNvSpPr txBox="1"/>
          <p:nvPr/>
        </p:nvSpPr>
        <p:spPr>
          <a:xfrm>
            <a:off x="1803401" y="244786"/>
            <a:ext cx="9077604" cy="769441"/>
          </a:xfrm>
          <a:prstGeom prst="rect">
            <a:avLst/>
          </a:prstGeom>
          <a:noFill/>
        </p:spPr>
        <p:txBody>
          <a:bodyPr wrap="square" rtlCol="0">
            <a:spAutoFit/>
          </a:bodyPr>
          <a:lstStyle/>
          <a:p>
            <a:r>
              <a:rPr lang="en-US" sz="4400" b="1" dirty="0">
                <a:solidFill>
                  <a:srgbClr val="FFFF00"/>
                </a:solidFill>
                <a:latin typeface="+mj-lt"/>
                <a:cs typeface="Century Gothic"/>
              </a:rPr>
              <a:t>Two Underlying philosophies</a:t>
            </a:r>
          </a:p>
        </p:txBody>
      </p:sp>
      <p:sp>
        <p:nvSpPr>
          <p:cNvPr id="8" name="TextBox 7"/>
          <p:cNvSpPr txBox="1"/>
          <p:nvPr/>
        </p:nvSpPr>
        <p:spPr>
          <a:xfrm>
            <a:off x="965201" y="1384612"/>
            <a:ext cx="14642020" cy="748988"/>
          </a:xfrm>
          <a:prstGeom prst="rect">
            <a:avLst/>
          </a:prstGeom>
          <a:noFill/>
        </p:spPr>
        <p:txBody>
          <a:bodyPr wrap="square" rtlCol="0">
            <a:spAutoFit/>
          </a:bodyPr>
          <a:lstStyle/>
          <a:p>
            <a:pPr algn="ctr"/>
            <a:r>
              <a:rPr lang="en-US" sz="4267" b="1" dirty="0">
                <a:solidFill>
                  <a:srgbClr val="00B0F0"/>
                </a:solidFill>
                <a:latin typeface="Century Gothic"/>
                <a:cs typeface="Century Gothic"/>
              </a:rPr>
              <a:t>Standards are the chromosomes of Smart Infrastructure</a:t>
            </a:r>
          </a:p>
        </p:txBody>
      </p:sp>
      <p:sp>
        <p:nvSpPr>
          <p:cNvPr id="9" name="TextBox 8"/>
          <p:cNvSpPr txBox="1"/>
          <p:nvPr/>
        </p:nvSpPr>
        <p:spPr>
          <a:xfrm>
            <a:off x="8026400" y="2133600"/>
            <a:ext cx="556563" cy="748988"/>
          </a:xfrm>
          <a:prstGeom prst="rect">
            <a:avLst/>
          </a:prstGeom>
          <a:noFill/>
        </p:spPr>
        <p:txBody>
          <a:bodyPr wrap="none" rtlCol="0">
            <a:spAutoFit/>
          </a:bodyPr>
          <a:lstStyle/>
          <a:p>
            <a:r>
              <a:rPr lang="en-US" sz="4267" b="1" dirty="0">
                <a:solidFill>
                  <a:schemeClr val="accent6"/>
                </a:solidFill>
                <a:latin typeface="Century Gothic"/>
                <a:cs typeface="Century Gothic"/>
              </a:rPr>
              <a:t>&amp;</a:t>
            </a:r>
          </a:p>
        </p:txBody>
      </p:sp>
      <p:sp>
        <p:nvSpPr>
          <p:cNvPr id="10" name="TextBox 9"/>
          <p:cNvSpPr txBox="1"/>
          <p:nvPr/>
        </p:nvSpPr>
        <p:spPr>
          <a:xfrm>
            <a:off x="10109200" y="5766729"/>
            <a:ext cx="4685898" cy="379656"/>
          </a:xfrm>
          <a:prstGeom prst="rect">
            <a:avLst/>
          </a:prstGeom>
          <a:noFill/>
        </p:spPr>
        <p:txBody>
          <a:bodyPr wrap="none" rtlCol="0">
            <a:spAutoFit/>
          </a:bodyPr>
          <a:lstStyle/>
          <a:p>
            <a:r>
              <a:rPr lang="en-US" sz="1867" dirty="0">
                <a:solidFill>
                  <a:schemeClr val="bg1"/>
                </a:solidFill>
                <a:latin typeface="Century Gothic"/>
                <a:cs typeface="Century Gothic"/>
              </a:rPr>
              <a:t>Narang N. Kishor, NARNIX TECHNOLABS</a:t>
            </a:r>
          </a:p>
        </p:txBody>
      </p:sp>
    </p:spTree>
    <p:extLst>
      <p:ext uri="{BB962C8B-B14F-4D97-AF65-F5344CB8AC3E}">
        <p14:creationId xmlns:p14="http://schemas.microsoft.com/office/powerpoint/2010/main" val="702658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6757" y="205072"/>
            <a:ext cx="10440811" cy="656656"/>
          </a:xfrm>
        </p:spPr>
        <p:txBody>
          <a:bodyPr/>
          <a:lstStyle/>
          <a:p>
            <a:r>
              <a:rPr lang="en-IN" dirty="0"/>
              <a:t>Smart City Digitization - </a:t>
            </a:r>
            <a:r>
              <a:rPr lang="en-IN" kern="0" dirty="0">
                <a:solidFill>
                  <a:srgbClr val="FFFF00"/>
                </a:solidFill>
              </a:rPr>
              <a:t>Why Standards</a:t>
            </a:r>
            <a:endParaRPr lang="en-US" dirty="0"/>
          </a:p>
        </p:txBody>
      </p:sp>
      <p:sp>
        <p:nvSpPr>
          <p:cNvPr id="3" name="Content Placeholder 2"/>
          <p:cNvSpPr>
            <a:spLocks noGrp="1"/>
          </p:cNvSpPr>
          <p:nvPr>
            <p:ph idx="1"/>
          </p:nvPr>
        </p:nvSpPr>
        <p:spPr>
          <a:xfrm>
            <a:off x="1422400" y="1629334"/>
            <a:ext cx="14554200" cy="6981266"/>
          </a:xfrm>
        </p:spPr>
        <p:txBody>
          <a:bodyPr>
            <a:normAutofit fontScale="92500" lnSpcReduction="10000"/>
          </a:bodyPr>
          <a:lstStyle/>
          <a:p>
            <a:pPr lvl="0" algn="just"/>
            <a:r>
              <a:rPr lang="en-IN" sz="3600" dirty="0"/>
              <a:t>Diverse Stakeholders: Citizens, City officials, Developers, Service providers, Organizations </a:t>
            </a:r>
            <a:endParaRPr lang="en-US" sz="3600" dirty="0"/>
          </a:p>
          <a:p>
            <a:pPr lvl="0" algn="just"/>
            <a:r>
              <a:rPr lang="en-IN" sz="3600" dirty="0"/>
              <a:t>Geographical Diversity: Parking Lots, Streets, Buildings, Electric Stations, etc.</a:t>
            </a:r>
            <a:endParaRPr lang="en-US" sz="3600" dirty="0"/>
          </a:p>
          <a:p>
            <a:pPr lvl="0" algn="just"/>
            <a:r>
              <a:rPr lang="en-IN" sz="3600" dirty="0"/>
              <a:t>Several Services and Business Processes: with diverse functionality and consumers need to be developed. </a:t>
            </a:r>
            <a:endParaRPr lang="en-US" sz="3600" dirty="0"/>
          </a:p>
          <a:p>
            <a:pPr lvl="0" algn="just"/>
            <a:r>
              <a:rPr lang="en-IN" sz="3600" dirty="0"/>
              <a:t>Diverse Sensors: Temperature, Pollution, Smart Meters, Surveillance Cameras etc.</a:t>
            </a:r>
            <a:endParaRPr lang="en-US" sz="3600" dirty="0"/>
          </a:p>
          <a:p>
            <a:pPr lvl="0" algn="just"/>
            <a:r>
              <a:rPr lang="en-IN" sz="3600" dirty="0"/>
              <a:t>Diverse Data &amp; Formats: Geo Spatial Data, Sensor Data, Social Networking Data and Events Data and formats like Time-series, Images, Text, Streaming, etc.</a:t>
            </a:r>
            <a:endParaRPr lang="en-US" sz="3600" dirty="0"/>
          </a:p>
          <a:p>
            <a:pPr lvl="0" algn="just"/>
            <a:r>
              <a:rPr lang="en-IN" sz="3600" dirty="0"/>
              <a:t>Diverse Technologies: Programming Languages, Middleware, Networking, Carriers, etc.</a:t>
            </a:r>
            <a:endParaRPr lang="en-US" sz="3600" dirty="0"/>
          </a:p>
        </p:txBody>
      </p:sp>
    </p:spTree>
    <p:extLst>
      <p:ext uri="{BB962C8B-B14F-4D97-AF65-F5344CB8AC3E}">
        <p14:creationId xmlns:p14="http://schemas.microsoft.com/office/powerpoint/2010/main" val="29472859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0477" y="225778"/>
            <a:ext cx="8260571" cy="735679"/>
          </a:xfrm>
        </p:spPr>
        <p:txBody>
          <a:bodyPr/>
          <a:lstStyle/>
          <a:p>
            <a:r>
              <a:rPr lang="en-IN" dirty="0"/>
              <a:t>Smart Cities ICT</a:t>
            </a:r>
            <a:endParaRPr lang="en-US" dirty="0"/>
          </a:p>
        </p:txBody>
      </p:sp>
      <p:sp>
        <p:nvSpPr>
          <p:cNvPr id="3" name="Content Placeholder 2"/>
          <p:cNvSpPr>
            <a:spLocks noGrp="1"/>
          </p:cNvSpPr>
          <p:nvPr>
            <p:ph idx="1"/>
          </p:nvPr>
        </p:nvSpPr>
        <p:spPr>
          <a:xfrm>
            <a:off x="1574800" y="1836162"/>
            <a:ext cx="14325599" cy="6560289"/>
          </a:xfrm>
        </p:spPr>
        <p:txBody>
          <a:bodyPr>
            <a:normAutofit lnSpcReduction="10000"/>
          </a:bodyPr>
          <a:lstStyle/>
          <a:p>
            <a:pPr marL="0" indent="0">
              <a:buNone/>
            </a:pPr>
            <a:r>
              <a:rPr lang="en-IN" dirty="0"/>
              <a:t>Smart Cities three key principles facilitating </a:t>
            </a:r>
            <a:r>
              <a:rPr lang="en-IN" b="1" dirty="0"/>
              <a:t>Emergence </a:t>
            </a:r>
            <a:r>
              <a:rPr lang="en-IN" dirty="0"/>
              <a:t>as a outcome :</a:t>
            </a:r>
          </a:p>
          <a:p>
            <a:pPr lvl="1"/>
            <a:r>
              <a:rPr lang="en-IN" dirty="0"/>
              <a:t>Interoperability</a:t>
            </a:r>
          </a:p>
          <a:p>
            <a:pPr lvl="1"/>
            <a:r>
              <a:rPr lang="en-IN" dirty="0"/>
              <a:t>Composability</a:t>
            </a:r>
          </a:p>
          <a:p>
            <a:pPr lvl="1"/>
            <a:r>
              <a:rPr lang="en-IN" dirty="0"/>
              <a:t>Harmonization</a:t>
            </a:r>
          </a:p>
          <a:p>
            <a:pPr marL="0" indent="0">
              <a:buNone/>
            </a:pPr>
            <a:endParaRPr lang="en-IN" dirty="0"/>
          </a:p>
          <a:p>
            <a:pPr marL="0" indent="0">
              <a:buNone/>
            </a:pPr>
            <a:r>
              <a:rPr lang="en-IN" dirty="0">
                <a:solidFill>
                  <a:srgbClr val="FFFF00"/>
                </a:solidFill>
              </a:rPr>
              <a:t>2 Approaches to Architecture Definition</a:t>
            </a:r>
          </a:p>
          <a:p>
            <a:pPr lvl="1"/>
            <a:r>
              <a:rPr lang="en-IN" dirty="0"/>
              <a:t>System of System Approach</a:t>
            </a:r>
          </a:p>
          <a:p>
            <a:pPr lvl="1"/>
            <a:r>
              <a:rPr lang="en-IN" dirty="0"/>
              <a:t>Enterprise Architecture Approach</a:t>
            </a:r>
            <a:endParaRPr lang="en-US" dirty="0"/>
          </a:p>
        </p:txBody>
      </p:sp>
      <p:sp>
        <p:nvSpPr>
          <p:cNvPr id="4" name="Title 1"/>
          <p:cNvSpPr txBox="1">
            <a:spLocks/>
          </p:cNvSpPr>
          <p:nvPr/>
        </p:nvSpPr>
        <p:spPr bwMode="auto">
          <a:xfrm>
            <a:off x="4820429" y="1095944"/>
            <a:ext cx="8260571" cy="656656"/>
          </a:xfrm>
          <a:prstGeom prst="rect">
            <a:avLst/>
          </a:prstGeom>
          <a:noFill/>
          <a:ln w="9525">
            <a:noFill/>
            <a:miter lim="800000"/>
            <a:headEnd/>
            <a:tailEnd/>
          </a:ln>
        </p:spPr>
        <p:txBody>
          <a:bodyPr vert="horz" wrap="square" lIns="121920" tIns="60960" rIns="121920" bIns="60960" numCol="1" anchor="b" anchorCtr="0" compatLnSpc="1">
            <a:prstTxWarp prst="textNoShape">
              <a:avLst/>
            </a:prstTxWarp>
          </a:bodyPr>
          <a:lstStyle>
            <a:lvl1pPr algn="l" rtl="0" eaLnBrk="1" fontAlgn="base" hangingPunct="1">
              <a:spcBef>
                <a:spcPct val="0"/>
              </a:spcBef>
              <a:spcAft>
                <a:spcPct val="0"/>
              </a:spcAft>
              <a:defRPr sz="2800" b="0">
                <a:solidFill>
                  <a:srgbClr val="FEA022"/>
                </a:solidFill>
                <a:latin typeface="Century Gothic"/>
                <a:ea typeface="+mj-ea"/>
                <a:cs typeface="Century Gothic"/>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pPr algn="r"/>
            <a:r>
              <a:rPr lang="en-IN" sz="4400" b="1" kern="0" dirty="0">
                <a:solidFill>
                  <a:srgbClr val="FFFF00"/>
                </a:solidFill>
              </a:rPr>
              <a:t>Architecture Approaches</a:t>
            </a:r>
            <a:endParaRPr lang="en-US" sz="4400" b="1" kern="0" dirty="0">
              <a:solidFill>
                <a:srgbClr val="FFFF00"/>
              </a:solidFill>
            </a:endParaRPr>
          </a:p>
        </p:txBody>
      </p:sp>
    </p:spTree>
    <p:extLst>
      <p:ext uri="{BB962C8B-B14F-4D97-AF65-F5344CB8AC3E}">
        <p14:creationId xmlns:p14="http://schemas.microsoft.com/office/powerpoint/2010/main" val="2177415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5200" y="270932"/>
            <a:ext cx="11125199" cy="679235"/>
          </a:xfrm>
        </p:spPr>
        <p:txBody>
          <a:bodyPr/>
          <a:lstStyle/>
          <a:p>
            <a:r>
              <a:rPr lang="en-IN" dirty="0"/>
              <a:t>System of Systems - </a:t>
            </a:r>
            <a:r>
              <a:rPr lang="en-IN" kern="0" dirty="0">
                <a:solidFill>
                  <a:srgbClr val="FFFF00"/>
                </a:solidFill>
              </a:rPr>
              <a:t>Key Characteristics</a:t>
            </a:r>
            <a:endParaRPr lang="en-US" dirty="0"/>
          </a:p>
        </p:txBody>
      </p:sp>
      <p:sp>
        <p:nvSpPr>
          <p:cNvPr id="3" name="Content Placeholder 2"/>
          <p:cNvSpPr>
            <a:spLocks noGrp="1"/>
          </p:cNvSpPr>
          <p:nvPr>
            <p:ph idx="1"/>
          </p:nvPr>
        </p:nvSpPr>
        <p:spPr>
          <a:xfrm>
            <a:off x="1803400" y="1143000"/>
            <a:ext cx="14020800" cy="7315200"/>
          </a:xfrm>
        </p:spPr>
        <p:txBody>
          <a:bodyPr>
            <a:noAutofit/>
          </a:bodyPr>
          <a:lstStyle/>
          <a:p>
            <a:pPr marL="0" indent="0">
              <a:buNone/>
            </a:pPr>
            <a:r>
              <a:rPr lang="en-IN" sz="4000" dirty="0">
                <a:solidFill>
                  <a:srgbClr val="FFFF00"/>
                </a:solidFill>
              </a:rPr>
              <a:t>Characteristics</a:t>
            </a:r>
          </a:p>
          <a:p>
            <a:pPr lvl="0"/>
            <a:r>
              <a:rPr lang="en-US" sz="4000" dirty="0"/>
              <a:t>Operational Independence of the elements</a:t>
            </a:r>
          </a:p>
          <a:p>
            <a:pPr lvl="0"/>
            <a:r>
              <a:rPr lang="en-US" sz="4000" dirty="0"/>
              <a:t>Managerial Independence of the elements</a:t>
            </a:r>
          </a:p>
          <a:p>
            <a:pPr lvl="0"/>
            <a:r>
              <a:rPr lang="en-US" sz="4000" dirty="0"/>
              <a:t>Evolutionary Development</a:t>
            </a:r>
          </a:p>
          <a:p>
            <a:pPr lvl="0"/>
            <a:r>
              <a:rPr lang="en-US" sz="4000" dirty="0"/>
              <a:t>Emergent Behavior</a:t>
            </a:r>
          </a:p>
          <a:p>
            <a:pPr lvl="0"/>
            <a:r>
              <a:rPr lang="en-IN" sz="4000" dirty="0"/>
              <a:t>Geographic Distribution</a:t>
            </a:r>
          </a:p>
          <a:p>
            <a:pPr marL="0" indent="0">
              <a:buNone/>
            </a:pPr>
            <a:r>
              <a:rPr lang="en-IN" sz="4000" dirty="0">
                <a:solidFill>
                  <a:srgbClr val="FFFF00"/>
                </a:solidFill>
              </a:rPr>
              <a:t>Classes based on above characteristics</a:t>
            </a:r>
            <a:endParaRPr lang="en-US" sz="4000" dirty="0">
              <a:solidFill>
                <a:srgbClr val="FFFF00"/>
              </a:solidFill>
            </a:endParaRPr>
          </a:p>
          <a:p>
            <a:pPr lvl="0"/>
            <a:r>
              <a:rPr lang="en-US" sz="4000" dirty="0"/>
              <a:t>Directed</a:t>
            </a:r>
          </a:p>
          <a:p>
            <a:pPr lvl="0"/>
            <a:r>
              <a:rPr lang="en-US" sz="4000" dirty="0"/>
              <a:t>Collaborative</a:t>
            </a:r>
          </a:p>
          <a:p>
            <a:pPr lvl="0"/>
            <a:r>
              <a:rPr lang="en-IN" sz="4000" dirty="0"/>
              <a:t>Virtual</a:t>
            </a:r>
            <a:endParaRPr lang="en-US" sz="4000" dirty="0"/>
          </a:p>
          <a:p>
            <a:endParaRPr lang="en-US" sz="4000" dirty="0"/>
          </a:p>
        </p:txBody>
      </p:sp>
    </p:spTree>
    <p:extLst>
      <p:ext uri="{BB962C8B-B14F-4D97-AF65-F5344CB8AC3E}">
        <p14:creationId xmlns:p14="http://schemas.microsoft.com/office/powerpoint/2010/main" val="3061118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C837D042-0B1B-2B4E-95E4-18BA3AC237F2}"/>
              </a:ext>
            </a:extLst>
          </p:cNvPr>
          <p:cNvSpPr txBox="1">
            <a:spLocks/>
          </p:cNvSpPr>
          <p:nvPr/>
        </p:nvSpPr>
        <p:spPr>
          <a:xfrm>
            <a:off x="189481" y="3063238"/>
            <a:ext cx="15824200" cy="2042162"/>
          </a:xfrm>
          <a:prstGeom prst="rect">
            <a:avLst/>
          </a:prstGeom>
        </p:spPr>
        <p:txBody>
          <a:bodyPr vert="horz" lIns="198553" tIns="99276" rIns="198553" bIns="99276" rtlCol="0">
            <a:noAutofit/>
          </a:bodyPr>
          <a:lstStyle>
            <a:lvl1pPr marL="472729" indent="-472729" algn="l" defTabSz="1260612" rtl="0" eaLnBrk="1" latinLnBrk="0" hangingPunct="1">
              <a:spcBef>
                <a:spcPct val="20000"/>
              </a:spcBef>
              <a:buFont typeface="Arial" pitchFamily="34" charset="0"/>
              <a:buChar char="•"/>
              <a:defRPr sz="4381" kern="1200">
                <a:solidFill>
                  <a:schemeClr val="bg1"/>
                </a:solidFill>
                <a:latin typeface="Century Gothic" panose="020B0502020202020204" pitchFamily="34" charset="0"/>
                <a:ea typeface="+mn-ea"/>
                <a:cs typeface="+mn-cs"/>
              </a:defRPr>
            </a:lvl1pPr>
            <a:lvl2pPr marL="1024247" indent="-393941" algn="l" defTabSz="1260612" rtl="0" eaLnBrk="1" latinLnBrk="0" hangingPunct="1">
              <a:spcBef>
                <a:spcPct val="20000"/>
              </a:spcBef>
              <a:buFont typeface="Arial" pitchFamily="34" charset="0"/>
              <a:buChar char="–"/>
              <a:defRPr sz="3873" kern="1200">
                <a:solidFill>
                  <a:schemeClr val="bg1"/>
                </a:solidFill>
                <a:latin typeface="Century Gothic" panose="020B0502020202020204" pitchFamily="34" charset="0"/>
                <a:ea typeface="+mn-ea"/>
                <a:cs typeface="+mn-cs"/>
              </a:defRPr>
            </a:lvl2pPr>
            <a:lvl3pPr marL="1575765" indent="-315153" algn="l" defTabSz="1260612" rtl="0" eaLnBrk="1" latinLnBrk="0" hangingPunct="1">
              <a:spcBef>
                <a:spcPct val="20000"/>
              </a:spcBef>
              <a:buFont typeface="Arial" pitchFamily="34" charset="0"/>
              <a:buChar char="•"/>
              <a:defRPr sz="3301" kern="1200">
                <a:solidFill>
                  <a:schemeClr val="bg1"/>
                </a:solidFill>
                <a:latin typeface="Century Gothic" panose="020B0502020202020204" pitchFamily="34" charset="0"/>
                <a:ea typeface="+mn-ea"/>
                <a:cs typeface="+mn-cs"/>
              </a:defRPr>
            </a:lvl3pPr>
            <a:lvl4pPr marL="2206071" indent="-315153" algn="l" defTabSz="1260612" rtl="0" eaLnBrk="1" latinLnBrk="0" hangingPunct="1">
              <a:spcBef>
                <a:spcPct val="20000"/>
              </a:spcBef>
              <a:buFont typeface="Arial" pitchFamily="34" charset="0"/>
              <a:buChar char="–"/>
              <a:defRPr sz="2730" kern="1200">
                <a:solidFill>
                  <a:schemeClr val="bg1"/>
                </a:solidFill>
                <a:latin typeface="Century Gothic" panose="020B0502020202020204" pitchFamily="34" charset="0"/>
                <a:ea typeface="+mn-ea"/>
                <a:cs typeface="+mn-cs"/>
              </a:defRPr>
            </a:lvl4pPr>
            <a:lvl5pPr marL="2836376" indent="-315153" algn="l" defTabSz="1260612" rtl="0" eaLnBrk="1" latinLnBrk="0" hangingPunct="1">
              <a:spcBef>
                <a:spcPct val="20000"/>
              </a:spcBef>
              <a:buFont typeface="Arial" pitchFamily="34" charset="0"/>
              <a:buChar char="»"/>
              <a:defRPr sz="2730" kern="1200">
                <a:solidFill>
                  <a:schemeClr val="bg1"/>
                </a:solidFill>
                <a:latin typeface="Century Gothic" panose="020B0502020202020204" pitchFamily="34" charset="0"/>
                <a:ea typeface="+mn-ea"/>
                <a:cs typeface="+mn-cs"/>
              </a:defRPr>
            </a:lvl5pPr>
            <a:lvl6pPr marL="3466682"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6pPr>
            <a:lvl7pPr marL="4096989"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7pPr>
            <a:lvl8pPr marL="4727295"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8pPr>
            <a:lvl9pPr marL="5357600"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9pPr>
          </a:lstStyle>
          <a:p>
            <a:pPr marL="0" indent="0" algn="ctr">
              <a:buFont typeface="Arial" pitchFamily="34" charset="0"/>
              <a:buNone/>
            </a:pPr>
            <a:r>
              <a:rPr lang="en-GB" b="1" dirty="0">
                <a:solidFill>
                  <a:srgbClr val="90F502"/>
                </a:solidFill>
              </a:rPr>
              <a:t>“Unified, Secure &amp; Sustainable ICT Infrastructure </a:t>
            </a:r>
          </a:p>
          <a:p>
            <a:pPr marL="0" indent="0" algn="ctr">
              <a:buFont typeface="Arial" pitchFamily="34" charset="0"/>
              <a:buNone/>
            </a:pPr>
            <a:r>
              <a:rPr lang="en-GB" b="1" dirty="0">
                <a:solidFill>
                  <a:srgbClr val="90F502"/>
                </a:solidFill>
              </a:rPr>
              <a:t>for Smart Cities/Infrastructure”</a:t>
            </a:r>
            <a:r>
              <a:rPr lang="en-IN" sz="6600" dirty="0">
                <a:solidFill>
                  <a:srgbClr val="90F502"/>
                </a:solidFill>
              </a:rPr>
              <a:t> </a:t>
            </a:r>
            <a:endParaRPr lang="en-IN" sz="6600" b="1" dirty="0">
              <a:solidFill>
                <a:srgbClr val="90F502"/>
              </a:solidFill>
            </a:endParaRPr>
          </a:p>
        </p:txBody>
      </p:sp>
      <p:sp>
        <p:nvSpPr>
          <p:cNvPr id="5" name="Oval 9">
            <a:extLst>
              <a:ext uri="{FF2B5EF4-FFF2-40B4-BE49-F238E27FC236}">
                <a16:creationId xmlns:a16="http://schemas.microsoft.com/office/drawing/2014/main" id="{04A0F09F-4B47-CA44-8458-FC656C16DA5E}"/>
              </a:ext>
            </a:extLst>
          </p:cNvPr>
          <p:cNvSpPr/>
          <p:nvPr/>
        </p:nvSpPr>
        <p:spPr>
          <a:xfrm>
            <a:off x="9073060" y="2774952"/>
            <a:ext cx="4622303" cy="4235448"/>
          </a:xfrm>
          <a:prstGeom prst="ellipse">
            <a:avLst/>
          </a:prstGeom>
          <a:solidFill>
            <a:srgbClr val="739600">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p>
        </p:txBody>
      </p:sp>
      <p:sp>
        <p:nvSpPr>
          <p:cNvPr id="6" name="Rectangle 15">
            <a:extLst>
              <a:ext uri="{FF2B5EF4-FFF2-40B4-BE49-F238E27FC236}">
                <a16:creationId xmlns:a16="http://schemas.microsoft.com/office/drawing/2014/main" id="{33D8CECC-0F22-DC4D-A4A1-C0019A300174}"/>
              </a:ext>
            </a:extLst>
          </p:cNvPr>
          <p:cNvSpPr>
            <a:spLocks noChangeArrowheads="1"/>
          </p:cNvSpPr>
          <p:nvPr/>
        </p:nvSpPr>
        <p:spPr bwMode="auto">
          <a:xfrm flipV="1">
            <a:off x="2293778" y="4229025"/>
            <a:ext cx="11615606" cy="45719"/>
          </a:xfrm>
          <a:prstGeom prst="rect">
            <a:avLst/>
          </a:prstGeom>
          <a:solidFill>
            <a:srgbClr val="33CC33"/>
          </a:solidFill>
          <a:ln w="9525">
            <a:noFill/>
            <a:miter lim="800000"/>
            <a:headEnd/>
            <a:tailEnd/>
          </a:ln>
        </p:spPr>
        <p:txBody>
          <a:bodyPr wrap="none" anchor="ctr"/>
          <a:lstStyle/>
          <a:p>
            <a:pPr>
              <a:defRPr/>
            </a:pPr>
            <a:endParaRPr lang="en-US" sz="1800" dirty="0">
              <a:latin typeface="Arial" charset="0"/>
            </a:endParaRPr>
          </a:p>
        </p:txBody>
      </p:sp>
      <p:sp>
        <p:nvSpPr>
          <p:cNvPr id="9" name="TextBox 8">
            <a:extLst>
              <a:ext uri="{FF2B5EF4-FFF2-40B4-BE49-F238E27FC236}">
                <a16:creationId xmlns:a16="http://schemas.microsoft.com/office/drawing/2014/main" id="{4DF044B3-B795-A04C-99B6-BDBE7EF76759}"/>
              </a:ext>
            </a:extLst>
          </p:cNvPr>
          <p:cNvSpPr txBox="1"/>
          <p:nvPr/>
        </p:nvSpPr>
        <p:spPr>
          <a:xfrm>
            <a:off x="1727200" y="1066800"/>
            <a:ext cx="13133211" cy="1015663"/>
          </a:xfrm>
          <a:prstGeom prst="rect">
            <a:avLst/>
          </a:prstGeom>
          <a:noFill/>
        </p:spPr>
        <p:txBody>
          <a:bodyPr wrap="none" rtlCol="0">
            <a:spAutoFit/>
          </a:bodyPr>
          <a:lstStyle/>
          <a:p>
            <a:r>
              <a:rPr lang="en-US" sz="6000" b="1" dirty="0">
                <a:solidFill>
                  <a:srgbClr val="FFFF00"/>
                </a:solidFill>
              </a:rPr>
              <a:t>BIS Standardization Strategy &amp; Roadmap</a:t>
            </a:r>
          </a:p>
        </p:txBody>
      </p:sp>
      <p:sp>
        <p:nvSpPr>
          <p:cNvPr id="2" name="TextBox 1">
            <a:extLst>
              <a:ext uri="{FF2B5EF4-FFF2-40B4-BE49-F238E27FC236}">
                <a16:creationId xmlns:a16="http://schemas.microsoft.com/office/drawing/2014/main" id="{93102E89-F653-6541-B149-11F77F490F56}"/>
              </a:ext>
            </a:extLst>
          </p:cNvPr>
          <p:cNvSpPr txBox="1"/>
          <p:nvPr/>
        </p:nvSpPr>
        <p:spPr>
          <a:xfrm>
            <a:off x="3122457" y="7056558"/>
            <a:ext cx="10786927" cy="1292662"/>
          </a:xfrm>
          <a:prstGeom prst="rect">
            <a:avLst/>
          </a:prstGeom>
          <a:noFill/>
        </p:spPr>
        <p:txBody>
          <a:bodyPr wrap="none" rtlCol="0">
            <a:spAutoFit/>
          </a:bodyPr>
          <a:lstStyle/>
          <a:p>
            <a:r>
              <a:rPr lang="en-US" dirty="0">
                <a:solidFill>
                  <a:srgbClr val="FFFF00"/>
                </a:solidFill>
              </a:rPr>
              <a:t>LITD 28 – Smart Infrastructure Sectional Committee</a:t>
            </a:r>
          </a:p>
          <a:p>
            <a:r>
              <a:rPr lang="en-US" dirty="0">
                <a:solidFill>
                  <a:srgbClr val="FFFF00"/>
                </a:solidFill>
              </a:rPr>
              <a:t>Electronics &amp; IT Division, Bureau of Indian Standards</a:t>
            </a:r>
          </a:p>
        </p:txBody>
      </p:sp>
    </p:spTree>
    <p:extLst>
      <p:ext uri="{BB962C8B-B14F-4D97-AF65-F5344CB8AC3E}">
        <p14:creationId xmlns:p14="http://schemas.microsoft.com/office/powerpoint/2010/main" val="16210608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51B451D-8269-4485-85BE-63BDAD703588}"/>
              </a:ext>
            </a:extLst>
          </p:cNvPr>
          <p:cNvSpPr>
            <a:spLocks noGrp="1"/>
          </p:cNvSpPr>
          <p:nvPr>
            <p:ph idx="1"/>
          </p:nvPr>
        </p:nvSpPr>
        <p:spPr>
          <a:xfrm>
            <a:off x="1270000" y="1143000"/>
            <a:ext cx="14986000" cy="6921204"/>
          </a:xfrm>
        </p:spPr>
        <p:txBody>
          <a:bodyPr>
            <a:normAutofit fontScale="85000" lnSpcReduction="10000"/>
          </a:bodyPr>
          <a:lstStyle/>
          <a:p>
            <a:pPr marL="0" indent="0" algn="just">
              <a:buNone/>
            </a:pPr>
            <a:r>
              <a:rPr lang="en-GB" altLang="zh-CN" sz="3500" b="1" dirty="0">
                <a:solidFill>
                  <a:srgbClr val="FFFF00"/>
                </a:solidFill>
                <a:latin typeface="Century Gothic"/>
                <a:cs typeface="Century Gothic"/>
              </a:rPr>
              <a:t>Reference Model</a:t>
            </a:r>
          </a:p>
          <a:p>
            <a:pPr algn="just"/>
            <a:r>
              <a:rPr lang="en-GB" altLang="zh-CN" sz="3456" dirty="0">
                <a:latin typeface="Century Gothic"/>
                <a:cs typeface="Century Gothic"/>
              </a:rPr>
              <a:t>abstract framework for understanding concepts and relationships between them in a particular problem space (or subject field)</a:t>
            </a:r>
          </a:p>
          <a:p>
            <a:pPr marL="0" indent="0" algn="just">
              <a:buNone/>
            </a:pPr>
            <a:r>
              <a:rPr lang="en-GB" sz="3500" b="1" dirty="0">
                <a:solidFill>
                  <a:srgbClr val="FFFF00"/>
                </a:solidFill>
                <a:latin typeface="Century Gothic"/>
                <a:cs typeface="Century Gothic"/>
              </a:rPr>
              <a:t>Reference Architecture</a:t>
            </a:r>
          </a:p>
          <a:p>
            <a:pPr algn="just"/>
            <a:r>
              <a:rPr lang="en-GB" sz="3456" dirty="0">
                <a:latin typeface="Century Gothic"/>
                <a:cs typeface="Century Gothic"/>
              </a:rPr>
              <a:t>template for solution architectures which realizes a predefined set of requirements </a:t>
            </a:r>
          </a:p>
          <a:p>
            <a:pPr lvl="1">
              <a:spcBef>
                <a:spcPts val="701"/>
              </a:spcBef>
            </a:pPr>
            <a:r>
              <a:rPr lang="en-GB" sz="3000" dirty="0">
                <a:latin typeface="Century Gothic"/>
                <a:cs typeface="Century Gothic"/>
              </a:rPr>
              <a:t>Note: A reference architecture uses its subject field reference model (as the next higher level of abstraction) and provides a common (architectural) vision, a modularization and the logic behind the architectural decisions taken </a:t>
            </a:r>
          </a:p>
          <a:p>
            <a:pPr marL="0" indent="0" algn="just">
              <a:buNone/>
            </a:pPr>
            <a:r>
              <a:rPr lang="en-GB" altLang="zh-CN" sz="3500" b="1" dirty="0">
                <a:solidFill>
                  <a:srgbClr val="FFFF00"/>
                </a:solidFill>
                <a:latin typeface="Century Gothic"/>
                <a:cs typeface="Century Gothic"/>
              </a:rPr>
              <a:t>Solution Architecture</a:t>
            </a:r>
          </a:p>
          <a:p>
            <a:pPr algn="just"/>
            <a:r>
              <a:rPr lang="en-GB" altLang="zh-CN" sz="3456" dirty="0">
                <a:latin typeface="Century Gothic"/>
                <a:cs typeface="Century Gothic"/>
              </a:rPr>
              <a:t>architecture of the system-of-interest</a:t>
            </a:r>
          </a:p>
          <a:p>
            <a:pPr lvl="1" algn="just">
              <a:spcBef>
                <a:spcPts val="701"/>
              </a:spcBef>
            </a:pPr>
            <a:r>
              <a:rPr lang="en-GB" altLang="zh-CN" sz="3000" dirty="0">
                <a:latin typeface="Century Gothic"/>
                <a:cs typeface="Century Gothic"/>
              </a:rPr>
              <a:t>Note: A solution architecture (also known as a blueprint) can be a tailored version of a particular reference architecture (which is the next higher level of abstraction)</a:t>
            </a:r>
          </a:p>
          <a:p>
            <a:pPr marL="0" indent="0" algn="just">
              <a:buNone/>
            </a:pPr>
            <a:r>
              <a:rPr lang="en-GB" sz="3500" b="1" dirty="0">
                <a:solidFill>
                  <a:srgbClr val="FFFF00"/>
                </a:solidFill>
                <a:latin typeface="Century Gothic"/>
                <a:cs typeface="Century Gothic"/>
              </a:rPr>
              <a:t>Implementation</a:t>
            </a:r>
            <a:r>
              <a:rPr lang="en-GB" sz="3200" b="1" dirty="0">
                <a:solidFill>
                  <a:srgbClr val="FFFF00"/>
                </a:solidFill>
                <a:latin typeface="Century Gothic"/>
                <a:cs typeface="Century Gothic"/>
              </a:rPr>
              <a:t> </a:t>
            </a:r>
            <a:r>
              <a:rPr lang="en-GB" sz="3200" b="1" dirty="0">
                <a:solidFill>
                  <a:srgbClr val="90F502"/>
                </a:solidFill>
                <a:latin typeface="Century Gothic"/>
                <a:cs typeface="Century Gothic"/>
              </a:rPr>
              <a:t> </a:t>
            </a:r>
            <a:r>
              <a:rPr lang="en-GB" sz="2800" dirty="0">
                <a:latin typeface="Century Gothic"/>
                <a:cs typeface="Century Gothic"/>
              </a:rPr>
              <a:t> -  </a:t>
            </a:r>
            <a:r>
              <a:rPr lang="en-GB" sz="3200" dirty="0">
                <a:latin typeface="Century Gothic"/>
                <a:cs typeface="Century Gothic"/>
              </a:rPr>
              <a:t>realisation of a </a:t>
            </a:r>
            <a:r>
              <a:rPr lang="en-GB" sz="2800" dirty="0">
                <a:latin typeface="Century Gothic"/>
                <a:cs typeface="Century Gothic"/>
              </a:rPr>
              <a:t>system-of-interest</a:t>
            </a:r>
            <a:endParaRPr lang="en-GB" sz="3200" dirty="0">
              <a:latin typeface="Century Gothic"/>
              <a:cs typeface="Century Gothic"/>
            </a:endParaRPr>
          </a:p>
        </p:txBody>
      </p:sp>
      <p:sp>
        <p:nvSpPr>
          <p:cNvPr id="6" name="Title 5">
            <a:extLst>
              <a:ext uri="{FF2B5EF4-FFF2-40B4-BE49-F238E27FC236}">
                <a16:creationId xmlns:a16="http://schemas.microsoft.com/office/drawing/2014/main" id="{5FC0FE67-F673-44BF-A5B7-F3F4936CFDED}"/>
              </a:ext>
            </a:extLst>
          </p:cNvPr>
          <p:cNvSpPr>
            <a:spLocks noGrp="1"/>
          </p:cNvSpPr>
          <p:nvPr>
            <p:ph type="title"/>
          </p:nvPr>
        </p:nvSpPr>
        <p:spPr>
          <a:xfrm>
            <a:off x="584200" y="451557"/>
            <a:ext cx="12344399" cy="1117876"/>
          </a:xfrm>
        </p:spPr>
        <p:txBody>
          <a:bodyPr/>
          <a:lstStyle/>
          <a:p>
            <a:r>
              <a:rPr lang="en-GB" dirty="0">
                <a:latin typeface="Century Gothic"/>
                <a:cs typeface="Century Gothic"/>
              </a:rPr>
              <a:t>Four levels of abstraction in the 								Systems Approach</a:t>
            </a:r>
          </a:p>
        </p:txBody>
      </p:sp>
    </p:spTree>
    <p:extLst>
      <p:ext uri="{BB962C8B-B14F-4D97-AF65-F5344CB8AC3E}">
        <p14:creationId xmlns:p14="http://schemas.microsoft.com/office/powerpoint/2010/main" val="1640959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latin typeface="Century Gothic"/>
                <a:cs typeface="Century Gothic"/>
              </a:rPr>
              <a:t>Levels of architecting</a:t>
            </a:r>
          </a:p>
        </p:txBody>
      </p:sp>
      <p:sp>
        <p:nvSpPr>
          <p:cNvPr id="7" name="Oval 6"/>
          <p:cNvSpPr/>
          <p:nvPr/>
        </p:nvSpPr>
        <p:spPr>
          <a:xfrm>
            <a:off x="4942283" y="1894587"/>
            <a:ext cx="2553691" cy="5497499"/>
          </a:xfrm>
          <a:prstGeom prst="ellipse">
            <a:avLst/>
          </a:prstGeom>
          <a:solidFill>
            <a:schemeClr val="accent5">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pPr algn="ctr"/>
            <a:r>
              <a:rPr lang="en-US" sz="1467" b="1" dirty="0">
                <a:solidFill>
                  <a:schemeClr val="tx1"/>
                </a:solidFill>
                <a:latin typeface="Verdana" panose="020B0604030504040204" pitchFamily="34" charset="0"/>
                <a:ea typeface="Verdana" panose="020B0604030504040204" pitchFamily="34" charset="0"/>
                <a:cs typeface="Verdana" panose="020B0604030504040204" pitchFamily="34" charset="0"/>
              </a:rPr>
              <a:t>2.Reference architecture</a:t>
            </a:r>
            <a:endPar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Cloud 7"/>
          <p:cNvSpPr/>
          <p:nvPr/>
        </p:nvSpPr>
        <p:spPr>
          <a:xfrm>
            <a:off x="2226639" y="3698299"/>
            <a:ext cx="2682954" cy="3214643"/>
          </a:xfrm>
          <a:prstGeom prst="cloud">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r>
              <a:rPr lang="en-US" sz="1800" b="1" dirty="0">
                <a:solidFill>
                  <a:schemeClr val="tx1"/>
                </a:solidFill>
                <a:latin typeface="Verdana" panose="020B0604030504040204" pitchFamily="34" charset="0"/>
                <a:ea typeface="Verdana" panose="020B0604030504040204" pitchFamily="34" charset="0"/>
                <a:cs typeface="Verdana" panose="020B0604030504040204" pitchFamily="34" charset="0"/>
              </a:rPr>
              <a:t>1.Reference model</a:t>
            </a:r>
            <a:endParaRPr lang="en-GB" sz="1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9"/>
          <p:cNvSpPr/>
          <p:nvPr/>
        </p:nvSpPr>
        <p:spPr>
          <a:xfrm>
            <a:off x="11904573" y="4916810"/>
            <a:ext cx="2084271" cy="680855"/>
          </a:xfrm>
          <a:prstGeom prst="rect">
            <a:avLst/>
          </a:prstGeom>
          <a:solidFill>
            <a:schemeClr val="accent6">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pPr algn="ctr"/>
            <a:r>
              <a:rPr lang="en-US" sz="1467" b="1" dirty="0">
                <a:solidFill>
                  <a:schemeClr val="tx1"/>
                </a:solidFill>
                <a:latin typeface="Verdana" panose="020B0604030504040204" pitchFamily="34" charset="0"/>
                <a:ea typeface="Verdana" panose="020B0604030504040204" pitchFamily="34" charset="0"/>
                <a:cs typeface="Verdana" panose="020B0604030504040204" pitchFamily="34" charset="0"/>
              </a:rPr>
              <a:t>4. Implementation A2</a:t>
            </a:r>
            <a:endPar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Rounded Corners 10"/>
          <p:cNvSpPr/>
          <p:nvPr/>
        </p:nvSpPr>
        <p:spPr>
          <a:xfrm>
            <a:off x="8735338" y="6916379"/>
            <a:ext cx="1714500" cy="788179"/>
          </a:xfrm>
          <a:prstGeom prst="round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r>
              <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rPr>
              <a:t>3. Solution architecture B</a:t>
            </a:r>
          </a:p>
        </p:txBody>
      </p:sp>
      <p:sp>
        <p:nvSpPr>
          <p:cNvPr id="12" name="Rectangle: Rounded Corners 11"/>
          <p:cNvSpPr/>
          <p:nvPr/>
        </p:nvSpPr>
        <p:spPr>
          <a:xfrm>
            <a:off x="9228953" y="4366957"/>
            <a:ext cx="1714500" cy="788179"/>
          </a:xfrm>
          <a:prstGeom prst="round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r>
              <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rPr>
              <a:t>3.Solution architecture A</a:t>
            </a:r>
          </a:p>
        </p:txBody>
      </p:sp>
      <p:sp>
        <p:nvSpPr>
          <p:cNvPr id="13" name="Rectangle 12"/>
          <p:cNvSpPr/>
          <p:nvPr/>
        </p:nvSpPr>
        <p:spPr>
          <a:xfrm>
            <a:off x="11904573" y="4043981"/>
            <a:ext cx="2084271" cy="680855"/>
          </a:xfrm>
          <a:prstGeom prst="rect">
            <a:avLst/>
          </a:prstGeom>
          <a:solidFill>
            <a:schemeClr val="accent6">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pPr algn="ctr"/>
            <a:r>
              <a:rPr lang="en-US" sz="1467" b="1" dirty="0">
                <a:solidFill>
                  <a:schemeClr val="tx1"/>
                </a:solidFill>
                <a:latin typeface="Verdana" panose="020B0604030504040204" pitchFamily="34" charset="0"/>
                <a:ea typeface="Verdana" panose="020B0604030504040204" pitchFamily="34" charset="0"/>
                <a:cs typeface="Verdana" panose="020B0604030504040204" pitchFamily="34" charset="0"/>
              </a:rPr>
              <a:t>4. Implementation A1</a:t>
            </a:r>
            <a:endPar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Rectangle 13"/>
          <p:cNvSpPr/>
          <p:nvPr/>
        </p:nvSpPr>
        <p:spPr>
          <a:xfrm>
            <a:off x="11307762" y="1948249"/>
            <a:ext cx="1910092" cy="680855"/>
          </a:xfrm>
          <a:prstGeom prst="rect">
            <a:avLst/>
          </a:prstGeom>
          <a:solidFill>
            <a:schemeClr val="accent2">
              <a:lumMod val="40000"/>
              <a:lumOff val="6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pPr algn="ctr"/>
            <a:r>
              <a:rPr lang="en-US" sz="1467" b="1" dirty="0">
                <a:solidFill>
                  <a:schemeClr val="tx1"/>
                </a:solidFill>
                <a:latin typeface="Verdana" panose="020B0604030504040204" pitchFamily="34" charset="0"/>
                <a:ea typeface="Verdana" panose="020B0604030504040204" pitchFamily="34" charset="0"/>
                <a:cs typeface="Verdana" panose="020B0604030504040204" pitchFamily="34" charset="0"/>
              </a:rPr>
              <a:t>Reference Implementation</a:t>
            </a:r>
            <a:endPar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Rectangle: Rounded Corners 14"/>
          <p:cNvSpPr/>
          <p:nvPr/>
        </p:nvSpPr>
        <p:spPr>
          <a:xfrm>
            <a:off x="8450605" y="1894587"/>
            <a:ext cx="2098481" cy="788179"/>
          </a:xfrm>
          <a:prstGeom prst="roundRect">
            <a:avLst/>
          </a:prstGeom>
          <a:solidFill>
            <a:schemeClr val="accent3">
              <a:lumMod val="40000"/>
              <a:lumOff val="6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r>
              <a:rPr lang="en-GB" sz="1600" b="1" dirty="0">
                <a:solidFill>
                  <a:schemeClr val="tx1"/>
                </a:solidFill>
                <a:latin typeface="Verdana" panose="020B0604030504040204" pitchFamily="34" charset="0"/>
                <a:ea typeface="Verdana" panose="020B0604030504040204" pitchFamily="34" charset="0"/>
                <a:cs typeface="Verdana" panose="020B0604030504040204" pitchFamily="34" charset="0"/>
              </a:rPr>
              <a:t>3. Reference Solution Architecture</a:t>
            </a:r>
          </a:p>
        </p:txBody>
      </p:sp>
      <p:sp>
        <p:nvSpPr>
          <p:cNvPr id="16" name="Arc 15"/>
          <p:cNvSpPr/>
          <p:nvPr/>
        </p:nvSpPr>
        <p:spPr>
          <a:xfrm rot="20982009">
            <a:off x="10247999" y="3832422"/>
            <a:ext cx="2387508" cy="631151"/>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17" name="TextBox 16"/>
          <p:cNvSpPr txBox="1"/>
          <p:nvPr/>
        </p:nvSpPr>
        <p:spPr>
          <a:xfrm>
            <a:off x="11111234" y="3432229"/>
            <a:ext cx="1856893"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build and test</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Arc 17"/>
          <p:cNvSpPr/>
          <p:nvPr/>
        </p:nvSpPr>
        <p:spPr>
          <a:xfrm>
            <a:off x="9734669" y="1540630"/>
            <a:ext cx="2387508" cy="631151"/>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TextBox 18"/>
          <p:cNvSpPr txBox="1"/>
          <p:nvPr/>
        </p:nvSpPr>
        <p:spPr>
          <a:xfrm>
            <a:off x="10336322" y="1274986"/>
            <a:ext cx="1870626"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build and test</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Arc 19"/>
          <p:cNvSpPr/>
          <p:nvPr/>
        </p:nvSpPr>
        <p:spPr>
          <a:xfrm rot="20859230">
            <a:off x="6816255" y="1723409"/>
            <a:ext cx="2173180" cy="539953"/>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p:cNvSpPr txBox="1"/>
          <p:nvPr/>
        </p:nvSpPr>
        <p:spPr>
          <a:xfrm>
            <a:off x="6492734" y="1332169"/>
            <a:ext cx="3157164"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design and experiment </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Arc 21"/>
          <p:cNvSpPr/>
          <p:nvPr/>
        </p:nvSpPr>
        <p:spPr>
          <a:xfrm rot="11379897">
            <a:off x="10369330" y="5140099"/>
            <a:ext cx="2387508" cy="631151"/>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23" name="TextBox 22"/>
          <p:cNvSpPr txBox="1"/>
          <p:nvPr/>
        </p:nvSpPr>
        <p:spPr>
          <a:xfrm>
            <a:off x="10577695" y="5270473"/>
            <a:ext cx="1460132" cy="600350"/>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field feedback</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Arc 23"/>
          <p:cNvSpPr/>
          <p:nvPr/>
        </p:nvSpPr>
        <p:spPr>
          <a:xfrm rot="10800000">
            <a:off x="9716374" y="2405571"/>
            <a:ext cx="2387508" cy="631151"/>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endParaRPr lang="en-GB" sz="160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TextBox 24"/>
          <p:cNvSpPr txBox="1"/>
          <p:nvPr/>
        </p:nvSpPr>
        <p:spPr>
          <a:xfrm>
            <a:off x="10063650" y="2770071"/>
            <a:ext cx="2609046"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feasibility  feedback</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Arc 25"/>
          <p:cNvSpPr/>
          <p:nvPr/>
        </p:nvSpPr>
        <p:spPr>
          <a:xfrm>
            <a:off x="7505199" y="3978701"/>
            <a:ext cx="2387508" cy="631151"/>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27" name="TextBox 26"/>
          <p:cNvSpPr txBox="1"/>
          <p:nvPr/>
        </p:nvSpPr>
        <p:spPr>
          <a:xfrm>
            <a:off x="7542767" y="3714628"/>
            <a:ext cx="2761861"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design and engineer </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28" name="Arc 27"/>
          <p:cNvSpPr/>
          <p:nvPr/>
        </p:nvSpPr>
        <p:spPr>
          <a:xfrm>
            <a:off x="3684019" y="3493069"/>
            <a:ext cx="1634088" cy="622691"/>
          </a:xfrm>
          <a:prstGeom prst="arc">
            <a:avLst>
              <a:gd name="adj1" fmla="val 10824040"/>
              <a:gd name="adj2" fmla="val 2035173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29" name="TextBox 28"/>
          <p:cNvSpPr txBox="1"/>
          <p:nvPr/>
        </p:nvSpPr>
        <p:spPr>
          <a:xfrm>
            <a:off x="3892355" y="1973660"/>
            <a:ext cx="1460132" cy="384907"/>
          </a:xfrm>
          <a:prstGeom prst="rect">
            <a:avLst/>
          </a:prstGeom>
          <a:noFill/>
        </p:spPr>
        <p:txBody>
          <a:bodyPr wrap="square" lIns="106863" tIns="53432" rIns="106863" bIns="53432" rtlCol="0">
            <a:spAutoFit/>
          </a:bodyPr>
          <a:lstStyle/>
          <a:p>
            <a:r>
              <a:rPr lang="en-US" sz="1800" b="1" dirty="0">
                <a:solidFill>
                  <a:srgbClr val="FFFF00"/>
                </a:solidFill>
                <a:latin typeface="Verdana" panose="020B0604030504040204" pitchFamily="34" charset="0"/>
                <a:ea typeface="Verdana" panose="020B0604030504040204" pitchFamily="34" charset="0"/>
                <a:cs typeface="Verdana" panose="020B0604030504040204" pitchFamily="34" charset="0"/>
              </a:rPr>
              <a:t>architect</a:t>
            </a:r>
            <a:endParaRPr lang="en-GB" sz="18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30" name="Arc 29"/>
          <p:cNvSpPr/>
          <p:nvPr/>
        </p:nvSpPr>
        <p:spPr>
          <a:xfrm rot="10800000">
            <a:off x="4006497" y="6120030"/>
            <a:ext cx="2486639" cy="631151"/>
          </a:xfrm>
          <a:prstGeom prst="arc">
            <a:avLst>
              <a:gd name="adj1" fmla="val 14552518"/>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31" name="TextBox 30"/>
          <p:cNvSpPr txBox="1"/>
          <p:nvPr/>
        </p:nvSpPr>
        <p:spPr>
          <a:xfrm>
            <a:off x="4009358" y="6677893"/>
            <a:ext cx="1641785" cy="661905"/>
          </a:xfrm>
          <a:prstGeom prst="rect">
            <a:avLst/>
          </a:prstGeom>
          <a:noFill/>
        </p:spPr>
        <p:txBody>
          <a:bodyPr wrap="square" lIns="106863" tIns="53432" rIns="106863" bIns="53432" rtlCol="0">
            <a:spAutoFit/>
          </a:bodyPr>
          <a:lstStyle/>
          <a:p>
            <a:r>
              <a:rPr lang="en-US" sz="1800" b="1" dirty="0">
                <a:solidFill>
                  <a:srgbClr val="FFFF00"/>
                </a:solidFill>
                <a:latin typeface="Verdana" panose="020B0604030504040204" pitchFamily="34" charset="0"/>
                <a:ea typeface="Verdana" panose="020B0604030504040204" pitchFamily="34" charset="0"/>
                <a:cs typeface="Verdana" panose="020B0604030504040204" pitchFamily="34" charset="0"/>
              </a:rPr>
              <a:t>extract essentials</a:t>
            </a:r>
            <a:endParaRPr lang="en-GB" sz="18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32" name="TextBox 31"/>
          <p:cNvSpPr txBox="1"/>
          <p:nvPr/>
        </p:nvSpPr>
        <p:spPr>
          <a:xfrm>
            <a:off x="7695114" y="5133951"/>
            <a:ext cx="2198229" cy="600350"/>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constraints and opportunities</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Arc 32"/>
          <p:cNvSpPr/>
          <p:nvPr/>
        </p:nvSpPr>
        <p:spPr>
          <a:xfrm rot="10800000">
            <a:off x="7505198" y="4822254"/>
            <a:ext cx="1876492" cy="631151"/>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34" name="Arc 33"/>
          <p:cNvSpPr/>
          <p:nvPr/>
        </p:nvSpPr>
        <p:spPr>
          <a:xfrm rot="10464386">
            <a:off x="7176487" y="2434707"/>
            <a:ext cx="2166752" cy="606909"/>
          </a:xfrm>
          <a:prstGeom prst="arc">
            <a:avLst>
              <a:gd name="adj1" fmla="val 10824040"/>
              <a:gd name="adj2" fmla="val 8842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35" name="TextBox 34"/>
          <p:cNvSpPr txBox="1"/>
          <p:nvPr/>
        </p:nvSpPr>
        <p:spPr>
          <a:xfrm>
            <a:off x="7405158" y="2769191"/>
            <a:ext cx="1771697"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refinement</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36" name="Rectangle 35"/>
          <p:cNvSpPr/>
          <p:nvPr/>
        </p:nvSpPr>
        <p:spPr>
          <a:xfrm>
            <a:off x="11470043" y="6139713"/>
            <a:ext cx="4582757" cy="1215903"/>
          </a:xfrm>
          <a:prstGeom prst="rect">
            <a:avLst/>
          </a:prstGeom>
        </p:spPr>
        <p:txBody>
          <a:bodyPr wrap="square" lIns="106863" tIns="53432" rIns="106863" bIns="53432">
            <a:spAutoFit/>
          </a:bodyPr>
          <a:lstStyle/>
          <a:p>
            <a:r>
              <a:rPr lang="en-GB" sz="1800" b="1" dirty="0">
                <a:solidFill>
                  <a:srgbClr val="FFFF00"/>
                </a:solidFill>
              </a:rPr>
              <a:t>A few scenario reference architectures may be derived from the reference architecture</a:t>
            </a:r>
          </a:p>
          <a:p>
            <a:r>
              <a:rPr lang="en-GB" sz="1800" b="1" dirty="0">
                <a:solidFill>
                  <a:srgbClr val="FFFF00"/>
                </a:solidFill>
              </a:rPr>
              <a:t>AAL: personal telehealth, home </a:t>
            </a:r>
          </a:p>
          <a:p>
            <a:r>
              <a:rPr lang="en-GB" sz="1800" b="1" dirty="0">
                <a:solidFill>
                  <a:srgbClr val="FFFF00"/>
                </a:solidFill>
              </a:rPr>
              <a:t>Smart Cities: megalopolis, city, village, island </a:t>
            </a:r>
          </a:p>
        </p:txBody>
      </p:sp>
      <p:sp>
        <p:nvSpPr>
          <p:cNvPr id="37" name="Oval 36"/>
          <p:cNvSpPr/>
          <p:nvPr/>
        </p:nvSpPr>
        <p:spPr>
          <a:xfrm>
            <a:off x="5261150" y="5638800"/>
            <a:ext cx="2116278" cy="1037384"/>
          </a:xfrm>
          <a:prstGeom prst="ellipse">
            <a:avLst/>
          </a:prstGeom>
          <a:solidFill>
            <a:schemeClr val="accent5">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pPr algn="ctr"/>
            <a:r>
              <a:rPr lang="en-US" sz="1467" b="1" dirty="0">
                <a:solidFill>
                  <a:schemeClr val="tx1"/>
                </a:solidFill>
                <a:latin typeface="Verdana" panose="020B0604030504040204" pitchFamily="34" charset="0"/>
                <a:ea typeface="Verdana" panose="020B0604030504040204" pitchFamily="34" charset="0"/>
                <a:cs typeface="Verdana" panose="020B0604030504040204" pitchFamily="34" charset="0"/>
              </a:rPr>
              <a:t>Scenario 2 reference architecture</a:t>
            </a:r>
            <a:endPar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Oval 37"/>
          <p:cNvSpPr/>
          <p:nvPr/>
        </p:nvSpPr>
        <p:spPr>
          <a:xfrm>
            <a:off x="5156200" y="3056833"/>
            <a:ext cx="2158354" cy="1146647"/>
          </a:xfrm>
          <a:prstGeom prst="ellipse">
            <a:avLst/>
          </a:prstGeom>
          <a:solidFill>
            <a:schemeClr val="accent5">
              <a:lumMod val="40000"/>
              <a:lumOff val="6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pPr algn="ctr"/>
            <a:r>
              <a:rPr lang="en-US" sz="1467" b="1" dirty="0">
                <a:solidFill>
                  <a:schemeClr val="tx1"/>
                </a:solidFill>
                <a:latin typeface="Verdana" panose="020B0604030504040204" pitchFamily="34" charset="0"/>
                <a:ea typeface="Verdana" panose="020B0604030504040204" pitchFamily="34" charset="0"/>
                <a:cs typeface="Verdana" panose="020B0604030504040204" pitchFamily="34" charset="0"/>
              </a:rPr>
              <a:t>Scenario 1 reference architecture</a:t>
            </a:r>
            <a:endParaRPr lang="en-GB" sz="1467"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Arc 38"/>
          <p:cNvSpPr/>
          <p:nvPr/>
        </p:nvSpPr>
        <p:spPr>
          <a:xfrm rot="11393425">
            <a:off x="6562890" y="6606739"/>
            <a:ext cx="2183837" cy="1005844"/>
          </a:xfrm>
          <a:prstGeom prst="arc">
            <a:avLst>
              <a:gd name="adj1" fmla="val 10824040"/>
              <a:gd name="adj2" fmla="val 194589"/>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728" tIns="46864" rIns="93728" bIns="46864" numCol="1" spcCol="0" rtlCol="0" fromWordArt="0" anchor="ctr" anchorCtr="0" forceAA="0" compatLnSpc="1">
            <a:prstTxWarp prst="textNoShape">
              <a:avLst/>
            </a:prstTxWarp>
            <a:noAutofit/>
          </a:bodyP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40" name="TextBox 39"/>
          <p:cNvSpPr txBox="1"/>
          <p:nvPr/>
        </p:nvSpPr>
        <p:spPr>
          <a:xfrm>
            <a:off x="7139774" y="6992458"/>
            <a:ext cx="1772353" cy="846571"/>
          </a:xfrm>
          <a:prstGeom prst="rect">
            <a:avLst/>
          </a:prstGeom>
          <a:noFill/>
        </p:spPr>
        <p:txBody>
          <a:bodyPr wrap="square" lIns="106863" tIns="53432" rIns="106863" bIns="53432" rtlCol="0">
            <a:spAutoFit/>
          </a:bodyPr>
          <a:lstStyle/>
          <a:p>
            <a:pPr algn="ctr"/>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constraints and opportunities</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Arc 40"/>
          <p:cNvSpPr/>
          <p:nvPr/>
        </p:nvSpPr>
        <p:spPr>
          <a:xfrm rot="696866">
            <a:off x="6842598" y="6135686"/>
            <a:ext cx="2834529" cy="950204"/>
          </a:xfrm>
          <a:prstGeom prst="arc">
            <a:avLst>
              <a:gd name="adj1" fmla="val 11396878"/>
              <a:gd name="adj2" fmla="val 21473283"/>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42" name="TextBox 41"/>
          <p:cNvSpPr txBox="1"/>
          <p:nvPr/>
        </p:nvSpPr>
        <p:spPr>
          <a:xfrm>
            <a:off x="7907415" y="5801164"/>
            <a:ext cx="2607632"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design and engineer </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pic>
        <p:nvPicPr>
          <p:cNvPr id="43" name="Content Placeholder 7"/>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3170618" y="5451757"/>
            <a:ext cx="1034061" cy="895556"/>
          </a:xfrm>
        </p:spPr>
      </p:pic>
      <p:cxnSp>
        <p:nvCxnSpPr>
          <p:cNvPr id="44" name="Straight Arrow Connector 43"/>
          <p:cNvCxnSpPr>
            <a:cxnSpLocks/>
          </p:cNvCxnSpPr>
          <p:nvPr/>
        </p:nvCxnSpPr>
        <p:spPr>
          <a:xfrm>
            <a:off x="2553912" y="7972756"/>
            <a:ext cx="2750585" cy="0"/>
          </a:xfrm>
          <a:prstGeom prst="straightConnector1">
            <a:avLst/>
          </a:prstGeom>
          <a:ln>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p:cNvCxnSpPr>
          <p:nvPr/>
        </p:nvCxnSpPr>
        <p:spPr>
          <a:xfrm>
            <a:off x="5304497" y="7972756"/>
            <a:ext cx="8734660" cy="45664"/>
          </a:xfrm>
          <a:prstGeom prst="straightConnector1">
            <a:avLst/>
          </a:prstGeom>
          <a:ln>
            <a:headEnd type="triangle"/>
            <a:tailEnd type="none"/>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1436127" y="7900350"/>
            <a:ext cx="5147943" cy="908127"/>
          </a:xfrm>
          <a:prstGeom prst="rect">
            <a:avLst/>
          </a:prstGeom>
          <a:noFill/>
        </p:spPr>
        <p:txBody>
          <a:bodyPr wrap="square" lIns="106863" tIns="53432" rIns="106863" bIns="53432" rtlCol="0">
            <a:spAutoFit/>
          </a:bodyPr>
          <a:lstStyle/>
          <a:p>
            <a:pPr algn="ctr"/>
            <a:r>
              <a:rPr lang="en-GB" sz="5200" b="1" dirty="0">
                <a:solidFill>
                  <a:srgbClr val="FFFF00"/>
                </a:solidFill>
                <a:latin typeface="Century Gothic"/>
                <a:cs typeface="Century Gothic"/>
              </a:rPr>
              <a:t>Problem space</a:t>
            </a:r>
          </a:p>
        </p:txBody>
      </p:sp>
      <p:sp>
        <p:nvSpPr>
          <p:cNvPr id="47" name="TextBox 46"/>
          <p:cNvSpPr txBox="1"/>
          <p:nvPr/>
        </p:nvSpPr>
        <p:spPr>
          <a:xfrm>
            <a:off x="8557293" y="7987576"/>
            <a:ext cx="6262580" cy="908127"/>
          </a:xfrm>
          <a:prstGeom prst="rect">
            <a:avLst/>
          </a:prstGeom>
          <a:noFill/>
        </p:spPr>
        <p:txBody>
          <a:bodyPr wrap="square" lIns="106863" tIns="53432" rIns="106863" bIns="53432" rtlCol="0">
            <a:spAutoFit/>
          </a:bodyPr>
          <a:lstStyle/>
          <a:p>
            <a:pPr algn="ctr"/>
            <a:r>
              <a:rPr lang="en-GB" sz="5200" b="1" dirty="0">
                <a:solidFill>
                  <a:srgbClr val="FFFF00"/>
                </a:solidFill>
                <a:latin typeface="Century Gothic"/>
                <a:cs typeface="Century Gothic"/>
              </a:rPr>
              <a:t>Solution space</a:t>
            </a:r>
          </a:p>
        </p:txBody>
      </p:sp>
      <p:sp>
        <p:nvSpPr>
          <p:cNvPr id="53" name="Flowchart: Document 52"/>
          <p:cNvSpPr/>
          <p:nvPr/>
        </p:nvSpPr>
        <p:spPr>
          <a:xfrm>
            <a:off x="2226639" y="1914095"/>
            <a:ext cx="1336772" cy="1050116"/>
          </a:xfrm>
          <a:prstGeom prst="flowChartDocument">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6863" tIns="53432" rIns="106863" bIns="53432" rtlCol="0" anchor="ctr"/>
          <a:lstStyle/>
          <a:p>
            <a:r>
              <a:rPr lang="en-GB" sz="2000" b="1" dirty="0">
                <a:solidFill>
                  <a:schemeClr val="tx1"/>
                </a:solidFill>
              </a:rPr>
              <a:t>Various needs</a:t>
            </a:r>
          </a:p>
        </p:txBody>
      </p:sp>
      <p:sp>
        <p:nvSpPr>
          <p:cNvPr id="54" name="Arc 53"/>
          <p:cNvSpPr/>
          <p:nvPr/>
        </p:nvSpPr>
        <p:spPr>
          <a:xfrm rot="1712801">
            <a:off x="3410167" y="2556491"/>
            <a:ext cx="2387508" cy="631151"/>
          </a:xfrm>
          <a:prstGeom prst="arc">
            <a:avLst>
              <a:gd name="adj1" fmla="val 10824040"/>
              <a:gd name="adj2" fmla="val 2035173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55" name="TextBox 54"/>
          <p:cNvSpPr txBox="1"/>
          <p:nvPr/>
        </p:nvSpPr>
        <p:spPr>
          <a:xfrm>
            <a:off x="3806670" y="3135372"/>
            <a:ext cx="1460132" cy="384907"/>
          </a:xfrm>
          <a:prstGeom prst="rect">
            <a:avLst/>
          </a:prstGeom>
          <a:noFill/>
        </p:spPr>
        <p:txBody>
          <a:bodyPr wrap="square" lIns="106863" tIns="53432" rIns="106863" bIns="53432" rtlCol="0">
            <a:spAutoFit/>
          </a:bodyPr>
          <a:lstStyle/>
          <a:p>
            <a:r>
              <a:rPr lang="en-US" sz="1800" b="1" dirty="0">
                <a:solidFill>
                  <a:srgbClr val="FFFF00"/>
                </a:solidFill>
                <a:latin typeface="Verdana" panose="020B0604030504040204" pitchFamily="34" charset="0"/>
                <a:ea typeface="Verdana" panose="020B0604030504040204" pitchFamily="34" charset="0"/>
                <a:cs typeface="Verdana" panose="020B0604030504040204" pitchFamily="34" charset="0"/>
              </a:rPr>
              <a:t>architect</a:t>
            </a:r>
            <a:endParaRPr lang="en-GB" sz="18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56" name="Arc 55"/>
          <p:cNvSpPr/>
          <p:nvPr/>
        </p:nvSpPr>
        <p:spPr>
          <a:xfrm rot="4426885" flipV="1">
            <a:off x="1728122" y="3656042"/>
            <a:ext cx="2095325" cy="562199"/>
          </a:xfrm>
          <a:prstGeom prst="arc">
            <a:avLst>
              <a:gd name="adj1" fmla="val 10824040"/>
              <a:gd name="adj2" fmla="val 2035173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57" name="TextBox 56"/>
          <p:cNvSpPr txBox="1"/>
          <p:nvPr/>
        </p:nvSpPr>
        <p:spPr>
          <a:xfrm>
            <a:off x="1051577" y="4384408"/>
            <a:ext cx="1460132" cy="354129"/>
          </a:xfrm>
          <a:prstGeom prst="rect">
            <a:avLst/>
          </a:prstGeom>
          <a:noFill/>
        </p:spPr>
        <p:txBody>
          <a:bodyPr wrap="square" lIns="106863" tIns="53432" rIns="106863" bIns="53432" rtlCol="0">
            <a:spAutoFit/>
          </a:bodyPr>
          <a:lstStyle/>
          <a:p>
            <a:r>
              <a:rPr lang="en-US" sz="1600" b="1" dirty="0">
                <a:solidFill>
                  <a:srgbClr val="FFFF00"/>
                </a:solidFill>
                <a:latin typeface="Verdana" panose="020B0604030504040204" pitchFamily="34" charset="0"/>
                <a:ea typeface="Verdana" panose="020B0604030504040204" pitchFamily="34" charset="0"/>
                <a:cs typeface="Verdana" panose="020B0604030504040204" pitchFamily="34" charset="0"/>
              </a:rPr>
              <a:t>extract</a:t>
            </a:r>
            <a:endParaRPr lang="en-GB" sz="16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sp>
        <p:nvSpPr>
          <p:cNvPr id="58" name="Arc 57"/>
          <p:cNvSpPr/>
          <p:nvPr/>
        </p:nvSpPr>
        <p:spPr>
          <a:xfrm rot="14627799" flipV="1">
            <a:off x="2218296" y="3062996"/>
            <a:ext cx="1235299" cy="785985"/>
          </a:xfrm>
          <a:prstGeom prst="arc">
            <a:avLst>
              <a:gd name="adj1" fmla="val 10824040"/>
              <a:gd name="adj2" fmla="val 20351738"/>
            </a:avLst>
          </a:prstGeom>
          <a:ln w="222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txBody>
          <a:bodyPr lIns="106863" tIns="53432" rIns="106863" bIns="53432" rtlCol="0" anchor="ctr"/>
          <a:lstStyle/>
          <a:p>
            <a:pPr algn="ctr"/>
            <a:endParaRPr lang="en-GB" sz="1467">
              <a:latin typeface="Verdana" panose="020B0604030504040204" pitchFamily="34" charset="0"/>
              <a:ea typeface="Verdana" panose="020B0604030504040204" pitchFamily="34" charset="0"/>
              <a:cs typeface="Verdana" panose="020B0604030504040204" pitchFamily="34" charset="0"/>
            </a:endParaRPr>
          </a:p>
        </p:txBody>
      </p:sp>
      <p:sp>
        <p:nvSpPr>
          <p:cNvPr id="59" name="TextBox 58"/>
          <p:cNvSpPr txBox="1"/>
          <p:nvPr/>
        </p:nvSpPr>
        <p:spPr>
          <a:xfrm rot="157370">
            <a:off x="3028043" y="2869129"/>
            <a:ext cx="922628" cy="384907"/>
          </a:xfrm>
          <a:prstGeom prst="rect">
            <a:avLst/>
          </a:prstGeom>
          <a:noFill/>
        </p:spPr>
        <p:txBody>
          <a:bodyPr wrap="square" lIns="106863" tIns="53432" rIns="106863" bIns="53432" rtlCol="0">
            <a:spAutoFit/>
          </a:bodyPr>
          <a:lstStyle/>
          <a:p>
            <a:r>
              <a:rPr lang="en-US" sz="1800" b="1" dirty="0">
                <a:solidFill>
                  <a:srgbClr val="FFFF00"/>
                </a:solidFill>
                <a:latin typeface="Verdana" panose="020B0604030504040204" pitchFamily="34" charset="0"/>
                <a:ea typeface="Verdana" panose="020B0604030504040204" pitchFamily="34" charset="0"/>
                <a:cs typeface="Verdana" panose="020B0604030504040204" pitchFamily="34" charset="0"/>
              </a:rPr>
              <a:t>align</a:t>
            </a:r>
            <a:endParaRPr lang="en-GB" sz="1800" b="1" dirty="0">
              <a:solidFill>
                <a:srgbClr val="FFFF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9" name="Straight Connector 8"/>
          <p:cNvCxnSpPr>
            <a:cxnSpLocks/>
          </p:cNvCxnSpPr>
          <p:nvPr/>
        </p:nvCxnSpPr>
        <p:spPr>
          <a:xfrm flipH="1">
            <a:off x="6584070" y="479200"/>
            <a:ext cx="5402201" cy="7759611"/>
          </a:xfrm>
          <a:prstGeom prst="line">
            <a:avLst/>
          </a:prstGeom>
          <a:ln w="127000">
            <a:solidFill>
              <a:srgbClr val="FFC000"/>
            </a:solidFill>
            <a:prstDash val="sysDot"/>
          </a:ln>
        </p:spPr>
        <p:style>
          <a:lnRef idx="1">
            <a:schemeClr val="accent1"/>
          </a:lnRef>
          <a:fillRef idx="0">
            <a:schemeClr val="accent1"/>
          </a:fillRef>
          <a:effectRef idx="0">
            <a:schemeClr val="accent1"/>
          </a:effectRef>
          <a:fontRef idx="minor">
            <a:schemeClr val="tx1"/>
          </a:fontRef>
        </p:style>
      </p:cxnSp>
      <p:sp>
        <p:nvSpPr>
          <p:cNvPr id="51" name="Freeform: Shape 7">
            <a:extLst>
              <a:ext uri="{FF2B5EF4-FFF2-40B4-BE49-F238E27FC236}">
                <a16:creationId xmlns:a16="http://schemas.microsoft.com/office/drawing/2014/main" id="{5B1D10AE-96AA-7247-AC1D-7C846383DA7D}"/>
              </a:ext>
            </a:extLst>
          </p:cNvPr>
          <p:cNvSpPr/>
          <p:nvPr/>
        </p:nvSpPr>
        <p:spPr>
          <a:xfrm>
            <a:off x="243987" y="905189"/>
            <a:ext cx="10494961" cy="7333622"/>
          </a:xfrm>
          <a:custGeom>
            <a:avLst/>
            <a:gdLst>
              <a:gd name="connsiteX0" fmla="*/ 2073699 w 4831374"/>
              <a:gd name="connsiteY0" fmla="*/ 227177 h 3998481"/>
              <a:gd name="connsiteX1" fmla="*/ 10983 w 4831374"/>
              <a:gd name="connsiteY1" fmla="*/ 2970377 h 3998481"/>
              <a:gd name="connsiteX2" fmla="*/ 2998732 w 4831374"/>
              <a:gd name="connsiteY2" fmla="*/ 3948573 h 3998481"/>
              <a:gd name="connsiteX3" fmla="*/ 3530360 w 4831374"/>
              <a:gd name="connsiteY3" fmla="*/ 1609410 h 3998481"/>
              <a:gd name="connsiteX4" fmla="*/ 4795634 w 4831374"/>
              <a:gd name="connsiteY4" fmla="*/ 1683838 h 3998481"/>
              <a:gd name="connsiteX5" fmla="*/ 4264006 w 4831374"/>
              <a:gd name="connsiteY5" fmla="*/ 322870 h 3998481"/>
              <a:gd name="connsiteX6" fmla="*/ 2073699 w 4831374"/>
              <a:gd name="connsiteY6" fmla="*/ 227177 h 3998481"/>
              <a:gd name="connsiteX0" fmla="*/ 2073699 w 4831374"/>
              <a:gd name="connsiteY0" fmla="*/ 227177 h 3967697"/>
              <a:gd name="connsiteX1" fmla="*/ 10983 w 4831374"/>
              <a:gd name="connsiteY1" fmla="*/ 2970377 h 3967697"/>
              <a:gd name="connsiteX2" fmla="*/ 2998732 w 4831374"/>
              <a:gd name="connsiteY2" fmla="*/ 3948573 h 3967697"/>
              <a:gd name="connsiteX3" fmla="*/ 3668583 w 4831374"/>
              <a:gd name="connsiteY3" fmla="*/ 2236731 h 3967697"/>
              <a:gd name="connsiteX4" fmla="*/ 4795634 w 4831374"/>
              <a:gd name="connsiteY4" fmla="*/ 1683838 h 3967697"/>
              <a:gd name="connsiteX5" fmla="*/ 4264006 w 4831374"/>
              <a:gd name="connsiteY5" fmla="*/ 322870 h 3967697"/>
              <a:gd name="connsiteX6" fmla="*/ 2073699 w 4831374"/>
              <a:gd name="connsiteY6" fmla="*/ 227177 h 3967697"/>
              <a:gd name="connsiteX0" fmla="*/ 2073699 w 4681759"/>
              <a:gd name="connsiteY0" fmla="*/ 209851 h 3950371"/>
              <a:gd name="connsiteX1" fmla="*/ 10983 w 4681759"/>
              <a:gd name="connsiteY1" fmla="*/ 2953051 h 3950371"/>
              <a:gd name="connsiteX2" fmla="*/ 2998732 w 4681759"/>
              <a:gd name="connsiteY2" fmla="*/ 3931247 h 3950371"/>
              <a:gd name="connsiteX3" fmla="*/ 3668583 w 4681759"/>
              <a:gd name="connsiteY3" fmla="*/ 2219405 h 3950371"/>
              <a:gd name="connsiteX4" fmla="*/ 4625513 w 4681759"/>
              <a:gd name="connsiteY4" fmla="*/ 1241210 h 3950371"/>
              <a:gd name="connsiteX5" fmla="*/ 4264006 w 4681759"/>
              <a:gd name="connsiteY5" fmla="*/ 305544 h 3950371"/>
              <a:gd name="connsiteX6" fmla="*/ 2073699 w 4681759"/>
              <a:gd name="connsiteY6" fmla="*/ 209851 h 3950371"/>
              <a:gd name="connsiteX0" fmla="*/ 2070460 w 4678520"/>
              <a:gd name="connsiteY0" fmla="*/ 209851 h 3857543"/>
              <a:gd name="connsiteX1" fmla="*/ 7744 w 4678520"/>
              <a:gd name="connsiteY1" fmla="*/ 2953051 h 3857543"/>
              <a:gd name="connsiteX2" fmla="*/ 2836004 w 4678520"/>
              <a:gd name="connsiteY2" fmla="*/ 3835554 h 3857543"/>
              <a:gd name="connsiteX3" fmla="*/ 3665344 w 4678520"/>
              <a:gd name="connsiteY3" fmla="*/ 2219405 h 3857543"/>
              <a:gd name="connsiteX4" fmla="*/ 4622274 w 4678520"/>
              <a:gd name="connsiteY4" fmla="*/ 1241210 h 3857543"/>
              <a:gd name="connsiteX5" fmla="*/ 4260767 w 4678520"/>
              <a:gd name="connsiteY5" fmla="*/ 305544 h 3857543"/>
              <a:gd name="connsiteX6" fmla="*/ 2070460 w 4678520"/>
              <a:gd name="connsiteY6" fmla="*/ 209851 h 3857543"/>
              <a:gd name="connsiteX0" fmla="*/ 1763615 w 4371675"/>
              <a:gd name="connsiteY0" fmla="*/ 138362 h 3764976"/>
              <a:gd name="connsiteX1" fmla="*/ 9243 w 4371675"/>
              <a:gd name="connsiteY1" fmla="*/ 1914000 h 3764976"/>
              <a:gd name="connsiteX2" fmla="*/ 2529159 w 4371675"/>
              <a:gd name="connsiteY2" fmla="*/ 3764065 h 3764976"/>
              <a:gd name="connsiteX3" fmla="*/ 3358499 w 4371675"/>
              <a:gd name="connsiteY3" fmla="*/ 2147916 h 3764976"/>
              <a:gd name="connsiteX4" fmla="*/ 4315429 w 4371675"/>
              <a:gd name="connsiteY4" fmla="*/ 1169721 h 3764976"/>
              <a:gd name="connsiteX5" fmla="*/ 3953922 w 4371675"/>
              <a:gd name="connsiteY5" fmla="*/ 234055 h 3764976"/>
              <a:gd name="connsiteX6" fmla="*/ 1763615 w 4371675"/>
              <a:gd name="connsiteY6" fmla="*/ 138362 h 3764976"/>
              <a:gd name="connsiteX0" fmla="*/ 2028106 w 4636166"/>
              <a:gd name="connsiteY0" fmla="*/ 193340 h 3827296"/>
              <a:gd name="connsiteX1" fmla="*/ 7920 w 4636166"/>
              <a:gd name="connsiteY1" fmla="*/ 2713257 h 3827296"/>
              <a:gd name="connsiteX2" fmla="*/ 2793650 w 4636166"/>
              <a:gd name="connsiteY2" fmla="*/ 3819043 h 3827296"/>
              <a:gd name="connsiteX3" fmla="*/ 3622990 w 4636166"/>
              <a:gd name="connsiteY3" fmla="*/ 2202894 h 3827296"/>
              <a:gd name="connsiteX4" fmla="*/ 4579920 w 4636166"/>
              <a:gd name="connsiteY4" fmla="*/ 1224699 h 3827296"/>
              <a:gd name="connsiteX5" fmla="*/ 4218413 w 4636166"/>
              <a:gd name="connsiteY5" fmla="*/ 289033 h 3827296"/>
              <a:gd name="connsiteX6" fmla="*/ 2028106 w 4636166"/>
              <a:gd name="connsiteY6" fmla="*/ 193340 h 3827296"/>
              <a:gd name="connsiteX0" fmla="*/ 1419555 w 4688908"/>
              <a:gd name="connsiteY0" fmla="*/ 222765 h 3750188"/>
              <a:gd name="connsiteX1" fmla="*/ 37323 w 4688908"/>
              <a:gd name="connsiteY1" fmla="*/ 2636356 h 3750188"/>
              <a:gd name="connsiteX2" fmla="*/ 2823053 w 4688908"/>
              <a:gd name="connsiteY2" fmla="*/ 3742142 h 3750188"/>
              <a:gd name="connsiteX3" fmla="*/ 3652393 w 4688908"/>
              <a:gd name="connsiteY3" fmla="*/ 2125993 h 3750188"/>
              <a:gd name="connsiteX4" fmla="*/ 4609323 w 4688908"/>
              <a:gd name="connsiteY4" fmla="*/ 1147798 h 3750188"/>
              <a:gd name="connsiteX5" fmla="*/ 4247816 w 4688908"/>
              <a:gd name="connsiteY5" fmla="*/ 212132 h 3750188"/>
              <a:gd name="connsiteX6" fmla="*/ 1419555 w 4688908"/>
              <a:gd name="connsiteY6" fmla="*/ 222765 h 375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88908" h="3750188">
                <a:moveTo>
                  <a:pt x="1419555" y="222765"/>
                </a:moveTo>
                <a:cubicBezTo>
                  <a:pt x="717806" y="626802"/>
                  <a:pt x="-196593" y="2049793"/>
                  <a:pt x="37323" y="2636356"/>
                </a:cubicBezTo>
                <a:cubicBezTo>
                  <a:pt x="271239" y="3222919"/>
                  <a:pt x="2220541" y="3827202"/>
                  <a:pt x="2823053" y="3742142"/>
                </a:cubicBezTo>
                <a:cubicBezTo>
                  <a:pt x="3425565" y="3657082"/>
                  <a:pt x="3354681" y="2558384"/>
                  <a:pt x="3652393" y="2125993"/>
                </a:cubicBezTo>
                <a:cubicBezTo>
                  <a:pt x="3950105" y="1693602"/>
                  <a:pt x="4487049" y="1362221"/>
                  <a:pt x="4609323" y="1147798"/>
                </a:cubicBezTo>
                <a:cubicBezTo>
                  <a:pt x="4731597" y="933375"/>
                  <a:pt x="4779444" y="366304"/>
                  <a:pt x="4247816" y="212132"/>
                </a:cubicBezTo>
                <a:cubicBezTo>
                  <a:pt x="3716188" y="57960"/>
                  <a:pt x="2121304" y="-181272"/>
                  <a:pt x="1419555" y="222765"/>
                </a:cubicBezTo>
                <a:close/>
              </a:path>
            </a:pathLst>
          </a:custGeom>
          <a:solidFill>
            <a:schemeClr val="bg1">
              <a:lumMod val="65000"/>
              <a:alpha val="31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76222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5200" y="80195"/>
            <a:ext cx="11732529" cy="885824"/>
          </a:xfrm>
        </p:spPr>
        <p:txBody>
          <a:bodyPr/>
          <a:lstStyle/>
          <a:p>
            <a:r>
              <a:rPr lang="en-IN" dirty="0"/>
              <a:t>Smart Cities ICT Architecture - </a:t>
            </a:r>
            <a:r>
              <a:rPr lang="en-IN" dirty="0">
                <a:solidFill>
                  <a:srgbClr val="FFFF00"/>
                </a:solidFill>
              </a:rPr>
              <a:t>Simplified View</a:t>
            </a:r>
            <a:endParaRPr lang="en-US" dirty="0">
              <a:solidFill>
                <a:srgbClr val="FFFF00"/>
              </a:solidFill>
            </a:endParaRPr>
          </a:p>
        </p:txBody>
      </p:sp>
      <p:grpSp>
        <p:nvGrpSpPr>
          <p:cNvPr id="5" name="Group 4"/>
          <p:cNvGrpSpPr/>
          <p:nvPr/>
        </p:nvGrpSpPr>
        <p:grpSpPr>
          <a:xfrm>
            <a:off x="1651000" y="1677674"/>
            <a:ext cx="12801600" cy="6932926"/>
            <a:chOff x="1173484" y="1364569"/>
            <a:chExt cx="6825813" cy="4657990"/>
          </a:xfrm>
        </p:grpSpPr>
        <p:sp>
          <p:nvSpPr>
            <p:cNvPr id="6" name="Rectangle 5"/>
            <p:cNvSpPr/>
            <p:nvPr/>
          </p:nvSpPr>
          <p:spPr bwMode="auto">
            <a:xfrm>
              <a:off x="2277979" y="5624465"/>
              <a:ext cx="4660232"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US" sz="2400" b="1" dirty="0">
                  <a:solidFill>
                    <a:schemeClr val="bg1"/>
                  </a:solidFill>
                  <a:latin typeface="Calibri" panose="020F0502020204030204" pitchFamily="34" charset="0"/>
                  <a:cs typeface="Calibri" panose="020F0502020204030204" pitchFamily="34" charset="0"/>
                </a:rPr>
                <a:t>Sensors, Device &amp; Gateway Layer</a:t>
              </a:r>
            </a:p>
          </p:txBody>
        </p:sp>
        <p:sp>
          <p:nvSpPr>
            <p:cNvPr id="7" name="Rectangle 6"/>
            <p:cNvSpPr/>
            <p:nvPr/>
          </p:nvSpPr>
          <p:spPr bwMode="auto">
            <a:xfrm>
              <a:off x="2277979" y="4662084"/>
              <a:ext cx="4660232"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US" sz="2400" b="1" dirty="0">
                  <a:solidFill>
                    <a:schemeClr val="bg1"/>
                  </a:solidFill>
                  <a:latin typeface="Calibri" panose="020F0502020204030204" pitchFamily="34" charset="0"/>
                  <a:cs typeface="Calibri" panose="020F0502020204030204" pitchFamily="34" charset="0"/>
                </a:rPr>
                <a:t>Data Exchange &amp; Data Processing Layer</a:t>
              </a:r>
            </a:p>
          </p:txBody>
        </p:sp>
        <p:sp>
          <p:nvSpPr>
            <p:cNvPr id="8" name="Rectangle 7"/>
            <p:cNvSpPr/>
            <p:nvPr/>
          </p:nvSpPr>
          <p:spPr bwMode="auto">
            <a:xfrm>
              <a:off x="2277979" y="3676406"/>
              <a:ext cx="4660232"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API &amp; Service Orchestration Layer</a:t>
              </a:r>
              <a:endParaRPr lang="en-US" sz="2400" b="1" dirty="0">
                <a:solidFill>
                  <a:schemeClr val="bg1"/>
                </a:solidFill>
                <a:latin typeface="Calibri" panose="020F0502020204030204" pitchFamily="34" charset="0"/>
                <a:cs typeface="Calibri" panose="020F0502020204030204" pitchFamily="34" charset="0"/>
              </a:endParaRPr>
            </a:p>
          </p:txBody>
        </p:sp>
        <p:sp>
          <p:nvSpPr>
            <p:cNvPr id="9" name="Rectangle 8"/>
            <p:cNvSpPr/>
            <p:nvPr/>
          </p:nvSpPr>
          <p:spPr bwMode="auto">
            <a:xfrm>
              <a:off x="2277979" y="4148143"/>
              <a:ext cx="4660232"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US" sz="2400" b="1" dirty="0">
                  <a:solidFill>
                    <a:schemeClr val="bg1"/>
                  </a:solidFill>
                  <a:latin typeface="Calibri" panose="020F0502020204030204" pitchFamily="34" charset="0"/>
                  <a:cs typeface="Calibri" panose="020F0502020204030204" pitchFamily="34" charset="0"/>
                </a:rPr>
                <a:t>Context Layer (GIS, Time Servers)</a:t>
              </a:r>
            </a:p>
          </p:txBody>
        </p:sp>
        <p:sp>
          <p:nvSpPr>
            <p:cNvPr id="10" name="Rectangle 9"/>
            <p:cNvSpPr/>
            <p:nvPr/>
          </p:nvSpPr>
          <p:spPr bwMode="auto">
            <a:xfrm>
              <a:off x="1747436" y="3058210"/>
              <a:ext cx="420130" cy="2962769"/>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Go</a:t>
              </a:r>
            </a:p>
            <a:p>
              <a:pPr algn="ctr" eaLnBrk="0" hangingPunct="0"/>
              <a:r>
                <a:rPr lang="en-IN" sz="2400" b="1" dirty="0">
                  <a:solidFill>
                    <a:schemeClr val="bg1"/>
                  </a:solidFill>
                  <a:latin typeface="Calibri" panose="020F0502020204030204" pitchFamily="34" charset="0"/>
                  <a:cs typeface="Calibri" panose="020F0502020204030204" pitchFamily="34" charset="0"/>
                </a:rPr>
                <a:t>V</a:t>
              </a:r>
            </a:p>
            <a:p>
              <a:pPr algn="ctr" eaLnBrk="0" hangingPunct="0"/>
              <a:r>
                <a:rPr lang="en-IN" sz="2400" b="1" dirty="0">
                  <a:solidFill>
                    <a:schemeClr val="bg1"/>
                  </a:solidFill>
                  <a:latin typeface="Calibri" panose="020F0502020204030204" pitchFamily="34" charset="0"/>
                  <a:cs typeface="Calibri" panose="020F0502020204030204" pitchFamily="34" charset="0"/>
                </a:rPr>
                <a:t>E</a:t>
              </a:r>
            </a:p>
            <a:p>
              <a:pPr algn="ctr" eaLnBrk="0" hangingPunct="0"/>
              <a:r>
                <a:rPr lang="en-IN" sz="2400" b="1" dirty="0">
                  <a:solidFill>
                    <a:schemeClr val="bg1"/>
                  </a:solidFill>
                  <a:latin typeface="Calibri" panose="020F0502020204030204" pitchFamily="34" charset="0"/>
                  <a:cs typeface="Calibri" panose="020F0502020204030204" pitchFamily="34" charset="0"/>
                </a:rPr>
                <a:t>R</a:t>
              </a:r>
            </a:p>
            <a:p>
              <a:pPr algn="ctr" eaLnBrk="0" hangingPunct="0"/>
              <a:r>
                <a:rPr lang="en-IN" sz="2400" b="1" dirty="0">
                  <a:solidFill>
                    <a:schemeClr val="bg1"/>
                  </a:solidFill>
                  <a:latin typeface="Calibri" panose="020F0502020204030204" pitchFamily="34" charset="0"/>
                  <a:cs typeface="Calibri" panose="020F0502020204030204" pitchFamily="34" charset="0"/>
                </a:rPr>
                <a:t>N</a:t>
              </a:r>
            </a:p>
            <a:p>
              <a:pPr algn="ctr" eaLnBrk="0" hangingPunct="0"/>
              <a:r>
                <a:rPr lang="en-IN" sz="2400" b="1" dirty="0">
                  <a:solidFill>
                    <a:schemeClr val="bg1"/>
                  </a:solidFill>
                  <a:latin typeface="Calibri" panose="020F0502020204030204" pitchFamily="34" charset="0"/>
                  <a:cs typeface="Calibri" panose="020F0502020204030204" pitchFamily="34" charset="0"/>
                </a:rPr>
                <a:t>A</a:t>
              </a:r>
            </a:p>
            <a:p>
              <a:pPr algn="ctr" eaLnBrk="0" hangingPunct="0"/>
              <a:r>
                <a:rPr lang="en-IN" sz="2400" b="1" dirty="0">
                  <a:solidFill>
                    <a:schemeClr val="bg1"/>
                  </a:solidFill>
                  <a:latin typeface="Calibri" panose="020F0502020204030204" pitchFamily="34" charset="0"/>
                  <a:cs typeface="Calibri" panose="020F0502020204030204" pitchFamily="34" charset="0"/>
                </a:rPr>
                <a:t>N</a:t>
              </a:r>
            </a:p>
            <a:p>
              <a:pPr algn="ctr" eaLnBrk="0" hangingPunct="0"/>
              <a:r>
                <a:rPr lang="en-IN" sz="2400" b="1" dirty="0">
                  <a:solidFill>
                    <a:schemeClr val="bg1"/>
                  </a:solidFill>
                  <a:latin typeface="Calibri" panose="020F0502020204030204" pitchFamily="34" charset="0"/>
                  <a:cs typeface="Calibri" panose="020F0502020204030204" pitchFamily="34" charset="0"/>
                </a:rPr>
                <a:t>C</a:t>
              </a:r>
            </a:p>
            <a:p>
              <a:pPr algn="ctr" eaLnBrk="0" hangingPunct="0"/>
              <a:r>
                <a:rPr lang="en-IN" sz="2400" b="1" dirty="0">
                  <a:solidFill>
                    <a:schemeClr val="bg1"/>
                  </a:solidFill>
                  <a:latin typeface="Calibri" panose="020F0502020204030204" pitchFamily="34" charset="0"/>
                  <a:cs typeface="Calibri" panose="020F0502020204030204" pitchFamily="34" charset="0"/>
                </a:rPr>
                <a:t>E</a:t>
              </a:r>
            </a:p>
            <a:p>
              <a:pPr algn="ctr" eaLnBrk="0" hangingPunct="0"/>
              <a:endParaRPr lang="en-US" sz="2400" b="1" dirty="0">
                <a:solidFill>
                  <a:schemeClr val="bg1"/>
                </a:solidFill>
                <a:latin typeface="Calibri" panose="020F0502020204030204" pitchFamily="34" charset="0"/>
                <a:cs typeface="Calibri" panose="020F0502020204030204" pitchFamily="34" charset="0"/>
              </a:endParaRPr>
            </a:p>
          </p:txBody>
        </p:sp>
        <p:sp>
          <p:nvSpPr>
            <p:cNvPr id="11" name="Rectangle 10"/>
            <p:cNvSpPr/>
            <p:nvPr/>
          </p:nvSpPr>
          <p:spPr bwMode="auto">
            <a:xfrm>
              <a:off x="2277979" y="5144328"/>
              <a:ext cx="4660232"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US" sz="2400" b="1" dirty="0">
                  <a:solidFill>
                    <a:schemeClr val="bg1"/>
                  </a:solidFill>
                  <a:latin typeface="Calibri" panose="020F0502020204030204" pitchFamily="34" charset="0"/>
                  <a:cs typeface="Calibri" panose="020F0502020204030204" pitchFamily="34" charset="0"/>
                </a:rPr>
                <a:t>Network &amp; Communication Layer</a:t>
              </a:r>
            </a:p>
          </p:txBody>
        </p:sp>
        <p:sp>
          <p:nvSpPr>
            <p:cNvPr id="12" name="Rectangle 11"/>
            <p:cNvSpPr/>
            <p:nvPr/>
          </p:nvSpPr>
          <p:spPr bwMode="auto">
            <a:xfrm>
              <a:off x="7048624" y="3059790"/>
              <a:ext cx="420130" cy="2962769"/>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endParaRPr lang="en-IN" sz="2400" b="1" dirty="0">
                <a:solidFill>
                  <a:schemeClr val="bg1"/>
                </a:solidFill>
                <a:latin typeface="Calibri" panose="020F0502020204030204" pitchFamily="34" charset="0"/>
                <a:cs typeface="Calibri" panose="020F0502020204030204" pitchFamily="34" charset="0"/>
              </a:endParaRPr>
            </a:p>
            <a:p>
              <a:pPr algn="ctr" eaLnBrk="0" hangingPunct="0"/>
              <a:r>
                <a:rPr lang="en-IN" sz="2400" b="1" dirty="0">
                  <a:solidFill>
                    <a:schemeClr val="bg1"/>
                  </a:solidFill>
                  <a:latin typeface="Calibri" panose="020F0502020204030204" pitchFamily="34" charset="0"/>
                  <a:cs typeface="Calibri" panose="020F0502020204030204" pitchFamily="34" charset="0"/>
                </a:rPr>
                <a:t>S</a:t>
              </a:r>
            </a:p>
            <a:p>
              <a:pPr algn="ctr" eaLnBrk="0" hangingPunct="0"/>
              <a:r>
                <a:rPr lang="en-IN" sz="2400" b="1" dirty="0">
                  <a:solidFill>
                    <a:schemeClr val="bg1"/>
                  </a:solidFill>
                  <a:latin typeface="Calibri" panose="020F0502020204030204" pitchFamily="34" charset="0"/>
                  <a:cs typeface="Calibri" panose="020F0502020204030204" pitchFamily="34" charset="0"/>
                </a:rPr>
                <a:t>E</a:t>
              </a:r>
            </a:p>
            <a:p>
              <a:pPr algn="ctr" eaLnBrk="0" hangingPunct="0"/>
              <a:r>
                <a:rPr lang="en-IN" sz="2400" b="1" dirty="0">
                  <a:solidFill>
                    <a:schemeClr val="bg1"/>
                  </a:solidFill>
                  <a:latin typeface="Calibri" panose="020F0502020204030204" pitchFamily="34" charset="0"/>
                  <a:cs typeface="Calibri" panose="020F0502020204030204" pitchFamily="34" charset="0"/>
                </a:rPr>
                <a:t>C</a:t>
              </a:r>
            </a:p>
            <a:p>
              <a:pPr algn="ctr" eaLnBrk="0" hangingPunct="0"/>
              <a:r>
                <a:rPr lang="en-IN" sz="2400" b="1" dirty="0">
                  <a:solidFill>
                    <a:schemeClr val="bg1"/>
                  </a:solidFill>
                  <a:latin typeface="Calibri" panose="020F0502020204030204" pitchFamily="34" charset="0"/>
                  <a:cs typeface="Calibri" panose="020F0502020204030204" pitchFamily="34" charset="0"/>
                </a:rPr>
                <a:t>U</a:t>
              </a:r>
            </a:p>
            <a:p>
              <a:pPr algn="ctr" eaLnBrk="0" hangingPunct="0"/>
              <a:r>
                <a:rPr lang="en-IN" sz="2400" b="1" dirty="0">
                  <a:solidFill>
                    <a:schemeClr val="bg1"/>
                  </a:solidFill>
                  <a:latin typeface="Calibri" panose="020F0502020204030204" pitchFamily="34" charset="0"/>
                  <a:cs typeface="Calibri" panose="020F0502020204030204" pitchFamily="34" charset="0"/>
                </a:rPr>
                <a:t>R</a:t>
              </a:r>
            </a:p>
            <a:p>
              <a:pPr algn="ctr" eaLnBrk="0" hangingPunct="0"/>
              <a:r>
                <a:rPr lang="en-IN" sz="2400" b="1" dirty="0">
                  <a:solidFill>
                    <a:schemeClr val="bg1"/>
                  </a:solidFill>
                  <a:latin typeface="Calibri" panose="020F0502020204030204" pitchFamily="34" charset="0"/>
                  <a:cs typeface="Calibri" panose="020F0502020204030204" pitchFamily="34" charset="0"/>
                </a:rPr>
                <a:t>I</a:t>
              </a:r>
            </a:p>
            <a:p>
              <a:pPr algn="ctr" eaLnBrk="0" hangingPunct="0"/>
              <a:r>
                <a:rPr lang="en-IN" sz="2400" b="1" dirty="0">
                  <a:solidFill>
                    <a:schemeClr val="bg1"/>
                  </a:solidFill>
                  <a:latin typeface="Calibri" panose="020F0502020204030204" pitchFamily="34" charset="0"/>
                  <a:cs typeface="Calibri" panose="020F0502020204030204" pitchFamily="34" charset="0"/>
                </a:rPr>
                <a:t>T</a:t>
              </a:r>
            </a:p>
            <a:p>
              <a:pPr algn="ctr" eaLnBrk="0" hangingPunct="0"/>
              <a:r>
                <a:rPr lang="en-IN" sz="2400" b="1" dirty="0">
                  <a:solidFill>
                    <a:schemeClr val="bg1"/>
                  </a:solidFill>
                  <a:latin typeface="Calibri" panose="020F0502020204030204" pitchFamily="34" charset="0"/>
                  <a:cs typeface="Calibri" panose="020F0502020204030204" pitchFamily="34" charset="0"/>
                </a:rPr>
                <a:t>Y</a:t>
              </a:r>
            </a:p>
            <a:p>
              <a:pPr algn="ctr" eaLnBrk="0" hangingPunct="0"/>
              <a:endParaRPr lang="en-IN" sz="2400" b="1" dirty="0">
                <a:solidFill>
                  <a:schemeClr val="bg1"/>
                </a:solidFill>
                <a:latin typeface="Calibri" panose="020F0502020204030204" pitchFamily="34" charset="0"/>
                <a:cs typeface="Calibri" panose="020F0502020204030204" pitchFamily="34" charset="0"/>
              </a:endParaRPr>
            </a:p>
            <a:p>
              <a:pPr algn="ctr" eaLnBrk="0" hangingPunct="0"/>
              <a:endParaRPr lang="en-US" sz="2400" b="1" dirty="0">
                <a:solidFill>
                  <a:schemeClr val="bg1"/>
                </a:solidFill>
                <a:latin typeface="Calibri" panose="020F0502020204030204" pitchFamily="34" charset="0"/>
                <a:cs typeface="Calibri" panose="020F0502020204030204" pitchFamily="34" charset="0"/>
              </a:endParaRPr>
            </a:p>
          </p:txBody>
        </p:sp>
        <p:sp>
          <p:nvSpPr>
            <p:cNvPr id="13" name="Rectangle 12"/>
            <p:cNvSpPr/>
            <p:nvPr/>
          </p:nvSpPr>
          <p:spPr bwMode="auto">
            <a:xfrm>
              <a:off x="7579167" y="3054728"/>
              <a:ext cx="420130" cy="2962769"/>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133" b="1" dirty="0">
                  <a:solidFill>
                    <a:schemeClr val="bg1"/>
                  </a:solidFill>
                  <a:latin typeface="Calibri" panose="020F0502020204030204" pitchFamily="34" charset="0"/>
                  <a:cs typeface="Calibri" panose="020F0502020204030204" pitchFamily="34" charset="0"/>
                </a:rPr>
                <a:t>I</a:t>
              </a:r>
            </a:p>
            <a:p>
              <a:pPr algn="ctr" eaLnBrk="0" hangingPunct="0"/>
              <a:r>
                <a:rPr lang="en-IN" sz="2133" b="1" dirty="0">
                  <a:solidFill>
                    <a:schemeClr val="bg1"/>
                  </a:solidFill>
                  <a:latin typeface="Calibri" panose="020F0502020204030204" pitchFamily="34" charset="0"/>
                  <a:cs typeface="Calibri" panose="020F0502020204030204" pitchFamily="34" charset="0"/>
                </a:rPr>
                <a:t>N</a:t>
              </a:r>
            </a:p>
            <a:p>
              <a:pPr algn="ctr" eaLnBrk="0" hangingPunct="0"/>
              <a:r>
                <a:rPr lang="en-IN" sz="2133" b="1" dirty="0">
                  <a:solidFill>
                    <a:schemeClr val="bg1"/>
                  </a:solidFill>
                  <a:latin typeface="Calibri" panose="020F0502020204030204" pitchFamily="34" charset="0"/>
                  <a:cs typeface="Calibri" panose="020F0502020204030204" pitchFamily="34" charset="0"/>
                </a:rPr>
                <a:t>T</a:t>
              </a:r>
            </a:p>
            <a:p>
              <a:pPr algn="ctr" eaLnBrk="0" hangingPunct="0"/>
              <a:r>
                <a:rPr lang="en-IN" sz="2133" b="1" dirty="0">
                  <a:solidFill>
                    <a:schemeClr val="bg1"/>
                  </a:solidFill>
                  <a:latin typeface="Calibri" panose="020F0502020204030204" pitchFamily="34" charset="0"/>
                  <a:cs typeface="Calibri" panose="020F0502020204030204" pitchFamily="34" charset="0"/>
                </a:rPr>
                <a:t>E</a:t>
              </a:r>
            </a:p>
            <a:p>
              <a:pPr algn="ctr" eaLnBrk="0" hangingPunct="0"/>
              <a:r>
                <a:rPr lang="en-IN" sz="2133" b="1" dirty="0">
                  <a:solidFill>
                    <a:schemeClr val="bg1"/>
                  </a:solidFill>
                  <a:latin typeface="Calibri" panose="020F0502020204030204" pitchFamily="34" charset="0"/>
                  <a:cs typeface="Calibri" panose="020F0502020204030204" pitchFamily="34" charset="0"/>
                </a:rPr>
                <a:t>G</a:t>
              </a:r>
            </a:p>
            <a:p>
              <a:pPr algn="ctr" eaLnBrk="0" hangingPunct="0"/>
              <a:r>
                <a:rPr lang="en-IN" sz="2133" b="1" dirty="0">
                  <a:solidFill>
                    <a:schemeClr val="bg1"/>
                  </a:solidFill>
                  <a:latin typeface="Calibri" panose="020F0502020204030204" pitchFamily="34" charset="0"/>
                  <a:cs typeface="Calibri" panose="020F0502020204030204" pitchFamily="34" charset="0"/>
                </a:rPr>
                <a:t>R</a:t>
              </a:r>
            </a:p>
            <a:p>
              <a:pPr algn="ctr" eaLnBrk="0" hangingPunct="0"/>
              <a:r>
                <a:rPr lang="en-IN" sz="2133" b="1" dirty="0">
                  <a:solidFill>
                    <a:schemeClr val="bg1"/>
                  </a:solidFill>
                  <a:latin typeface="Calibri" panose="020F0502020204030204" pitchFamily="34" charset="0"/>
                  <a:cs typeface="Calibri" panose="020F0502020204030204" pitchFamily="34" charset="0"/>
                </a:rPr>
                <a:t>A</a:t>
              </a:r>
            </a:p>
            <a:p>
              <a:pPr algn="ctr" eaLnBrk="0" hangingPunct="0"/>
              <a:r>
                <a:rPr lang="en-IN" sz="2133" b="1" dirty="0">
                  <a:solidFill>
                    <a:schemeClr val="bg1"/>
                  </a:solidFill>
                  <a:latin typeface="Calibri" panose="020F0502020204030204" pitchFamily="34" charset="0"/>
                  <a:cs typeface="Calibri" panose="020F0502020204030204" pitchFamily="34" charset="0"/>
                </a:rPr>
                <a:t>T</a:t>
              </a:r>
            </a:p>
            <a:p>
              <a:pPr algn="ctr" eaLnBrk="0" hangingPunct="0"/>
              <a:r>
                <a:rPr lang="en-IN" sz="2133" b="1" dirty="0">
                  <a:solidFill>
                    <a:schemeClr val="bg1"/>
                  </a:solidFill>
                  <a:latin typeface="Calibri" panose="020F0502020204030204" pitchFamily="34" charset="0"/>
                  <a:cs typeface="Calibri" panose="020F0502020204030204" pitchFamily="34" charset="0"/>
                </a:rPr>
                <a:t>I</a:t>
              </a:r>
            </a:p>
            <a:p>
              <a:pPr algn="ctr" eaLnBrk="0" hangingPunct="0"/>
              <a:r>
                <a:rPr lang="en-IN" sz="2133" b="1" dirty="0">
                  <a:solidFill>
                    <a:schemeClr val="bg1"/>
                  </a:solidFill>
                  <a:latin typeface="Calibri" panose="020F0502020204030204" pitchFamily="34" charset="0"/>
                  <a:cs typeface="Calibri" panose="020F0502020204030204" pitchFamily="34" charset="0"/>
                </a:rPr>
                <a:t>O</a:t>
              </a:r>
            </a:p>
            <a:p>
              <a:pPr algn="ctr" eaLnBrk="0" hangingPunct="0"/>
              <a:r>
                <a:rPr lang="en-IN" sz="2133" b="1" dirty="0">
                  <a:solidFill>
                    <a:schemeClr val="bg1"/>
                  </a:solidFill>
                  <a:latin typeface="Calibri" panose="020F0502020204030204" pitchFamily="34" charset="0"/>
                  <a:cs typeface="Calibri" panose="020F0502020204030204" pitchFamily="34" charset="0"/>
                </a:rPr>
                <a:t>N</a:t>
              </a:r>
            </a:p>
            <a:p>
              <a:pPr algn="ctr" eaLnBrk="0" hangingPunct="0"/>
              <a:endParaRPr lang="en-US" sz="2133" b="1" dirty="0">
                <a:solidFill>
                  <a:schemeClr val="bg1"/>
                </a:solidFill>
                <a:latin typeface="Calibri" panose="020F0502020204030204" pitchFamily="34" charset="0"/>
                <a:cs typeface="Calibri" panose="020F0502020204030204" pitchFamily="34" charset="0"/>
              </a:endParaRPr>
            </a:p>
          </p:txBody>
        </p:sp>
        <p:sp>
          <p:nvSpPr>
            <p:cNvPr id="14" name="Rectangle 13"/>
            <p:cNvSpPr/>
            <p:nvPr/>
          </p:nvSpPr>
          <p:spPr bwMode="auto">
            <a:xfrm>
              <a:off x="2303767" y="2689318"/>
              <a:ext cx="4660232" cy="393032"/>
            </a:xfrm>
            <a:prstGeom prst="rect">
              <a:avLst/>
            </a:prstGeom>
            <a:solidFill>
              <a:schemeClr val="accent6">
                <a:lumMod val="75000"/>
              </a:schemeClr>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Smart City Applications</a:t>
              </a:r>
              <a:endParaRPr lang="en-US" sz="2400" b="1" dirty="0">
                <a:solidFill>
                  <a:schemeClr val="bg1"/>
                </a:solidFill>
                <a:latin typeface="Calibri" panose="020F0502020204030204" pitchFamily="34" charset="0"/>
                <a:cs typeface="Calibri" panose="020F0502020204030204" pitchFamily="34" charset="0"/>
              </a:endParaRPr>
            </a:p>
          </p:txBody>
        </p:sp>
        <p:sp>
          <p:nvSpPr>
            <p:cNvPr id="15" name="Rectangle 14"/>
            <p:cNvSpPr/>
            <p:nvPr/>
          </p:nvSpPr>
          <p:spPr bwMode="auto">
            <a:xfrm>
              <a:off x="2289699" y="3195761"/>
              <a:ext cx="4660232" cy="393032"/>
            </a:xfrm>
            <a:prstGeom prst="rect">
              <a:avLst/>
            </a:prstGeom>
            <a:solidFill>
              <a:schemeClr val="accent6">
                <a:lumMod val="75000"/>
              </a:schemeClr>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Domain Adaptation Layer</a:t>
              </a:r>
              <a:endParaRPr lang="en-US" sz="2400" b="1" dirty="0">
                <a:solidFill>
                  <a:schemeClr val="bg1"/>
                </a:solidFill>
                <a:latin typeface="Calibri" panose="020F0502020204030204" pitchFamily="34" charset="0"/>
                <a:cs typeface="Calibri" panose="020F0502020204030204" pitchFamily="34" charset="0"/>
              </a:endParaRPr>
            </a:p>
          </p:txBody>
        </p:sp>
        <p:sp>
          <p:nvSpPr>
            <p:cNvPr id="16" name="Rectangle 15"/>
            <p:cNvSpPr/>
            <p:nvPr/>
          </p:nvSpPr>
          <p:spPr bwMode="auto">
            <a:xfrm>
              <a:off x="2303768" y="2193043"/>
              <a:ext cx="1227224"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Citizens</a:t>
              </a:r>
              <a:endParaRPr lang="en-US" sz="2400" b="1" dirty="0">
                <a:solidFill>
                  <a:schemeClr val="bg1"/>
                </a:solidFill>
                <a:latin typeface="Calibri" panose="020F0502020204030204" pitchFamily="34" charset="0"/>
                <a:cs typeface="Calibri" panose="020F0502020204030204" pitchFamily="34" charset="0"/>
              </a:endParaRPr>
            </a:p>
          </p:txBody>
        </p:sp>
        <p:sp>
          <p:nvSpPr>
            <p:cNvPr id="17" name="Rectangle 16"/>
            <p:cNvSpPr/>
            <p:nvPr/>
          </p:nvSpPr>
          <p:spPr bwMode="auto">
            <a:xfrm>
              <a:off x="3612718" y="2191481"/>
              <a:ext cx="1536058"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Administrator</a:t>
              </a:r>
              <a:endParaRPr lang="en-US" sz="2400" b="1" dirty="0">
                <a:solidFill>
                  <a:schemeClr val="bg1"/>
                </a:solidFill>
                <a:latin typeface="Calibri" panose="020F0502020204030204" pitchFamily="34" charset="0"/>
                <a:cs typeface="Calibri" panose="020F0502020204030204" pitchFamily="34" charset="0"/>
              </a:endParaRPr>
            </a:p>
          </p:txBody>
        </p:sp>
        <p:sp>
          <p:nvSpPr>
            <p:cNvPr id="18" name="Rectangle 17"/>
            <p:cNvSpPr/>
            <p:nvPr/>
          </p:nvSpPr>
          <p:spPr bwMode="auto">
            <a:xfrm>
              <a:off x="5231155" y="2193043"/>
              <a:ext cx="1732844" cy="391470"/>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Service Provider</a:t>
              </a:r>
              <a:endParaRPr lang="en-US" sz="2400" b="1" dirty="0">
                <a:solidFill>
                  <a:schemeClr val="bg1"/>
                </a:solidFill>
                <a:latin typeface="Calibri" panose="020F0502020204030204" pitchFamily="34" charset="0"/>
                <a:cs typeface="Calibri" panose="020F0502020204030204" pitchFamily="34" charset="0"/>
              </a:endParaRPr>
            </a:p>
          </p:txBody>
        </p:sp>
        <p:sp>
          <p:nvSpPr>
            <p:cNvPr id="19" name="Rectangle 18"/>
            <p:cNvSpPr/>
            <p:nvPr/>
          </p:nvSpPr>
          <p:spPr bwMode="auto">
            <a:xfrm>
              <a:off x="2303768" y="1675264"/>
              <a:ext cx="4660232" cy="393032"/>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City KPI (Vision, Mission, Liveability Index)</a:t>
              </a:r>
              <a:endParaRPr lang="en-US" sz="2400" b="1" dirty="0">
                <a:solidFill>
                  <a:schemeClr val="bg1"/>
                </a:solidFill>
                <a:latin typeface="Calibri" panose="020F0502020204030204" pitchFamily="34" charset="0"/>
                <a:cs typeface="Calibri" panose="020F0502020204030204" pitchFamily="34" charset="0"/>
              </a:endParaRPr>
            </a:p>
          </p:txBody>
        </p:sp>
        <p:sp>
          <p:nvSpPr>
            <p:cNvPr id="20" name="Isosceles Triangle 19"/>
            <p:cNvSpPr/>
            <p:nvPr/>
          </p:nvSpPr>
          <p:spPr bwMode="auto">
            <a:xfrm>
              <a:off x="2303768" y="1364569"/>
              <a:ext cx="4634443" cy="282559"/>
            </a:xfrm>
            <a:prstGeom prst="triangle">
              <a:avLst/>
            </a:prstGeom>
            <a:solidFill>
              <a:srgbClr val="0070C0"/>
            </a:solidFill>
            <a:ln w="9525" cap="flat" cmpd="sng" algn="ctr">
              <a:solidFill>
                <a:srgbClr val="0070C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algn="ctr" eaLnBrk="0" hangingPunct="0"/>
              <a:endParaRPr lang="en-US" sz="2400" b="1">
                <a:solidFill>
                  <a:schemeClr val="bg1"/>
                </a:solidFill>
                <a:latin typeface="Calibri" panose="020F0502020204030204" pitchFamily="34" charset="0"/>
                <a:cs typeface="Calibri" panose="020F0502020204030204" pitchFamily="34" charset="0"/>
              </a:endParaRPr>
            </a:p>
          </p:txBody>
        </p:sp>
        <p:sp>
          <p:nvSpPr>
            <p:cNvPr id="21" name="Rectangle 20"/>
            <p:cNvSpPr/>
            <p:nvPr/>
          </p:nvSpPr>
          <p:spPr bwMode="auto">
            <a:xfrm>
              <a:off x="1173484" y="3054728"/>
              <a:ext cx="420130" cy="2962769"/>
            </a:xfrm>
            <a:prstGeom prst="rect">
              <a:avLst/>
            </a:prstGeom>
            <a:solidFill>
              <a:srgbClr val="0070C0"/>
            </a:solidFill>
            <a:ln w="9525" cap="flat" cmpd="sng" algn="ctr">
              <a:solidFill>
                <a:srgbClr val="0070C0"/>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121920" tIns="60960" rIns="121920" bIns="60960" numCol="1" rtlCol="0" anchor="t" anchorCtr="0" compatLnSpc="1">
              <a:prstTxWarp prst="textNoShape">
                <a:avLst/>
              </a:prstTxWarp>
            </a:bodyPr>
            <a:lstStyle/>
            <a:p>
              <a:pPr algn="ctr" eaLnBrk="0" hangingPunct="0"/>
              <a:r>
                <a:rPr lang="en-IN" sz="2400" b="1" dirty="0">
                  <a:solidFill>
                    <a:schemeClr val="bg1"/>
                  </a:solidFill>
                  <a:latin typeface="Calibri" panose="020F0502020204030204" pitchFamily="34" charset="0"/>
                  <a:cs typeface="Calibri" panose="020F0502020204030204" pitchFamily="34" charset="0"/>
                </a:rPr>
                <a:t>O</a:t>
              </a:r>
            </a:p>
            <a:p>
              <a:pPr algn="ctr" eaLnBrk="0" hangingPunct="0"/>
              <a:r>
                <a:rPr lang="en-IN" sz="2400" b="1" dirty="0">
                  <a:solidFill>
                    <a:schemeClr val="bg1"/>
                  </a:solidFill>
                  <a:latin typeface="Calibri" panose="020F0502020204030204" pitchFamily="34" charset="0"/>
                  <a:cs typeface="Calibri" panose="020F0502020204030204" pitchFamily="34" charset="0"/>
                </a:rPr>
                <a:t>P</a:t>
              </a:r>
            </a:p>
            <a:p>
              <a:pPr algn="ctr" eaLnBrk="0" hangingPunct="0"/>
              <a:r>
                <a:rPr lang="en-IN" sz="2400" b="1" dirty="0">
                  <a:solidFill>
                    <a:schemeClr val="bg1"/>
                  </a:solidFill>
                  <a:latin typeface="Calibri" panose="020F0502020204030204" pitchFamily="34" charset="0"/>
                  <a:cs typeface="Calibri" panose="020F0502020204030204" pitchFamily="34" charset="0"/>
                </a:rPr>
                <a:t>E</a:t>
              </a:r>
            </a:p>
            <a:p>
              <a:pPr algn="ctr" eaLnBrk="0" hangingPunct="0"/>
              <a:r>
                <a:rPr lang="en-IN" sz="2400" b="1" dirty="0">
                  <a:solidFill>
                    <a:schemeClr val="bg1"/>
                  </a:solidFill>
                  <a:latin typeface="Calibri" panose="020F0502020204030204" pitchFamily="34" charset="0"/>
                  <a:cs typeface="Calibri" panose="020F0502020204030204" pitchFamily="34" charset="0"/>
                </a:rPr>
                <a:t>R</a:t>
              </a:r>
            </a:p>
            <a:p>
              <a:pPr algn="ctr" eaLnBrk="0" hangingPunct="0"/>
              <a:r>
                <a:rPr lang="en-IN" sz="2400" b="1" dirty="0">
                  <a:solidFill>
                    <a:schemeClr val="bg1"/>
                  </a:solidFill>
                  <a:latin typeface="Calibri" panose="020F0502020204030204" pitchFamily="34" charset="0"/>
                  <a:cs typeface="Calibri" panose="020F0502020204030204" pitchFamily="34" charset="0"/>
                </a:rPr>
                <a:t>A</a:t>
              </a:r>
            </a:p>
            <a:p>
              <a:pPr algn="ctr" eaLnBrk="0" hangingPunct="0"/>
              <a:r>
                <a:rPr lang="en-IN" sz="2400" b="1" dirty="0">
                  <a:solidFill>
                    <a:schemeClr val="bg1"/>
                  </a:solidFill>
                  <a:latin typeface="Calibri" panose="020F0502020204030204" pitchFamily="34" charset="0"/>
                  <a:cs typeface="Calibri" panose="020F0502020204030204" pitchFamily="34" charset="0"/>
                </a:rPr>
                <a:t>T</a:t>
              </a:r>
            </a:p>
            <a:p>
              <a:pPr algn="ctr" eaLnBrk="0" hangingPunct="0"/>
              <a:r>
                <a:rPr lang="en-IN" sz="2400" b="1" dirty="0">
                  <a:solidFill>
                    <a:schemeClr val="bg1"/>
                  </a:solidFill>
                  <a:latin typeface="Calibri" panose="020F0502020204030204" pitchFamily="34" charset="0"/>
                  <a:cs typeface="Calibri" panose="020F0502020204030204" pitchFamily="34" charset="0"/>
                </a:rPr>
                <a:t>I</a:t>
              </a:r>
            </a:p>
            <a:p>
              <a:pPr algn="ctr" eaLnBrk="0" hangingPunct="0"/>
              <a:r>
                <a:rPr lang="en-IN" sz="2400" b="1" dirty="0">
                  <a:solidFill>
                    <a:schemeClr val="bg1"/>
                  </a:solidFill>
                  <a:latin typeface="Calibri" panose="020F0502020204030204" pitchFamily="34" charset="0"/>
                  <a:cs typeface="Calibri" panose="020F0502020204030204" pitchFamily="34" charset="0"/>
                </a:rPr>
                <a:t>O</a:t>
              </a:r>
            </a:p>
            <a:p>
              <a:pPr algn="ctr" eaLnBrk="0" hangingPunct="0"/>
              <a:r>
                <a:rPr lang="en-IN" sz="2400" b="1" dirty="0">
                  <a:solidFill>
                    <a:schemeClr val="bg1"/>
                  </a:solidFill>
                  <a:latin typeface="Calibri" panose="020F0502020204030204" pitchFamily="34" charset="0"/>
                  <a:cs typeface="Calibri" panose="020F0502020204030204" pitchFamily="34" charset="0"/>
                </a:rPr>
                <a:t>N</a:t>
              </a:r>
            </a:p>
            <a:p>
              <a:pPr algn="ctr" eaLnBrk="0" hangingPunct="0"/>
              <a:r>
                <a:rPr lang="en-IN" sz="2400" b="1" dirty="0">
                  <a:solidFill>
                    <a:schemeClr val="bg1"/>
                  </a:solidFill>
                  <a:latin typeface="Calibri" panose="020F0502020204030204" pitchFamily="34" charset="0"/>
                  <a:cs typeface="Calibri" panose="020F0502020204030204" pitchFamily="34" charset="0"/>
                </a:rPr>
                <a:t>S</a:t>
              </a:r>
            </a:p>
          </p:txBody>
        </p:sp>
      </p:grpSp>
    </p:spTree>
    <p:extLst>
      <p:ext uri="{BB962C8B-B14F-4D97-AF65-F5344CB8AC3E}">
        <p14:creationId xmlns:p14="http://schemas.microsoft.com/office/powerpoint/2010/main" val="3947816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9597BF7-0F92-CD46-9E2E-219FF07504F0}"/>
              </a:ext>
            </a:extLst>
          </p:cNvPr>
          <p:cNvGrpSpPr/>
          <p:nvPr/>
        </p:nvGrpSpPr>
        <p:grpSpPr>
          <a:xfrm>
            <a:off x="4394200" y="1287864"/>
            <a:ext cx="7772400" cy="6393415"/>
            <a:chOff x="4394200" y="1287864"/>
            <a:chExt cx="7772400" cy="6393415"/>
          </a:xfrm>
        </p:grpSpPr>
        <p:sp>
          <p:nvSpPr>
            <p:cNvPr id="3" name="Rounded Rectangle 2">
              <a:extLst>
                <a:ext uri="{FF2B5EF4-FFF2-40B4-BE49-F238E27FC236}">
                  <a16:creationId xmlns:a16="http://schemas.microsoft.com/office/drawing/2014/main" id="{6094AD65-ED56-1F49-92DA-FC0C096374B3}"/>
                </a:ext>
              </a:extLst>
            </p:cNvPr>
            <p:cNvSpPr/>
            <p:nvPr/>
          </p:nvSpPr>
          <p:spPr>
            <a:xfrm>
              <a:off x="4394200" y="1287864"/>
              <a:ext cx="7772400" cy="639341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25A83B56-E57B-BE4B-851A-F9A77B02E269}"/>
                </a:ext>
              </a:extLst>
            </p:cNvPr>
            <p:cNvGrpSpPr/>
            <p:nvPr/>
          </p:nvGrpSpPr>
          <p:grpSpPr>
            <a:xfrm>
              <a:off x="4927600" y="1462721"/>
              <a:ext cx="6919116" cy="5911272"/>
              <a:chOff x="8930465" y="1884219"/>
              <a:chExt cx="6919116" cy="5911272"/>
            </a:xfrm>
          </p:grpSpPr>
          <p:grpSp>
            <p:nvGrpSpPr>
              <p:cNvPr id="8" name="Group 7"/>
              <p:cNvGrpSpPr/>
              <p:nvPr/>
            </p:nvGrpSpPr>
            <p:grpSpPr>
              <a:xfrm>
                <a:off x="8930465" y="2974814"/>
                <a:ext cx="6919116" cy="4820677"/>
                <a:chOff x="3192663" y="2231110"/>
                <a:chExt cx="5802635" cy="4626890"/>
              </a:xfrm>
            </p:grpSpPr>
            <p:sp>
              <p:nvSpPr>
                <p:cNvPr id="9" name="Rectangle 8"/>
                <p:cNvSpPr/>
                <p:nvPr/>
              </p:nvSpPr>
              <p:spPr>
                <a:xfrm>
                  <a:off x="5839449" y="2751276"/>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0" name="Rectangle 9"/>
                <p:cNvSpPr/>
                <p:nvPr/>
              </p:nvSpPr>
              <p:spPr>
                <a:xfrm>
                  <a:off x="5836733" y="326555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1" name="Rectangle 10"/>
                <p:cNvSpPr/>
                <p:nvPr/>
              </p:nvSpPr>
              <p:spPr>
                <a:xfrm>
                  <a:off x="5836733" y="3781864"/>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2" name="Rectangle 11"/>
                <p:cNvSpPr/>
                <p:nvPr/>
              </p:nvSpPr>
              <p:spPr>
                <a:xfrm>
                  <a:off x="5836733" y="4304520"/>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3" name="Rectangle 12"/>
                <p:cNvSpPr/>
                <p:nvPr/>
              </p:nvSpPr>
              <p:spPr>
                <a:xfrm>
                  <a:off x="5836733" y="4820833"/>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4" name="Rectangle 13"/>
                <p:cNvSpPr/>
                <p:nvPr/>
              </p:nvSpPr>
              <p:spPr>
                <a:xfrm>
                  <a:off x="5836733" y="5337145"/>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5" name="Rectangle 14"/>
                <p:cNvSpPr/>
                <p:nvPr/>
              </p:nvSpPr>
              <p:spPr>
                <a:xfrm>
                  <a:off x="5836733" y="5853457"/>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6" name="Rectangle 15"/>
                <p:cNvSpPr/>
                <p:nvPr/>
              </p:nvSpPr>
              <p:spPr>
                <a:xfrm>
                  <a:off x="5836733" y="6363426"/>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7" name="Rectangle 16"/>
                <p:cNvSpPr/>
                <p:nvPr/>
              </p:nvSpPr>
              <p:spPr>
                <a:xfrm>
                  <a:off x="4797765" y="3263735"/>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8" name="Rectangle 17"/>
                <p:cNvSpPr/>
                <p:nvPr/>
              </p:nvSpPr>
              <p:spPr>
                <a:xfrm>
                  <a:off x="4797765" y="3780047"/>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9" name="Rectangle 18"/>
                <p:cNvSpPr/>
                <p:nvPr/>
              </p:nvSpPr>
              <p:spPr>
                <a:xfrm>
                  <a:off x="4797765" y="4302703"/>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0" name="Rectangle 19"/>
                <p:cNvSpPr/>
                <p:nvPr/>
              </p:nvSpPr>
              <p:spPr>
                <a:xfrm>
                  <a:off x="4797765" y="4819015"/>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1" name="Rectangle 20"/>
                <p:cNvSpPr/>
                <p:nvPr/>
              </p:nvSpPr>
              <p:spPr>
                <a:xfrm>
                  <a:off x="6886571"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2" name="Rectangle 21"/>
                <p:cNvSpPr/>
                <p:nvPr/>
              </p:nvSpPr>
              <p:spPr>
                <a:xfrm>
                  <a:off x="6886571" y="3786391"/>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3" name="Rectangle 22"/>
                <p:cNvSpPr/>
                <p:nvPr/>
              </p:nvSpPr>
              <p:spPr>
                <a:xfrm>
                  <a:off x="6886571" y="4298177"/>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4" name="Rectangle 23"/>
                <p:cNvSpPr/>
                <p:nvPr/>
              </p:nvSpPr>
              <p:spPr>
                <a:xfrm>
                  <a:off x="6886571" y="4814489"/>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5" name="Rectangle 24"/>
                <p:cNvSpPr/>
                <p:nvPr/>
              </p:nvSpPr>
              <p:spPr>
                <a:xfrm>
                  <a:off x="4268765"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6" name="Rectangle 25"/>
                <p:cNvSpPr/>
                <p:nvPr/>
              </p:nvSpPr>
              <p:spPr>
                <a:xfrm>
                  <a:off x="4268765" y="3786391"/>
                  <a:ext cx="494574" cy="494574"/>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7" name="Rectangle 26"/>
                <p:cNvSpPr/>
                <p:nvPr/>
              </p:nvSpPr>
              <p:spPr>
                <a:xfrm>
                  <a:off x="4268765" y="4298177"/>
                  <a:ext cx="494574" cy="494574"/>
                </a:xfrm>
                <a:prstGeom prst="rect">
                  <a:avLst/>
                </a:prstGeom>
                <a:solidFill>
                  <a:srgbClr val="41A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8" name="Rectangle 27"/>
                <p:cNvSpPr/>
                <p:nvPr/>
              </p:nvSpPr>
              <p:spPr>
                <a:xfrm>
                  <a:off x="4268765" y="4814489"/>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29" name="Rectangle 28"/>
                <p:cNvSpPr/>
                <p:nvPr/>
              </p:nvSpPr>
              <p:spPr>
                <a:xfrm>
                  <a:off x="3726188"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0" name="Rectangle 29"/>
                <p:cNvSpPr/>
                <p:nvPr/>
              </p:nvSpPr>
              <p:spPr>
                <a:xfrm>
                  <a:off x="3726188" y="3786391"/>
                  <a:ext cx="494574" cy="494574"/>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1" name="Rectangle 30"/>
                <p:cNvSpPr/>
                <p:nvPr/>
              </p:nvSpPr>
              <p:spPr>
                <a:xfrm>
                  <a:off x="3726188" y="4298177"/>
                  <a:ext cx="494574" cy="494574"/>
                </a:xfrm>
                <a:prstGeom prst="rect">
                  <a:avLst/>
                </a:prstGeom>
                <a:solidFill>
                  <a:srgbClr val="41A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2" name="Rectangle 31"/>
                <p:cNvSpPr/>
                <p:nvPr/>
              </p:nvSpPr>
              <p:spPr>
                <a:xfrm>
                  <a:off x="3726188" y="4814489"/>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3" name="Rectangle 32"/>
                <p:cNvSpPr/>
                <p:nvPr/>
              </p:nvSpPr>
              <p:spPr>
                <a:xfrm>
                  <a:off x="4268765" y="274742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4" name="Rectangle 33"/>
                <p:cNvSpPr/>
                <p:nvPr/>
              </p:nvSpPr>
              <p:spPr>
                <a:xfrm>
                  <a:off x="3726188" y="274742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5" name="Rectangle 34"/>
                <p:cNvSpPr/>
                <p:nvPr/>
              </p:nvSpPr>
              <p:spPr>
                <a:xfrm>
                  <a:off x="4268765" y="533080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6" name="Rectangle 35"/>
                <p:cNvSpPr/>
                <p:nvPr/>
              </p:nvSpPr>
              <p:spPr>
                <a:xfrm>
                  <a:off x="3726188" y="533080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7" name="Rectangle 36"/>
                <p:cNvSpPr/>
                <p:nvPr/>
              </p:nvSpPr>
              <p:spPr>
                <a:xfrm>
                  <a:off x="3721662" y="2231110"/>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8" name="Rectangle 37"/>
                <p:cNvSpPr/>
                <p:nvPr/>
              </p:nvSpPr>
              <p:spPr>
                <a:xfrm>
                  <a:off x="3732532" y="5847114"/>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39" name="Rectangle 38"/>
                <p:cNvSpPr/>
                <p:nvPr/>
              </p:nvSpPr>
              <p:spPr>
                <a:xfrm>
                  <a:off x="3197189"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0" name="Rectangle 39"/>
                <p:cNvSpPr/>
                <p:nvPr/>
              </p:nvSpPr>
              <p:spPr>
                <a:xfrm>
                  <a:off x="3197189" y="274742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1" name="Rectangle 40"/>
                <p:cNvSpPr/>
                <p:nvPr/>
              </p:nvSpPr>
              <p:spPr>
                <a:xfrm>
                  <a:off x="3192663" y="2231110"/>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2" name="Rectangle 41"/>
                <p:cNvSpPr/>
                <p:nvPr/>
              </p:nvSpPr>
              <p:spPr>
                <a:xfrm>
                  <a:off x="3203532" y="4808146"/>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3" name="Rectangle 42"/>
                <p:cNvSpPr/>
                <p:nvPr/>
              </p:nvSpPr>
              <p:spPr>
                <a:xfrm>
                  <a:off x="3203532" y="532445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4" name="Rectangle 43"/>
                <p:cNvSpPr/>
                <p:nvPr/>
              </p:nvSpPr>
              <p:spPr>
                <a:xfrm>
                  <a:off x="3209876" y="5840771"/>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5" name="Rectangle 44"/>
                <p:cNvSpPr/>
                <p:nvPr/>
              </p:nvSpPr>
              <p:spPr>
                <a:xfrm>
                  <a:off x="7424622"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6" name="Rectangle 45"/>
                <p:cNvSpPr/>
                <p:nvPr/>
              </p:nvSpPr>
              <p:spPr>
                <a:xfrm>
                  <a:off x="7424622" y="3786391"/>
                  <a:ext cx="494574" cy="494574"/>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7" name="Rectangle 46"/>
                <p:cNvSpPr/>
                <p:nvPr/>
              </p:nvSpPr>
              <p:spPr>
                <a:xfrm>
                  <a:off x="7424622" y="4298177"/>
                  <a:ext cx="494574" cy="494574"/>
                </a:xfrm>
                <a:prstGeom prst="rect">
                  <a:avLst/>
                </a:prstGeom>
                <a:solidFill>
                  <a:srgbClr val="41A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8" name="Rectangle 47"/>
                <p:cNvSpPr/>
                <p:nvPr/>
              </p:nvSpPr>
              <p:spPr>
                <a:xfrm>
                  <a:off x="7424622" y="4814489"/>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49" name="Rectangle 48"/>
                <p:cNvSpPr/>
                <p:nvPr/>
              </p:nvSpPr>
              <p:spPr>
                <a:xfrm>
                  <a:off x="7424622" y="274742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0" name="Rectangle 49"/>
                <p:cNvSpPr/>
                <p:nvPr/>
              </p:nvSpPr>
              <p:spPr>
                <a:xfrm>
                  <a:off x="7424622" y="533080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1" name="Rectangle 50"/>
                <p:cNvSpPr/>
                <p:nvPr/>
              </p:nvSpPr>
              <p:spPr>
                <a:xfrm>
                  <a:off x="7962673"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2" name="Rectangle 51"/>
                <p:cNvSpPr/>
                <p:nvPr/>
              </p:nvSpPr>
              <p:spPr>
                <a:xfrm>
                  <a:off x="7962673" y="3786391"/>
                  <a:ext cx="494574" cy="494574"/>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3" name="Rectangle 52"/>
                <p:cNvSpPr/>
                <p:nvPr/>
              </p:nvSpPr>
              <p:spPr>
                <a:xfrm>
                  <a:off x="7962673" y="4298177"/>
                  <a:ext cx="494574" cy="494574"/>
                </a:xfrm>
                <a:prstGeom prst="rect">
                  <a:avLst/>
                </a:prstGeom>
                <a:solidFill>
                  <a:srgbClr val="41A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4" name="Rectangle 53"/>
                <p:cNvSpPr/>
                <p:nvPr/>
              </p:nvSpPr>
              <p:spPr>
                <a:xfrm>
                  <a:off x="7962673" y="4814489"/>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5" name="Rectangle 54"/>
                <p:cNvSpPr/>
                <p:nvPr/>
              </p:nvSpPr>
              <p:spPr>
                <a:xfrm>
                  <a:off x="7962673" y="274742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6" name="Rectangle 55"/>
                <p:cNvSpPr/>
                <p:nvPr/>
              </p:nvSpPr>
              <p:spPr>
                <a:xfrm>
                  <a:off x="7962673" y="533080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7" name="Rectangle 56"/>
                <p:cNvSpPr/>
                <p:nvPr/>
              </p:nvSpPr>
              <p:spPr>
                <a:xfrm>
                  <a:off x="7958147" y="2231110"/>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8" name="Rectangle 57"/>
                <p:cNvSpPr/>
                <p:nvPr/>
              </p:nvSpPr>
              <p:spPr>
                <a:xfrm>
                  <a:off x="7969016" y="5847114"/>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59" name="Rectangle 58"/>
                <p:cNvSpPr/>
                <p:nvPr/>
              </p:nvSpPr>
              <p:spPr>
                <a:xfrm>
                  <a:off x="8494381" y="327007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60" name="Rectangle 59"/>
                <p:cNvSpPr/>
                <p:nvPr/>
              </p:nvSpPr>
              <p:spPr>
                <a:xfrm>
                  <a:off x="8494381" y="2747422"/>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61" name="Rectangle 60"/>
                <p:cNvSpPr/>
                <p:nvPr/>
              </p:nvSpPr>
              <p:spPr>
                <a:xfrm>
                  <a:off x="8489855" y="2231110"/>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62" name="Rectangle 61"/>
                <p:cNvSpPr/>
                <p:nvPr/>
              </p:nvSpPr>
              <p:spPr>
                <a:xfrm>
                  <a:off x="8500724" y="4808146"/>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63" name="Rectangle 62"/>
                <p:cNvSpPr/>
                <p:nvPr/>
              </p:nvSpPr>
              <p:spPr>
                <a:xfrm>
                  <a:off x="8500724" y="5324458"/>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64" name="Rectangle 63"/>
                <p:cNvSpPr/>
                <p:nvPr/>
              </p:nvSpPr>
              <p:spPr>
                <a:xfrm>
                  <a:off x="8496198" y="5840771"/>
                  <a:ext cx="494574" cy="494574"/>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grpSp>
          <p:sp>
            <p:nvSpPr>
              <p:cNvPr id="122" name="Rectangle 121"/>
              <p:cNvSpPr/>
              <p:nvPr/>
            </p:nvSpPr>
            <p:spPr>
              <a:xfrm>
                <a:off x="12067961" y="2653556"/>
                <a:ext cx="659432" cy="65943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23" name="Rectangle 122"/>
              <p:cNvSpPr/>
              <p:nvPr/>
            </p:nvSpPr>
            <p:spPr>
              <a:xfrm>
                <a:off x="11379544" y="1884219"/>
                <a:ext cx="659432" cy="659432"/>
              </a:xfrm>
              <a:prstGeom prst="rect">
                <a:avLst/>
              </a:prstGeom>
              <a:solidFill>
                <a:srgbClr val="F99D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24" name="Rectangle 123"/>
              <p:cNvSpPr/>
              <p:nvPr/>
            </p:nvSpPr>
            <p:spPr>
              <a:xfrm>
                <a:off x="12770871" y="1884219"/>
                <a:ext cx="659432" cy="659432"/>
              </a:xfrm>
              <a:prstGeom prst="rect">
                <a:avLst/>
              </a:prstGeom>
              <a:solidFill>
                <a:srgbClr val="41AD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grpSp>
      </p:grpSp>
      <p:sp>
        <p:nvSpPr>
          <p:cNvPr id="125" name="Title 126"/>
          <p:cNvSpPr txBox="1">
            <a:spLocks/>
          </p:cNvSpPr>
          <p:nvPr/>
        </p:nvSpPr>
        <p:spPr>
          <a:xfrm>
            <a:off x="920957" y="228600"/>
            <a:ext cx="7653316" cy="943092"/>
          </a:xfrm>
          <a:prstGeom prst="rect">
            <a:avLst/>
          </a:prstGeom>
        </p:spPr>
        <p:txBody>
          <a:bodyPr vert="horz" lIns="121920" tIns="60960" rIns="121920" bIns="60960" rtlCol="0" anchor="ctr">
            <a:normAutofit/>
          </a:bodyPr>
          <a:lstStyle>
            <a:lvl1pPr algn="l" defTabSz="914400" rtl="0" eaLnBrk="1" latinLnBrk="0" hangingPunct="1">
              <a:lnSpc>
                <a:spcPct val="90000"/>
              </a:lnSpc>
              <a:spcBef>
                <a:spcPct val="0"/>
              </a:spcBef>
              <a:buNone/>
              <a:defRPr sz="4400" kern="1200">
                <a:solidFill>
                  <a:schemeClr val="bg1"/>
                </a:solidFill>
                <a:latin typeface="Roboto Black" panose="02000000000000000000" pitchFamily="2" charset="0"/>
                <a:ea typeface="Roboto Black" panose="02000000000000000000" pitchFamily="2" charset="0"/>
                <a:cs typeface="+mj-cs"/>
              </a:defRPr>
            </a:lvl1pPr>
          </a:lstStyle>
          <a:p>
            <a:r>
              <a:rPr lang="en-US" dirty="0">
                <a:solidFill>
                  <a:srgbClr val="90F502"/>
                </a:solidFill>
                <a:latin typeface="+mj-lt"/>
              </a:rPr>
              <a:t>Smart Cities Mission </a:t>
            </a:r>
          </a:p>
        </p:txBody>
      </p:sp>
      <p:sp>
        <p:nvSpPr>
          <p:cNvPr id="127" name="Rectangle 126"/>
          <p:cNvSpPr/>
          <p:nvPr/>
        </p:nvSpPr>
        <p:spPr>
          <a:xfrm>
            <a:off x="4792465" y="7646642"/>
            <a:ext cx="7374135" cy="892552"/>
          </a:xfrm>
          <a:prstGeom prst="rect">
            <a:avLst/>
          </a:prstGeom>
        </p:spPr>
        <p:txBody>
          <a:bodyPr wrap="none">
            <a:spAutoFit/>
          </a:bodyPr>
          <a:lstStyle/>
          <a:p>
            <a:r>
              <a:rPr lang="en-US" sz="5200" b="1" dirty="0">
                <a:solidFill>
                  <a:srgbClr val="FFFF00"/>
                </a:solidFill>
              </a:rPr>
              <a:t>Mission Transform-Nation</a:t>
            </a:r>
            <a:endParaRPr lang="en-GB" sz="5200" b="1" dirty="0">
              <a:solidFill>
                <a:srgbClr val="FFFF00"/>
              </a:solidFill>
            </a:endParaRPr>
          </a:p>
        </p:txBody>
      </p:sp>
    </p:spTree>
    <p:extLst>
      <p:ext uri="{BB962C8B-B14F-4D97-AF65-F5344CB8AC3E}">
        <p14:creationId xmlns:p14="http://schemas.microsoft.com/office/powerpoint/2010/main" val="41824218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1409" y="137308"/>
            <a:ext cx="10172791" cy="853017"/>
          </a:xfrm>
        </p:spPr>
        <p:txBody>
          <a:bodyPr>
            <a:normAutofit fontScale="90000"/>
          </a:bodyPr>
          <a:lstStyle/>
          <a:p>
            <a:r>
              <a:rPr lang="en-US" dirty="0">
                <a:latin typeface="Century Gothic" panose="020B0502020202020204" pitchFamily="34" charset="0"/>
              </a:rPr>
              <a:t>7 Layers of Information Flow </a:t>
            </a:r>
          </a:p>
        </p:txBody>
      </p:sp>
      <p:pic>
        <p:nvPicPr>
          <p:cNvPr id="4" name="Content Placeholder 3" descr="Data 2 knowledge flow.jpg"/>
          <p:cNvPicPr>
            <a:picLocks noGrp="1" noChangeAspect="1"/>
          </p:cNvPicPr>
          <p:nvPr>
            <p:ph idx="1"/>
          </p:nvPr>
        </p:nvPicPr>
        <p:blipFill rotWithShape="1">
          <a:blip r:embed="rId2">
            <a:extLst>
              <a:ext uri="{28A0092B-C50C-407E-A947-70E740481C1C}">
                <a14:useLocalDpi xmlns:a14="http://schemas.microsoft.com/office/drawing/2010/main" val="0"/>
              </a:ext>
            </a:extLst>
          </a:blip>
          <a:srcRect l="-121" r="-509"/>
          <a:stretch/>
        </p:blipFill>
        <p:spPr>
          <a:xfrm>
            <a:off x="1840695" y="1143000"/>
            <a:ext cx="12971800" cy="7391400"/>
          </a:xfrm>
        </p:spPr>
      </p:pic>
    </p:spTree>
    <p:extLst>
      <p:ext uri="{BB962C8B-B14F-4D97-AF65-F5344CB8AC3E}">
        <p14:creationId xmlns:p14="http://schemas.microsoft.com/office/powerpoint/2010/main" val="12353837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348939" y="457200"/>
            <a:ext cx="11655861" cy="970268"/>
          </a:xfrm>
        </p:spPr>
        <p:txBody>
          <a:bodyPr>
            <a:noAutofit/>
          </a:bodyPr>
          <a:lstStyle/>
          <a:p>
            <a:pPr lvl="0"/>
            <a:r>
              <a:rPr lang="en-US" sz="4000" dirty="0">
                <a:latin typeface="Century Gothic" panose="020B0502020202020204" pitchFamily="34" charset="0"/>
              </a:rPr>
              <a:t>Mapping the Smart Infrastructure Philosophy to High-level Functionality</a:t>
            </a:r>
          </a:p>
        </p:txBody>
      </p:sp>
      <p:grpSp>
        <p:nvGrpSpPr>
          <p:cNvPr id="6" name="Group 5"/>
          <p:cNvGrpSpPr/>
          <p:nvPr/>
        </p:nvGrpSpPr>
        <p:grpSpPr>
          <a:xfrm>
            <a:off x="1879600" y="1676400"/>
            <a:ext cx="13487400" cy="6334208"/>
            <a:chOff x="328207" y="768652"/>
            <a:chExt cx="8429194" cy="5621099"/>
          </a:xfrm>
        </p:grpSpPr>
        <p:sp>
          <p:nvSpPr>
            <p:cNvPr id="2" name="Rectangle 1"/>
            <p:cNvSpPr/>
            <p:nvPr/>
          </p:nvSpPr>
          <p:spPr>
            <a:xfrm>
              <a:off x="4030749" y="821013"/>
              <a:ext cx="3805296" cy="500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207" y="768652"/>
              <a:ext cx="4368162" cy="5621099"/>
            </a:xfrm>
            <a:prstGeom prst="rect">
              <a:avLst/>
            </a:prstGeom>
          </p:spPr>
        </p:pic>
        <p:grpSp>
          <p:nvGrpSpPr>
            <p:cNvPr id="7" name="Group 6"/>
            <p:cNvGrpSpPr/>
            <p:nvPr/>
          </p:nvGrpSpPr>
          <p:grpSpPr>
            <a:xfrm>
              <a:off x="4710409" y="821013"/>
              <a:ext cx="4046992" cy="5534872"/>
              <a:chOff x="4707488" y="821013"/>
              <a:chExt cx="4046992" cy="5534872"/>
            </a:xfrm>
          </p:grpSpPr>
          <p:sp>
            <p:nvSpPr>
              <p:cNvPr id="48" name="Rectangle 47"/>
              <p:cNvSpPr/>
              <p:nvPr/>
            </p:nvSpPr>
            <p:spPr>
              <a:xfrm>
                <a:off x="4707488" y="821013"/>
                <a:ext cx="914379"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3200" b="1" dirty="0">
                    <a:solidFill>
                      <a:srgbClr val="C00000"/>
                    </a:solidFill>
                  </a:rPr>
                  <a:t>Physical   </a:t>
                </a:r>
                <a:r>
                  <a:rPr lang="en-US" sz="3200" b="1" dirty="0">
                    <a:solidFill>
                      <a:schemeClr val="tx1"/>
                    </a:solidFill>
                  </a:rPr>
                  <a:t>Infrastructure</a:t>
                </a:r>
              </a:p>
            </p:txBody>
          </p:sp>
          <p:sp>
            <p:nvSpPr>
              <p:cNvPr id="54" name="Rectangle 53"/>
              <p:cNvSpPr/>
              <p:nvPr/>
            </p:nvSpPr>
            <p:spPr>
              <a:xfrm>
                <a:off x="5751671" y="821013"/>
                <a:ext cx="914400"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3200" b="1" dirty="0">
                    <a:solidFill>
                      <a:srgbClr val="C00000"/>
                    </a:solidFill>
                  </a:rPr>
                  <a:t>Social </a:t>
                </a:r>
                <a:r>
                  <a:rPr lang="en-US" sz="3200" b="1" dirty="0">
                    <a:solidFill>
                      <a:schemeClr val="tx1"/>
                    </a:solidFill>
                  </a:rPr>
                  <a:t>Infrastructure</a:t>
                </a:r>
              </a:p>
            </p:txBody>
          </p:sp>
          <p:sp>
            <p:nvSpPr>
              <p:cNvPr id="55" name="Rectangle 54"/>
              <p:cNvSpPr/>
              <p:nvPr/>
            </p:nvSpPr>
            <p:spPr>
              <a:xfrm>
                <a:off x="6795875" y="821013"/>
                <a:ext cx="914400"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3200" b="1" dirty="0">
                    <a:solidFill>
                      <a:srgbClr val="C00000"/>
                    </a:solidFill>
                  </a:rPr>
                  <a:t>Economic </a:t>
                </a:r>
                <a:r>
                  <a:rPr lang="en-US" sz="3200" b="1" dirty="0">
                    <a:solidFill>
                      <a:schemeClr val="tx1"/>
                    </a:solidFill>
                  </a:rPr>
                  <a:t>Infrastructure</a:t>
                </a:r>
              </a:p>
            </p:txBody>
          </p:sp>
          <p:sp>
            <p:nvSpPr>
              <p:cNvPr id="56" name="Rectangle 55"/>
              <p:cNvSpPr/>
              <p:nvPr/>
            </p:nvSpPr>
            <p:spPr>
              <a:xfrm>
                <a:off x="7840080" y="821013"/>
                <a:ext cx="914400"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3200" b="1" dirty="0">
                    <a:solidFill>
                      <a:srgbClr val="C00000"/>
                    </a:solidFill>
                  </a:rPr>
                  <a:t>Institutional </a:t>
                </a:r>
                <a:r>
                  <a:rPr lang="en-US" sz="3200" b="1" dirty="0">
                    <a:solidFill>
                      <a:schemeClr val="tx1"/>
                    </a:solidFill>
                  </a:rPr>
                  <a:t>Infrastructure</a:t>
                </a:r>
              </a:p>
            </p:txBody>
          </p:sp>
        </p:grpSp>
      </p:grpSp>
    </p:spTree>
    <p:extLst>
      <p:ext uri="{BB962C8B-B14F-4D97-AF65-F5344CB8AC3E}">
        <p14:creationId xmlns:p14="http://schemas.microsoft.com/office/powerpoint/2010/main" val="11168967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597686" y="477532"/>
            <a:ext cx="11407114" cy="970268"/>
          </a:xfrm>
        </p:spPr>
        <p:txBody>
          <a:bodyPr>
            <a:noAutofit/>
          </a:bodyPr>
          <a:lstStyle/>
          <a:p>
            <a:pPr lvl="0"/>
            <a:r>
              <a:rPr lang="en-US" sz="4000" dirty="0">
                <a:latin typeface="Century Gothic" panose="020B0502020202020204" pitchFamily="34" charset="0"/>
              </a:rPr>
              <a:t>Mapping the Smart Infrastructure Philosophy to High-level Functionality</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7907" y="1524000"/>
            <a:ext cx="5824216" cy="7494799"/>
          </a:xfrm>
          <a:prstGeom prst="rect">
            <a:avLst/>
          </a:prstGeom>
        </p:spPr>
      </p:pic>
      <p:sp>
        <p:nvSpPr>
          <p:cNvPr id="63" name="Left Brace 62"/>
          <p:cNvSpPr/>
          <p:nvPr/>
        </p:nvSpPr>
        <p:spPr>
          <a:xfrm rot="10800000">
            <a:off x="8409507" y="3884279"/>
            <a:ext cx="596055" cy="4954128"/>
          </a:xfrm>
          <a:prstGeom prst="leftBrace">
            <a:avLst>
              <a:gd name="adj1" fmla="val 95324"/>
              <a:gd name="adj2" fmla="val 50540"/>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5200">
              <a:solidFill>
                <a:srgbClr val="90F502"/>
              </a:solidFill>
            </a:endParaRPr>
          </a:p>
        </p:txBody>
      </p:sp>
      <p:sp>
        <p:nvSpPr>
          <p:cNvPr id="64" name="TextBox 63"/>
          <p:cNvSpPr txBox="1"/>
          <p:nvPr/>
        </p:nvSpPr>
        <p:spPr>
          <a:xfrm>
            <a:off x="8986838" y="4267200"/>
            <a:ext cx="6761162" cy="3539430"/>
          </a:xfrm>
          <a:prstGeom prst="rect">
            <a:avLst/>
          </a:prstGeom>
          <a:noFill/>
        </p:spPr>
        <p:txBody>
          <a:bodyPr wrap="square" rtlCol="0">
            <a:spAutoFit/>
          </a:bodyPr>
          <a:lstStyle/>
          <a:p>
            <a:pPr algn="just"/>
            <a:r>
              <a:rPr lang="en-US" sz="3200" dirty="0">
                <a:solidFill>
                  <a:srgbClr val="FFFF00"/>
                </a:solidFill>
                <a:latin typeface="Century Gothic"/>
                <a:cs typeface="Century Gothic"/>
              </a:rPr>
              <a:t>The application needs </a:t>
            </a:r>
            <a:r>
              <a:rPr lang="en-US" sz="3200" b="1" dirty="0">
                <a:solidFill>
                  <a:srgbClr val="FFFF00"/>
                </a:solidFill>
                <a:latin typeface="Century Gothic"/>
                <a:cs typeface="Century Gothic"/>
              </a:rPr>
              <a:t>change </a:t>
            </a:r>
            <a:r>
              <a:rPr lang="en-US" sz="3200" dirty="0">
                <a:solidFill>
                  <a:srgbClr val="FFFF00"/>
                </a:solidFill>
                <a:latin typeface="Century Gothic"/>
                <a:cs typeface="Century Gothic"/>
              </a:rPr>
              <a:t>(as part of the users’ requirement) to derive value from different infrastructure pillars</a:t>
            </a:r>
            <a:r>
              <a:rPr lang="en-US" sz="3200" b="1" dirty="0">
                <a:solidFill>
                  <a:srgbClr val="FFFF00"/>
                </a:solidFill>
                <a:latin typeface="Century Gothic"/>
                <a:cs typeface="Century Gothic"/>
              </a:rPr>
              <a:t>, but </a:t>
            </a:r>
            <a:r>
              <a:rPr lang="en-US" sz="3200" dirty="0">
                <a:solidFill>
                  <a:srgbClr val="FFFF00"/>
                </a:solidFill>
                <a:latin typeface="Century Gothic"/>
                <a:cs typeface="Century Gothic"/>
              </a:rPr>
              <a:t>the ICT and IoT </a:t>
            </a:r>
            <a:r>
              <a:rPr lang="en-US" sz="3200" b="1" dirty="0">
                <a:solidFill>
                  <a:srgbClr val="FFFF00"/>
                </a:solidFill>
                <a:latin typeface="Century Gothic"/>
                <a:cs typeface="Century Gothic"/>
              </a:rPr>
              <a:t>backbone remains (or should remain)</a:t>
            </a:r>
            <a:r>
              <a:rPr lang="en-US" sz="3200" dirty="0">
                <a:solidFill>
                  <a:srgbClr val="FFFF00"/>
                </a:solidFill>
                <a:latin typeface="Century Gothic"/>
                <a:cs typeface="Century Gothic"/>
              </a:rPr>
              <a:t> </a:t>
            </a:r>
            <a:r>
              <a:rPr lang="en-US" sz="3200" b="1" dirty="0">
                <a:solidFill>
                  <a:srgbClr val="FFFF00"/>
                </a:solidFill>
                <a:latin typeface="Century Gothic"/>
                <a:cs typeface="Century Gothic"/>
              </a:rPr>
              <a:t>the SAME !!!</a:t>
            </a:r>
          </a:p>
        </p:txBody>
      </p:sp>
      <p:grpSp>
        <p:nvGrpSpPr>
          <p:cNvPr id="6" name="Group 5"/>
          <p:cNvGrpSpPr/>
          <p:nvPr/>
        </p:nvGrpSpPr>
        <p:grpSpPr>
          <a:xfrm>
            <a:off x="8647498" y="1741120"/>
            <a:ext cx="7100502" cy="2103317"/>
            <a:chOff x="4710409" y="810503"/>
            <a:chExt cx="4046992" cy="5534872"/>
          </a:xfrm>
        </p:grpSpPr>
        <p:sp>
          <p:nvSpPr>
            <p:cNvPr id="15" name="Rectangle 14"/>
            <p:cNvSpPr/>
            <p:nvPr/>
          </p:nvSpPr>
          <p:spPr>
            <a:xfrm>
              <a:off x="4710409" y="810503"/>
              <a:ext cx="914379"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33" b="1" dirty="0">
                  <a:solidFill>
                    <a:srgbClr val="C00000"/>
                  </a:solidFill>
                </a:rPr>
                <a:t>Physical   </a:t>
              </a:r>
              <a:r>
                <a:rPr lang="en-US" sz="2133" b="1" dirty="0">
                  <a:solidFill>
                    <a:schemeClr val="tx1"/>
                  </a:solidFill>
                </a:rPr>
                <a:t>Infrastructure</a:t>
              </a:r>
            </a:p>
          </p:txBody>
        </p:sp>
        <p:sp>
          <p:nvSpPr>
            <p:cNvPr id="16" name="Rectangle 15"/>
            <p:cNvSpPr/>
            <p:nvPr/>
          </p:nvSpPr>
          <p:spPr>
            <a:xfrm>
              <a:off x="5754592" y="810503"/>
              <a:ext cx="914400"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33" b="1" dirty="0">
                  <a:solidFill>
                    <a:srgbClr val="C00000"/>
                  </a:solidFill>
                </a:rPr>
                <a:t>Social </a:t>
              </a:r>
              <a:r>
                <a:rPr lang="en-US" sz="2133" b="1" dirty="0">
                  <a:solidFill>
                    <a:schemeClr val="tx1"/>
                  </a:solidFill>
                </a:rPr>
                <a:t>Infrastructure</a:t>
              </a:r>
            </a:p>
          </p:txBody>
        </p:sp>
        <p:sp>
          <p:nvSpPr>
            <p:cNvPr id="17" name="Rectangle 16"/>
            <p:cNvSpPr/>
            <p:nvPr/>
          </p:nvSpPr>
          <p:spPr>
            <a:xfrm>
              <a:off x="6798796" y="810503"/>
              <a:ext cx="914400"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33" b="1" dirty="0">
                  <a:solidFill>
                    <a:srgbClr val="C00000"/>
                  </a:solidFill>
                </a:rPr>
                <a:t>Economic </a:t>
              </a:r>
              <a:r>
                <a:rPr lang="en-US" sz="2133" b="1" dirty="0">
                  <a:solidFill>
                    <a:schemeClr val="tx1"/>
                  </a:solidFill>
                </a:rPr>
                <a:t>Infrastructure</a:t>
              </a:r>
            </a:p>
          </p:txBody>
        </p:sp>
        <p:sp>
          <p:nvSpPr>
            <p:cNvPr id="18" name="Rectangle 17"/>
            <p:cNvSpPr/>
            <p:nvPr/>
          </p:nvSpPr>
          <p:spPr>
            <a:xfrm>
              <a:off x="7843001" y="810503"/>
              <a:ext cx="914400" cy="5534872"/>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133" b="1" dirty="0">
                  <a:solidFill>
                    <a:srgbClr val="C00000"/>
                  </a:solidFill>
                </a:rPr>
                <a:t>Institutional </a:t>
              </a:r>
              <a:r>
                <a:rPr lang="en-US" sz="2133" b="1" dirty="0">
                  <a:solidFill>
                    <a:schemeClr val="tx1"/>
                  </a:solidFill>
                </a:rPr>
                <a:t>Infrastructure</a:t>
              </a:r>
            </a:p>
          </p:txBody>
        </p:sp>
      </p:grpSp>
    </p:spTree>
    <p:extLst>
      <p:ext uri="{BB962C8B-B14F-4D97-AF65-F5344CB8AC3E}">
        <p14:creationId xmlns:p14="http://schemas.microsoft.com/office/powerpoint/2010/main" val="3099902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3872" y="157114"/>
            <a:ext cx="12219528" cy="833486"/>
          </a:xfrm>
        </p:spPr>
        <p:txBody>
          <a:bodyPr>
            <a:normAutofit/>
          </a:bodyPr>
          <a:lstStyle/>
          <a:p>
            <a:r>
              <a:rPr lang="en-US" sz="4000" dirty="0">
                <a:latin typeface="Century Gothic" panose="020B0502020202020204" pitchFamily="34" charset="0"/>
              </a:rPr>
              <a:t>The way forward: Unified architecture</a:t>
            </a:r>
          </a:p>
        </p:txBody>
      </p:sp>
      <p:pic>
        <p:nvPicPr>
          <p:cNvPr id="4" name="Content Placeholder 3"/>
          <p:cNvPicPr>
            <a:picLocks noGrp="1" noChangeAspect="1"/>
          </p:cNvPicPr>
          <p:nvPr>
            <p:ph idx="1"/>
          </p:nvPr>
        </p:nvPicPr>
        <p:blipFill rotWithShape="1">
          <a:blip r:embed="rId3"/>
          <a:stretch/>
        </p:blipFill>
        <p:spPr>
          <a:xfrm>
            <a:off x="1498600" y="1371600"/>
            <a:ext cx="14097000" cy="6796088"/>
          </a:xfrm>
        </p:spPr>
      </p:pic>
    </p:spTree>
    <p:extLst>
      <p:ext uri="{BB962C8B-B14F-4D97-AF65-F5344CB8AC3E}">
        <p14:creationId xmlns:p14="http://schemas.microsoft.com/office/powerpoint/2010/main" val="8585588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6BCC9AD-F646-446D-8F17-57E83EE225A4}"/>
              </a:ext>
            </a:extLst>
          </p:cNvPr>
          <p:cNvGrpSpPr/>
          <p:nvPr/>
        </p:nvGrpSpPr>
        <p:grpSpPr>
          <a:xfrm>
            <a:off x="5537200" y="1122836"/>
            <a:ext cx="7543800" cy="7563964"/>
            <a:chOff x="3522840" y="708383"/>
            <a:chExt cx="4549500" cy="6638080"/>
          </a:xfrm>
        </p:grpSpPr>
        <p:sp>
          <p:nvSpPr>
            <p:cNvPr id="41" name="Rectangle 40">
              <a:extLst>
                <a:ext uri="{FF2B5EF4-FFF2-40B4-BE49-F238E27FC236}">
                  <a16:creationId xmlns:a16="http://schemas.microsoft.com/office/drawing/2014/main" id="{BF1F3BDB-3C1F-4231-BB09-DBF3F8C672E2}"/>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200" b="1" kern="0" dirty="0">
                  <a:solidFill>
                    <a:srgbClr val="FFFF00"/>
                  </a:solidFill>
                  <a:latin typeface="Arial"/>
                </a:rPr>
                <a:t>Solution_&lt;Name&gt;</a:t>
              </a:r>
            </a:p>
          </p:txBody>
        </p:sp>
        <p:sp>
          <p:nvSpPr>
            <p:cNvPr id="42" name="Rectangle 41">
              <a:extLst>
                <a:ext uri="{FF2B5EF4-FFF2-40B4-BE49-F238E27FC236}">
                  <a16:creationId xmlns:a16="http://schemas.microsoft.com/office/drawing/2014/main" id="{EB8E43F9-AA5B-458C-B358-5FAD48B9E16E}"/>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600" b="1" kern="0" dirty="0">
                  <a:latin typeface="Arial"/>
                </a:rPr>
                <a:t>Interactive  Visualization Block</a:t>
              </a:r>
            </a:p>
          </p:txBody>
        </p:sp>
        <p:grpSp>
          <p:nvGrpSpPr>
            <p:cNvPr id="43" name="Group 42">
              <a:extLst>
                <a:ext uri="{FF2B5EF4-FFF2-40B4-BE49-F238E27FC236}">
                  <a16:creationId xmlns:a16="http://schemas.microsoft.com/office/drawing/2014/main" id="{BA57A915-0FA8-4C88-9F26-0EF4BA4E3A17}"/>
                </a:ext>
              </a:extLst>
            </p:cNvPr>
            <p:cNvGrpSpPr/>
            <p:nvPr/>
          </p:nvGrpSpPr>
          <p:grpSpPr>
            <a:xfrm>
              <a:off x="5744268" y="1475130"/>
              <a:ext cx="1658446" cy="1596847"/>
              <a:chOff x="3443783" y="1812017"/>
              <a:chExt cx="1861479" cy="1038339"/>
            </a:xfrm>
          </p:grpSpPr>
          <p:sp>
            <p:nvSpPr>
              <p:cNvPr id="70" name="Rectangle 69">
                <a:extLst>
                  <a:ext uri="{FF2B5EF4-FFF2-40B4-BE49-F238E27FC236}">
                    <a16:creationId xmlns:a16="http://schemas.microsoft.com/office/drawing/2014/main" id="{B8F692BF-733D-417D-9A29-3707DF9A349C}"/>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71" name="Rectangle 70">
                <a:extLst>
                  <a:ext uri="{FF2B5EF4-FFF2-40B4-BE49-F238E27FC236}">
                    <a16:creationId xmlns:a16="http://schemas.microsoft.com/office/drawing/2014/main" id="{1A92FF85-5B52-4719-8489-6B2031E21ED6}"/>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72" name="Rectangle 71">
                <a:extLst>
                  <a:ext uri="{FF2B5EF4-FFF2-40B4-BE49-F238E27FC236}">
                    <a16:creationId xmlns:a16="http://schemas.microsoft.com/office/drawing/2014/main" id="{4CDA25F4-9FD8-471D-B789-C10E78ABB8E8}"/>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73" name="Rectangle 72">
                <a:extLst>
                  <a:ext uri="{FF2B5EF4-FFF2-40B4-BE49-F238E27FC236}">
                    <a16:creationId xmlns:a16="http://schemas.microsoft.com/office/drawing/2014/main" id="{96DCC846-7985-4279-BB16-425AAAC95B7C}"/>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94" name="Rectangle 93">
                <a:extLst>
                  <a:ext uri="{FF2B5EF4-FFF2-40B4-BE49-F238E27FC236}">
                    <a16:creationId xmlns:a16="http://schemas.microsoft.com/office/drawing/2014/main" id="{01E6960C-E68D-426B-B9ED-AF8A8F16E148}"/>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2" name="Group 1">
              <a:extLst>
                <a:ext uri="{FF2B5EF4-FFF2-40B4-BE49-F238E27FC236}">
                  <a16:creationId xmlns:a16="http://schemas.microsoft.com/office/drawing/2014/main" id="{A1F04434-F675-4D10-9F98-ADF3F59D5469}"/>
                </a:ext>
              </a:extLst>
            </p:cNvPr>
            <p:cNvGrpSpPr/>
            <p:nvPr/>
          </p:nvGrpSpPr>
          <p:grpSpPr>
            <a:xfrm>
              <a:off x="4052832" y="4270424"/>
              <a:ext cx="3288420" cy="1266765"/>
              <a:chOff x="5704916" y="2818330"/>
              <a:chExt cx="1568460" cy="2027653"/>
            </a:xfrm>
          </p:grpSpPr>
          <p:sp>
            <p:nvSpPr>
              <p:cNvPr id="46" name="Rectangle 45">
                <a:extLst>
                  <a:ext uri="{FF2B5EF4-FFF2-40B4-BE49-F238E27FC236}">
                    <a16:creationId xmlns:a16="http://schemas.microsoft.com/office/drawing/2014/main" id="{E3BE67F2-6542-4B9A-8F12-5D307B1B6154}"/>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47" name="Rectangle 46">
                <a:extLst>
                  <a:ext uri="{FF2B5EF4-FFF2-40B4-BE49-F238E27FC236}">
                    <a16:creationId xmlns:a16="http://schemas.microsoft.com/office/drawing/2014/main" id="{31F4153A-6D16-4F83-9835-D00F2296E528}"/>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48" name="Rectangle 47">
                <a:extLst>
                  <a:ext uri="{FF2B5EF4-FFF2-40B4-BE49-F238E27FC236}">
                    <a16:creationId xmlns:a16="http://schemas.microsoft.com/office/drawing/2014/main" id="{3E8DDED7-5978-4DE9-8D2F-11F3F653C055}"/>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49" name="Rectangle 48">
                <a:extLst>
                  <a:ext uri="{FF2B5EF4-FFF2-40B4-BE49-F238E27FC236}">
                    <a16:creationId xmlns:a16="http://schemas.microsoft.com/office/drawing/2014/main" id="{F980418D-666E-4FAE-9619-29B11E2C2EFE}"/>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90" name="Rectangle 89">
                <a:extLst>
                  <a:ext uri="{FF2B5EF4-FFF2-40B4-BE49-F238E27FC236}">
                    <a16:creationId xmlns:a16="http://schemas.microsoft.com/office/drawing/2014/main" id="{BC33C61C-5AED-4ECF-BD77-29276005C851}"/>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61" name="Rectangle 60">
              <a:extLst>
                <a:ext uri="{FF2B5EF4-FFF2-40B4-BE49-F238E27FC236}">
                  <a16:creationId xmlns:a16="http://schemas.microsoft.com/office/drawing/2014/main" id="{B22C3719-1B6A-471E-A304-A3EF0F8C0DAF}"/>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63" name="Rectangle 62">
              <a:extLst>
                <a:ext uri="{FF2B5EF4-FFF2-40B4-BE49-F238E27FC236}">
                  <a16:creationId xmlns:a16="http://schemas.microsoft.com/office/drawing/2014/main" id="{9393B4CC-AE09-4133-BC6B-EE8E0C367A2F}"/>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74" name="Group 73">
              <a:extLst>
                <a:ext uri="{FF2B5EF4-FFF2-40B4-BE49-F238E27FC236}">
                  <a16:creationId xmlns:a16="http://schemas.microsoft.com/office/drawing/2014/main" id="{3448F54B-76A9-4677-8365-6014141455F8}"/>
                </a:ext>
              </a:extLst>
            </p:cNvPr>
            <p:cNvGrpSpPr/>
            <p:nvPr/>
          </p:nvGrpSpPr>
          <p:grpSpPr>
            <a:xfrm>
              <a:off x="4524022" y="3172410"/>
              <a:ext cx="2632950" cy="1048981"/>
              <a:chOff x="3443783" y="1812017"/>
              <a:chExt cx="1861479" cy="947296"/>
            </a:xfrm>
          </p:grpSpPr>
          <p:sp>
            <p:nvSpPr>
              <p:cNvPr id="75" name="Rectangle 74">
                <a:extLst>
                  <a:ext uri="{FF2B5EF4-FFF2-40B4-BE49-F238E27FC236}">
                    <a16:creationId xmlns:a16="http://schemas.microsoft.com/office/drawing/2014/main" id="{4CB554E4-B82E-4B15-9D16-56905DD31520}"/>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76" name="Rectangle 75">
                <a:extLst>
                  <a:ext uri="{FF2B5EF4-FFF2-40B4-BE49-F238E27FC236}">
                    <a16:creationId xmlns:a16="http://schemas.microsoft.com/office/drawing/2014/main" id="{238B8392-ABF9-4910-AF46-95A662FF6411}"/>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77" name="Rectangle 76">
                <a:extLst>
                  <a:ext uri="{FF2B5EF4-FFF2-40B4-BE49-F238E27FC236}">
                    <a16:creationId xmlns:a16="http://schemas.microsoft.com/office/drawing/2014/main" id="{BFF8FBEF-F551-4CA9-AC53-29C08855A3B9}"/>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78" name="Rectangle 77">
                <a:extLst>
                  <a:ext uri="{FF2B5EF4-FFF2-40B4-BE49-F238E27FC236}">
                    <a16:creationId xmlns:a16="http://schemas.microsoft.com/office/drawing/2014/main" id="{C4ABAC71-A263-413E-9316-06BEB988B52C}"/>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79" name="Straight Arrow Connector 78">
              <a:extLst>
                <a:ext uri="{FF2B5EF4-FFF2-40B4-BE49-F238E27FC236}">
                  <a16:creationId xmlns:a16="http://schemas.microsoft.com/office/drawing/2014/main" id="{79B7E18E-508C-4CE3-AB06-0118D50AA3BE}"/>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89" name="Group 88">
              <a:extLst>
                <a:ext uri="{FF2B5EF4-FFF2-40B4-BE49-F238E27FC236}">
                  <a16:creationId xmlns:a16="http://schemas.microsoft.com/office/drawing/2014/main" id="{61C8C3F4-9757-4240-9B9B-477C0F413093}"/>
                </a:ext>
              </a:extLst>
            </p:cNvPr>
            <p:cNvGrpSpPr/>
            <p:nvPr/>
          </p:nvGrpSpPr>
          <p:grpSpPr>
            <a:xfrm>
              <a:off x="3990744" y="1457302"/>
              <a:ext cx="1658446" cy="1596847"/>
              <a:chOff x="3990744" y="1457302"/>
              <a:chExt cx="1658446" cy="1596847"/>
            </a:xfrm>
          </p:grpSpPr>
          <p:sp>
            <p:nvSpPr>
              <p:cNvPr id="81" name="Rectangle 80">
                <a:extLst>
                  <a:ext uri="{FF2B5EF4-FFF2-40B4-BE49-F238E27FC236}">
                    <a16:creationId xmlns:a16="http://schemas.microsoft.com/office/drawing/2014/main" id="{A27A4D97-BD8E-4F88-9076-A6008F59E961}"/>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82" name="Rectangle 81">
                <a:extLst>
                  <a:ext uri="{FF2B5EF4-FFF2-40B4-BE49-F238E27FC236}">
                    <a16:creationId xmlns:a16="http://schemas.microsoft.com/office/drawing/2014/main" id="{B8AF5AF4-5856-4E99-BDE0-529B80E54474}"/>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83" name="Rectangle 82">
                <a:extLst>
                  <a:ext uri="{FF2B5EF4-FFF2-40B4-BE49-F238E27FC236}">
                    <a16:creationId xmlns:a16="http://schemas.microsoft.com/office/drawing/2014/main" id="{F95564D2-6E66-4091-B718-703EC43582D2}"/>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84" name="Rectangle 83">
                <a:extLst>
                  <a:ext uri="{FF2B5EF4-FFF2-40B4-BE49-F238E27FC236}">
                    <a16:creationId xmlns:a16="http://schemas.microsoft.com/office/drawing/2014/main" id="{4FC1AE86-438E-47B5-BE86-639D263DE46C}"/>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3" name="Group 2">
              <a:extLst>
                <a:ext uri="{FF2B5EF4-FFF2-40B4-BE49-F238E27FC236}">
                  <a16:creationId xmlns:a16="http://schemas.microsoft.com/office/drawing/2014/main" id="{9BE6203D-F74B-42F1-8A86-2C0CBC4C0486}"/>
                </a:ext>
              </a:extLst>
            </p:cNvPr>
            <p:cNvGrpSpPr/>
            <p:nvPr/>
          </p:nvGrpSpPr>
          <p:grpSpPr>
            <a:xfrm>
              <a:off x="3522840" y="5593442"/>
              <a:ext cx="4544417" cy="1753021"/>
              <a:chOff x="5727062" y="5695492"/>
              <a:chExt cx="4544417" cy="1753021"/>
            </a:xfrm>
          </p:grpSpPr>
          <p:sp>
            <p:nvSpPr>
              <p:cNvPr id="53" name="Rectangle 52">
                <a:extLst>
                  <a:ext uri="{FF2B5EF4-FFF2-40B4-BE49-F238E27FC236}">
                    <a16:creationId xmlns:a16="http://schemas.microsoft.com/office/drawing/2014/main" id="{89709AF7-4CB0-4C23-807A-A3F431CA1F69}"/>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54" name="Rectangle 53">
                <a:extLst>
                  <a:ext uri="{FF2B5EF4-FFF2-40B4-BE49-F238E27FC236}">
                    <a16:creationId xmlns:a16="http://schemas.microsoft.com/office/drawing/2014/main" id="{A7C9DD10-11DF-4A6B-B0E3-C7F4AE90BBED}"/>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55" name="Rectangle 54">
                <a:extLst>
                  <a:ext uri="{FF2B5EF4-FFF2-40B4-BE49-F238E27FC236}">
                    <a16:creationId xmlns:a16="http://schemas.microsoft.com/office/drawing/2014/main" id="{2B15D76B-1797-4D39-B8BB-7395E06500B8}"/>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56" name="Rectangle 55">
                <a:extLst>
                  <a:ext uri="{FF2B5EF4-FFF2-40B4-BE49-F238E27FC236}">
                    <a16:creationId xmlns:a16="http://schemas.microsoft.com/office/drawing/2014/main" id="{AAFFFDD3-B82A-48A1-9969-108E1C4FE1B7}"/>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57" name="Rectangle 56">
                <a:extLst>
                  <a:ext uri="{FF2B5EF4-FFF2-40B4-BE49-F238E27FC236}">
                    <a16:creationId xmlns:a16="http://schemas.microsoft.com/office/drawing/2014/main" id="{4DD3900F-0157-4BD8-91BD-E0052A429917}"/>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59" name="Straight Arrow Connector 58">
                <a:extLst>
                  <a:ext uri="{FF2B5EF4-FFF2-40B4-BE49-F238E27FC236}">
                    <a16:creationId xmlns:a16="http://schemas.microsoft.com/office/drawing/2014/main" id="{6CA01F23-769B-4913-9BE5-E45E9CD13195}"/>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60" name="Rectangle 59">
                <a:extLst>
                  <a:ext uri="{FF2B5EF4-FFF2-40B4-BE49-F238E27FC236}">
                    <a16:creationId xmlns:a16="http://schemas.microsoft.com/office/drawing/2014/main" id="{DDF7E287-356D-414A-8C69-43CA40EDCE71}"/>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62" name="Rectangle 61">
                <a:extLst>
                  <a:ext uri="{FF2B5EF4-FFF2-40B4-BE49-F238E27FC236}">
                    <a16:creationId xmlns:a16="http://schemas.microsoft.com/office/drawing/2014/main" id="{2677CAAC-2DC5-409A-B363-6E9B6036901C}"/>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64" name="Rectangle 63">
                <a:extLst>
                  <a:ext uri="{FF2B5EF4-FFF2-40B4-BE49-F238E27FC236}">
                    <a16:creationId xmlns:a16="http://schemas.microsoft.com/office/drawing/2014/main" id="{D942AD8D-7FE6-4665-B494-8E36BB35495F}"/>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85" name="Rectangle 84">
                <a:extLst>
                  <a:ext uri="{FF2B5EF4-FFF2-40B4-BE49-F238E27FC236}">
                    <a16:creationId xmlns:a16="http://schemas.microsoft.com/office/drawing/2014/main" id="{DEF6543E-B562-4E73-BF40-07B5D88D3E77}"/>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87" name="Straight Arrow Connector 86">
                <a:extLst>
                  <a:ext uri="{FF2B5EF4-FFF2-40B4-BE49-F238E27FC236}">
                    <a16:creationId xmlns:a16="http://schemas.microsoft.com/office/drawing/2014/main" id="{81335443-00F5-4442-ACA7-2A82134B59EB}"/>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88" name="Straight Arrow Connector 87">
                <a:extLst>
                  <a:ext uri="{FF2B5EF4-FFF2-40B4-BE49-F238E27FC236}">
                    <a16:creationId xmlns:a16="http://schemas.microsoft.com/office/drawing/2014/main" id="{5CB76D87-3E75-4BE8-8D57-AA1BA23C0ECA}"/>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86" name="Straight Arrow Connector 85">
              <a:extLst>
                <a:ext uri="{FF2B5EF4-FFF2-40B4-BE49-F238E27FC236}">
                  <a16:creationId xmlns:a16="http://schemas.microsoft.com/office/drawing/2014/main" id="{705F57F9-65E1-4841-9103-6899DACED275}"/>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91" name="Straight Arrow Connector 90">
              <a:extLst>
                <a:ext uri="{FF2B5EF4-FFF2-40B4-BE49-F238E27FC236}">
                  <a16:creationId xmlns:a16="http://schemas.microsoft.com/office/drawing/2014/main" id="{3989E900-9479-4871-B90A-8E15F7F166F7}"/>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92" name="Straight Arrow Connector 91">
              <a:extLst>
                <a:ext uri="{FF2B5EF4-FFF2-40B4-BE49-F238E27FC236}">
                  <a16:creationId xmlns:a16="http://schemas.microsoft.com/office/drawing/2014/main" id="{2F596C35-F81C-4D7D-B6CC-078F821955D9}"/>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93" name="Straight Arrow Connector 92">
              <a:extLst>
                <a:ext uri="{FF2B5EF4-FFF2-40B4-BE49-F238E27FC236}">
                  <a16:creationId xmlns:a16="http://schemas.microsoft.com/office/drawing/2014/main" id="{E904BAD0-1C89-4AAB-8991-D9EB77039E97}"/>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51" name="Straight Arrow Connector 50">
              <a:extLst>
                <a:ext uri="{FF2B5EF4-FFF2-40B4-BE49-F238E27FC236}">
                  <a16:creationId xmlns:a16="http://schemas.microsoft.com/office/drawing/2014/main" id="{1EF4122B-25BE-4CAD-B85D-2FC9122284E5}"/>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52" name="Straight Arrow Connector 51">
              <a:extLst>
                <a:ext uri="{FF2B5EF4-FFF2-40B4-BE49-F238E27FC236}">
                  <a16:creationId xmlns:a16="http://schemas.microsoft.com/office/drawing/2014/main" id="{739BE172-EF33-47AB-A081-286A747CFBDA}"/>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sp>
        <p:nvSpPr>
          <p:cNvPr id="50" name="Title 1">
            <a:extLst>
              <a:ext uri="{FF2B5EF4-FFF2-40B4-BE49-F238E27FC236}">
                <a16:creationId xmlns:a16="http://schemas.microsoft.com/office/drawing/2014/main" id="{9390512D-A4DD-8D40-B5D3-F81A98E6FE69}"/>
              </a:ext>
            </a:extLst>
          </p:cNvPr>
          <p:cNvSpPr txBox="1">
            <a:spLocks/>
          </p:cNvSpPr>
          <p:nvPr/>
        </p:nvSpPr>
        <p:spPr>
          <a:xfrm>
            <a:off x="680092" y="152400"/>
            <a:ext cx="11791307" cy="689437"/>
          </a:xfrm>
          <a:prstGeom prst="rect">
            <a:avLst/>
          </a:prstGeom>
        </p:spPr>
        <p:txBody>
          <a:bodyPr/>
          <a:lstStyle>
            <a:lvl1pPr algn="l" rtl="0" eaLnBrk="1" fontAlgn="base" hangingPunct="1">
              <a:spcBef>
                <a:spcPct val="0"/>
              </a:spcBef>
              <a:spcAft>
                <a:spcPct val="0"/>
              </a:spcAft>
              <a:defRPr sz="2800" b="0">
                <a:solidFill>
                  <a:schemeClr val="accent6"/>
                </a:solidFill>
                <a:latin typeface="Century Gothic"/>
                <a:ea typeface="+mj-ea"/>
                <a:cs typeface="Century Gothic"/>
              </a:defRPr>
            </a:lvl1pPr>
            <a:lvl2pPr algn="l" rtl="0" eaLnBrk="1" fontAlgn="base" hangingPunct="1">
              <a:spcBef>
                <a:spcPct val="0"/>
              </a:spcBef>
              <a:spcAft>
                <a:spcPct val="0"/>
              </a:spcAft>
              <a:defRPr sz="2800" b="1">
                <a:solidFill>
                  <a:schemeClr val="tx1"/>
                </a:solidFill>
                <a:latin typeface="Arial" charset="0"/>
              </a:defRPr>
            </a:lvl2pPr>
            <a:lvl3pPr algn="l" rtl="0" eaLnBrk="1" fontAlgn="base" hangingPunct="1">
              <a:spcBef>
                <a:spcPct val="0"/>
              </a:spcBef>
              <a:spcAft>
                <a:spcPct val="0"/>
              </a:spcAft>
              <a:defRPr sz="2800" b="1">
                <a:solidFill>
                  <a:schemeClr val="tx1"/>
                </a:solidFill>
                <a:latin typeface="Arial" charset="0"/>
              </a:defRPr>
            </a:lvl3pPr>
            <a:lvl4pPr algn="l" rtl="0" eaLnBrk="1" fontAlgn="base" hangingPunct="1">
              <a:spcBef>
                <a:spcPct val="0"/>
              </a:spcBef>
              <a:spcAft>
                <a:spcPct val="0"/>
              </a:spcAft>
              <a:defRPr sz="2800" b="1">
                <a:solidFill>
                  <a:schemeClr val="tx1"/>
                </a:solidFill>
                <a:latin typeface="Arial" charset="0"/>
              </a:defRPr>
            </a:lvl4pPr>
            <a:lvl5pPr algn="l" rtl="0" eaLnBrk="1" fontAlgn="base" hangingPunct="1">
              <a:spcBef>
                <a:spcPct val="0"/>
              </a:spcBef>
              <a:spcAft>
                <a:spcPct val="0"/>
              </a:spcAft>
              <a:defRPr sz="2800" b="1">
                <a:solidFill>
                  <a:schemeClr val="tx1"/>
                </a:solidFill>
                <a:latin typeface="Arial" charset="0"/>
              </a:defRPr>
            </a:lvl5pPr>
            <a:lvl6pPr marL="457200" algn="l" rtl="0" eaLnBrk="1" fontAlgn="base" hangingPunct="1">
              <a:spcBef>
                <a:spcPct val="0"/>
              </a:spcBef>
              <a:spcAft>
                <a:spcPct val="0"/>
              </a:spcAft>
              <a:defRPr sz="2800" b="1">
                <a:solidFill>
                  <a:schemeClr val="tx1"/>
                </a:solidFill>
                <a:latin typeface="Arial" charset="0"/>
              </a:defRPr>
            </a:lvl6pPr>
            <a:lvl7pPr marL="914400" algn="l" rtl="0" eaLnBrk="1" fontAlgn="base" hangingPunct="1">
              <a:spcBef>
                <a:spcPct val="0"/>
              </a:spcBef>
              <a:spcAft>
                <a:spcPct val="0"/>
              </a:spcAft>
              <a:defRPr sz="2800" b="1">
                <a:solidFill>
                  <a:schemeClr val="tx1"/>
                </a:solidFill>
                <a:latin typeface="Arial" charset="0"/>
              </a:defRPr>
            </a:lvl7pPr>
            <a:lvl8pPr marL="1371600" algn="l" rtl="0" eaLnBrk="1" fontAlgn="base" hangingPunct="1">
              <a:spcBef>
                <a:spcPct val="0"/>
              </a:spcBef>
              <a:spcAft>
                <a:spcPct val="0"/>
              </a:spcAft>
              <a:defRPr sz="2800" b="1">
                <a:solidFill>
                  <a:schemeClr val="tx1"/>
                </a:solidFill>
                <a:latin typeface="Arial" charset="0"/>
              </a:defRPr>
            </a:lvl8pPr>
            <a:lvl9pPr marL="1828800" algn="l" rtl="0" eaLnBrk="1" fontAlgn="base" hangingPunct="1">
              <a:spcBef>
                <a:spcPct val="0"/>
              </a:spcBef>
              <a:spcAft>
                <a:spcPct val="0"/>
              </a:spcAft>
              <a:defRPr sz="2800" b="1">
                <a:solidFill>
                  <a:schemeClr val="tx1"/>
                </a:solidFill>
                <a:latin typeface="Arial" charset="0"/>
              </a:defRPr>
            </a:lvl9pPr>
          </a:lstStyle>
          <a:p>
            <a:r>
              <a:rPr lang="en-US" sz="4000" b="1" kern="0" dirty="0">
                <a:solidFill>
                  <a:srgbClr val="90F502"/>
                </a:solidFill>
              </a:rPr>
              <a:t>A Typical Smart Utility ICT Architecture…</a:t>
            </a:r>
          </a:p>
        </p:txBody>
      </p:sp>
    </p:spTree>
    <p:extLst>
      <p:ext uri="{BB962C8B-B14F-4D97-AF65-F5344CB8AC3E}">
        <p14:creationId xmlns:p14="http://schemas.microsoft.com/office/powerpoint/2010/main" val="26342118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entury Gothic" panose="020B0502020202020204" pitchFamily="34" charset="0"/>
              </a:rPr>
              <a:t>Smart Utilities ICT Architecture</a:t>
            </a:r>
          </a:p>
        </p:txBody>
      </p:sp>
      <p:sp>
        <p:nvSpPr>
          <p:cNvPr id="6" name="Rounded Rectangle 5"/>
          <p:cNvSpPr/>
          <p:nvPr/>
        </p:nvSpPr>
        <p:spPr>
          <a:xfrm>
            <a:off x="3899508" y="97417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000" dirty="0">
                <a:solidFill>
                  <a:srgbClr val="C00000"/>
                </a:solidFill>
                <a:latin typeface="Century Gothic"/>
                <a:cs typeface="Century Gothic"/>
              </a:rPr>
              <a:t>Domain 1</a:t>
            </a:r>
          </a:p>
        </p:txBody>
      </p:sp>
      <p:sp>
        <p:nvSpPr>
          <p:cNvPr id="7" name="Rounded Rectangle 6"/>
          <p:cNvSpPr/>
          <p:nvPr/>
        </p:nvSpPr>
        <p:spPr>
          <a:xfrm>
            <a:off x="10146692" y="95905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000" dirty="0">
                <a:solidFill>
                  <a:srgbClr val="C00000"/>
                </a:solidFill>
                <a:latin typeface="Century Gothic"/>
                <a:cs typeface="Century Gothic"/>
              </a:rPr>
              <a:t>Domain n</a:t>
            </a:r>
          </a:p>
        </p:txBody>
      </p:sp>
      <p:sp>
        <p:nvSpPr>
          <p:cNvPr id="8" name="TextBox 7"/>
          <p:cNvSpPr txBox="1"/>
          <p:nvPr/>
        </p:nvSpPr>
        <p:spPr>
          <a:xfrm>
            <a:off x="7324801" y="1025736"/>
            <a:ext cx="2699778" cy="892552"/>
          </a:xfrm>
          <a:prstGeom prst="rect">
            <a:avLst/>
          </a:prstGeom>
          <a:noFill/>
        </p:spPr>
        <p:txBody>
          <a:bodyPr wrap="none" rtlCol="0">
            <a:spAutoFit/>
          </a:bodyPr>
          <a:lstStyle/>
          <a:p>
            <a:r>
              <a:rPr lang="en-US" sz="5200" dirty="0">
                <a:solidFill>
                  <a:srgbClr val="FFC000"/>
                </a:solidFill>
                <a:latin typeface="Century Gothic"/>
                <a:cs typeface="Century Gothic"/>
              </a:rPr>
              <a:t>2..3..4…</a:t>
            </a:r>
          </a:p>
        </p:txBody>
      </p:sp>
      <p:sp>
        <p:nvSpPr>
          <p:cNvPr id="9" name="TextBox 8"/>
          <p:cNvSpPr txBox="1"/>
          <p:nvPr/>
        </p:nvSpPr>
        <p:spPr>
          <a:xfrm>
            <a:off x="7502583" y="3950398"/>
            <a:ext cx="2305656" cy="748988"/>
          </a:xfrm>
          <a:prstGeom prst="rect">
            <a:avLst/>
          </a:prstGeom>
          <a:noFill/>
        </p:spPr>
        <p:txBody>
          <a:bodyPr wrap="square" rtlCol="0">
            <a:spAutoFit/>
          </a:bodyPr>
          <a:lstStyle/>
          <a:p>
            <a:pPr algn="ctr"/>
            <a:r>
              <a:rPr lang="en-US" sz="4267" b="1" dirty="0">
                <a:solidFill>
                  <a:srgbClr val="FFC000"/>
                </a:solidFill>
                <a:latin typeface="Century Gothic"/>
                <a:cs typeface="Century Gothic"/>
              </a:rPr>
              <a:t>………..</a:t>
            </a:r>
          </a:p>
        </p:txBody>
      </p:sp>
      <p:grpSp>
        <p:nvGrpSpPr>
          <p:cNvPr id="10" name="Group 9">
            <a:extLst>
              <a:ext uri="{FF2B5EF4-FFF2-40B4-BE49-F238E27FC236}">
                <a16:creationId xmlns:a16="http://schemas.microsoft.com/office/drawing/2014/main" id="{EB7D2DB8-F857-DF43-B425-FF80823DFFB6}"/>
              </a:ext>
            </a:extLst>
          </p:cNvPr>
          <p:cNvGrpSpPr/>
          <p:nvPr/>
        </p:nvGrpSpPr>
        <p:grpSpPr>
          <a:xfrm>
            <a:off x="3419524" y="1889429"/>
            <a:ext cx="4361419" cy="6627099"/>
            <a:chOff x="3522840" y="708383"/>
            <a:chExt cx="4549500" cy="6638080"/>
          </a:xfrm>
        </p:grpSpPr>
        <p:sp>
          <p:nvSpPr>
            <p:cNvPr id="11" name="Rectangle 10">
              <a:extLst>
                <a:ext uri="{FF2B5EF4-FFF2-40B4-BE49-F238E27FC236}">
                  <a16:creationId xmlns:a16="http://schemas.microsoft.com/office/drawing/2014/main" id="{2C454295-E4D7-DE4C-9D08-992A09E96545}"/>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12" name="Rectangle 11">
              <a:extLst>
                <a:ext uri="{FF2B5EF4-FFF2-40B4-BE49-F238E27FC236}">
                  <a16:creationId xmlns:a16="http://schemas.microsoft.com/office/drawing/2014/main" id="{85DEA8D6-ED7D-B845-8909-07EB8A477CE6}"/>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latin typeface="Arial"/>
                </a:rPr>
                <a:t>Interactive  Visualization Block</a:t>
              </a:r>
            </a:p>
          </p:txBody>
        </p:sp>
        <p:grpSp>
          <p:nvGrpSpPr>
            <p:cNvPr id="13" name="Group 12">
              <a:extLst>
                <a:ext uri="{FF2B5EF4-FFF2-40B4-BE49-F238E27FC236}">
                  <a16:creationId xmlns:a16="http://schemas.microsoft.com/office/drawing/2014/main" id="{65D84710-3F96-8E4D-BED2-3538040563D4}"/>
                </a:ext>
              </a:extLst>
            </p:cNvPr>
            <p:cNvGrpSpPr/>
            <p:nvPr/>
          </p:nvGrpSpPr>
          <p:grpSpPr>
            <a:xfrm>
              <a:off x="5744268" y="1475130"/>
              <a:ext cx="1658446" cy="1596847"/>
              <a:chOff x="3443783" y="1812017"/>
              <a:chExt cx="1861479" cy="1038339"/>
            </a:xfrm>
          </p:grpSpPr>
          <p:sp>
            <p:nvSpPr>
              <p:cNvPr id="52" name="Rectangle 51">
                <a:extLst>
                  <a:ext uri="{FF2B5EF4-FFF2-40B4-BE49-F238E27FC236}">
                    <a16:creationId xmlns:a16="http://schemas.microsoft.com/office/drawing/2014/main" id="{2EB39986-09C5-3246-B0FC-5C1442342E42}"/>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53" name="Rectangle 52">
                <a:extLst>
                  <a:ext uri="{FF2B5EF4-FFF2-40B4-BE49-F238E27FC236}">
                    <a16:creationId xmlns:a16="http://schemas.microsoft.com/office/drawing/2014/main" id="{58AAA9A9-F304-E54A-9267-453A0C1925DE}"/>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54" name="Rectangle 53">
                <a:extLst>
                  <a:ext uri="{FF2B5EF4-FFF2-40B4-BE49-F238E27FC236}">
                    <a16:creationId xmlns:a16="http://schemas.microsoft.com/office/drawing/2014/main" id="{A440630C-7EBA-D641-BAD3-08C098A49B5C}"/>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55" name="Rectangle 54">
                <a:extLst>
                  <a:ext uri="{FF2B5EF4-FFF2-40B4-BE49-F238E27FC236}">
                    <a16:creationId xmlns:a16="http://schemas.microsoft.com/office/drawing/2014/main" id="{413E2D43-F23D-D849-8B85-62366C633899}"/>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56" name="Rectangle 55">
                <a:extLst>
                  <a:ext uri="{FF2B5EF4-FFF2-40B4-BE49-F238E27FC236}">
                    <a16:creationId xmlns:a16="http://schemas.microsoft.com/office/drawing/2014/main" id="{F47A52C3-6004-1142-B618-8696B2B8D94C}"/>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14" name="Group 13">
              <a:extLst>
                <a:ext uri="{FF2B5EF4-FFF2-40B4-BE49-F238E27FC236}">
                  <a16:creationId xmlns:a16="http://schemas.microsoft.com/office/drawing/2014/main" id="{3BEFB3FD-D3D8-0C4B-AF39-A20CDDDACC7C}"/>
                </a:ext>
              </a:extLst>
            </p:cNvPr>
            <p:cNvGrpSpPr/>
            <p:nvPr/>
          </p:nvGrpSpPr>
          <p:grpSpPr>
            <a:xfrm>
              <a:off x="4052832" y="4270424"/>
              <a:ext cx="3288420" cy="1266765"/>
              <a:chOff x="5704916" y="2818330"/>
              <a:chExt cx="1568460" cy="2027653"/>
            </a:xfrm>
          </p:grpSpPr>
          <p:sp>
            <p:nvSpPr>
              <p:cNvPr id="47" name="Rectangle 46">
                <a:extLst>
                  <a:ext uri="{FF2B5EF4-FFF2-40B4-BE49-F238E27FC236}">
                    <a16:creationId xmlns:a16="http://schemas.microsoft.com/office/drawing/2014/main" id="{4D4526EA-228D-4B47-81F6-5264D4F325EB}"/>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48" name="Rectangle 47">
                <a:extLst>
                  <a:ext uri="{FF2B5EF4-FFF2-40B4-BE49-F238E27FC236}">
                    <a16:creationId xmlns:a16="http://schemas.microsoft.com/office/drawing/2014/main" id="{0BFD2814-5C47-6549-BB43-C0F90A7EE0E0}"/>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49" name="Rectangle 48">
                <a:extLst>
                  <a:ext uri="{FF2B5EF4-FFF2-40B4-BE49-F238E27FC236}">
                    <a16:creationId xmlns:a16="http://schemas.microsoft.com/office/drawing/2014/main" id="{487E9C60-82E6-D14D-A743-C42F200AD3B5}"/>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50" name="Rectangle 49">
                <a:extLst>
                  <a:ext uri="{FF2B5EF4-FFF2-40B4-BE49-F238E27FC236}">
                    <a16:creationId xmlns:a16="http://schemas.microsoft.com/office/drawing/2014/main" id="{D8800543-65E4-7E40-B32E-8044B7F52365}"/>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51" name="Rectangle 50">
                <a:extLst>
                  <a:ext uri="{FF2B5EF4-FFF2-40B4-BE49-F238E27FC236}">
                    <a16:creationId xmlns:a16="http://schemas.microsoft.com/office/drawing/2014/main" id="{C3B4E828-A658-0940-9844-0D6F67DA545E}"/>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15" name="Rectangle 14">
              <a:extLst>
                <a:ext uri="{FF2B5EF4-FFF2-40B4-BE49-F238E27FC236}">
                  <a16:creationId xmlns:a16="http://schemas.microsoft.com/office/drawing/2014/main" id="{2126D4CA-3FD2-6341-8F78-74D6C8B655EC}"/>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16" name="Rectangle 15">
              <a:extLst>
                <a:ext uri="{FF2B5EF4-FFF2-40B4-BE49-F238E27FC236}">
                  <a16:creationId xmlns:a16="http://schemas.microsoft.com/office/drawing/2014/main" id="{28108701-0051-774A-83D9-A983A71B180A}"/>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17" name="Group 16">
              <a:extLst>
                <a:ext uri="{FF2B5EF4-FFF2-40B4-BE49-F238E27FC236}">
                  <a16:creationId xmlns:a16="http://schemas.microsoft.com/office/drawing/2014/main" id="{B53C70E6-2F30-444C-8D2B-20A22FD242EE}"/>
                </a:ext>
              </a:extLst>
            </p:cNvPr>
            <p:cNvGrpSpPr/>
            <p:nvPr/>
          </p:nvGrpSpPr>
          <p:grpSpPr>
            <a:xfrm>
              <a:off x="4524022" y="3172410"/>
              <a:ext cx="2632950" cy="1048981"/>
              <a:chOff x="3443783" y="1812017"/>
              <a:chExt cx="1861479" cy="947296"/>
            </a:xfrm>
          </p:grpSpPr>
          <p:sp>
            <p:nvSpPr>
              <p:cNvPr id="43" name="Rectangle 42">
                <a:extLst>
                  <a:ext uri="{FF2B5EF4-FFF2-40B4-BE49-F238E27FC236}">
                    <a16:creationId xmlns:a16="http://schemas.microsoft.com/office/drawing/2014/main" id="{B85C2FDF-0190-6846-B68E-A39ACC8983CB}"/>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44" name="Rectangle 43">
                <a:extLst>
                  <a:ext uri="{FF2B5EF4-FFF2-40B4-BE49-F238E27FC236}">
                    <a16:creationId xmlns:a16="http://schemas.microsoft.com/office/drawing/2014/main" id="{3EEE9064-90FB-5748-B032-F058DDBB92F7}"/>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45" name="Rectangle 44">
                <a:extLst>
                  <a:ext uri="{FF2B5EF4-FFF2-40B4-BE49-F238E27FC236}">
                    <a16:creationId xmlns:a16="http://schemas.microsoft.com/office/drawing/2014/main" id="{A2864E62-CC12-F14D-99CD-17C9CEC5BFFB}"/>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46" name="Rectangle 45">
                <a:extLst>
                  <a:ext uri="{FF2B5EF4-FFF2-40B4-BE49-F238E27FC236}">
                    <a16:creationId xmlns:a16="http://schemas.microsoft.com/office/drawing/2014/main" id="{ED3E5681-C649-B045-A9CD-7C29BE49F8A5}"/>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18" name="Straight Arrow Connector 17">
              <a:extLst>
                <a:ext uri="{FF2B5EF4-FFF2-40B4-BE49-F238E27FC236}">
                  <a16:creationId xmlns:a16="http://schemas.microsoft.com/office/drawing/2014/main" id="{835878D7-70DB-AD41-BAA3-D20C78281FE3}"/>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19" name="Group 18">
              <a:extLst>
                <a:ext uri="{FF2B5EF4-FFF2-40B4-BE49-F238E27FC236}">
                  <a16:creationId xmlns:a16="http://schemas.microsoft.com/office/drawing/2014/main" id="{78250C05-BDD9-D64E-8FA4-49C263C4D65D}"/>
                </a:ext>
              </a:extLst>
            </p:cNvPr>
            <p:cNvGrpSpPr/>
            <p:nvPr/>
          </p:nvGrpSpPr>
          <p:grpSpPr>
            <a:xfrm>
              <a:off x="3990744" y="1457302"/>
              <a:ext cx="1658446" cy="1596847"/>
              <a:chOff x="3990744" y="1457302"/>
              <a:chExt cx="1658446" cy="1596847"/>
            </a:xfrm>
          </p:grpSpPr>
          <p:sp>
            <p:nvSpPr>
              <p:cNvPr id="39" name="Rectangle 38">
                <a:extLst>
                  <a:ext uri="{FF2B5EF4-FFF2-40B4-BE49-F238E27FC236}">
                    <a16:creationId xmlns:a16="http://schemas.microsoft.com/office/drawing/2014/main" id="{C7BA14C1-A311-6B46-9F3D-9607B616276E}"/>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40" name="Rectangle 39">
                <a:extLst>
                  <a:ext uri="{FF2B5EF4-FFF2-40B4-BE49-F238E27FC236}">
                    <a16:creationId xmlns:a16="http://schemas.microsoft.com/office/drawing/2014/main" id="{4FA1AA12-7DFF-924F-94CD-3EBD83DC0B7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41" name="Rectangle 40">
                <a:extLst>
                  <a:ext uri="{FF2B5EF4-FFF2-40B4-BE49-F238E27FC236}">
                    <a16:creationId xmlns:a16="http://schemas.microsoft.com/office/drawing/2014/main" id="{E4D087A1-4584-794C-91F5-CF22E8211E98}"/>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42" name="Rectangle 41">
                <a:extLst>
                  <a:ext uri="{FF2B5EF4-FFF2-40B4-BE49-F238E27FC236}">
                    <a16:creationId xmlns:a16="http://schemas.microsoft.com/office/drawing/2014/main" id="{7799392A-B9EF-6A49-97C9-73C1E9AC77A5}"/>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20" name="Group 19">
              <a:extLst>
                <a:ext uri="{FF2B5EF4-FFF2-40B4-BE49-F238E27FC236}">
                  <a16:creationId xmlns:a16="http://schemas.microsoft.com/office/drawing/2014/main" id="{F83CB189-971C-534A-9514-34F2CB3D7F6B}"/>
                </a:ext>
              </a:extLst>
            </p:cNvPr>
            <p:cNvGrpSpPr/>
            <p:nvPr/>
          </p:nvGrpSpPr>
          <p:grpSpPr>
            <a:xfrm>
              <a:off x="3522840" y="5593442"/>
              <a:ext cx="4544417" cy="1753021"/>
              <a:chOff x="5727062" y="5695492"/>
              <a:chExt cx="4544417" cy="1753021"/>
            </a:xfrm>
          </p:grpSpPr>
          <p:sp>
            <p:nvSpPr>
              <p:cNvPr id="27" name="Rectangle 26">
                <a:extLst>
                  <a:ext uri="{FF2B5EF4-FFF2-40B4-BE49-F238E27FC236}">
                    <a16:creationId xmlns:a16="http://schemas.microsoft.com/office/drawing/2014/main" id="{224E744D-F22A-3C48-A87B-CA4B57FA2B41}"/>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28" name="Rectangle 27">
                <a:extLst>
                  <a:ext uri="{FF2B5EF4-FFF2-40B4-BE49-F238E27FC236}">
                    <a16:creationId xmlns:a16="http://schemas.microsoft.com/office/drawing/2014/main" id="{5436D79C-BF83-014B-B47D-FD582B5D3CA3}"/>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29" name="Rectangle 28">
                <a:extLst>
                  <a:ext uri="{FF2B5EF4-FFF2-40B4-BE49-F238E27FC236}">
                    <a16:creationId xmlns:a16="http://schemas.microsoft.com/office/drawing/2014/main" id="{9788E17D-DA56-BF48-8C8D-8077E6FA698B}"/>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30" name="Rectangle 29">
                <a:extLst>
                  <a:ext uri="{FF2B5EF4-FFF2-40B4-BE49-F238E27FC236}">
                    <a16:creationId xmlns:a16="http://schemas.microsoft.com/office/drawing/2014/main" id="{F14BD574-15B3-9D4E-B6CC-0A88AFEE9422}"/>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31" name="Rectangle 30">
                <a:extLst>
                  <a:ext uri="{FF2B5EF4-FFF2-40B4-BE49-F238E27FC236}">
                    <a16:creationId xmlns:a16="http://schemas.microsoft.com/office/drawing/2014/main" id="{D0361460-0454-F54E-B0AD-7346B5CC0A6D}"/>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32" name="Straight Arrow Connector 31">
                <a:extLst>
                  <a:ext uri="{FF2B5EF4-FFF2-40B4-BE49-F238E27FC236}">
                    <a16:creationId xmlns:a16="http://schemas.microsoft.com/office/drawing/2014/main" id="{D59F43C0-763C-1946-9112-37690701A47B}"/>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33" name="Rectangle 32">
                <a:extLst>
                  <a:ext uri="{FF2B5EF4-FFF2-40B4-BE49-F238E27FC236}">
                    <a16:creationId xmlns:a16="http://schemas.microsoft.com/office/drawing/2014/main" id="{B74DD0BF-3A43-E142-BCD3-36D5ABD5737A}"/>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34" name="Rectangle 33">
                <a:extLst>
                  <a:ext uri="{FF2B5EF4-FFF2-40B4-BE49-F238E27FC236}">
                    <a16:creationId xmlns:a16="http://schemas.microsoft.com/office/drawing/2014/main" id="{3C1B784A-BF24-C044-B30A-4C55AC0CE621}"/>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35" name="Rectangle 34">
                <a:extLst>
                  <a:ext uri="{FF2B5EF4-FFF2-40B4-BE49-F238E27FC236}">
                    <a16:creationId xmlns:a16="http://schemas.microsoft.com/office/drawing/2014/main" id="{7754020F-B463-C845-BB3D-462B5C7F62F2}"/>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36" name="Rectangle 35">
                <a:extLst>
                  <a:ext uri="{FF2B5EF4-FFF2-40B4-BE49-F238E27FC236}">
                    <a16:creationId xmlns:a16="http://schemas.microsoft.com/office/drawing/2014/main" id="{1EA0818E-CCF7-2542-8021-DCBABEB34D37}"/>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37" name="Straight Arrow Connector 36">
                <a:extLst>
                  <a:ext uri="{FF2B5EF4-FFF2-40B4-BE49-F238E27FC236}">
                    <a16:creationId xmlns:a16="http://schemas.microsoft.com/office/drawing/2014/main" id="{D8FB6D1F-C65C-034B-A3F7-EF0CA15B156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38" name="Straight Arrow Connector 37">
                <a:extLst>
                  <a:ext uri="{FF2B5EF4-FFF2-40B4-BE49-F238E27FC236}">
                    <a16:creationId xmlns:a16="http://schemas.microsoft.com/office/drawing/2014/main" id="{46917F35-1841-4C4E-956D-CB94ECD43D83}"/>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21" name="Straight Arrow Connector 20">
              <a:extLst>
                <a:ext uri="{FF2B5EF4-FFF2-40B4-BE49-F238E27FC236}">
                  <a16:creationId xmlns:a16="http://schemas.microsoft.com/office/drawing/2014/main" id="{7E3C1EC0-715B-A841-BA3F-F937BA57F94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22" name="Straight Arrow Connector 21">
              <a:extLst>
                <a:ext uri="{FF2B5EF4-FFF2-40B4-BE49-F238E27FC236}">
                  <a16:creationId xmlns:a16="http://schemas.microsoft.com/office/drawing/2014/main" id="{71747B3E-3B5B-464D-94E7-5268BAFAD2E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23" name="Straight Arrow Connector 22">
              <a:extLst>
                <a:ext uri="{FF2B5EF4-FFF2-40B4-BE49-F238E27FC236}">
                  <a16:creationId xmlns:a16="http://schemas.microsoft.com/office/drawing/2014/main" id="{FDEB466A-6187-8E4F-9E8A-7568E7DF2814}"/>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24" name="Straight Arrow Connector 23">
              <a:extLst>
                <a:ext uri="{FF2B5EF4-FFF2-40B4-BE49-F238E27FC236}">
                  <a16:creationId xmlns:a16="http://schemas.microsoft.com/office/drawing/2014/main" id="{936B2AAA-31D5-B049-B743-9E59C936C646}"/>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25" name="Straight Arrow Connector 24">
              <a:extLst>
                <a:ext uri="{FF2B5EF4-FFF2-40B4-BE49-F238E27FC236}">
                  <a16:creationId xmlns:a16="http://schemas.microsoft.com/office/drawing/2014/main" id="{A0708183-9664-FB44-91A5-1D9AAD57C8C5}"/>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26" name="Straight Arrow Connector 25">
              <a:extLst>
                <a:ext uri="{FF2B5EF4-FFF2-40B4-BE49-F238E27FC236}">
                  <a16:creationId xmlns:a16="http://schemas.microsoft.com/office/drawing/2014/main" id="{BF75BB23-CC39-574F-94F9-413CA9279620}"/>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grpSp>
        <p:nvGrpSpPr>
          <p:cNvPr id="57" name="Group 56">
            <a:extLst>
              <a:ext uri="{FF2B5EF4-FFF2-40B4-BE49-F238E27FC236}">
                <a16:creationId xmlns:a16="http://schemas.microsoft.com/office/drawing/2014/main" id="{006AE8DE-4F6A-2D4A-B26E-1F2BA475564D}"/>
              </a:ext>
            </a:extLst>
          </p:cNvPr>
          <p:cNvGrpSpPr/>
          <p:nvPr/>
        </p:nvGrpSpPr>
        <p:grpSpPr>
          <a:xfrm>
            <a:off x="9237511" y="1850384"/>
            <a:ext cx="4661949" cy="6666144"/>
            <a:chOff x="3522840" y="708383"/>
            <a:chExt cx="4549500" cy="6638080"/>
          </a:xfrm>
        </p:grpSpPr>
        <p:sp>
          <p:nvSpPr>
            <p:cNvPr id="58" name="Rectangle 57">
              <a:extLst>
                <a:ext uri="{FF2B5EF4-FFF2-40B4-BE49-F238E27FC236}">
                  <a16:creationId xmlns:a16="http://schemas.microsoft.com/office/drawing/2014/main" id="{287D3924-F4C5-F84F-8A8B-72167EF7DA6C}"/>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59" name="Rectangle 58">
              <a:extLst>
                <a:ext uri="{FF2B5EF4-FFF2-40B4-BE49-F238E27FC236}">
                  <a16:creationId xmlns:a16="http://schemas.microsoft.com/office/drawing/2014/main" id="{F7D96E38-9768-8148-AB78-D21BA0983153}"/>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100" b="1" kern="0" dirty="0">
                  <a:latin typeface="Arial"/>
                </a:rPr>
                <a:t>Interactive  Visualization Block</a:t>
              </a:r>
            </a:p>
          </p:txBody>
        </p:sp>
        <p:grpSp>
          <p:nvGrpSpPr>
            <p:cNvPr id="60" name="Group 59">
              <a:extLst>
                <a:ext uri="{FF2B5EF4-FFF2-40B4-BE49-F238E27FC236}">
                  <a16:creationId xmlns:a16="http://schemas.microsoft.com/office/drawing/2014/main" id="{5C8D62E5-B3F2-514F-BBD0-029BA1C239FA}"/>
                </a:ext>
              </a:extLst>
            </p:cNvPr>
            <p:cNvGrpSpPr/>
            <p:nvPr/>
          </p:nvGrpSpPr>
          <p:grpSpPr>
            <a:xfrm>
              <a:off x="5744268" y="1475130"/>
              <a:ext cx="1658446" cy="1596847"/>
              <a:chOff x="3443783" y="1812017"/>
              <a:chExt cx="1861479" cy="1038339"/>
            </a:xfrm>
          </p:grpSpPr>
          <p:sp>
            <p:nvSpPr>
              <p:cNvPr id="99" name="Rectangle 98">
                <a:extLst>
                  <a:ext uri="{FF2B5EF4-FFF2-40B4-BE49-F238E27FC236}">
                    <a16:creationId xmlns:a16="http://schemas.microsoft.com/office/drawing/2014/main" id="{D9DF0612-DCF1-8540-9F5F-8AE3A4F40CEC}"/>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100" name="Rectangle 99">
                <a:extLst>
                  <a:ext uri="{FF2B5EF4-FFF2-40B4-BE49-F238E27FC236}">
                    <a16:creationId xmlns:a16="http://schemas.microsoft.com/office/drawing/2014/main" id="{9AA2A8FD-BF09-E049-B70D-0B0B710F1F89}"/>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101" name="Rectangle 100">
                <a:extLst>
                  <a:ext uri="{FF2B5EF4-FFF2-40B4-BE49-F238E27FC236}">
                    <a16:creationId xmlns:a16="http://schemas.microsoft.com/office/drawing/2014/main" id="{E84938B6-235E-0141-BD6E-F55439D6F01D}"/>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102" name="Rectangle 101">
                <a:extLst>
                  <a:ext uri="{FF2B5EF4-FFF2-40B4-BE49-F238E27FC236}">
                    <a16:creationId xmlns:a16="http://schemas.microsoft.com/office/drawing/2014/main" id="{002B49C3-042B-4941-8D18-0D3C1800800D}"/>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103" name="Rectangle 102">
                <a:extLst>
                  <a:ext uri="{FF2B5EF4-FFF2-40B4-BE49-F238E27FC236}">
                    <a16:creationId xmlns:a16="http://schemas.microsoft.com/office/drawing/2014/main" id="{396F7C6B-9767-A44F-8BD9-B6A435DBCFB9}"/>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61" name="Group 60">
              <a:extLst>
                <a:ext uri="{FF2B5EF4-FFF2-40B4-BE49-F238E27FC236}">
                  <a16:creationId xmlns:a16="http://schemas.microsoft.com/office/drawing/2014/main" id="{9A428E38-3B05-B042-A095-1D55BF37170B}"/>
                </a:ext>
              </a:extLst>
            </p:cNvPr>
            <p:cNvGrpSpPr/>
            <p:nvPr/>
          </p:nvGrpSpPr>
          <p:grpSpPr>
            <a:xfrm>
              <a:off x="4052832" y="4270424"/>
              <a:ext cx="3288420" cy="1266765"/>
              <a:chOff x="5704916" y="2818330"/>
              <a:chExt cx="1568460" cy="2027653"/>
            </a:xfrm>
          </p:grpSpPr>
          <p:sp>
            <p:nvSpPr>
              <p:cNvPr id="94" name="Rectangle 93">
                <a:extLst>
                  <a:ext uri="{FF2B5EF4-FFF2-40B4-BE49-F238E27FC236}">
                    <a16:creationId xmlns:a16="http://schemas.microsoft.com/office/drawing/2014/main" id="{C1F35A15-3BCF-F546-B73F-5F0CA44EAC76}"/>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95" name="Rectangle 94">
                <a:extLst>
                  <a:ext uri="{FF2B5EF4-FFF2-40B4-BE49-F238E27FC236}">
                    <a16:creationId xmlns:a16="http://schemas.microsoft.com/office/drawing/2014/main" id="{353455A4-D131-6847-AF55-C4D83BD64049}"/>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96" name="Rectangle 95">
                <a:extLst>
                  <a:ext uri="{FF2B5EF4-FFF2-40B4-BE49-F238E27FC236}">
                    <a16:creationId xmlns:a16="http://schemas.microsoft.com/office/drawing/2014/main" id="{BB0B99FE-7D89-1749-856E-F99AE1E01B0B}"/>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97" name="Rectangle 96">
                <a:extLst>
                  <a:ext uri="{FF2B5EF4-FFF2-40B4-BE49-F238E27FC236}">
                    <a16:creationId xmlns:a16="http://schemas.microsoft.com/office/drawing/2014/main" id="{07EA254B-AB9D-A54E-8208-E3B131324529}"/>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98" name="Rectangle 97">
                <a:extLst>
                  <a:ext uri="{FF2B5EF4-FFF2-40B4-BE49-F238E27FC236}">
                    <a16:creationId xmlns:a16="http://schemas.microsoft.com/office/drawing/2014/main" id="{8A92A1F7-7ACC-DC42-A71D-592B14904252}"/>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62" name="Rectangle 61">
              <a:extLst>
                <a:ext uri="{FF2B5EF4-FFF2-40B4-BE49-F238E27FC236}">
                  <a16:creationId xmlns:a16="http://schemas.microsoft.com/office/drawing/2014/main" id="{E55A2438-8A16-4140-B7B2-2B4AEBC1E2C4}"/>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63" name="Rectangle 62">
              <a:extLst>
                <a:ext uri="{FF2B5EF4-FFF2-40B4-BE49-F238E27FC236}">
                  <a16:creationId xmlns:a16="http://schemas.microsoft.com/office/drawing/2014/main" id="{7E7003DC-2F18-AA4B-90F8-3CC572576F88}"/>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64" name="Group 63">
              <a:extLst>
                <a:ext uri="{FF2B5EF4-FFF2-40B4-BE49-F238E27FC236}">
                  <a16:creationId xmlns:a16="http://schemas.microsoft.com/office/drawing/2014/main" id="{4966358D-8ED0-644D-AD02-2625BB878991}"/>
                </a:ext>
              </a:extLst>
            </p:cNvPr>
            <p:cNvGrpSpPr/>
            <p:nvPr/>
          </p:nvGrpSpPr>
          <p:grpSpPr>
            <a:xfrm>
              <a:off x="4524022" y="3172410"/>
              <a:ext cx="2632950" cy="1048981"/>
              <a:chOff x="3443783" y="1812017"/>
              <a:chExt cx="1861479" cy="947296"/>
            </a:xfrm>
          </p:grpSpPr>
          <p:sp>
            <p:nvSpPr>
              <p:cNvPr id="90" name="Rectangle 89">
                <a:extLst>
                  <a:ext uri="{FF2B5EF4-FFF2-40B4-BE49-F238E27FC236}">
                    <a16:creationId xmlns:a16="http://schemas.microsoft.com/office/drawing/2014/main" id="{076D224E-8AB3-5145-B0DA-D257C4E5D2F0}"/>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91" name="Rectangle 90">
                <a:extLst>
                  <a:ext uri="{FF2B5EF4-FFF2-40B4-BE49-F238E27FC236}">
                    <a16:creationId xmlns:a16="http://schemas.microsoft.com/office/drawing/2014/main" id="{8F595E75-0D99-3641-B8C8-AC089DD5749E}"/>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92" name="Rectangle 91">
                <a:extLst>
                  <a:ext uri="{FF2B5EF4-FFF2-40B4-BE49-F238E27FC236}">
                    <a16:creationId xmlns:a16="http://schemas.microsoft.com/office/drawing/2014/main" id="{FAA93601-E9E9-434F-B562-A879405F963F}"/>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93" name="Rectangle 92">
                <a:extLst>
                  <a:ext uri="{FF2B5EF4-FFF2-40B4-BE49-F238E27FC236}">
                    <a16:creationId xmlns:a16="http://schemas.microsoft.com/office/drawing/2014/main" id="{2CCB95BE-115F-1E44-A07E-D41FD5D95339}"/>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65" name="Straight Arrow Connector 64">
              <a:extLst>
                <a:ext uri="{FF2B5EF4-FFF2-40B4-BE49-F238E27FC236}">
                  <a16:creationId xmlns:a16="http://schemas.microsoft.com/office/drawing/2014/main" id="{0FCF6F53-C8F5-164C-9DA5-06A69DE186B9}"/>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66" name="Group 65">
              <a:extLst>
                <a:ext uri="{FF2B5EF4-FFF2-40B4-BE49-F238E27FC236}">
                  <a16:creationId xmlns:a16="http://schemas.microsoft.com/office/drawing/2014/main" id="{26FB4B3A-5DE5-4C45-9A5C-0B936012B45D}"/>
                </a:ext>
              </a:extLst>
            </p:cNvPr>
            <p:cNvGrpSpPr/>
            <p:nvPr/>
          </p:nvGrpSpPr>
          <p:grpSpPr>
            <a:xfrm>
              <a:off x="3990744" y="1457302"/>
              <a:ext cx="1658446" cy="1596847"/>
              <a:chOff x="3990744" y="1457302"/>
              <a:chExt cx="1658446" cy="1596847"/>
            </a:xfrm>
          </p:grpSpPr>
          <p:sp>
            <p:nvSpPr>
              <p:cNvPr id="86" name="Rectangle 85">
                <a:extLst>
                  <a:ext uri="{FF2B5EF4-FFF2-40B4-BE49-F238E27FC236}">
                    <a16:creationId xmlns:a16="http://schemas.microsoft.com/office/drawing/2014/main" id="{6F723CE0-DF28-A34C-8DB7-98DF5721574B}"/>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87" name="Rectangle 86">
                <a:extLst>
                  <a:ext uri="{FF2B5EF4-FFF2-40B4-BE49-F238E27FC236}">
                    <a16:creationId xmlns:a16="http://schemas.microsoft.com/office/drawing/2014/main" id="{45106337-0577-EE45-B5B4-F3203AF4FF0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88" name="Rectangle 87">
                <a:extLst>
                  <a:ext uri="{FF2B5EF4-FFF2-40B4-BE49-F238E27FC236}">
                    <a16:creationId xmlns:a16="http://schemas.microsoft.com/office/drawing/2014/main" id="{B671F4F1-2892-494F-9AE9-E3C4B7360EFA}"/>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89" name="Rectangle 88">
                <a:extLst>
                  <a:ext uri="{FF2B5EF4-FFF2-40B4-BE49-F238E27FC236}">
                    <a16:creationId xmlns:a16="http://schemas.microsoft.com/office/drawing/2014/main" id="{9D726BF9-944A-BE4E-B986-37E54BAE98DD}"/>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67" name="Group 66">
              <a:extLst>
                <a:ext uri="{FF2B5EF4-FFF2-40B4-BE49-F238E27FC236}">
                  <a16:creationId xmlns:a16="http://schemas.microsoft.com/office/drawing/2014/main" id="{4EA08ECD-C795-144D-BECB-0344DD0EA2A2}"/>
                </a:ext>
              </a:extLst>
            </p:cNvPr>
            <p:cNvGrpSpPr/>
            <p:nvPr/>
          </p:nvGrpSpPr>
          <p:grpSpPr>
            <a:xfrm>
              <a:off x="3522840" y="5593442"/>
              <a:ext cx="4544417" cy="1753021"/>
              <a:chOff x="5727062" y="5695492"/>
              <a:chExt cx="4544417" cy="1753021"/>
            </a:xfrm>
          </p:grpSpPr>
          <p:sp>
            <p:nvSpPr>
              <p:cNvPr id="74" name="Rectangle 73">
                <a:extLst>
                  <a:ext uri="{FF2B5EF4-FFF2-40B4-BE49-F238E27FC236}">
                    <a16:creationId xmlns:a16="http://schemas.microsoft.com/office/drawing/2014/main" id="{F0F3CDCA-CAAC-924F-8C24-5DCA2DF19C46}"/>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75" name="Rectangle 74">
                <a:extLst>
                  <a:ext uri="{FF2B5EF4-FFF2-40B4-BE49-F238E27FC236}">
                    <a16:creationId xmlns:a16="http://schemas.microsoft.com/office/drawing/2014/main" id="{4ED4942D-3F9B-8D4A-AED3-89D8EC6378E2}"/>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76" name="Rectangle 75">
                <a:extLst>
                  <a:ext uri="{FF2B5EF4-FFF2-40B4-BE49-F238E27FC236}">
                    <a16:creationId xmlns:a16="http://schemas.microsoft.com/office/drawing/2014/main" id="{DE66CAA8-420D-C944-B2BE-D3BC5CFA2212}"/>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77" name="Rectangle 76">
                <a:extLst>
                  <a:ext uri="{FF2B5EF4-FFF2-40B4-BE49-F238E27FC236}">
                    <a16:creationId xmlns:a16="http://schemas.microsoft.com/office/drawing/2014/main" id="{D21D4466-08A6-5141-9F0A-86372C6748EA}"/>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78" name="Rectangle 77">
                <a:extLst>
                  <a:ext uri="{FF2B5EF4-FFF2-40B4-BE49-F238E27FC236}">
                    <a16:creationId xmlns:a16="http://schemas.microsoft.com/office/drawing/2014/main" id="{BA815732-74BE-4848-9A1F-5FDB227A83C6}"/>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79" name="Straight Arrow Connector 78">
                <a:extLst>
                  <a:ext uri="{FF2B5EF4-FFF2-40B4-BE49-F238E27FC236}">
                    <a16:creationId xmlns:a16="http://schemas.microsoft.com/office/drawing/2014/main" id="{55A2AB59-CA80-BD4A-8E60-B5D12AEB848E}"/>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80" name="Rectangle 79">
                <a:extLst>
                  <a:ext uri="{FF2B5EF4-FFF2-40B4-BE49-F238E27FC236}">
                    <a16:creationId xmlns:a16="http://schemas.microsoft.com/office/drawing/2014/main" id="{E0880B0E-F875-5E48-91C4-D8491FCAD623}"/>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81" name="Rectangle 80">
                <a:extLst>
                  <a:ext uri="{FF2B5EF4-FFF2-40B4-BE49-F238E27FC236}">
                    <a16:creationId xmlns:a16="http://schemas.microsoft.com/office/drawing/2014/main" id="{6646E664-32FD-BD44-9C11-BA2D4F931912}"/>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82" name="Rectangle 81">
                <a:extLst>
                  <a:ext uri="{FF2B5EF4-FFF2-40B4-BE49-F238E27FC236}">
                    <a16:creationId xmlns:a16="http://schemas.microsoft.com/office/drawing/2014/main" id="{DA4F0E80-1D2F-1341-BBAF-FE13F81627EE}"/>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83" name="Rectangle 82">
                <a:extLst>
                  <a:ext uri="{FF2B5EF4-FFF2-40B4-BE49-F238E27FC236}">
                    <a16:creationId xmlns:a16="http://schemas.microsoft.com/office/drawing/2014/main" id="{B7070196-6069-DD4C-A6E0-9EF4CF117EFA}"/>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84" name="Straight Arrow Connector 83">
                <a:extLst>
                  <a:ext uri="{FF2B5EF4-FFF2-40B4-BE49-F238E27FC236}">
                    <a16:creationId xmlns:a16="http://schemas.microsoft.com/office/drawing/2014/main" id="{17BCE5A2-0C97-A74F-B5F7-98422C56971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85" name="Straight Arrow Connector 84">
                <a:extLst>
                  <a:ext uri="{FF2B5EF4-FFF2-40B4-BE49-F238E27FC236}">
                    <a16:creationId xmlns:a16="http://schemas.microsoft.com/office/drawing/2014/main" id="{21B5A8B7-FA64-2F4C-8B1E-678D69D73390}"/>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68" name="Straight Arrow Connector 67">
              <a:extLst>
                <a:ext uri="{FF2B5EF4-FFF2-40B4-BE49-F238E27FC236}">
                  <a16:creationId xmlns:a16="http://schemas.microsoft.com/office/drawing/2014/main" id="{8E2D2BE4-6B40-BE4C-A549-D41F45B7609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69" name="Straight Arrow Connector 68">
              <a:extLst>
                <a:ext uri="{FF2B5EF4-FFF2-40B4-BE49-F238E27FC236}">
                  <a16:creationId xmlns:a16="http://schemas.microsoft.com/office/drawing/2014/main" id="{D1BC3BBD-2BEB-134C-A8B8-AFD37AEF743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70" name="Straight Arrow Connector 69">
              <a:extLst>
                <a:ext uri="{FF2B5EF4-FFF2-40B4-BE49-F238E27FC236}">
                  <a16:creationId xmlns:a16="http://schemas.microsoft.com/office/drawing/2014/main" id="{93CC7652-160E-E144-804E-A26A772460E3}"/>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71" name="Straight Arrow Connector 70">
              <a:extLst>
                <a:ext uri="{FF2B5EF4-FFF2-40B4-BE49-F238E27FC236}">
                  <a16:creationId xmlns:a16="http://schemas.microsoft.com/office/drawing/2014/main" id="{425DF81A-C08D-384E-965B-BA03AE14F163}"/>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72" name="Straight Arrow Connector 71">
              <a:extLst>
                <a:ext uri="{FF2B5EF4-FFF2-40B4-BE49-F238E27FC236}">
                  <a16:creationId xmlns:a16="http://schemas.microsoft.com/office/drawing/2014/main" id="{68D561EE-7193-B442-B7D8-5B48D5B3A499}"/>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73" name="Straight Arrow Connector 72">
              <a:extLst>
                <a:ext uri="{FF2B5EF4-FFF2-40B4-BE49-F238E27FC236}">
                  <a16:creationId xmlns:a16="http://schemas.microsoft.com/office/drawing/2014/main" id="{B9C9E5DE-3C51-6E4D-AE47-AF7EBD025D18}"/>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spTree>
    <p:extLst>
      <p:ext uri="{BB962C8B-B14F-4D97-AF65-F5344CB8AC3E}">
        <p14:creationId xmlns:p14="http://schemas.microsoft.com/office/powerpoint/2010/main" val="17470850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entury Gothic" panose="020B0502020202020204" pitchFamily="34" charset="0"/>
              </a:rPr>
              <a:t>Smart Utilities ICT Architecture</a:t>
            </a:r>
          </a:p>
        </p:txBody>
      </p:sp>
      <p:sp>
        <p:nvSpPr>
          <p:cNvPr id="6" name="Rounded Rectangle 5"/>
          <p:cNvSpPr/>
          <p:nvPr/>
        </p:nvSpPr>
        <p:spPr>
          <a:xfrm>
            <a:off x="3899508" y="97417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000" dirty="0">
                <a:solidFill>
                  <a:srgbClr val="C00000"/>
                </a:solidFill>
                <a:latin typeface="Century Gothic"/>
                <a:cs typeface="Century Gothic"/>
              </a:rPr>
              <a:t>Domain 1</a:t>
            </a:r>
          </a:p>
        </p:txBody>
      </p:sp>
      <p:sp>
        <p:nvSpPr>
          <p:cNvPr id="7" name="Rounded Rectangle 6"/>
          <p:cNvSpPr/>
          <p:nvPr/>
        </p:nvSpPr>
        <p:spPr>
          <a:xfrm>
            <a:off x="10146692" y="95905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400" dirty="0">
                <a:solidFill>
                  <a:srgbClr val="C00000"/>
                </a:solidFill>
                <a:latin typeface="Century Gothic"/>
                <a:cs typeface="Century Gothic"/>
              </a:rPr>
              <a:t>Domain n</a:t>
            </a:r>
          </a:p>
        </p:txBody>
      </p:sp>
      <p:sp>
        <p:nvSpPr>
          <p:cNvPr id="8" name="TextBox 7"/>
          <p:cNvSpPr txBox="1"/>
          <p:nvPr/>
        </p:nvSpPr>
        <p:spPr>
          <a:xfrm>
            <a:off x="7310088" y="1103788"/>
            <a:ext cx="3303181" cy="892552"/>
          </a:xfrm>
          <a:prstGeom prst="rect">
            <a:avLst/>
          </a:prstGeom>
          <a:noFill/>
        </p:spPr>
        <p:txBody>
          <a:bodyPr wrap="square" rtlCol="0">
            <a:spAutoFit/>
          </a:bodyPr>
          <a:lstStyle/>
          <a:p>
            <a:r>
              <a:rPr lang="en-US" sz="5200" dirty="0">
                <a:solidFill>
                  <a:srgbClr val="FFC000"/>
                </a:solidFill>
                <a:latin typeface="Century Gothic"/>
                <a:cs typeface="Century Gothic"/>
              </a:rPr>
              <a:t>2..3..4…</a:t>
            </a:r>
          </a:p>
        </p:txBody>
      </p:sp>
      <p:sp>
        <p:nvSpPr>
          <p:cNvPr id="9" name="TextBox 8"/>
          <p:cNvSpPr txBox="1"/>
          <p:nvPr/>
        </p:nvSpPr>
        <p:spPr>
          <a:xfrm>
            <a:off x="7502583" y="3950398"/>
            <a:ext cx="2305656" cy="748988"/>
          </a:xfrm>
          <a:prstGeom prst="rect">
            <a:avLst/>
          </a:prstGeom>
          <a:noFill/>
        </p:spPr>
        <p:txBody>
          <a:bodyPr wrap="square" rtlCol="0">
            <a:spAutoFit/>
          </a:bodyPr>
          <a:lstStyle/>
          <a:p>
            <a:pPr algn="ctr"/>
            <a:r>
              <a:rPr lang="en-US" sz="4267" b="1" dirty="0">
                <a:solidFill>
                  <a:srgbClr val="FFC000"/>
                </a:solidFill>
                <a:latin typeface="Century Gothic"/>
                <a:cs typeface="Century Gothic"/>
              </a:rPr>
              <a:t>………..</a:t>
            </a:r>
          </a:p>
        </p:txBody>
      </p:sp>
      <p:grpSp>
        <p:nvGrpSpPr>
          <p:cNvPr id="10" name="Group 9">
            <a:extLst>
              <a:ext uri="{FF2B5EF4-FFF2-40B4-BE49-F238E27FC236}">
                <a16:creationId xmlns:a16="http://schemas.microsoft.com/office/drawing/2014/main" id="{EB7D2DB8-F857-DF43-B425-FF80823DFFB6}"/>
              </a:ext>
            </a:extLst>
          </p:cNvPr>
          <p:cNvGrpSpPr/>
          <p:nvPr/>
        </p:nvGrpSpPr>
        <p:grpSpPr>
          <a:xfrm>
            <a:off x="3419524" y="1889429"/>
            <a:ext cx="4361419" cy="6627099"/>
            <a:chOff x="3522840" y="708383"/>
            <a:chExt cx="4549500" cy="6638080"/>
          </a:xfrm>
        </p:grpSpPr>
        <p:sp>
          <p:nvSpPr>
            <p:cNvPr id="11" name="Rectangle 10">
              <a:extLst>
                <a:ext uri="{FF2B5EF4-FFF2-40B4-BE49-F238E27FC236}">
                  <a16:creationId xmlns:a16="http://schemas.microsoft.com/office/drawing/2014/main" id="{2C454295-E4D7-DE4C-9D08-992A09E96545}"/>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12" name="Rectangle 11">
              <a:extLst>
                <a:ext uri="{FF2B5EF4-FFF2-40B4-BE49-F238E27FC236}">
                  <a16:creationId xmlns:a16="http://schemas.microsoft.com/office/drawing/2014/main" id="{85DEA8D6-ED7D-B845-8909-07EB8A477CE6}"/>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solidFill>
                    <a:prstClr val="black"/>
                  </a:solidFill>
                  <a:latin typeface="Arial"/>
                </a:rPr>
                <a:t>Interactive  Visualization Block</a:t>
              </a:r>
            </a:p>
          </p:txBody>
        </p:sp>
        <p:grpSp>
          <p:nvGrpSpPr>
            <p:cNvPr id="13" name="Group 12">
              <a:extLst>
                <a:ext uri="{FF2B5EF4-FFF2-40B4-BE49-F238E27FC236}">
                  <a16:creationId xmlns:a16="http://schemas.microsoft.com/office/drawing/2014/main" id="{65D84710-3F96-8E4D-BED2-3538040563D4}"/>
                </a:ext>
              </a:extLst>
            </p:cNvPr>
            <p:cNvGrpSpPr/>
            <p:nvPr/>
          </p:nvGrpSpPr>
          <p:grpSpPr>
            <a:xfrm>
              <a:off x="5744268" y="1475130"/>
              <a:ext cx="1658446" cy="1596847"/>
              <a:chOff x="3443783" y="1812017"/>
              <a:chExt cx="1861479" cy="1038339"/>
            </a:xfrm>
          </p:grpSpPr>
          <p:sp>
            <p:nvSpPr>
              <p:cNvPr id="52" name="Rectangle 51">
                <a:extLst>
                  <a:ext uri="{FF2B5EF4-FFF2-40B4-BE49-F238E27FC236}">
                    <a16:creationId xmlns:a16="http://schemas.microsoft.com/office/drawing/2014/main" id="{2EB39986-09C5-3246-B0FC-5C1442342E42}"/>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53" name="Rectangle 52">
                <a:extLst>
                  <a:ext uri="{FF2B5EF4-FFF2-40B4-BE49-F238E27FC236}">
                    <a16:creationId xmlns:a16="http://schemas.microsoft.com/office/drawing/2014/main" id="{58AAA9A9-F304-E54A-9267-453A0C1925DE}"/>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54" name="Rectangle 53">
                <a:extLst>
                  <a:ext uri="{FF2B5EF4-FFF2-40B4-BE49-F238E27FC236}">
                    <a16:creationId xmlns:a16="http://schemas.microsoft.com/office/drawing/2014/main" id="{A440630C-7EBA-D641-BAD3-08C098A49B5C}"/>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55" name="Rectangle 54">
                <a:extLst>
                  <a:ext uri="{FF2B5EF4-FFF2-40B4-BE49-F238E27FC236}">
                    <a16:creationId xmlns:a16="http://schemas.microsoft.com/office/drawing/2014/main" id="{413E2D43-F23D-D849-8B85-62366C633899}"/>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56" name="Rectangle 55">
                <a:extLst>
                  <a:ext uri="{FF2B5EF4-FFF2-40B4-BE49-F238E27FC236}">
                    <a16:creationId xmlns:a16="http://schemas.microsoft.com/office/drawing/2014/main" id="{F47A52C3-6004-1142-B618-8696B2B8D94C}"/>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14" name="Group 13">
              <a:extLst>
                <a:ext uri="{FF2B5EF4-FFF2-40B4-BE49-F238E27FC236}">
                  <a16:creationId xmlns:a16="http://schemas.microsoft.com/office/drawing/2014/main" id="{3BEFB3FD-D3D8-0C4B-AF39-A20CDDDACC7C}"/>
                </a:ext>
              </a:extLst>
            </p:cNvPr>
            <p:cNvGrpSpPr/>
            <p:nvPr/>
          </p:nvGrpSpPr>
          <p:grpSpPr>
            <a:xfrm>
              <a:off x="4052832" y="4270424"/>
              <a:ext cx="3288420" cy="1266765"/>
              <a:chOff x="5704916" y="2818330"/>
              <a:chExt cx="1568460" cy="2027653"/>
            </a:xfrm>
          </p:grpSpPr>
          <p:sp>
            <p:nvSpPr>
              <p:cNvPr id="47" name="Rectangle 46">
                <a:extLst>
                  <a:ext uri="{FF2B5EF4-FFF2-40B4-BE49-F238E27FC236}">
                    <a16:creationId xmlns:a16="http://schemas.microsoft.com/office/drawing/2014/main" id="{4D4526EA-228D-4B47-81F6-5264D4F325EB}"/>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48" name="Rectangle 47">
                <a:extLst>
                  <a:ext uri="{FF2B5EF4-FFF2-40B4-BE49-F238E27FC236}">
                    <a16:creationId xmlns:a16="http://schemas.microsoft.com/office/drawing/2014/main" id="{0BFD2814-5C47-6549-BB43-C0F90A7EE0E0}"/>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49" name="Rectangle 48">
                <a:extLst>
                  <a:ext uri="{FF2B5EF4-FFF2-40B4-BE49-F238E27FC236}">
                    <a16:creationId xmlns:a16="http://schemas.microsoft.com/office/drawing/2014/main" id="{487E9C60-82E6-D14D-A743-C42F200AD3B5}"/>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50" name="Rectangle 49">
                <a:extLst>
                  <a:ext uri="{FF2B5EF4-FFF2-40B4-BE49-F238E27FC236}">
                    <a16:creationId xmlns:a16="http://schemas.microsoft.com/office/drawing/2014/main" id="{D8800543-65E4-7E40-B32E-8044B7F52365}"/>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51" name="Rectangle 50">
                <a:extLst>
                  <a:ext uri="{FF2B5EF4-FFF2-40B4-BE49-F238E27FC236}">
                    <a16:creationId xmlns:a16="http://schemas.microsoft.com/office/drawing/2014/main" id="{C3B4E828-A658-0940-9844-0D6F67DA545E}"/>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15" name="Rectangle 14">
              <a:extLst>
                <a:ext uri="{FF2B5EF4-FFF2-40B4-BE49-F238E27FC236}">
                  <a16:creationId xmlns:a16="http://schemas.microsoft.com/office/drawing/2014/main" id="{2126D4CA-3FD2-6341-8F78-74D6C8B655EC}"/>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16" name="Rectangle 15">
              <a:extLst>
                <a:ext uri="{FF2B5EF4-FFF2-40B4-BE49-F238E27FC236}">
                  <a16:creationId xmlns:a16="http://schemas.microsoft.com/office/drawing/2014/main" id="{28108701-0051-774A-83D9-A983A71B180A}"/>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17" name="Group 16">
              <a:extLst>
                <a:ext uri="{FF2B5EF4-FFF2-40B4-BE49-F238E27FC236}">
                  <a16:creationId xmlns:a16="http://schemas.microsoft.com/office/drawing/2014/main" id="{B53C70E6-2F30-444C-8D2B-20A22FD242EE}"/>
                </a:ext>
              </a:extLst>
            </p:cNvPr>
            <p:cNvGrpSpPr/>
            <p:nvPr/>
          </p:nvGrpSpPr>
          <p:grpSpPr>
            <a:xfrm>
              <a:off x="4524022" y="3172410"/>
              <a:ext cx="2632950" cy="1048981"/>
              <a:chOff x="3443783" y="1812017"/>
              <a:chExt cx="1861479" cy="947296"/>
            </a:xfrm>
          </p:grpSpPr>
          <p:sp>
            <p:nvSpPr>
              <p:cNvPr id="43" name="Rectangle 42">
                <a:extLst>
                  <a:ext uri="{FF2B5EF4-FFF2-40B4-BE49-F238E27FC236}">
                    <a16:creationId xmlns:a16="http://schemas.microsoft.com/office/drawing/2014/main" id="{B85C2FDF-0190-6846-B68E-A39ACC8983CB}"/>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44" name="Rectangle 43">
                <a:extLst>
                  <a:ext uri="{FF2B5EF4-FFF2-40B4-BE49-F238E27FC236}">
                    <a16:creationId xmlns:a16="http://schemas.microsoft.com/office/drawing/2014/main" id="{3EEE9064-90FB-5748-B032-F058DDBB92F7}"/>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45" name="Rectangle 44">
                <a:extLst>
                  <a:ext uri="{FF2B5EF4-FFF2-40B4-BE49-F238E27FC236}">
                    <a16:creationId xmlns:a16="http://schemas.microsoft.com/office/drawing/2014/main" id="{A2864E62-CC12-F14D-99CD-17C9CEC5BFFB}"/>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46" name="Rectangle 45">
                <a:extLst>
                  <a:ext uri="{FF2B5EF4-FFF2-40B4-BE49-F238E27FC236}">
                    <a16:creationId xmlns:a16="http://schemas.microsoft.com/office/drawing/2014/main" id="{ED3E5681-C649-B045-A9CD-7C29BE49F8A5}"/>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18" name="Straight Arrow Connector 17">
              <a:extLst>
                <a:ext uri="{FF2B5EF4-FFF2-40B4-BE49-F238E27FC236}">
                  <a16:creationId xmlns:a16="http://schemas.microsoft.com/office/drawing/2014/main" id="{835878D7-70DB-AD41-BAA3-D20C78281FE3}"/>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19" name="Group 18">
              <a:extLst>
                <a:ext uri="{FF2B5EF4-FFF2-40B4-BE49-F238E27FC236}">
                  <a16:creationId xmlns:a16="http://schemas.microsoft.com/office/drawing/2014/main" id="{78250C05-BDD9-D64E-8FA4-49C263C4D65D}"/>
                </a:ext>
              </a:extLst>
            </p:cNvPr>
            <p:cNvGrpSpPr/>
            <p:nvPr/>
          </p:nvGrpSpPr>
          <p:grpSpPr>
            <a:xfrm>
              <a:off x="3990744" y="1457302"/>
              <a:ext cx="1658446" cy="1596847"/>
              <a:chOff x="3990744" y="1457302"/>
              <a:chExt cx="1658446" cy="1596847"/>
            </a:xfrm>
          </p:grpSpPr>
          <p:sp>
            <p:nvSpPr>
              <p:cNvPr id="39" name="Rectangle 38">
                <a:extLst>
                  <a:ext uri="{FF2B5EF4-FFF2-40B4-BE49-F238E27FC236}">
                    <a16:creationId xmlns:a16="http://schemas.microsoft.com/office/drawing/2014/main" id="{C7BA14C1-A311-6B46-9F3D-9607B616276E}"/>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40" name="Rectangle 39">
                <a:extLst>
                  <a:ext uri="{FF2B5EF4-FFF2-40B4-BE49-F238E27FC236}">
                    <a16:creationId xmlns:a16="http://schemas.microsoft.com/office/drawing/2014/main" id="{4FA1AA12-7DFF-924F-94CD-3EBD83DC0B7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41" name="Rectangle 40">
                <a:extLst>
                  <a:ext uri="{FF2B5EF4-FFF2-40B4-BE49-F238E27FC236}">
                    <a16:creationId xmlns:a16="http://schemas.microsoft.com/office/drawing/2014/main" id="{E4D087A1-4584-794C-91F5-CF22E8211E98}"/>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42" name="Rectangle 41">
                <a:extLst>
                  <a:ext uri="{FF2B5EF4-FFF2-40B4-BE49-F238E27FC236}">
                    <a16:creationId xmlns:a16="http://schemas.microsoft.com/office/drawing/2014/main" id="{7799392A-B9EF-6A49-97C9-73C1E9AC77A5}"/>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20" name="Group 19">
              <a:extLst>
                <a:ext uri="{FF2B5EF4-FFF2-40B4-BE49-F238E27FC236}">
                  <a16:creationId xmlns:a16="http://schemas.microsoft.com/office/drawing/2014/main" id="{F83CB189-971C-534A-9514-34F2CB3D7F6B}"/>
                </a:ext>
              </a:extLst>
            </p:cNvPr>
            <p:cNvGrpSpPr/>
            <p:nvPr/>
          </p:nvGrpSpPr>
          <p:grpSpPr>
            <a:xfrm>
              <a:off x="3522840" y="5593442"/>
              <a:ext cx="4544417" cy="1753021"/>
              <a:chOff x="5727062" y="5695492"/>
              <a:chExt cx="4544417" cy="1753021"/>
            </a:xfrm>
          </p:grpSpPr>
          <p:sp>
            <p:nvSpPr>
              <p:cNvPr id="27" name="Rectangle 26">
                <a:extLst>
                  <a:ext uri="{FF2B5EF4-FFF2-40B4-BE49-F238E27FC236}">
                    <a16:creationId xmlns:a16="http://schemas.microsoft.com/office/drawing/2014/main" id="{224E744D-F22A-3C48-A87B-CA4B57FA2B41}"/>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28" name="Rectangle 27">
                <a:extLst>
                  <a:ext uri="{FF2B5EF4-FFF2-40B4-BE49-F238E27FC236}">
                    <a16:creationId xmlns:a16="http://schemas.microsoft.com/office/drawing/2014/main" id="{5436D79C-BF83-014B-B47D-FD582B5D3CA3}"/>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29" name="Rectangle 28">
                <a:extLst>
                  <a:ext uri="{FF2B5EF4-FFF2-40B4-BE49-F238E27FC236}">
                    <a16:creationId xmlns:a16="http://schemas.microsoft.com/office/drawing/2014/main" id="{9788E17D-DA56-BF48-8C8D-8077E6FA698B}"/>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30" name="Rectangle 29">
                <a:extLst>
                  <a:ext uri="{FF2B5EF4-FFF2-40B4-BE49-F238E27FC236}">
                    <a16:creationId xmlns:a16="http://schemas.microsoft.com/office/drawing/2014/main" id="{F14BD574-15B3-9D4E-B6CC-0A88AFEE9422}"/>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31" name="Rectangle 30">
                <a:extLst>
                  <a:ext uri="{FF2B5EF4-FFF2-40B4-BE49-F238E27FC236}">
                    <a16:creationId xmlns:a16="http://schemas.microsoft.com/office/drawing/2014/main" id="{D0361460-0454-F54E-B0AD-7346B5CC0A6D}"/>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32" name="Straight Arrow Connector 31">
                <a:extLst>
                  <a:ext uri="{FF2B5EF4-FFF2-40B4-BE49-F238E27FC236}">
                    <a16:creationId xmlns:a16="http://schemas.microsoft.com/office/drawing/2014/main" id="{D59F43C0-763C-1946-9112-37690701A47B}"/>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33" name="Rectangle 32">
                <a:extLst>
                  <a:ext uri="{FF2B5EF4-FFF2-40B4-BE49-F238E27FC236}">
                    <a16:creationId xmlns:a16="http://schemas.microsoft.com/office/drawing/2014/main" id="{B74DD0BF-3A43-E142-BCD3-36D5ABD5737A}"/>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34" name="Rectangle 33">
                <a:extLst>
                  <a:ext uri="{FF2B5EF4-FFF2-40B4-BE49-F238E27FC236}">
                    <a16:creationId xmlns:a16="http://schemas.microsoft.com/office/drawing/2014/main" id="{3C1B784A-BF24-C044-B30A-4C55AC0CE621}"/>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35" name="Rectangle 34">
                <a:extLst>
                  <a:ext uri="{FF2B5EF4-FFF2-40B4-BE49-F238E27FC236}">
                    <a16:creationId xmlns:a16="http://schemas.microsoft.com/office/drawing/2014/main" id="{7754020F-B463-C845-BB3D-462B5C7F62F2}"/>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36" name="Rectangle 35">
                <a:extLst>
                  <a:ext uri="{FF2B5EF4-FFF2-40B4-BE49-F238E27FC236}">
                    <a16:creationId xmlns:a16="http://schemas.microsoft.com/office/drawing/2014/main" id="{1EA0818E-CCF7-2542-8021-DCBABEB34D37}"/>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37" name="Straight Arrow Connector 36">
                <a:extLst>
                  <a:ext uri="{FF2B5EF4-FFF2-40B4-BE49-F238E27FC236}">
                    <a16:creationId xmlns:a16="http://schemas.microsoft.com/office/drawing/2014/main" id="{D8FB6D1F-C65C-034B-A3F7-EF0CA15B156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38" name="Straight Arrow Connector 37">
                <a:extLst>
                  <a:ext uri="{FF2B5EF4-FFF2-40B4-BE49-F238E27FC236}">
                    <a16:creationId xmlns:a16="http://schemas.microsoft.com/office/drawing/2014/main" id="{46917F35-1841-4C4E-956D-CB94ECD43D83}"/>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21" name="Straight Arrow Connector 20">
              <a:extLst>
                <a:ext uri="{FF2B5EF4-FFF2-40B4-BE49-F238E27FC236}">
                  <a16:creationId xmlns:a16="http://schemas.microsoft.com/office/drawing/2014/main" id="{7E3C1EC0-715B-A841-BA3F-F937BA57F94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22" name="Straight Arrow Connector 21">
              <a:extLst>
                <a:ext uri="{FF2B5EF4-FFF2-40B4-BE49-F238E27FC236}">
                  <a16:creationId xmlns:a16="http://schemas.microsoft.com/office/drawing/2014/main" id="{71747B3E-3B5B-464D-94E7-5268BAFAD2E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23" name="Straight Arrow Connector 22">
              <a:extLst>
                <a:ext uri="{FF2B5EF4-FFF2-40B4-BE49-F238E27FC236}">
                  <a16:creationId xmlns:a16="http://schemas.microsoft.com/office/drawing/2014/main" id="{FDEB466A-6187-8E4F-9E8A-7568E7DF2814}"/>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24" name="Straight Arrow Connector 23">
              <a:extLst>
                <a:ext uri="{FF2B5EF4-FFF2-40B4-BE49-F238E27FC236}">
                  <a16:creationId xmlns:a16="http://schemas.microsoft.com/office/drawing/2014/main" id="{936B2AAA-31D5-B049-B743-9E59C936C646}"/>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25" name="Straight Arrow Connector 24">
              <a:extLst>
                <a:ext uri="{FF2B5EF4-FFF2-40B4-BE49-F238E27FC236}">
                  <a16:creationId xmlns:a16="http://schemas.microsoft.com/office/drawing/2014/main" id="{A0708183-9664-FB44-91A5-1D9AAD57C8C5}"/>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26" name="Straight Arrow Connector 25">
              <a:extLst>
                <a:ext uri="{FF2B5EF4-FFF2-40B4-BE49-F238E27FC236}">
                  <a16:creationId xmlns:a16="http://schemas.microsoft.com/office/drawing/2014/main" id="{BF75BB23-CC39-574F-94F9-413CA9279620}"/>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grpSp>
        <p:nvGrpSpPr>
          <p:cNvPr id="57" name="Group 56">
            <a:extLst>
              <a:ext uri="{FF2B5EF4-FFF2-40B4-BE49-F238E27FC236}">
                <a16:creationId xmlns:a16="http://schemas.microsoft.com/office/drawing/2014/main" id="{006AE8DE-4F6A-2D4A-B26E-1F2BA475564D}"/>
              </a:ext>
            </a:extLst>
          </p:cNvPr>
          <p:cNvGrpSpPr/>
          <p:nvPr/>
        </p:nvGrpSpPr>
        <p:grpSpPr>
          <a:xfrm>
            <a:off x="9237511" y="1850384"/>
            <a:ext cx="4661949" cy="6666144"/>
            <a:chOff x="3522840" y="708383"/>
            <a:chExt cx="4549500" cy="6638080"/>
          </a:xfrm>
        </p:grpSpPr>
        <p:sp>
          <p:nvSpPr>
            <p:cNvPr id="58" name="Rectangle 57">
              <a:extLst>
                <a:ext uri="{FF2B5EF4-FFF2-40B4-BE49-F238E27FC236}">
                  <a16:creationId xmlns:a16="http://schemas.microsoft.com/office/drawing/2014/main" id="{287D3924-F4C5-F84F-8A8B-72167EF7DA6C}"/>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59" name="Rectangle 58">
              <a:extLst>
                <a:ext uri="{FF2B5EF4-FFF2-40B4-BE49-F238E27FC236}">
                  <a16:creationId xmlns:a16="http://schemas.microsoft.com/office/drawing/2014/main" id="{F7D96E38-9768-8148-AB78-D21BA0983153}"/>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solidFill>
                    <a:prstClr val="black"/>
                  </a:solidFill>
                  <a:latin typeface="Arial"/>
                </a:rPr>
                <a:t>Interactive  Visualization Block</a:t>
              </a:r>
            </a:p>
          </p:txBody>
        </p:sp>
        <p:grpSp>
          <p:nvGrpSpPr>
            <p:cNvPr id="60" name="Group 59">
              <a:extLst>
                <a:ext uri="{FF2B5EF4-FFF2-40B4-BE49-F238E27FC236}">
                  <a16:creationId xmlns:a16="http://schemas.microsoft.com/office/drawing/2014/main" id="{5C8D62E5-B3F2-514F-BBD0-029BA1C239FA}"/>
                </a:ext>
              </a:extLst>
            </p:cNvPr>
            <p:cNvGrpSpPr/>
            <p:nvPr/>
          </p:nvGrpSpPr>
          <p:grpSpPr>
            <a:xfrm>
              <a:off x="5744268" y="1475130"/>
              <a:ext cx="1658446" cy="1596847"/>
              <a:chOff x="3443783" y="1812017"/>
              <a:chExt cx="1861479" cy="1038339"/>
            </a:xfrm>
          </p:grpSpPr>
          <p:sp>
            <p:nvSpPr>
              <p:cNvPr id="99" name="Rectangle 98">
                <a:extLst>
                  <a:ext uri="{FF2B5EF4-FFF2-40B4-BE49-F238E27FC236}">
                    <a16:creationId xmlns:a16="http://schemas.microsoft.com/office/drawing/2014/main" id="{D9DF0612-DCF1-8540-9F5F-8AE3A4F40CEC}"/>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100" name="Rectangle 99">
                <a:extLst>
                  <a:ext uri="{FF2B5EF4-FFF2-40B4-BE49-F238E27FC236}">
                    <a16:creationId xmlns:a16="http://schemas.microsoft.com/office/drawing/2014/main" id="{9AA2A8FD-BF09-E049-B70D-0B0B710F1F89}"/>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101" name="Rectangle 100">
                <a:extLst>
                  <a:ext uri="{FF2B5EF4-FFF2-40B4-BE49-F238E27FC236}">
                    <a16:creationId xmlns:a16="http://schemas.microsoft.com/office/drawing/2014/main" id="{E84938B6-235E-0141-BD6E-F55439D6F01D}"/>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102" name="Rectangle 101">
                <a:extLst>
                  <a:ext uri="{FF2B5EF4-FFF2-40B4-BE49-F238E27FC236}">
                    <a16:creationId xmlns:a16="http://schemas.microsoft.com/office/drawing/2014/main" id="{002B49C3-042B-4941-8D18-0D3C1800800D}"/>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103" name="Rectangle 102">
                <a:extLst>
                  <a:ext uri="{FF2B5EF4-FFF2-40B4-BE49-F238E27FC236}">
                    <a16:creationId xmlns:a16="http://schemas.microsoft.com/office/drawing/2014/main" id="{396F7C6B-9767-A44F-8BD9-B6A435DBCFB9}"/>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61" name="Group 60">
              <a:extLst>
                <a:ext uri="{FF2B5EF4-FFF2-40B4-BE49-F238E27FC236}">
                  <a16:creationId xmlns:a16="http://schemas.microsoft.com/office/drawing/2014/main" id="{9A428E38-3B05-B042-A095-1D55BF37170B}"/>
                </a:ext>
              </a:extLst>
            </p:cNvPr>
            <p:cNvGrpSpPr/>
            <p:nvPr/>
          </p:nvGrpSpPr>
          <p:grpSpPr>
            <a:xfrm>
              <a:off x="4052832" y="4270424"/>
              <a:ext cx="3288420" cy="1266765"/>
              <a:chOff x="5704916" y="2818330"/>
              <a:chExt cx="1568460" cy="2027653"/>
            </a:xfrm>
          </p:grpSpPr>
          <p:sp>
            <p:nvSpPr>
              <p:cNvPr id="94" name="Rectangle 93">
                <a:extLst>
                  <a:ext uri="{FF2B5EF4-FFF2-40B4-BE49-F238E27FC236}">
                    <a16:creationId xmlns:a16="http://schemas.microsoft.com/office/drawing/2014/main" id="{C1F35A15-3BCF-F546-B73F-5F0CA44EAC76}"/>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95" name="Rectangle 94">
                <a:extLst>
                  <a:ext uri="{FF2B5EF4-FFF2-40B4-BE49-F238E27FC236}">
                    <a16:creationId xmlns:a16="http://schemas.microsoft.com/office/drawing/2014/main" id="{353455A4-D131-6847-AF55-C4D83BD64049}"/>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96" name="Rectangle 95">
                <a:extLst>
                  <a:ext uri="{FF2B5EF4-FFF2-40B4-BE49-F238E27FC236}">
                    <a16:creationId xmlns:a16="http://schemas.microsoft.com/office/drawing/2014/main" id="{BB0B99FE-7D89-1749-856E-F99AE1E01B0B}"/>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97" name="Rectangle 96">
                <a:extLst>
                  <a:ext uri="{FF2B5EF4-FFF2-40B4-BE49-F238E27FC236}">
                    <a16:creationId xmlns:a16="http://schemas.microsoft.com/office/drawing/2014/main" id="{07EA254B-AB9D-A54E-8208-E3B131324529}"/>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98" name="Rectangle 97">
                <a:extLst>
                  <a:ext uri="{FF2B5EF4-FFF2-40B4-BE49-F238E27FC236}">
                    <a16:creationId xmlns:a16="http://schemas.microsoft.com/office/drawing/2014/main" id="{8A92A1F7-7ACC-DC42-A71D-592B14904252}"/>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62" name="Rectangle 61">
              <a:extLst>
                <a:ext uri="{FF2B5EF4-FFF2-40B4-BE49-F238E27FC236}">
                  <a16:creationId xmlns:a16="http://schemas.microsoft.com/office/drawing/2014/main" id="{E55A2438-8A16-4140-B7B2-2B4AEBC1E2C4}"/>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63" name="Rectangle 62">
              <a:extLst>
                <a:ext uri="{FF2B5EF4-FFF2-40B4-BE49-F238E27FC236}">
                  <a16:creationId xmlns:a16="http://schemas.microsoft.com/office/drawing/2014/main" id="{7E7003DC-2F18-AA4B-90F8-3CC572576F88}"/>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64" name="Group 63">
              <a:extLst>
                <a:ext uri="{FF2B5EF4-FFF2-40B4-BE49-F238E27FC236}">
                  <a16:creationId xmlns:a16="http://schemas.microsoft.com/office/drawing/2014/main" id="{4966358D-8ED0-644D-AD02-2625BB878991}"/>
                </a:ext>
              </a:extLst>
            </p:cNvPr>
            <p:cNvGrpSpPr/>
            <p:nvPr/>
          </p:nvGrpSpPr>
          <p:grpSpPr>
            <a:xfrm>
              <a:off x="4524022" y="3172410"/>
              <a:ext cx="2632950" cy="1048981"/>
              <a:chOff x="3443783" y="1812017"/>
              <a:chExt cx="1861479" cy="947296"/>
            </a:xfrm>
          </p:grpSpPr>
          <p:sp>
            <p:nvSpPr>
              <p:cNvPr id="90" name="Rectangle 89">
                <a:extLst>
                  <a:ext uri="{FF2B5EF4-FFF2-40B4-BE49-F238E27FC236}">
                    <a16:creationId xmlns:a16="http://schemas.microsoft.com/office/drawing/2014/main" id="{076D224E-8AB3-5145-B0DA-D257C4E5D2F0}"/>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91" name="Rectangle 90">
                <a:extLst>
                  <a:ext uri="{FF2B5EF4-FFF2-40B4-BE49-F238E27FC236}">
                    <a16:creationId xmlns:a16="http://schemas.microsoft.com/office/drawing/2014/main" id="{8F595E75-0D99-3641-B8C8-AC089DD5749E}"/>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92" name="Rectangle 91">
                <a:extLst>
                  <a:ext uri="{FF2B5EF4-FFF2-40B4-BE49-F238E27FC236}">
                    <a16:creationId xmlns:a16="http://schemas.microsoft.com/office/drawing/2014/main" id="{FAA93601-E9E9-434F-B562-A879405F963F}"/>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93" name="Rectangle 92">
                <a:extLst>
                  <a:ext uri="{FF2B5EF4-FFF2-40B4-BE49-F238E27FC236}">
                    <a16:creationId xmlns:a16="http://schemas.microsoft.com/office/drawing/2014/main" id="{2CCB95BE-115F-1E44-A07E-D41FD5D95339}"/>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65" name="Straight Arrow Connector 64">
              <a:extLst>
                <a:ext uri="{FF2B5EF4-FFF2-40B4-BE49-F238E27FC236}">
                  <a16:creationId xmlns:a16="http://schemas.microsoft.com/office/drawing/2014/main" id="{0FCF6F53-C8F5-164C-9DA5-06A69DE186B9}"/>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66" name="Group 65">
              <a:extLst>
                <a:ext uri="{FF2B5EF4-FFF2-40B4-BE49-F238E27FC236}">
                  <a16:creationId xmlns:a16="http://schemas.microsoft.com/office/drawing/2014/main" id="{26FB4B3A-5DE5-4C45-9A5C-0B936012B45D}"/>
                </a:ext>
              </a:extLst>
            </p:cNvPr>
            <p:cNvGrpSpPr/>
            <p:nvPr/>
          </p:nvGrpSpPr>
          <p:grpSpPr>
            <a:xfrm>
              <a:off x="3990744" y="1457302"/>
              <a:ext cx="1658446" cy="1596847"/>
              <a:chOff x="3990744" y="1457302"/>
              <a:chExt cx="1658446" cy="1596847"/>
            </a:xfrm>
          </p:grpSpPr>
          <p:sp>
            <p:nvSpPr>
              <p:cNvPr id="86" name="Rectangle 85">
                <a:extLst>
                  <a:ext uri="{FF2B5EF4-FFF2-40B4-BE49-F238E27FC236}">
                    <a16:creationId xmlns:a16="http://schemas.microsoft.com/office/drawing/2014/main" id="{6F723CE0-DF28-A34C-8DB7-98DF5721574B}"/>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87" name="Rectangle 86">
                <a:extLst>
                  <a:ext uri="{FF2B5EF4-FFF2-40B4-BE49-F238E27FC236}">
                    <a16:creationId xmlns:a16="http://schemas.microsoft.com/office/drawing/2014/main" id="{45106337-0577-EE45-B5B4-F3203AF4FF0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88" name="Rectangle 87">
                <a:extLst>
                  <a:ext uri="{FF2B5EF4-FFF2-40B4-BE49-F238E27FC236}">
                    <a16:creationId xmlns:a16="http://schemas.microsoft.com/office/drawing/2014/main" id="{B671F4F1-2892-494F-9AE9-E3C4B7360EFA}"/>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89" name="Rectangle 88">
                <a:extLst>
                  <a:ext uri="{FF2B5EF4-FFF2-40B4-BE49-F238E27FC236}">
                    <a16:creationId xmlns:a16="http://schemas.microsoft.com/office/drawing/2014/main" id="{9D726BF9-944A-BE4E-B986-37E54BAE98DD}"/>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67" name="Group 66">
              <a:extLst>
                <a:ext uri="{FF2B5EF4-FFF2-40B4-BE49-F238E27FC236}">
                  <a16:creationId xmlns:a16="http://schemas.microsoft.com/office/drawing/2014/main" id="{4EA08ECD-C795-144D-BECB-0344DD0EA2A2}"/>
                </a:ext>
              </a:extLst>
            </p:cNvPr>
            <p:cNvGrpSpPr/>
            <p:nvPr/>
          </p:nvGrpSpPr>
          <p:grpSpPr>
            <a:xfrm>
              <a:off x="3522840" y="5593442"/>
              <a:ext cx="4544417" cy="1753021"/>
              <a:chOff x="5727062" y="5695492"/>
              <a:chExt cx="4544417" cy="1753021"/>
            </a:xfrm>
          </p:grpSpPr>
          <p:sp>
            <p:nvSpPr>
              <p:cNvPr id="74" name="Rectangle 73">
                <a:extLst>
                  <a:ext uri="{FF2B5EF4-FFF2-40B4-BE49-F238E27FC236}">
                    <a16:creationId xmlns:a16="http://schemas.microsoft.com/office/drawing/2014/main" id="{F0F3CDCA-CAAC-924F-8C24-5DCA2DF19C46}"/>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75" name="Rectangle 74">
                <a:extLst>
                  <a:ext uri="{FF2B5EF4-FFF2-40B4-BE49-F238E27FC236}">
                    <a16:creationId xmlns:a16="http://schemas.microsoft.com/office/drawing/2014/main" id="{4ED4942D-3F9B-8D4A-AED3-89D8EC6378E2}"/>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76" name="Rectangle 75">
                <a:extLst>
                  <a:ext uri="{FF2B5EF4-FFF2-40B4-BE49-F238E27FC236}">
                    <a16:creationId xmlns:a16="http://schemas.microsoft.com/office/drawing/2014/main" id="{DE66CAA8-420D-C944-B2BE-D3BC5CFA2212}"/>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77" name="Rectangle 76">
                <a:extLst>
                  <a:ext uri="{FF2B5EF4-FFF2-40B4-BE49-F238E27FC236}">
                    <a16:creationId xmlns:a16="http://schemas.microsoft.com/office/drawing/2014/main" id="{D21D4466-08A6-5141-9F0A-86372C6748EA}"/>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78" name="Rectangle 77">
                <a:extLst>
                  <a:ext uri="{FF2B5EF4-FFF2-40B4-BE49-F238E27FC236}">
                    <a16:creationId xmlns:a16="http://schemas.microsoft.com/office/drawing/2014/main" id="{BA815732-74BE-4848-9A1F-5FDB227A83C6}"/>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79" name="Straight Arrow Connector 78">
                <a:extLst>
                  <a:ext uri="{FF2B5EF4-FFF2-40B4-BE49-F238E27FC236}">
                    <a16:creationId xmlns:a16="http://schemas.microsoft.com/office/drawing/2014/main" id="{55A2AB59-CA80-BD4A-8E60-B5D12AEB848E}"/>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80" name="Rectangle 79">
                <a:extLst>
                  <a:ext uri="{FF2B5EF4-FFF2-40B4-BE49-F238E27FC236}">
                    <a16:creationId xmlns:a16="http://schemas.microsoft.com/office/drawing/2014/main" id="{E0880B0E-F875-5E48-91C4-D8491FCAD623}"/>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81" name="Rectangle 80">
                <a:extLst>
                  <a:ext uri="{FF2B5EF4-FFF2-40B4-BE49-F238E27FC236}">
                    <a16:creationId xmlns:a16="http://schemas.microsoft.com/office/drawing/2014/main" id="{6646E664-32FD-BD44-9C11-BA2D4F931912}"/>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82" name="Rectangle 81">
                <a:extLst>
                  <a:ext uri="{FF2B5EF4-FFF2-40B4-BE49-F238E27FC236}">
                    <a16:creationId xmlns:a16="http://schemas.microsoft.com/office/drawing/2014/main" id="{DA4F0E80-1D2F-1341-BBAF-FE13F81627EE}"/>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83" name="Rectangle 82">
                <a:extLst>
                  <a:ext uri="{FF2B5EF4-FFF2-40B4-BE49-F238E27FC236}">
                    <a16:creationId xmlns:a16="http://schemas.microsoft.com/office/drawing/2014/main" id="{B7070196-6069-DD4C-A6E0-9EF4CF117EFA}"/>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84" name="Straight Arrow Connector 83">
                <a:extLst>
                  <a:ext uri="{FF2B5EF4-FFF2-40B4-BE49-F238E27FC236}">
                    <a16:creationId xmlns:a16="http://schemas.microsoft.com/office/drawing/2014/main" id="{17BCE5A2-0C97-A74F-B5F7-98422C56971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85" name="Straight Arrow Connector 84">
                <a:extLst>
                  <a:ext uri="{FF2B5EF4-FFF2-40B4-BE49-F238E27FC236}">
                    <a16:creationId xmlns:a16="http://schemas.microsoft.com/office/drawing/2014/main" id="{21B5A8B7-FA64-2F4C-8B1E-678D69D73390}"/>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68" name="Straight Arrow Connector 67">
              <a:extLst>
                <a:ext uri="{FF2B5EF4-FFF2-40B4-BE49-F238E27FC236}">
                  <a16:creationId xmlns:a16="http://schemas.microsoft.com/office/drawing/2014/main" id="{8E2D2BE4-6B40-BE4C-A549-D41F45B7609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69" name="Straight Arrow Connector 68">
              <a:extLst>
                <a:ext uri="{FF2B5EF4-FFF2-40B4-BE49-F238E27FC236}">
                  <a16:creationId xmlns:a16="http://schemas.microsoft.com/office/drawing/2014/main" id="{D1BC3BBD-2BEB-134C-A8B8-AFD37AEF743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70" name="Straight Arrow Connector 69">
              <a:extLst>
                <a:ext uri="{FF2B5EF4-FFF2-40B4-BE49-F238E27FC236}">
                  <a16:creationId xmlns:a16="http://schemas.microsoft.com/office/drawing/2014/main" id="{93CC7652-160E-E144-804E-A26A772460E3}"/>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71" name="Straight Arrow Connector 70">
              <a:extLst>
                <a:ext uri="{FF2B5EF4-FFF2-40B4-BE49-F238E27FC236}">
                  <a16:creationId xmlns:a16="http://schemas.microsoft.com/office/drawing/2014/main" id="{425DF81A-C08D-384E-965B-BA03AE14F163}"/>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72" name="Straight Arrow Connector 71">
              <a:extLst>
                <a:ext uri="{FF2B5EF4-FFF2-40B4-BE49-F238E27FC236}">
                  <a16:creationId xmlns:a16="http://schemas.microsoft.com/office/drawing/2014/main" id="{68D561EE-7193-B442-B7D8-5B48D5B3A499}"/>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73" name="Straight Arrow Connector 72">
              <a:extLst>
                <a:ext uri="{FF2B5EF4-FFF2-40B4-BE49-F238E27FC236}">
                  <a16:creationId xmlns:a16="http://schemas.microsoft.com/office/drawing/2014/main" id="{B9C9E5DE-3C51-6E4D-AE47-AF7EBD025D18}"/>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sp>
        <p:nvSpPr>
          <p:cNvPr id="104" name="Rectangle 103">
            <a:extLst>
              <a:ext uri="{FF2B5EF4-FFF2-40B4-BE49-F238E27FC236}">
                <a16:creationId xmlns:a16="http://schemas.microsoft.com/office/drawing/2014/main" id="{5A1BB28E-09CC-634A-BA0E-36C03F08A24B}"/>
              </a:ext>
            </a:extLst>
          </p:cNvPr>
          <p:cNvSpPr/>
          <p:nvPr/>
        </p:nvSpPr>
        <p:spPr>
          <a:xfrm>
            <a:off x="3285639" y="3382112"/>
            <a:ext cx="10766375" cy="4828209"/>
          </a:xfrm>
          <a:prstGeom prst="rect">
            <a:avLst/>
          </a:prstGeom>
          <a:noFill/>
          <a:ln w="57150">
            <a:solidFill>
              <a:srgbClr val="90F50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solidFill>
                <a:srgbClr val="90F502"/>
              </a:solidFill>
            </a:endParaRPr>
          </a:p>
        </p:txBody>
      </p:sp>
      <p:sp>
        <p:nvSpPr>
          <p:cNvPr id="105" name="TextBox 104">
            <a:extLst>
              <a:ext uri="{FF2B5EF4-FFF2-40B4-BE49-F238E27FC236}">
                <a16:creationId xmlns:a16="http://schemas.microsoft.com/office/drawing/2014/main" id="{3A723FE3-57C1-4B4F-B95F-A8263E8CDF17}"/>
              </a:ext>
            </a:extLst>
          </p:cNvPr>
          <p:cNvSpPr txBox="1"/>
          <p:nvPr/>
        </p:nvSpPr>
        <p:spPr>
          <a:xfrm>
            <a:off x="7665123" y="4778052"/>
            <a:ext cx="1540411" cy="666977"/>
          </a:xfrm>
          <a:prstGeom prst="rect">
            <a:avLst/>
          </a:prstGeom>
          <a:noFill/>
        </p:spPr>
        <p:txBody>
          <a:bodyPr wrap="square" rtlCol="0">
            <a:spAutoFit/>
          </a:bodyPr>
          <a:lstStyle/>
          <a:p>
            <a:pPr algn="ctr"/>
            <a:r>
              <a:rPr lang="en-US" sz="1867" b="1" dirty="0">
                <a:solidFill>
                  <a:srgbClr val="90F502"/>
                </a:solidFill>
                <a:latin typeface="Century Gothic"/>
                <a:cs typeface="Century Gothic"/>
              </a:rPr>
              <a:t>Unified ICT Backbone</a:t>
            </a:r>
          </a:p>
        </p:txBody>
      </p:sp>
    </p:spTree>
    <p:extLst>
      <p:ext uri="{BB962C8B-B14F-4D97-AF65-F5344CB8AC3E}">
        <p14:creationId xmlns:p14="http://schemas.microsoft.com/office/powerpoint/2010/main" val="37871720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entury Gothic" panose="020B0502020202020204" pitchFamily="34" charset="0"/>
              </a:rPr>
              <a:t>Smart Utilities ICT Architecture</a:t>
            </a:r>
          </a:p>
        </p:txBody>
      </p:sp>
      <p:sp>
        <p:nvSpPr>
          <p:cNvPr id="6" name="Rounded Rectangle 5"/>
          <p:cNvSpPr/>
          <p:nvPr/>
        </p:nvSpPr>
        <p:spPr>
          <a:xfrm>
            <a:off x="3899508" y="97417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000" dirty="0">
                <a:solidFill>
                  <a:srgbClr val="C00000"/>
                </a:solidFill>
                <a:latin typeface="Century Gothic"/>
                <a:cs typeface="Century Gothic"/>
              </a:rPr>
              <a:t>Domain 1</a:t>
            </a:r>
          </a:p>
        </p:txBody>
      </p:sp>
      <p:sp>
        <p:nvSpPr>
          <p:cNvPr id="7" name="Rounded Rectangle 6"/>
          <p:cNvSpPr/>
          <p:nvPr/>
        </p:nvSpPr>
        <p:spPr>
          <a:xfrm>
            <a:off x="10146692" y="95905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400" dirty="0">
                <a:solidFill>
                  <a:srgbClr val="C00000"/>
                </a:solidFill>
                <a:latin typeface="Century Gothic"/>
                <a:cs typeface="Century Gothic"/>
              </a:rPr>
              <a:t>Domain n</a:t>
            </a:r>
          </a:p>
        </p:txBody>
      </p:sp>
      <p:sp>
        <p:nvSpPr>
          <p:cNvPr id="8" name="TextBox 7"/>
          <p:cNvSpPr txBox="1"/>
          <p:nvPr/>
        </p:nvSpPr>
        <p:spPr>
          <a:xfrm>
            <a:off x="7418999" y="1134038"/>
            <a:ext cx="2699778" cy="892552"/>
          </a:xfrm>
          <a:prstGeom prst="rect">
            <a:avLst/>
          </a:prstGeom>
          <a:noFill/>
        </p:spPr>
        <p:txBody>
          <a:bodyPr wrap="none" rtlCol="0">
            <a:spAutoFit/>
          </a:bodyPr>
          <a:lstStyle/>
          <a:p>
            <a:r>
              <a:rPr lang="en-US" sz="5200" dirty="0">
                <a:solidFill>
                  <a:schemeClr val="accent6"/>
                </a:solidFill>
                <a:latin typeface="Century Gothic"/>
                <a:cs typeface="Century Gothic"/>
              </a:rPr>
              <a:t>2..3..4…</a:t>
            </a:r>
          </a:p>
        </p:txBody>
      </p:sp>
      <p:sp>
        <p:nvSpPr>
          <p:cNvPr id="9" name="TextBox 8"/>
          <p:cNvSpPr txBox="1"/>
          <p:nvPr/>
        </p:nvSpPr>
        <p:spPr>
          <a:xfrm>
            <a:off x="7502583" y="3950398"/>
            <a:ext cx="2305656" cy="748988"/>
          </a:xfrm>
          <a:prstGeom prst="rect">
            <a:avLst/>
          </a:prstGeom>
          <a:noFill/>
        </p:spPr>
        <p:txBody>
          <a:bodyPr wrap="square" rtlCol="0">
            <a:spAutoFit/>
          </a:bodyPr>
          <a:lstStyle/>
          <a:p>
            <a:pPr algn="ctr"/>
            <a:r>
              <a:rPr lang="en-US" sz="4267" b="1" dirty="0">
                <a:solidFill>
                  <a:schemeClr val="accent6"/>
                </a:solidFill>
                <a:latin typeface="Century Gothic"/>
                <a:cs typeface="Century Gothic"/>
              </a:rPr>
              <a:t>………..</a:t>
            </a:r>
          </a:p>
        </p:txBody>
      </p:sp>
      <p:grpSp>
        <p:nvGrpSpPr>
          <p:cNvPr id="10" name="Group 9">
            <a:extLst>
              <a:ext uri="{FF2B5EF4-FFF2-40B4-BE49-F238E27FC236}">
                <a16:creationId xmlns:a16="http://schemas.microsoft.com/office/drawing/2014/main" id="{EB7D2DB8-F857-DF43-B425-FF80823DFFB6}"/>
              </a:ext>
            </a:extLst>
          </p:cNvPr>
          <p:cNvGrpSpPr/>
          <p:nvPr/>
        </p:nvGrpSpPr>
        <p:grpSpPr>
          <a:xfrm>
            <a:off x="3419524" y="1889429"/>
            <a:ext cx="4361419" cy="6627099"/>
            <a:chOff x="3522840" y="708383"/>
            <a:chExt cx="4549500" cy="6638080"/>
          </a:xfrm>
        </p:grpSpPr>
        <p:sp>
          <p:nvSpPr>
            <p:cNvPr id="11" name="Rectangle 10">
              <a:extLst>
                <a:ext uri="{FF2B5EF4-FFF2-40B4-BE49-F238E27FC236}">
                  <a16:creationId xmlns:a16="http://schemas.microsoft.com/office/drawing/2014/main" id="{2C454295-E4D7-DE4C-9D08-992A09E96545}"/>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12" name="Rectangle 11">
              <a:extLst>
                <a:ext uri="{FF2B5EF4-FFF2-40B4-BE49-F238E27FC236}">
                  <a16:creationId xmlns:a16="http://schemas.microsoft.com/office/drawing/2014/main" id="{85DEA8D6-ED7D-B845-8909-07EB8A477CE6}"/>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solidFill>
                    <a:prstClr val="black"/>
                  </a:solidFill>
                  <a:latin typeface="Arial"/>
                </a:rPr>
                <a:t>Interactive  Visualization Block</a:t>
              </a:r>
            </a:p>
          </p:txBody>
        </p:sp>
        <p:grpSp>
          <p:nvGrpSpPr>
            <p:cNvPr id="13" name="Group 12">
              <a:extLst>
                <a:ext uri="{FF2B5EF4-FFF2-40B4-BE49-F238E27FC236}">
                  <a16:creationId xmlns:a16="http://schemas.microsoft.com/office/drawing/2014/main" id="{65D84710-3F96-8E4D-BED2-3538040563D4}"/>
                </a:ext>
              </a:extLst>
            </p:cNvPr>
            <p:cNvGrpSpPr/>
            <p:nvPr/>
          </p:nvGrpSpPr>
          <p:grpSpPr>
            <a:xfrm>
              <a:off x="5744268" y="1475130"/>
              <a:ext cx="1658446" cy="1596847"/>
              <a:chOff x="3443783" y="1812017"/>
              <a:chExt cx="1861479" cy="1038339"/>
            </a:xfrm>
          </p:grpSpPr>
          <p:sp>
            <p:nvSpPr>
              <p:cNvPr id="52" name="Rectangle 51">
                <a:extLst>
                  <a:ext uri="{FF2B5EF4-FFF2-40B4-BE49-F238E27FC236}">
                    <a16:creationId xmlns:a16="http://schemas.microsoft.com/office/drawing/2014/main" id="{2EB39986-09C5-3246-B0FC-5C1442342E42}"/>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53" name="Rectangle 52">
                <a:extLst>
                  <a:ext uri="{FF2B5EF4-FFF2-40B4-BE49-F238E27FC236}">
                    <a16:creationId xmlns:a16="http://schemas.microsoft.com/office/drawing/2014/main" id="{58AAA9A9-F304-E54A-9267-453A0C1925DE}"/>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54" name="Rectangle 53">
                <a:extLst>
                  <a:ext uri="{FF2B5EF4-FFF2-40B4-BE49-F238E27FC236}">
                    <a16:creationId xmlns:a16="http://schemas.microsoft.com/office/drawing/2014/main" id="{A440630C-7EBA-D641-BAD3-08C098A49B5C}"/>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55" name="Rectangle 54">
                <a:extLst>
                  <a:ext uri="{FF2B5EF4-FFF2-40B4-BE49-F238E27FC236}">
                    <a16:creationId xmlns:a16="http://schemas.microsoft.com/office/drawing/2014/main" id="{413E2D43-F23D-D849-8B85-62366C633899}"/>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56" name="Rectangle 55">
                <a:extLst>
                  <a:ext uri="{FF2B5EF4-FFF2-40B4-BE49-F238E27FC236}">
                    <a16:creationId xmlns:a16="http://schemas.microsoft.com/office/drawing/2014/main" id="{F47A52C3-6004-1142-B618-8696B2B8D94C}"/>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14" name="Group 13">
              <a:extLst>
                <a:ext uri="{FF2B5EF4-FFF2-40B4-BE49-F238E27FC236}">
                  <a16:creationId xmlns:a16="http://schemas.microsoft.com/office/drawing/2014/main" id="{3BEFB3FD-D3D8-0C4B-AF39-A20CDDDACC7C}"/>
                </a:ext>
              </a:extLst>
            </p:cNvPr>
            <p:cNvGrpSpPr/>
            <p:nvPr/>
          </p:nvGrpSpPr>
          <p:grpSpPr>
            <a:xfrm>
              <a:off x="4052832" y="4270424"/>
              <a:ext cx="3288420" cy="1266765"/>
              <a:chOff x="5704916" y="2818330"/>
              <a:chExt cx="1568460" cy="2027653"/>
            </a:xfrm>
          </p:grpSpPr>
          <p:sp>
            <p:nvSpPr>
              <p:cNvPr id="47" name="Rectangle 46">
                <a:extLst>
                  <a:ext uri="{FF2B5EF4-FFF2-40B4-BE49-F238E27FC236}">
                    <a16:creationId xmlns:a16="http://schemas.microsoft.com/office/drawing/2014/main" id="{4D4526EA-228D-4B47-81F6-5264D4F325EB}"/>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48" name="Rectangle 47">
                <a:extLst>
                  <a:ext uri="{FF2B5EF4-FFF2-40B4-BE49-F238E27FC236}">
                    <a16:creationId xmlns:a16="http://schemas.microsoft.com/office/drawing/2014/main" id="{0BFD2814-5C47-6549-BB43-C0F90A7EE0E0}"/>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49" name="Rectangle 48">
                <a:extLst>
                  <a:ext uri="{FF2B5EF4-FFF2-40B4-BE49-F238E27FC236}">
                    <a16:creationId xmlns:a16="http://schemas.microsoft.com/office/drawing/2014/main" id="{487E9C60-82E6-D14D-A743-C42F200AD3B5}"/>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50" name="Rectangle 49">
                <a:extLst>
                  <a:ext uri="{FF2B5EF4-FFF2-40B4-BE49-F238E27FC236}">
                    <a16:creationId xmlns:a16="http://schemas.microsoft.com/office/drawing/2014/main" id="{D8800543-65E4-7E40-B32E-8044B7F52365}"/>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51" name="Rectangle 50">
                <a:extLst>
                  <a:ext uri="{FF2B5EF4-FFF2-40B4-BE49-F238E27FC236}">
                    <a16:creationId xmlns:a16="http://schemas.microsoft.com/office/drawing/2014/main" id="{C3B4E828-A658-0940-9844-0D6F67DA545E}"/>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15" name="Rectangle 14">
              <a:extLst>
                <a:ext uri="{FF2B5EF4-FFF2-40B4-BE49-F238E27FC236}">
                  <a16:creationId xmlns:a16="http://schemas.microsoft.com/office/drawing/2014/main" id="{2126D4CA-3FD2-6341-8F78-74D6C8B655EC}"/>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16" name="Rectangle 15">
              <a:extLst>
                <a:ext uri="{FF2B5EF4-FFF2-40B4-BE49-F238E27FC236}">
                  <a16:creationId xmlns:a16="http://schemas.microsoft.com/office/drawing/2014/main" id="{28108701-0051-774A-83D9-A983A71B180A}"/>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17" name="Group 16">
              <a:extLst>
                <a:ext uri="{FF2B5EF4-FFF2-40B4-BE49-F238E27FC236}">
                  <a16:creationId xmlns:a16="http://schemas.microsoft.com/office/drawing/2014/main" id="{B53C70E6-2F30-444C-8D2B-20A22FD242EE}"/>
                </a:ext>
              </a:extLst>
            </p:cNvPr>
            <p:cNvGrpSpPr/>
            <p:nvPr/>
          </p:nvGrpSpPr>
          <p:grpSpPr>
            <a:xfrm>
              <a:off x="4524022" y="3172410"/>
              <a:ext cx="2632950" cy="1048981"/>
              <a:chOff x="3443783" y="1812017"/>
              <a:chExt cx="1861479" cy="947296"/>
            </a:xfrm>
          </p:grpSpPr>
          <p:sp>
            <p:nvSpPr>
              <p:cNvPr id="43" name="Rectangle 42">
                <a:extLst>
                  <a:ext uri="{FF2B5EF4-FFF2-40B4-BE49-F238E27FC236}">
                    <a16:creationId xmlns:a16="http://schemas.microsoft.com/office/drawing/2014/main" id="{B85C2FDF-0190-6846-B68E-A39ACC8983CB}"/>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44" name="Rectangle 43">
                <a:extLst>
                  <a:ext uri="{FF2B5EF4-FFF2-40B4-BE49-F238E27FC236}">
                    <a16:creationId xmlns:a16="http://schemas.microsoft.com/office/drawing/2014/main" id="{3EEE9064-90FB-5748-B032-F058DDBB92F7}"/>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45" name="Rectangle 44">
                <a:extLst>
                  <a:ext uri="{FF2B5EF4-FFF2-40B4-BE49-F238E27FC236}">
                    <a16:creationId xmlns:a16="http://schemas.microsoft.com/office/drawing/2014/main" id="{A2864E62-CC12-F14D-99CD-17C9CEC5BFFB}"/>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46" name="Rectangle 45">
                <a:extLst>
                  <a:ext uri="{FF2B5EF4-FFF2-40B4-BE49-F238E27FC236}">
                    <a16:creationId xmlns:a16="http://schemas.microsoft.com/office/drawing/2014/main" id="{ED3E5681-C649-B045-A9CD-7C29BE49F8A5}"/>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18" name="Straight Arrow Connector 17">
              <a:extLst>
                <a:ext uri="{FF2B5EF4-FFF2-40B4-BE49-F238E27FC236}">
                  <a16:creationId xmlns:a16="http://schemas.microsoft.com/office/drawing/2014/main" id="{835878D7-70DB-AD41-BAA3-D20C78281FE3}"/>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19" name="Group 18">
              <a:extLst>
                <a:ext uri="{FF2B5EF4-FFF2-40B4-BE49-F238E27FC236}">
                  <a16:creationId xmlns:a16="http://schemas.microsoft.com/office/drawing/2014/main" id="{78250C05-BDD9-D64E-8FA4-49C263C4D65D}"/>
                </a:ext>
              </a:extLst>
            </p:cNvPr>
            <p:cNvGrpSpPr/>
            <p:nvPr/>
          </p:nvGrpSpPr>
          <p:grpSpPr>
            <a:xfrm>
              <a:off x="3990744" y="1457302"/>
              <a:ext cx="1658446" cy="1596847"/>
              <a:chOff x="3990744" y="1457302"/>
              <a:chExt cx="1658446" cy="1596847"/>
            </a:xfrm>
          </p:grpSpPr>
          <p:sp>
            <p:nvSpPr>
              <p:cNvPr id="39" name="Rectangle 38">
                <a:extLst>
                  <a:ext uri="{FF2B5EF4-FFF2-40B4-BE49-F238E27FC236}">
                    <a16:creationId xmlns:a16="http://schemas.microsoft.com/office/drawing/2014/main" id="{C7BA14C1-A311-6B46-9F3D-9607B616276E}"/>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40" name="Rectangle 39">
                <a:extLst>
                  <a:ext uri="{FF2B5EF4-FFF2-40B4-BE49-F238E27FC236}">
                    <a16:creationId xmlns:a16="http://schemas.microsoft.com/office/drawing/2014/main" id="{4FA1AA12-7DFF-924F-94CD-3EBD83DC0B7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41" name="Rectangle 40">
                <a:extLst>
                  <a:ext uri="{FF2B5EF4-FFF2-40B4-BE49-F238E27FC236}">
                    <a16:creationId xmlns:a16="http://schemas.microsoft.com/office/drawing/2014/main" id="{E4D087A1-4584-794C-91F5-CF22E8211E98}"/>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42" name="Rectangle 41">
                <a:extLst>
                  <a:ext uri="{FF2B5EF4-FFF2-40B4-BE49-F238E27FC236}">
                    <a16:creationId xmlns:a16="http://schemas.microsoft.com/office/drawing/2014/main" id="{7799392A-B9EF-6A49-97C9-73C1E9AC77A5}"/>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20" name="Group 19">
              <a:extLst>
                <a:ext uri="{FF2B5EF4-FFF2-40B4-BE49-F238E27FC236}">
                  <a16:creationId xmlns:a16="http://schemas.microsoft.com/office/drawing/2014/main" id="{F83CB189-971C-534A-9514-34F2CB3D7F6B}"/>
                </a:ext>
              </a:extLst>
            </p:cNvPr>
            <p:cNvGrpSpPr/>
            <p:nvPr/>
          </p:nvGrpSpPr>
          <p:grpSpPr>
            <a:xfrm>
              <a:off x="3522840" y="5593442"/>
              <a:ext cx="4544417" cy="1753021"/>
              <a:chOff x="5727062" y="5695492"/>
              <a:chExt cx="4544417" cy="1753021"/>
            </a:xfrm>
          </p:grpSpPr>
          <p:sp>
            <p:nvSpPr>
              <p:cNvPr id="27" name="Rectangle 26">
                <a:extLst>
                  <a:ext uri="{FF2B5EF4-FFF2-40B4-BE49-F238E27FC236}">
                    <a16:creationId xmlns:a16="http://schemas.microsoft.com/office/drawing/2014/main" id="{224E744D-F22A-3C48-A87B-CA4B57FA2B41}"/>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28" name="Rectangle 27">
                <a:extLst>
                  <a:ext uri="{FF2B5EF4-FFF2-40B4-BE49-F238E27FC236}">
                    <a16:creationId xmlns:a16="http://schemas.microsoft.com/office/drawing/2014/main" id="{5436D79C-BF83-014B-B47D-FD582B5D3CA3}"/>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29" name="Rectangle 28">
                <a:extLst>
                  <a:ext uri="{FF2B5EF4-FFF2-40B4-BE49-F238E27FC236}">
                    <a16:creationId xmlns:a16="http://schemas.microsoft.com/office/drawing/2014/main" id="{9788E17D-DA56-BF48-8C8D-8077E6FA698B}"/>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30" name="Rectangle 29">
                <a:extLst>
                  <a:ext uri="{FF2B5EF4-FFF2-40B4-BE49-F238E27FC236}">
                    <a16:creationId xmlns:a16="http://schemas.microsoft.com/office/drawing/2014/main" id="{F14BD574-15B3-9D4E-B6CC-0A88AFEE9422}"/>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31" name="Rectangle 30">
                <a:extLst>
                  <a:ext uri="{FF2B5EF4-FFF2-40B4-BE49-F238E27FC236}">
                    <a16:creationId xmlns:a16="http://schemas.microsoft.com/office/drawing/2014/main" id="{D0361460-0454-F54E-B0AD-7346B5CC0A6D}"/>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32" name="Straight Arrow Connector 31">
                <a:extLst>
                  <a:ext uri="{FF2B5EF4-FFF2-40B4-BE49-F238E27FC236}">
                    <a16:creationId xmlns:a16="http://schemas.microsoft.com/office/drawing/2014/main" id="{D59F43C0-763C-1946-9112-37690701A47B}"/>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33" name="Rectangle 32">
                <a:extLst>
                  <a:ext uri="{FF2B5EF4-FFF2-40B4-BE49-F238E27FC236}">
                    <a16:creationId xmlns:a16="http://schemas.microsoft.com/office/drawing/2014/main" id="{B74DD0BF-3A43-E142-BCD3-36D5ABD5737A}"/>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34" name="Rectangle 33">
                <a:extLst>
                  <a:ext uri="{FF2B5EF4-FFF2-40B4-BE49-F238E27FC236}">
                    <a16:creationId xmlns:a16="http://schemas.microsoft.com/office/drawing/2014/main" id="{3C1B784A-BF24-C044-B30A-4C55AC0CE621}"/>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35" name="Rectangle 34">
                <a:extLst>
                  <a:ext uri="{FF2B5EF4-FFF2-40B4-BE49-F238E27FC236}">
                    <a16:creationId xmlns:a16="http://schemas.microsoft.com/office/drawing/2014/main" id="{7754020F-B463-C845-BB3D-462B5C7F62F2}"/>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36" name="Rectangle 35">
                <a:extLst>
                  <a:ext uri="{FF2B5EF4-FFF2-40B4-BE49-F238E27FC236}">
                    <a16:creationId xmlns:a16="http://schemas.microsoft.com/office/drawing/2014/main" id="{1EA0818E-CCF7-2542-8021-DCBABEB34D37}"/>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37" name="Straight Arrow Connector 36">
                <a:extLst>
                  <a:ext uri="{FF2B5EF4-FFF2-40B4-BE49-F238E27FC236}">
                    <a16:creationId xmlns:a16="http://schemas.microsoft.com/office/drawing/2014/main" id="{D8FB6D1F-C65C-034B-A3F7-EF0CA15B156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38" name="Straight Arrow Connector 37">
                <a:extLst>
                  <a:ext uri="{FF2B5EF4-FFF2-40B4-BE49-F238E27FC236}">
                    <a16:creationId xmlns:a16="http://schemas.microsoft.com/office/drawing/2014/main" id="{46917F35-1841-4C4E-956D-CB94ECD43D83}"/>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21" name="Straight Arrow Connector 20">
              <a:extLst>
                <a:ext uri="{FF2B5EF4-FFF2-40B4-BE49-F238E27FC236}">
                  <a16:creationId xmlns:a16="http://schemas.microsoft.com/office/drawing/2014/main" id="{7E3C1EC0-715B-A841-BA3F-F937BA57F94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22" name="Straight Arrow Connector 21">
              <a:extLst>
                <a:ext uri="{FF2B5EF4-FFF2-40B4-BE49-F238E27FC236}">
                  <a16:creationId xmlns:a16="http://schemas.microsoft.com/office/drawing/2014/main" id="{71747B3E-3B5B-464D-94E7-5268BAFAD2E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23" name="Straight Arrow Connector 22">
              <a:extLst>
                <a:ext uri="{FF2B5EF4-FFF2-40B4-BE49-F238E27FC236}">
                  <a16:creationId xmlns:a16="http://schemas.microsoft.com/office/drawing/2014/main" id="{FDEB466A-6187-8E4F-9E8A-7568E7DF2814}"/>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24" name="Straight Arrow Connector 23">
              <a:extLst>
                <a:ext uri="{FF2B5EF4-FFF2-40B4-BE49-F238E27FC236}">
                  <a16:creationId xmlns:a16="http://schemas.microsoft.com/office/drawing/2014/main" id="{936B2AAA-31D5-B049-B743-9E59C936C646}"/>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25" name="Straight Arrow Connector 24">
              <a:extLst>
                <a:ext uri="{FF2B5EF4-FFF2-40B4-BE49-F238E27FC236}">
                  <a16:creationId xmlns:a16="http://schemas.microsoft.com/office/drawing/2014/main" id="{A0708183-9664-FB44-91A5-1D9AAD57C8C5}"/>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26" name="Straight Arrow Connector 25">
              <a:extLst>
                <a:ext uri="{FF2B5EF4-FFF2-40B4-BE49-F238E27FC236}">
                  <a16:creationId xmlns:a16="http://schemas.microsoft.com/office/drawing/2014/main" id="{BF75BB23-CC39-574F-94F9-413CA9279620}"/>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grpSp>
        <p:nvGrpSpPr>
          <p:cNvPr id="57" name="Group 56">
            <a:extLst>
              <a:ext uri="{FF2B5EF4-FFF2-40B4-BE49-F238E27FC236}">
                <a16:creationId xmlns:a16="http://schemas.microsoft.com/office/drawing/2014/main" id="{006AE8DE-4F6A-2D4A-B26E-1F2BA475564D}"/>
              </a:ext>
            </a:extLst>
          </p:cNvPr>
          <p:cNvGrpSpPr/>
          <p:nvPr/>
        </p:nvGrpSpPr>
        <p:grpSpPr>
          <a:xfrm>
            <a:off x="9237511" y="1850384"/>
            <a:ext cx="4661949" cy="6666144"/>
            <a:chOff x="3522840" y="708383"/>
            <a:chExt cx="4549500" cy="6638080"/>
          </a:xfrm>
        </p:grpSpPr>
        <p:sp>
          <p:nvSpPr>
            <p:cNvPr id="58" name="Rectangle 57">
              <a:extLst>
                <a:ext uri="{FF2B5EF4-FFF2-40B4-BE49-F238E27FC236}">
                  <a16:creationId xmlns:a16="http://schemas.microsoft.com/office/drawing/2014/main" id="{287D3924-F4C5-F84F-8A8B-72167EF7DA6C}"/>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59" name="Rectangle 58">
              <a:extLst>
                <a:ext uri="{FF2B5EF4-FFF2-40B4-BE49-F238E27FC236}">
                  <a16:creationId xmlns:a16="http://schemas.microsoft.com/office/drawing/2014/main" id="{F7D96E38-9768-8148-AB78-D21BA0983153}"/>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solidFill>
                    <a:prstClr val="black"/>
                  </a:solidFill>
                  <a:latin typeface="Arial"/>
                </a:rPr>
                <a:t>Interactive  Visualization Block</a:t>
              </a:r>
            </a:p>
          </p:txBody>
        </p:sp>
        <p:grpSp>
          <p:nvGrpSpPr>
            <p:cNvPr id="60" name="Group 59">
              <a:extLst>
                <a:ext uri="{FF2B5EF4-FFF2-40B4-BE49-F238E27FC236}">
                  <a16:creationId xmlns:a16="http://schemas.microsoft.com/office/drawing/2014/main" id="{5C8D62E5-B3F2-514F-BBD0-029BA1C239FA}"/>
                </a:ext>
              </a:extLst>
            </p:cNvPr>
            <p:cNvGrpSpPr/>
            <p:nvPr/>
          </p:nvGrpSpPr>
          <p:grpSpPr>
            <a:xfrm>
              <a:off x="5744268" y="1475130"/>
              <a:ext cx="1658446" cy="1596847"/>
              <a:chOff x="3443783" y="1812017"/>
              <a:chExt cx="1861479" cy="1038339"/>
            </a:xfrm>
          </p:grpSpPr>
          <p:sp>
            <p:nvSpPr>
              <p:cNvPr id="99" name="Rectangle 98">
                <a:extLst>
                  <a:ext uri="{FF2B5EF4-FFF2-40B4-BE49-F238E27FC236}">
                    <a16:creationId xmlns:a16="http://schemas.microsoft.com/office/drawing/2014/main" id="{D9DF0612-DCF1-8540-9F5F-8AE3A4F40CEC}"/>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100" name="Rectangle 99">
                <a:extLst>
                  <a:ext uri="{FF2B5EF4-FFF2-40B4-BE49-F238E27FC236}">
                    <a16:creationId xmlns:a16="http://schemas.microsoft.com/office/drawing/2014/main" id="{9AA2A8FD-BF09-E049-B70D-0B0B710F1F89}"/>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101" name="Rectangle 100">
                <a:extLst>
                  <a:ext uri="{FF2B5EF4-FFF2-40B4-BE49-F238E27FC236}">
                    <a16:creationId xmlns:a16="http://schemas.microsoft.com/office/drawing/2014/main" id="{E84938B6-235E-0141-BD6E-F55439D6F01D}"/>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102" name="Rectangle 101">
                <a:extLst>
                  <a:ext uri="{FF2B5EF4-FFF2-40B4-BE49-F238E27FC236}">
                    <a16:creationId xmlns:a16="http://schemas.microsoft.com/office/drawing/2014/main" id="{002B49C3-042B-4941-8D18-0D3C1800800D}"/>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103" name="Rectangle 102">
                <a:extLst>
                  <a:ext uri="{FF2B5EF4-FFF2-40B4-BE49-F238E27FC236}">
                    <a16:creationId xmlns:a16="http://schemas.microsoft.com/office/drawing/2014/main" id="{396F7C6B-9767-A44F-8BD9-B6A435DBCFB9}"/>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61" name="Group 60">
              <a:extLst>
                <a:ext uri="{FF2B5EF4-FFF2-40B4-BE49-F238E27FC236}">
                  <a16:creationId xmlns:a16="http://schemas.microsoft.com/office/drawing/2014/main" id="{9A428E38-3B05-B042-A095-1D55BF37170B}"/>
                </a:ext>
              </a:extLst>
            </p:cNvPr>
            <p:cNvGrpSpPr/>
            <p:nvPr/>
          </p:nvGrpSpPr>
          <p:grpSpPr>
            <a:xfrm>
              <a:off x="4052832" y="4270424"/>
              <a:ext cx="3288420" cy="1266765"/>
              <a:chOff x="5704916" y="2818330"/>
              <a:chExt cx="1568460" cy="2027653"/>
            </a:xfrm>
          </p:grpSpPr>
          <p:sp>
            <p:nvSpPr>
              <p:cNvPr id="94" name="Rectangle 93">
                <a:extLst>
                  <a:ext uri="{FF2B5EF4-FFF2-40B4-BE49-F238E27FC236}">
                    <a16:creationId xmlns:a16="http://schemas.microsoft.com/office/drawing/2014/main" id="{C1F35A15-3BCF-F546-B73F-5F0CA44EAC76}"/>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95" name="Rectangle 94">
                <a:extLst>
                  <a:ext uri="{FF2B5EF4-FFF2-40B4-BE49-F238E27FC236}">
                    <a16:creationId xmlns:a16="http://schemas.microsoft.com/office/drawing/2014/main" id="{353455A4-D131-6847-AF55-C4D83BD64049}"/>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96" name="Rectangle 95">
                <a:extLst>
                  <a:ext uri="{FF2B5EF4-FFF2-40B4-BE49-F238E27FC236}">
                    <a16:creationId xmlns:a16="http://schemas.microsoft.com/office/drawing/2014/main" id="{BB0B99FE-7D89-1749-856E-F99AE1E01B0B}"/>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97" name="Rectangle 96">
                <a:extLst>
                  <a:ext uri="{FF2B5EF4-FFF2-40B4-BE49-F238E27FC236}">
                    <a16:creationId xmlns:a16="http://schemas.microsoft.com/office/drawing/2014/main" id="{07EA254B-AB9D-A54E-8208-E3B131324529}"/>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98" name="Rectangle 97">
                <a:extLst>
                  <a:ext uri="{FF2B5EF4-FFF2-40B4-BE49-F238E27FC236}">
                    <a16:creationId xmlns:a16="http://schemas.microsoft.com/office/drawing/2014/main" id="{8A92A1F7-7ACC-DC42-A71D-592B14904252}"/>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62" name="Rectangle 61">
              <a:extLst>
                <a:ext uri="{FF2B5EF4-FFF2-40B4-BE49-F238E27FC236}">
                  <a16:creationId xmlns:a16="http://schemas.microsoft.com/office/drawing/2014/main" id="{E55A2438-8A16-4140-B7B2-2B4AEBC1E2C4}"/>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63" name="Rectangle 62">
              <a:extLst>
                <a:ext uri="{FF2B5EF4-FFF2-40B4-BE49-F238E27FC236}">
                  <a16:creationId xmlns:a16="http://schemas.microsoft.com/office/drawing/2014/main" id="{7E7003DC-2F18-AA4B-90F8-3CC572576F88}"/>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64" name="Group 63">
              <a:extLst>
                <a:ext uri="{FF2B5EF4-FFF2-40B4-BE49-F238E27FC236}">
                  <a16:creationId xmlns:a16="http://schemas.microsoft.com/office/drawing/2014/main" id="{4966358D-8ED0-644D-AD02-2625BB878991}"/>
                </a:ext>
              </a:extLst>
            </p:cNvPr>
            <p:cNvGrpSpPr/>
            <p:nvPr/>
          </p:nvGrpSpPr>
          <p:grpSpPr>
            <a:xfrm>
              <a:off x="4524022" y="3172410"/>
              <a:ext cx="2632950" cy="1048981"/>
              <a:chOff x="3443783" y="1812017"/>
              <a:chExt cx="1861479" cy="947296"/>
            </a:xfrm>
          </p:grpSpPr>
          <p:sp>
            <p:nvSpPr>
              <p:cNvPr id="90" name="Rectangle 89">
                <a:extLst>
                  <a:ext uri="{FF2B5EF4-FFF2-40B4-BE49-F238E27FC236}">
                    <a16:creationId xmlns:a16="http://schemas.microsoft.com/office/drawing/2014/main" id="{076D224E-8AB3-5145-B0DA-D257C4E5D2F0}"/>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91" name="Rectangle 90">
                <a:extLst>
                  <a:ext uri="{FF2B5EF4-FFF2-40B4-BE49-F238E27FC236}">
                    <a16:creationId xmlns:a16="http://schemas.microsoft.com/office/drawing/2014/main" id="{8F595E75-0D99-3641-B8C8-AC089DD5749E}"/>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92" name="Rectangle 91">
                <a:extLst>
                  <a:ext uri="{FF2B5EF4-FFF2-40B4-BE49-F238E27FC236}">
                    <a16:creationId xmlns:a16="http://schemas.microsoft.com/office/drawing/2014/main" id="{FAA93601-E9E9-434F-B562-A879405F963F}"/>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93" name="Rectangle 92">
                <a:extLst>
                  <a:ext uri="{FF2B5EF4-FFF2-40B4-BE49-F238E27FC236}">
                    <a16:creationId xmlns:a16="http://schemas.microsoft.com/office/drawing/2014/main" id="{2CCB95BE-115F-1E44-A07E-D41FD5D95339}"/>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65" name="Straight Arrow Connector 64">
              <a:extLst>
                <a:ext uri="{FF2B5EF4-FFF2-40B4-BE49-F238E27FC236}">
                  <a16:creationId xmlns:a16="http://schemas.microsoft.com/office/drawing/2014/main" id="{0FCF6F53-C8F5-164C-9DA5-06A69DE186B9}"/>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66" name="Group 65">
              <a:extLst>
                <a:ext uri="{FF2B5EF4-FFF2-40B4-BE49-F238E27FC236}">
                  <a16:creationId xmlns:a16="http://schemas.microsoft.com/office/drawing/2014/main" id="{26FB4B3A-5DE5-4C45-9A5C-0B936012B45D}"/>
                </a:ext>
              </a:extLst>
            </p:cNvPr>
            <p:cNvGrpSpPr/>
            <p:nvPr/>
          </p:nvGrpSpPr>
          <p:grpSpPr>
            <a:xfrm>
              <a:off x="3990744" y="1457302"/>
              <a:ext cx="1658446" cy="1596847"/>
              <a:chOff x="3990744" y="1457302"/>
              <a:chExt cx="1658446" cy="1596847"/>
            </a:xfrm>
          </p:grpSpPr>
          <p:sp>
            <p:nvSpPr>
              <p:cNvPr id="86" name="Rectangle 85">
                <a:extLst>
                  <a:ext uri="{FF2B5EF4-FFF2-40B4-BE49-F238E27FC236}">
                    <a16:creationId xmlns:a16="http://schemas.microsoft.com/office/drawing/2014/main" id="{6F723CE0-DF28-A34C-8DB7-98DF5721574B}"/>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87" name="Rectangle 86">
                <a:extLst>
                  <a:ext uri="{FF2B5EF4-FFF2-40B4-BE49-F238E27FC236}">
                    <a16:creationId xmlns:a16="http://schemas.microsoft.com/office/drawing/2014/main" id="{45106337-0577-EE45-B5B4-F3203AF4FF0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88" name="Rectangle 87">
                <a:extLst>
                  <a:ext uri="{FF2B5EF4-FFF2-40B4-BE49-F238E27FC236}">
                    <a16:creationId xmlns:a16="http://schemas.microsoft.com/office/drawing/2014/main" id="{B671F4F1-2892-494F-9AE9-E3C4B7360EFA}"/>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89" name="Rectangle 88">
                <a:extLst>
                  <a:ext uri="{FF2B5EF4-FFF2-40B4-BE49-F238E27FC236}">
                    <a16:creationId xmlns:a16="http://schemas.microsoft.com/office/drawing/2014/main" id="{9D726BF9-944A-BE4E-B986-37E54BAE98DD}"/>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67" name="Group 66">
              <a:extLst>
                <a:ext uri="{FF2B5EF4-FFF2-40B4-BE49-F238E27FC236}">
                  <a16:creationId xmlns:a16="http://schemas.microsoft.com/office/drawing/2014/main" id="{4EA08ECD-C795-144D-BECB-0344DD0EA2A2}"/>
                </a:ext>
              </a:extLst>
            </p:cNvPr>
            <p:cNvGrpSpPr/>
            <p:nvPr/>
          </p:nvGrpSpPr>
          <p:grpSpPr>
            <a:xfrm>
              <a:off x="3522840" y="5593442"/>
              <a:ext cx="4544417" cy="1753021"/>
              <a:chOff x="5727062" y="5695492"/>
              <a:chExt cx="4544417" cy="1753021"/>
            </a:xfrm>
          </p:grpSpPr>
          <p:sp>
            <p:nvSpPr>
              <p:cNvPr id="74" name="Rectangle 73">
                <a:extLst>
                  <a:ext uri="{FF2B5EF4-FFF2-40B4-BE49-F238E27FC236}">
                    <a16:creationId xmlns:a16="http://schemas.microsoft.com/office/drawing/2014/main" id="{F0F3CDCA-CAAC-924F-8C24-5DCA2DF19C46}"/>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75" name="Rectangle 74">
                <a:extLst>
                  <a:ext uri="{FF2B5EF4-FFF2-40B4-BE49-F238E27FC236}">
                    <a16:creationId xmlns:a16="http://schemas.microsoft.com/office/drawing/2014/main" id="{4ED4942D-3F9B-8D4A-AED3-89D8EC6378E2}"/>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76" name="Rectangle 75">
                <a:extLst>
                  <a:ext uri="{FF2B5EF4-FFF2-40B4-BE49-F238E27FC236}">
                    <a16:creationId xmlns:a16="http://schemas.microsoft.com/office/drawing/2014/main" id="{DE66CAA8-420D-C944-B2BE-D3BC5CFA2212}"/>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77" name="Rectangle 76">
                <a:extLst>
                  <a:ext uri="{FF2B5EF4-FFF2-40B4-BE49-F238E27FC236}">
                    <a16:creationId xmlns:a16="http://schemas.microsoft.com/office/drawing/2014/main" id="{D21D4466-08A6-5141-9F0A-86372C6748EA}"/>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78" name="Rectangle 77">
                <a:extLst>
                  <a:ext uri="{FF2B5EF4-FFF2-40B4-BE49-F238E27FC236}">
                    <a16:creationId xmlns:a16="http://schemas.microsoft.com/office/drawing/2014/main" id="{BA815732-74BE-4848-9A1F-5FDB227A83C6}"/>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79" name="Straight Arrow Connector 78">
                <a:extLst>
                  <a:ext uri="{FF2B5EF4-FFF2-40B4-BE49-F238E27FC236}">
                    <a16:creationId xmlns:a16="http://schemas.microsoft.com/office/drawing/2014/main" id="{55A2AB59-CA80-BD4A-8E60-B5D12AEB848E}"/>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80" name="Rectangle 79">
                <a:extLst>
                  <a:ext uri="{FF2B5EF4-FFF2-40B4-BE49-F238E27FC236}">
                    <a16:creationId xmlns:a16="http://schemas.microsoft.com/office/drawing/2014/main" id="{E0880B0E-F875-5E48-91C4-D8491FCAD623}"/>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81" name="Rectangle 80">
                <a:extLst>
                  <a:ext uri="{FF2B5EF4-FFF2-40B4-BE49-F238E27FC236}">
                    <a16:creationId xmlns:a16="http://schemas.microsoft.com/office/drawing/2014/main" id="{6646E664-32FD-BD44-9C11-BA2D4F931912}"/>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82" name="Rectangle 81">
                <a:extLst>
                  <a:ext uri="{FF2B5EF4-FFF2-40B4-BE49-F238E27FC236}">
                    <a16:creationId xmlns:a16="http://schemas.microsoft.com/office/drawing/2014/main" id="{DA4F0E80-1D2F-1341-BBAF-FE13F81627EE}"/>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83" name="Rectangle 82">
                <a:extLst>
                  <a:ext uri="{FF2B5EF4-FFF2-40B4-BE49-F238E27FC236}">
                    <a16:creationId xmlns:a16="http://schemas.microsoft.com/office/drawing/2014/main" id="{B7070196-6069-DD4C-A6E0-9EF4CF117EFA}"/>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84" name="Straight Arrow Connector 83">
                <a:extLst>
                  <a:ext uri="{FF2B5EF4-FFF2-40B4-BE49-F238E27FC236}">
                    <a16:creationId xmlns:a16="http://schemas.microsoft.com/office/drawing/2014/main" id="{17BCE5A2-0C97-A74F-B5F7-98422C56971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85" name="Straight Arrow Connector 84">
                <a:extLst>
                  <a:ext uri="{FF2B5EF4-FFF2-40B4-BE49-F238E27FC236}">
                    <a16:creationId xmlns:a16="http://schemas.microsoft.com/office/drawing/2014/main" id="{21B5A8B7-FA64-2F4C-8B1E-678D69D73390}"/>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68" name="Straight Arrow Connector 67">
              <a:extLst>
                <a:ext uri="{FF2B5EF4-FFF2-40B4-BE49-F238E27FC236}">
                  <a16:creationId xmlns:a16="http://schemas.microsoft.com/office/drawing/2014/main" id="{8E2D2BE4-6B40-BE4C-A549-D41F45B7609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69" name="Straight Arrow Connector 68">
              <a:extLst>
                <a:ext uri="{FF2B5EF4-FFF2-40B4-BE49-F238E27FC236}">
                  <a16:creationId xmlns:a16="http://schemas.microsoft.com/office/drawing/2014/main" id="{D1BC3BBD-2BEB-134C-A8B8-AFD37AEF743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70" name="Straight Arrow Connector 69">
              <a:extLst>
                <a:ext uri="{FF2B5EF4-FFF2-40B4-BE49-F238E27FC236}">
                  <a16:creationId xmlns:a16="http://schemas.microsoft.com/office/drawing/2014/main" id="{93CC7652-160E-E144-804E-A26A772460E3}"/>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71" name="Straight Arrow Connector 70">
              <a:extLst>
                <a:ext uri="{FF2B5EF4-FFF2-40B4-BE49-F238E27FC236}">
                  <a16:creationId xmlns:a16="http://schemas.microsoft.com/office/drawing/2014/main" id="{425DF81A-C08D-384E-965B-BA03AE14F163}"/>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72" name="Straight Arrow Connector 71">
              <a:extLst>
                <a:ext uri="{FF2B5EF4-FFF2-40B4-BE49-F238E27FC236}">
                  <a16:creationId xmlns:a16="http://schemas.microsoft.com/office/drawing/2014/main" id="{68D561EE-7193-B442-B7D8-5B48D5B3A499}"/>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73" name="Straight Arrow Connector 72">
              <a:extLst>
                <a:ext uri="{FF2B5EF4-FFF2-40B4-BE49-F238E27FC236}">
                  <a16:creationId xmlns:a16="http://schemas.microsoft.com/office/drawing/2014/main" id="{B9C9E5DE-3C51-6E4D-AE47-AF7EBD025D18}"/>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sp>
        <p:nvSpPr>
          <p:cNvPr id="104" name="Rectangle 103">
            <a:extLst>
              <a:ext uri="{FF2B5EF4-FFF2-40B4-BE49-F238E27FC236}">
                <a16:creationId xmlns:a16="http://schemas.microsoft.com/office/drawing/2014/main" id="{5A1BB28E-09CC-634A-BA0E-36C03F08A24B}"/>
              </a:ext>
            </a:extLst>
          </p:cNvPr>
          <p:cNvSpPr/>
          <p:nvPr/>
        </p:nvSpPr>
        <p:spPr>
          <a:xfrm>
            <a:off x="3285639" y="3382112"/>
            <a:ext cx="10766375" cy="4828209"/>
          </a:xfrm>
          <a:prstGeom prst="rect">
            <a:avLst/>
          </a:prstGeom>
          <a:noFill/>
          <a:ln w="57150">
            <a:solidFill>
              <a:srgbClr val="90F50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05" name="TextBox 104">
            <a:extLst>
              <a:ext uri="{FF2B5EF4-FFF2-40B4-BE49-F238E27FC236}">
                <a16:creationId xmlns:a16="http://schemas.microsoft.com/office/drawing/2014/main" id="{3A723FE3-57C1-4B4F-B95F-A8263E8CDF17}"/>
              </a:ext>
            </a:extLst>
          </p:cNvPr>
          <p:cNvSpPr txBox="1"/>
          <p:nvPr/>
        </p:nvSpPr>
        <p:spPr>
          <a:xfrm>
            <a:off x="7665123" y="4778052"/>
            <a:ext cx="1540411" cy="666977"/>
          </a:xfrm>
          <a:prstGeom prst="rect">
            <a:avLst/>
          </a:prstGeom>
          <a:noFill/>
        </p:spPr>
        <p:txBody>
          <a:bodyPr wrap="square" rtlCol="0">
            <a:spAutoFit/>
          </a:bodyPr>
          <a:lstStyle/>
          <a:p>
            <a:pPr algn="ctr"/>
            <a:r>
              <a:rPr lang="en-US" sz="1867" b="1" dirty="0">
                <a:solidFill>
                  <a:srgbClr val="90F502"/>
                </a:solidFill>
                <a:latin typeface="Century Gothic"/>
                <a:cs typeface="Century Gothic"/>
              </a:rPr>
              <a:t>Unified ICT Backbone</a:t>
            </a:r>
          </a:p>
        </p:txBody>
      </p:sp>
      <p:grpSp>
        <p:nvGrpSpPr>
          <p:cNvPr id="106" name="Group 105">
            <a:extLst>
              <a:ext uri="{FF2B5EF4-FFF2-40B4-BE49-F238E27FC236}">
                <a16:creationId xmlns:a16="http://schemas.microsoft.com/office/drawing/2014/main" id="{18653493-5E6E-9741-814D-9B871674BB70}"/>
              </a:ext>
            </a:extLst>
          </p:cNvPr>
          <p:cNvGrpSpPr/>
          <p:nvPr/>
        </p:nvGrpSpPr>
        <p:grpSpPr>
          <a:xfrm>
            <a:off x="7531007" y="5888150"/>
            <a:ext cx="1838834" cy="3017992"/>
            <a:chOff x="6974670" y="3259169"/>
            <a:chExt cx="1838834" cy="3017992"/>
          </a:xfrm>
        </p:grpSpPr>
        <p:grpSp>
          <p:nvGrpSpPr>
            <p:cNvPr id="107" name="Group 106">
              <a:extLst>
                <a:ext uri="{FF2B5EF4-FFF2-40B4-BE49-F238E27FC236}">
                  <a16:creationId xmlns:a16="http://schemas.microsoft.com/office/drawing/2014/main" id="{8458E95C-A940-DA42-80CC-A642F781F3E3}"/>
                </a:ext>
              </a:extLst>
            </p:cNvPr>
            <p:cNvGrpSpPr/>
            <p:nvPr/>
          </p:nvGrpSpPr>
          <p:grpSpPr>
            <a:xfrm>
              <a:off x="6974670" y="3259169"/>
              <a:ext cx="1838834" cy="3017992"/>
              <a:chOff x="1298367" y="1366954"/>
              <a:chExt cx="2702795" cy="5140810"/>
            </a:xfrm>
          </p:grpSpPr>
          <p:grpSp>
            <p:nvGrpSpPr>
              <p:cNvPr id="109" name="Group 108">
                <a:extLst>
                  <a:ext uri="{FF2B5EF4-FFF2-40B4-BE49-F238E27FC236}">
                    <a16:creationId xmlns:a16="http://schemas.microsoft.com/office/drawing/2014/main" id="{8B61D199-E8DB-A64F-ABCE-5E18664E711E}"/>
                  </a:ext>
                </a:extLst>
              </p:cNvPr>
              <p:cNvGrpSpPr/>
              <p:nvPr/>
            </p:nvGrpSpPr>
            <p:grpSpPr>
              <a:xfrm>
                <a:off x="1732009" y="2738130"/>
                <a:ext cx="2269153" cy="3769634"/>
                <a:chOff x="1074584" y="2721970"/>
                <a:chExt cx="4032194" cy="3948321"/>
              </a:xfrm>
            </p:grpSpPr>
            <p:sp>
              <p:nvSpPr>
                <p:cNvPr id="111" name="CustomShape 6">
                  <a:extLst>
                    <a:ext uri="{FF2B5EF4-FFF2-40B4-BE49-F238E27FC236}">
                      <a16:creationId xmlns:a16="http://schemas.microsoft.com/office/drawing/2014/main" id="{688E7586-E843-A34A-AEB0-7634DF89D96B}"/>
                    </a:ext>
                  </a:extLst>
                </p:cNvPr>
                <p:cNvSpPr/>
                <p:nvPr/>
              </p:nvSpPr>
              <p:spPr>
                <a:xfrm>
                  <a:off x="1078000" y="5463850"/>
                  <a:ext cx="4010391" cy="531536"/>
                </a:xfrm>
                <a:prstGeom prst="roundRect">
                  <a:avLst>
                    <a:gd name="adj" fmla="val 16667"/>
                  </a:avLst>
                </a:prstGeom>
                <a:solidFill>
                  <a:srgbClr val="FFCC00"/>
                </a:solidFill>
                <a:ln w="9360">
                  <a:solidFill>
                    <a:srgbClr val="FFD320"/>
                  </a:solidFill>
                  <a:round/>
                </a:ln>
              </p:spPr>
              <p:txBody>
                <a:bodyPr lIns="53280" tIns="35640" rIns="53280" bIns="35640" anchor="ctr"/>
                <a:lstStyle/>
                <a:p>
                  <a:pPr algn="ctr">
                    <a:lnSpc>
                      <a:spcPct val="90000"/>
                    </a:lnSpc>
                  </a:pPr>
                  <a:r>
                    <a:rPr lang="en-IN" sz="1200" b="1" dirty="0">
                      <a:solidFill>
                        <a:srgbClr val="000000"/>
                      </a:solidFill>
                    </a:rPr>
                    <a:t>L2: MAC</a:t>
                  </a:r>
                  <a:endParaRPr sz="1200" b="1" dirty="0"/>
                </a:p>
              </p:txBody>
            </p:sp>
            <p:sp>
              <p:nvSpPr>
                <p:cNvPr id="112" name="CustomShape 8">
                  <a:extLst>
                    <a:ext uri="{FF2B5EF4-FFF2-40B4-BE49-F238E27FC236}">
                      <a16:creationId xmlns:a16="http://schemas.microsoft.com/office/drawing/2014/main" id="{5A81310F-E40C-9A4C-A68B-F17033C58369}"/>
                    </a:ext>
                  </a:extLst>
                </p:cNvPr>
                <p:cNvSpPr/>
                <p:nvPr/>
              </p:nvSpPr>
              <p:spPr>
                <a:xfrm>
                  <a:off x="1083289" y="4140826"/>
                  <a:ext cx="4023489" cy="576419"/>
                </a:xfrm>
                <a:prstGeom prst="roundRect">
                  <a:avLst>
                    <a:gd name="adj" fmla="val 16667"/>
                  </a:avLst>
                </a:prstGeom>
                <a:solidFill>
                  <a:srgbClr val="FFCC00"/>
                </a:solidFill>
                <a:ln w="9360">
                  <a:solidFill>
                    <a:srgbClr val="F9D200"/>
                  </a:solidFill>
                  <a:round/>
                </a:ln>
              </p:spPr>
              <p:txBody>
                <a:bodyPr lIns="53280" tIns="35640" rIns="53280" bIns="35640" anchor="ctr"/>
                <a:lstStyle/>
                <a:p>
                  <a:pPr algn="ctr">
                    <a:lnSpc>
                      <a:spcPct val="90000"/>
                    </a:lnSpc>
                  </a:pPr>
                  <a:r>
                    <a:rPr lang="en-IN" sz="1200" b="1" dirty="0">
                      <a:solidFill>
                        <a:srgbClr val="000000"/>
                      </a:solidFill>
                    </a:rPr>
                    <a:t>L4: ROUTING</a:t>
                  </a:r>
                  <a:endParaRPr sz="1200" b="1" dirty="0"/>
                </a:p>
              </p:txBody>
            </p:sp>
            <p:sp>
              <p:nvSpPr>
                <p:cNvPr id="113" name="CustomShape 9">
                  <a:extLst>
                    <a:ext uri="{FF2B5EF4-FFF2-40B4-BE49-F238E27FC236}">
                      <a16:creationId xmlns:a16="http://schemas.microsoft.com/office/drawing/2014/main" id="{4BC590FE-BAC9-174B-8952-33801C83911A}"/>
                    </a:ext>
                  </a:extLst>
                </p:cNvPr>
                <p:cNvSpPr/>
                <p:nvPr/>
              </p:nvSpPr>
              <p:spPr>
                <a:xfrm>
                  <a:off x="1083289" y="3431162"/>
                  <a:ext cx="4001685" cy="576419"/>
                </a:xfrm>
                <a:prstGeom prst="roundRect">
                  <a:avLst>
                    <a:gd name="adj" fmla="val 16667"/>
                  </a:avLst>
                </a:prstGeom>
                <a:solidFill>
                  <a:srgbClr val="FFCC00"/>
                </a:solidFill>
                <a:ln w="9360">
                  <a:solidFill>
                    <a:srgbClr val="F9D200"/>
                  </a:solidFill>
                  <a:round/>
                </a:ln>
              </p:spPr>
              <p:txBody>
                <a:bodyPr lIns="53280" tIns="35640" rIns="53280" bIns="35640" anchor="ctr"/>
                <a:lstStyle/>
                <a:p>
                  <a:pPr algn="ctr">
                    <a:lnSpc>
                      <a:spcPct val="90000"/>
                    </a:lnSpc>
                  </a:pPr>
                  <a:r>
                    <a:rPr lang="en-IN" sz="1200" b="1" dirty="0">
                      <a:solidFill>
                        <a:srgbClr val="000000"/>
                      </a:solidFill>
                    </a:rPr>
                    <a:t>L5: TRANSPORT</a:t>
                  </a:r>
                  <a:endParaRPr sz="1200" b="1" dirty="0"/>
                </a:p>
              </p:txBody>
            </p:sp>
            <p:sp>
              <p:nvSpPr>
                <p:cNvPr id="114" name="CustomShape 11">
                  <a:extLst>
                    <a:ext uri="{FF2B5EF4-FFF2-40B4-BE49-F238E27FC236}">
                      <a16:creationId xmlns:a16="http://schemas.microsoft.com/office/drawing/2014/main" id="{61A6ADBA-413B-F646-A3E2-80996518EB0E}"/>
                    </a:ext>
                  </a:extLst>
                </p:cNvPr>
                <p:cNvSpPr/>
                <p:nvPr/>
              </p:nvSpPr>
              <p:spPr>
                <a:xfrm>
                  <a:off x="1083289" y="2721970"/>
                  <a:ext cx="4023489" cy="576419"/>
                </a:xfrm>
                <a:prstGeom prst="roundRect">
                  <a:avLst>
                    <a:gd name="adj" fmla="val 16667"/>
                  </a:avLst>
                </a:prstGeom>
                <a:solidFill>
                  <a:srgbClr val="FFCC00"/>
                </a:solidFill>
                <a:ln w="9360">
                  <a:solidFill>
                    <a:srgbClr val="F9D200"/>
                  </a:solidFill>
                  <a:round/>
                </a:ln>
              </p:spPr>
              <p:txBody>
                <a:bodyPr lIns="53280" tIns="35640" rIns="53280" bIns="35640" anchor="ctr"/>
                <a:lstStyle/>
                <a:p>
                  <a:pPr algn="ctr">
                    <a:lnSpc>
                      <a:spcPct val="90000"/>
                    </a:lnSpc>
                  </a:pPr>
                  <a:r>
                    <a:rPr lang="en-IN" sz="1200" b="1" dirty="0">
                      <a:solidFill>
                        <a:srgbClr val="000000"/>
                      </a:solidFill>
                    </a:rPr>
                    <a:t>L6: APP</a:t>
                  </a:r>
                  <a:endParaRPr sz="1200" b="1" dirty="0"/>
                </a:p>
              </p:txBody>
            </p:sp>
            <p:sp>
              <p:nvSpPr>
                <p:cNvPr id="115" name="CustomShape 12">
                  <a:extLst>
                    <a:ext uri="{FF2B5EF4-FFF2-40B4-BE49-F238E27FC236}">
                      <a16:creationId xmlns:a16="http://schemas.microsoft.com/office/drawing/2014/main" id="{D61ED8E3-250B-6944-B279-8661F1C8A360}"/>
                    </a:ext>
                  </a:extLst>
                </p:cNvPr>
                <p:cNvSpPr/>
                <p:nvPr/>
              </p:nvSpPr>
              <p:spPr>
                <a:xfrm>
                  <a:off x="1083754" y="4791646"/>
                  <a:ext cx="4001220" cy="570999"/>
                </a:xfrm>
                <a:prstGeom prst="roundRect">
                  <a:avLst>
                    <a:gd name="adj" fmla="val 16667"/>
                  </a:avLst>
                </a:prstGeom>
                <a:solidFill>
                  <a:srgbClr val="FFCC00"/>
                </a:solidFill>
                <a:ln w="9360">
                  <a:solidFill>
                    <a:srgbClr val="F9D200"/>
                  </a:solidFill>
                  <a:round/>
                </a:ln>
              </p:spPr>
              <p:txBody>
                <a:bodyPr lIns="53280" tIns="35640" rIns="53280" bIns="35640" anchor="ctr"/>
                <a:lstStyle/>
                <a:p>
                  <a:pPr algn="ctr">
                    <a:lnSpc>
                      <a:spcPct val="90000"/>
                    </a:lnSpc>
                  </a:pPr>
                  <a:r>
                    <a:rPr lang="en-IN" sz="1200" b="1" dirty="0">
                      <a:solidFill>
                        <a:srgbClr val="000000"/>
                      </a:solidFill>
                    </a:rPr>
                    <a:t>L3: NETWORK</a:t>
                  </a:r>
                  <a:endParaRPr sz="1200" b="1" dirty="0"/>
                </a:p>
              </p:txBody>
            </p:sp>
            <p:sp>
              <p:nvSpPr>
                <p:cNvPr id="116" name="CustomShape 6">
                  <a:extLst>
                    <a:ext uri="{FF2B5EF4-FFF2-40B4-BE49-F238E27FC236}">
                      <a16:creationId xmlns:a16="http://schemas.microsoft.com/office/drawing/2014/main" id="{A9CDD71B-8A7C-F041-813C-F69C1DB46745}"/>
                    </a:ext>
                  </a:extLst>
                </p:cNvPr>
                <p:cNvSpPr/>
                <p:nvPr/>
              </p:nvSpPr>
              <p:spPr>
                <a:xfrm>
                  <a:off x="1074584" y="6138755"/>
                  <a:ext cx="4010391" cy="531536"/>
                </a:xfrm>
                <a:prstGeom prst="roundRect">
                  <a:avLst>
                    <a:gd name="adj" fmla="val 16667"/>
                  </a:avLst>
                </a:prstGeom>
                <a:solidFill>
                  <a:srgbClr val="FFCC00"/>
                </a:solidFill>
                <a:ln w="9360">
                  <a:solidFill>
                    <a:srgbClr val="FFD320"/>
                  </a:solidFill>
                  <a:round/>
                </a:ln>
              </p:spPr>
              <p:txBody>
                <a:bodyPr lIns="53280" tIns="35640" rIns="53280" bIns="35640" anchor="ctr"/>
                <a:lstStyle/>
                <a:p>
                  <a:pPr algn="ctr">
                    <a:lnSpc>
                      <a:spcPct val="90000"/>
                    </a:lnSpc>
                  </a:pPr>
                  <a:r>
                    <a:rPr lang="en-IN" sz="1200" b="1" dirty="0">
                      <a:solidFill>
                        <a:srgbClr val="000000"/>
                      </a:solidFill>
                    </a:rPr>
                    <a:t>L1: PHY</a:t>
                  </a:r>
                  <a:endParaRPr sz="1200" b="1" dirty="0"/>
                </a:p>
              </p:txBody>
            </p:sp>
          </p:grpSp>
          <p:pic>
            <p:nvPicPr>
              <p:cNvPr id="110" name="Picture 109">
                <a:extLst>
                  <a:ext uri="{FF2B5EF4-FFF2-40B4-BE49-F238E27FC236}">
                    <a16:creationId xmlns:a16="http://schemas.microsoft.com/office/drawing/2014/main" id="{32462A06-3946-2848-97E5-3BEE93D96E27}"/>
                  </a:ext>
                </a:extLst>
              </p:cNvPr>
              <p:cNvPicPr/>
              <p:nvPr/>
            </p:nvPicPr>
            <p:blipFill>
              <a:blip r:embed="rId2"/>
              <a:stretch>
                <a:fillRect/>
              </a:stretch>
            </p:blipFill>
            <p:spPr>
              <a:xfrm>
                <a:off x="1298367" y="1366954"/>
                <a:ext cx="1933324" cy="1263055"/>
              </a:xfrm>
              <a:prstGeom prst="rect">
                <a:avLst/>
              </a:prstGeom>
              <a:ln>
                <a:noFill/>
              </a:ln>
            </p:spPr>
          </p:pic>
        </p:grpSp>
        <p:sp>
          <p:nvSpPr>
            <p:cNvPr id="108" name="Left Brace 107">
              <a:extLst>
                <a:ext uri="{FF2B5EF4-FFF2-40B4-BE49-F238E27FC236}">
                  <a16:creationId xmlns:a16="http://schemas.microsoft.com/office/drawing/2014/main" id="{D9C2D8BF-5624-6F49-BFC5-3BB4F4B182E2}"/>
                </a:ext>
              </a:extLst>
            </p:cNvPr>
            <p:cNvSpPr/>
            <p:nvPr/>
          </p:nvSpPr>
          <p:spPr>
            <a:xfrm>
              <a:off x="7041932" y="4419599"/>
              <a:ext cx="324204" cy="1139315"/>
            </a:xfrm>
            <a:prstGeom prst="leftBrace">
              <a:avLst>
                <a:gd name="adj1" fmla="val 21395"/>
                <a:gd name="adj2" fmla="val 50000"/>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4800" b="1"/>
            </a:p>
          </p:txBody>
        </p:sp>
      </p:grpSp>
    </p:spTree>
    <p:extLst>
      <p:ext uri="{BB962C8B-B14F-4D97-AF65-F5344CB8AC3E}">
        <p14:creationId xmlns:p14="http://schemas.microsoft.com/office/powerpoint/2010/main" val="956908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Century Gothic" panose="020B0502020202020204" pitchFamily="34" charset="0"/>
              </a:rPr>
              <a:t>Smart Utilities ICT Architecture</a:t>
            </a:r>
          </a:p>
        </p:txBody>
      </p:sp>
      <p:sp>
        <p:nvSpPr>
          <p:cNvPr id="6" name="Rounded Rectangle 5"/>
          <p:cNvSpPr/>
          <p:nvPr/>
        </p:nvSpPr>
        <p:spPr>
          <a:xfrm>
            <a:off x="3899508" y="97417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000" dirty="0">
                <a:solidFill>
                  <a:srgbClr val="C00000"/>
                </a:solidFill>
                <a:latin typeface="Century Gothic"/>
                <a:cs typeface="Century Gothic"/>
              </a:rPr>
              <a:t>Domain 1</a:t>
            </a:r>
          </a:p>
        </p:txBody>
      </p:sp>
      <p:sp>
        <p:nvSpPr>
          <p:cNvPr id="7" name="Rounded Rectangle 6"/>
          <p:cNvSpPr/>
          <p:nvPr/>
        </p:nvSpPr>
        <p:spPr>
          <a:xfrm>
            <a:off x="10146692" y="959056"/>
            <a:ext cx="3303181" cy="878957"/>
          </a:xfrm>
          <a:prstGeom prst="roundRect">
            <a:avLst/>
          </a:prstGeom>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US" sz="4400" dirty="0">
                <a:solidFill>
                  <a:srgbClr val="C00000"/>
                </a:solidFill>
                <a:latin typeface="Century Gothic"/>
                <a:cs typeface="Century Gothic"/>
              </a:rPr>
              <a:t>Domain n</a:t>
            </a:r>
          </a:p>
        </p:txBody>
      </p:sp>
      <p:sp>
        <p:nvSpPr>
          <p:cNvPr id="8" name="TextBox 7"/>
          <p:cNvSpPr txBox="1"/>
          <p:nvPr/>
        </p:nvSpPr>
        <p:spPr>
          <a:xfrm>
            <a:off x="7353976" y="1072728"/>
            <a:ext cx="2699778" cy="892552"/>
          </a:xfrm>
          <a:prstGeom prst="rect">
            <a:avLst/>
          </a:prstGeom>
          <a:noFill/>
        </p:spPr>
        <p:txBody>
          <a:bodyPr wrap="none" rtlCol="0">
            <a:spAutoFit/>
          </a:bodyPr>
          <a:lstStyle/>
          <a:p>
            <a:r>
              <a:rPr lang="en-US" sz="5200" dirty="0">
                <a:solidFill>
                  <a:schemeClr val="accent6"/>
                </a:solidFill>
                <a:latin typeface="Century Gothic"/>
                <a:cs typeface="Century Gothic"/>
              </a:rPr>
              <a:t>2..3..4…</a:t>
            </a:r>
          </a:p>
        </p:txBody>
      </p:sp>
      <p:sp>
        <p:nvSpPr>
          <p:cNvPr id="9" name="TextBox 8"/>
          <p:cNvSpPr txBox="1"/>
          <p:nvPr/>
        </p:nvSpPr>
        <p:spPr>
          <a:xfrm>
            <a:off x="7502583" y="3950398"/>
            <a:ext cx="2305656" cy="748988"/>
          </a:xfrm>
          <a:prstGeom prst="rect">
            <a:avLst/>
          </a:prstGeom>
          <a:noFill/>
        </p:spPr>
        <p:txBody>
          <a:bodyPr wrap="square" rtlCol="0">
            <a:spAutoFit/>
          </a:bodyPr>
          <a:lstStyle/>
          <a:p>
            <a:pPr algn="ctr"/>
            <a:r>
              <a:rPr lang="en-US" sz="4267" b="1" dirty="0">
                <a:solidFill>
                  <a:schemeClr val="accent6"/>
                </a:solidFill>
                <a:latin typeface="Century Gothic"/>
                <a:cs typeface="Century Gothic"/>
              </a:rPr>
              <a:t>………..</a:t>
            </a:r>
          </a:p>
        </p:txBody>
      </p:sp>
      <p:grpSp>
        <p:nvGrpSpPr>
          <p:cNvPr id="10" name="Group 9">
            <a:extLst>
              <a:ext uri="{FF2B5EF4-FFF2-40B4-BE49-F238E27FC236}">
                <a16:creationId xmlns:a16="http://schemas.microsoft.com/office/drawing/2014/main" id="{EB7D2DB8-F857-DF43-B425-FF80823DFFB6}"/>
              </a:ext>
            </a:extLst>
          </p:cNvPr>
          <p:cNvGrpSpPr/>
          <p:nvPr/>
        </p:nvGrpSpPr>
        <p:grpSpPr>
          <a:xfrm>
            <a:off x="3419524" y="1889430"/>
            <a:ext cx="4391439" cy="5777840"/>
            <a:chOff x="3522840" y="708383"/>
            <a:chExt cx="4549500" cy="6638080"/>
          </a:xfrm>
        </p:grpSpPr>
        <p:sp>
          <p:nvSpPr>
            <p:cNvPr id="11" name="Rectangle 10">
              <a:extLst>
                <a:ext uri="{FF2B5EF4-FFF2-40B4-BE49-F238E27FC236}">
                  <a16:creationId xmlns:a16="http://schemas.microsoft.com/office/drawing/2014/main" id="{2C454295-E4D7-DE4C-9D08-992A09E96545}"/>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12" name="Rectangle 11">
              <a:extLst>
                <a:ext uri="{FF2B5EF4-FFF2-40B4-BE49-F238E27FC236}">
                  <a16:creationId xmlns:a16="http://schemas.microsoft.com/office/drawing/2014/main" id="{85DEA8D6-ED7D-B845-8909-07EB8A477CE6}"/>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solidFill>
                    <a:prstClr val="black"/>
                  </a:solidFill>
                  <a:latin typeface="Arial"/>
                </a:rPr>
                <a:t>Interactive  Visualization Block</a:t>
              </a:r>
            </a:p>
          </p:txBody>
        </p:sp>
        <p:grpSp>
          <p:nvGrpSpPr>
            <p:cNvPr id="13" name="Group 12">
              <a:extLst>
                <a:ext uri="{FF2B5EF4-FFF2-40B4-BE49-F238E27FC236}">
                  <a16:creationId xmlns:a16="http://schemas.microsoft.com/office/drawing/2014/main" id="{65D84710-3F96-8E4D-BED2-3538040563D4}"/>
                </a:ext>
              </a:extLst>
            </p:cNvPr>
            <p:cNvGrpSpPr/>
            <p:nvPr/>
          </p:nvGrpSpPr>
          <p:grpSpPr>
            <a:xfrm>
              <a:off x="5744268" y="1475130"/>
              <a:ext cx="1658446" cy="1596847"/>
              <a:chOff x="3443783" y="1812017"/>
              <a:chExt cx="1861479" cy="1038339"/>
            </a:xfrm>
          </p:grpSpPr>
          <p:sp>
            <p:nvSpPr>
              <p:cNvPr id="52" name="Rectangle 51">
                <a:extLst>
                  <a:ext uri="{FF2B5EF4-FFF2-40B4-BE49-F238E27FC236}">
                    <a16:creationId xmlns:a16="http://schemas.microsoft.com/office/drawing/2014/main" id="{2EB39986-09C5-3246-B0FC-5C1442342E42}"/>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53" name="Rectangle 52">
                <a:extLst>
                  <a:ext uri="{FF2B5EF4-FFF2-40B4-BE49-F238E27FC236}">
                    <a16:creationId xmlns:a16="http://schemas.microsoft.com/office/drawing/2014/main" id="{58AAA9A9-F304-E54A-9267-453A0C1925DE}"/>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54" name="Rectangle 53">
                <a:extLst>
                  <a:ext uri="{FF2B5EF4-FFF2-40B4-BE49-F238E27FC236}">
                    <a16:creationId xmlns:a16="http://schemas.microsoft.com/office/drawing/2014/main" id="{A440630C-7EBA-D641-BAD3-08C098A49B5C}"/>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55" name="Rectangle 54">
                <a:extLst>
                  <a:ext uri="{FF2B5EF4-FFF2-40B4-BE49-F238E27FC236}">
                    <a16:creationId xmlns:a16="http://schemas.microsoft.com/office/drawing/2014/main" id="{413E2D43-F23D-D849-8B85-62366C633899}"/>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56" name="Rectangle 55">
                <a:extLst>
                  <a:ext uri="{FF2B5EF4-FFF2-40B4-BE49-F238E27FC236}">
                    <a16:creationId xmlns:a16="http://schemas.microsoft.com/office/drawing/2014/main" id="{F47A52C3-6004-1142-B618-8696B2B8D94C}"/>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14" name="Group 13">
              <a:extLst>
                <a:ext uri="{FF2B5EF4-FFF2-40B4-BE49-F238E27FC236}">
                  <a16:creationId xmlns:a16="http://schemas.microsoft.com/office/drawing/2014/main" id="{3BEFB3FD-D3D8-0C4B-AF39-A20CDDDACC7C}"/>
                </a:ext>
              </a:extLst>
            </p:cNvPr>
            <p:cNvGrpSpPr/>
            <p:nvPr/>
          </p:nvGrpSpPr>
          <p:grpSpPr>
            <a:xfrm>
              <a:off x="4052832" y="4270424"/>
              <a:ext cx="3288420" cy="1266765"/>
              <a:chOff x="5704916" y="2818330"/>
              <a:chExt cx="1568460" cy="2027653"/>
            </a:xfrm>
          </p:grpSpPr>
          <p:sp>
            <p:nvSpPr>
              <p:cNvPr id="47" name="Rectangle 46">
                <a:extLst>
                  <a:ext uri="{FF2B5EF4-FFF2-40B4-BE49-F238E27FC236}">
                    <a16:creationId xmlns:a16="http://schemas.microsoft.com/office/drawing/2014/main" id="{4D4526EA-228D-4B47-81F6-5264D4F325EB}"/>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48" name="Rectangle 47">
                <a:extLst>
                  <a:ext uri="{FF2B5EF4-FFF2-40B4-BE49-F238E27FC236}">
                    <a16:creationId xmlns:a16="http://schemas.microsoft.com/office/drawing/2014/main" id="{0BFD2814-5C47-6549-BB43-C0F90A7EE0E0}"/>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49" name="Rectangle 48">
                <a:extLst>
                  <a:ext uri="{FF2B5EF4-FFF2-40B4-BE49-F238E27FC236}">
                    <a16:creationId xmlns:a16="http://schemas.microsoft.com/office/drawing/2014/main" id="{487E9C60-82E6-D14D-A743-C42F200AD3B5}"/>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50" name="Rectangle 49">
                <a:extLst>
                  <a:ext uri="{FF2B5EF4-FFF2-40B4-BE49-F238E27FC236}">
                    <a16:creationId xmlns:a16="http://schemas.microsoft.com/office/drawing/2014/main" id="{D8800543-65E4-7E40-B32E-8044B7F52365}"/>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51" name="Rectangle 50">
                <a:extLst>
                  <a:ext uri="{FF2B5EF4-FFF2-40B4-BE49-F238E27FC236}">
                    <a16:creationId xmlns:a16="http://schemas.microsoft.com/office/drawing/2014/main" id="{C3B4E828-A658-0940-9844-0D6F67DA545E}"/>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15" name="Rectangle 14">
              <a:extLst>
                <a:ext uri="{FF2B5EF4-FFF2-40B4-BE49-F238E27FC236}">
                  <a16:creationId xmlns:a16="http://schemas.microsoft.com/office/drawing/2014/main" id="{2126D4CA-3FD2-6341-8F78-74D6C8B655EC}"/>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16" name="Rectangle 15">
              <a:extLst>
                <a:ext uri="{FF2B5EF4-FFF2-40B4-BE49-F238E27FC236}">
                  <a16:creationId xmlns:a16="http://schemas.microsoft.com/office/drawing/2014/main" id="{28108701-0051-774A-83D9-A983A71B180A}"/>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17" name="Group 16">
              <a:extLst>
                <a:ext uri="{FF2B5EF4-FFF2-40B4-BE49-F238E27FC236}">
                  <a16:creationId xmlns:a16="http://schemas.microsoft.com/office/drawing/2014/main" id="{B53C70E6-2F30-444C-8D2B-20A22FD242EE}"/>
                </a:ext>
              </a:extLst>
            </p:cNvPr>
            <p:cNvGrpSpPr/>
            <p:nvPr/>
          </p:nvGrpSpPr>
          <p:grpSpPr>
            <a:xfrm>
              <a:off x="4524022" y="3172410"/>
              <a:ext cx="2632950" cy="1048981"/>
              <a:chOff x="3443783" y="1812017"/>
              <a:chExt cx="1861479" cy="947296"/>
            </a:xfrm>
          </p:grpSpPr>
          <p:sp>
            <p:nvSpPr>
              <p:cNvPr id="43" name="Rectangle 42">
                <a:extLst>
                  <a:ext uri="{FF2B5EF4-FFF2-40B4-BE49-F238E27FC236}">
                    <a16:creationId xmlns:a16="http://schemas.microsoft.com/office/drawing/2014/main" id="{B85C2FDF-0190-6846-B68E-A39ACC8983CB}"/>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44" name="Rectangle 43">
                <a:extLst>
                  <a:ext uri="{FF2B5EF4-FFF2-40B4-BE49-F238E27FC236}">
                    <a16:creationId xmlns:a16="http://schemas.microsoft.com/office/drawing/2014/main" id="{3EEE9064-90FB-5748-B032-F058DDBB92F7}"/>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45" name="Rectangle 44">
                <a:extLst>
                  <a:ext uri="{FF2B5EF4-FFF2-40B4-BE49-F238E27FC236}">
                    <a16:creationId xmlns:a16="http://schemas.microsoft.com/office/drawing/2014/main" id="{A2864E62-CC12-F14D-99CD-17C9CEC5BFFB}"/>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46" name="Rectangle 45">
                <a:extLst>
                  <a:ext uri="{FF2B5EF4-FFF2-40B4-BE49-F238E27FC236}">
                    <a16:creationId xmlns:a16="http://schemas.microsoft.com/office/drawing/2014/main" id="{ED3E5681-C649-B045-A9CD-7C29BE49F8A5}"/>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18" name="Straight Arrow Connector 17">
              <a:extLst>
                <a:ext uri="{FF2B5EF4-FFF2-40B4-BE49-F238E27FC236}">
                  <a16:creationId xmlns:a16="http://schemas.microsoft.com/office/drawing/2014/main" id="{835878D7-70DB-AD41-BAA3-D20C78281FE3}"/>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19" name="Group 18">
              <a:extLst>
                <a:ext uri="{FF2B5EF4-FFF2-40B4-BE49-F238E27FC236}">
                  <a16:creationId xmlns:a16="http://schemas.microsoft.com/office/drawing/2014/main" id="{78250C05-BDD9-D64E-8FA4-49C263C4D65D}"/>
                </a:ext>
              </a:extLst>
            </p:cNvPr>
            <p:cNvGrpSpPr/>
            <p:nvPr/>
          </p:nvGrpSpPr>
          <p:grpSpPr>
            <a:xfrm>
              <a:off x="3990744" y="1457302"/>
              <a:ext cx="1658446" cy="1596847"/>
              <a:chOff x="3990744" y="1457302"/>
              <a:chExt cx="1658446" cy="1596847"/>
            </a:xfrm>
          </p:grpSpPr>
          <p:sp>
            <p:nvSpPr>
              <p:cNvPr id="39" name="Rectangle 38">
                <a:extLst>
                  <a:ext uri="{FF2B5EF4-FFF2-40B4-BE49-F238E27FC236}">
                    <a16:creationId xmlns:a16="http://schemas.microsoft.com/office/drawing/2014/main" id="{C7BA14C1-A311-6B46-9F3D-9607B616276E}"/>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40" name="Rectangle 39">
                <a:extLst>
                  <a:ext uri="{FF2B5EF4-FFF2-40B4-BE49-F238E27FC236}">
                    <a16:creationId xmlns:a16="http://schemas.microsoft.com/office/drawing/2014/main" id="{4FA1AA12-7DFF-924F-94CD-3EBD83DC0B7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41" name="Rectangle 40">
                <a:extLst>
                  <a:ext uri="{FF2B5EF4-FFF2-40B4-BE49-F238E27FC236}">
                    <a16:creationId xmlns:a16="http://schemas.microsoft.com/office/drawing/2014/main" id="{E4D087A1-4584-794C-91F5-CF22E8211E98}"/>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42" name="Rectangle 41">
                <a:extLst>
                  <a:ext uri="{FF2B5EF4-FFF2-40B4-BE49-F238E27FC236}">
                    <a16:creationId xmlns:a16="http://schemas.microsoft.com/office/drawing/2014/main" id="{7799392A-B9EF-6A49-97C9-73C1E9AC77A5}"/>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20" name="Group 19">
              <a:extLst>
                <a:ext uri="{FF2B5EF4-FFF2-40B4-BE49-F238E27FC236}">
                  <a16:creationId xmlns:a16="http://schemas.microsoft.com/office/drawing/2014/main" id="{F83CB189-971C-534A-9514-34F2CB3D7F6B}"/>
                </a:ext>
              </a:extLst>
            </p:cNvPr>
            <p:cNvGrpSpPr/>
            <p:nvPr/>
          </p:nvGrpSpPr>
          <p:grpSpPr>
            <a:xfrm>
              <a:off x="3522840" y="5593442"/>
              <a:ext cx="4544417" cy="1753021"/>
              <a:chOff x="5727062" y="5695492"/>
              <a:chExt cx="4544417" cy="1753021"/>
            </a:xfrm>
          </p:grpSpPr>
          <p:sp>
            <p:nvSpPr>
              <p:cNvPr id="27" name="Rectangle 26">
                <a:extLst>
                  <a:ext uri="{FF2B5EF4-FFF2-40B4-BE49-F238E27FC236}">
                    <a16:creationId xmlns:a16="http://schemas.microsoft.com/office/drawing/2014/main" id="{224E744D-F22A-3C48-A87B-CA4B57FA2B41}"/>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28" name="Rectangle 27">
                <a:extLst>
                  <a:ext uri="{FF2B5EF4-FFF2-40B4-BE49-F238E27FC236}">
                    <a16:creationId xmlns:a16="http://schemas.microsoft.com/office/drawing/2014/main" id="{5436D79C-BF83-014B-B47D-FD582B5D3CA3}"/>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29" name="Rectangle 28">
                <a:extLst>
                  <a:ext uri="{FF2B5EF4-FFF2-40B4-BE49-F238E27FC236}">
                    <a16:creationId xmlns:a16="http://schemas.microsoft.com/office/drawing/2014/main" id="{9788E17D-DA56-BF48-8C8D-8077E6FA698B}"/>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30" name="Rectangle 29">
                <a:extLst>
                  <a:ext uri="{FF2B5EF4-FFF2-40B4-BE49-F238E27FC236}">
                    <a16:creationId xmlns:a16="http://schemas.microsoft.com/office/drawing/2014/main" id="{F14BD574-15B3-9D4E-B6CC-0A88AFEE9422}"/>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31" name="Rectangle 30">
                <a:extLst>
                  <a:ext uri="{FF2B5EF4-FFF2-40B4-BE49-F238E27FC236}">
                    <a16:creationId xmlns:a16="http://schemas.microsoft.com/office/drawing/2014/main" id="{D0361460-0454-F54E-B0AD-7346B5CC0A6D}"/>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32" name="Straight Arrow Connector 31">
                <a:extLst>
                  <a:ext uri="{FF2B5EF4-FFF2-40B4-BE49-F238E27FC236}">
                    <a16:creationId xmlns:a16="http://schemas.microsoft.com/office/drawing/2014/main" id="{D59F43C0-763C-1946-9112-37690701A47B}"/>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33" name="Rectangle 32">
                <a:extLst>
                  <a:ext uri="{FF2B5EF4-FFF2-40B4-BE49-F238E27FC236}">
                    <a16:creationId xmlns:a16="http://schemas.microsoft.com/office/drawing/2014/main" id="{B74DD0BF-3A43-E142-BCD3-36D5ABD5737A}"/>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34" name="Rectangle 33">
                <a:extLst>
                  <a:ext uri="{FF2B5EF4-FFF2-40B4-BE49-F238E27FC236}">
                    <a16:creationId xmlns:a16="http://schemas.microsoft.com/office/drawing/2014/main" id="{3C1B784A-BF24-C044-B30A-4C55AC0CE621}"/>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35" name="Rectangle 34">
                <a:extLst>
                  <a:ext uri="{FF2B5EF4-FFF2-40B4-BE49-F238E27FC236}">
                    <a16:creationId xmlns:a16="http://schemas.microsoft.com/office/drawing/2014/main" id="{7754020F-B463-C845-BB3D-462B5C7F62F2}"/>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36" name="Rectangle 35">
                <a:extLst>
                  <a:ext uri="{FF2B5EF4-FFF2-40B4-BE49-F238E27FC236}">
                    <a16:creationId xmlns:a16="http://schemas.microsoft.com/office/drawing/2014/main" id="{1EA0818E-CCF7-2542-8021-DCBABEB34D37}"/>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37" name="Straight Arrow Connector 36">
                <a:extLst>
                  <a:ext uri="{FF2B5EF4-FFF2-40B4-BE49-F238E27FC236}">
                    <a16:creationId xmlns:a16="http://schemas.microsoft.com/office/drawing/2014/main" id="{D8FB6D1F-C65C-034B-A3F7-EF0CA15B156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38" name="Straight Arrow Connector 37">
                <a:extLst>
                  <a:ext uri="{FF2B5EF4-FFF2-40B4-BE49-F238E27FC236}">
                    <a16:creationId xmlns:a16="http://schemas.microsoft.com/office/drawing/2014/main" id="{46917F35-1841-4C4E-956D-CB94ECD43D83}"/>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21" name="Straight Arrow Connector 20">
              <a:extLst>
                <a:ext uri="{FF2B5EF4-FFF2-40B4-BE49-F238E27FC236}">
                  <a16:creationId xmlns:a16="http://schemas.microsoft.com/office/drawing/2014/main" id="{7E3C1EC0-715B-A841-BA3F-F937BA57F94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22" name="Straight Arrow Connector 21">
              <a:extLst>
                <a:ext uri="{FF2B5EF4-FFF2-40B4-BE49-F238E27FC236}">
                  <a16:creationId xmlns:a16="http://schemas.microsoft.com/office/drawing/2014/main" id="{71747B3E-3B5B-464D-94E7-5268BAFAD2E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23" name="Straight Arrow Connector 22">
              <a:extLst>
                <a:ext uri="{FF2B5EF4-FFF2-40B4-BE49-F238E27FC236}">
                  <a16:creationId xmlns:a16="http://schemas.microsoft.com/office/drawing/2014/main" id="{FDEB466A-6187-8E4F-9E8A-7568E7DF2814}"/>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24" name="Straight Arrow Connector 23">
              <a:extLst>
                <a:ext uri="{FF2B5EF4-FFF2-40B4-BE49-F238E27FC236}">
                  <a16:creationId xmlns:a16="http://schemas.microsoft.com/office/drawing/2014/main" id="{936B2AAA-31D5-B049-B743-9E59C936C646}"/>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25" name="Straight Arrow Connector 24">
              <a:extLst>
                <a:ext uri="{FF2B5EF4-FFF2-40B4-BE49-F238E27FC236}">
                  <a16:creationId xmlns:a16="http://schemas.microsoft.com/office/drawing/2014/main" id="{A0708183-9664-FB44-91A5-1D9AAD57C8C5}"/>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26" name="Straight Arrow Connector 25">
              <a:extLst>
                <a:ext uri="{FF2B5EF4-FFF2-40B4-BE49-F238E27FC236}">
                  <a16:creationId xmlns:a16="http://schemas.microsoft.com/office/drawing/2014/main" id="{BF75BB23-CC39-574F-94F9-413CA9279620}"/>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grpSp>
        <p:nvGrpSpPr>
          <p:cNvPr id="57" name="Group 56">
            <a:extLst>
              <a:ext uri="{FF2B5EF4-FFF2-40B4-BE49-F238E27FC236}">
                <a16:creationId xmlns:a16="http://schemas.microsoft.com/office/drawing/2014/main" id="{006AE8DE-4F6A-2D4A-B26E-1F2BA475564D}"/>
              </a:ext>
            </a:extLst>
          </p:cNvPr>
          <p:cNvGrpSpPr/>
          <p:nvPr/>
        </p:nvGrpSpPr>
        <p:grpSpPr>
          <a:xfrm>
            <a:off x="9237511" y="1850384"/>
            <a:ext cx="4386529" cy="5816886"/>
            <a:chOff x="3522840" y="708383"/>
            <a:chExt cx="4549500" cy="6638080"/>
          </a:xfrm>
        </p:grpSpPr>
        <p:sp>
          <p:nvSpPr>
            <p:cNvPr id="58" name="Rectangle 57">
              <a:extLst>
                <a:ext uri="{FF2B5EF4-FFF2-40B4-BE49-F238E27FC236}">
                  <a16:creationId xmlns:a16="http://schemas.microsoft.com/office/drawing/2014/main" id="{287D3924-F4C5-F84F-8A8B-72167EF7DA6C}"/>
                </a:ext>
              </a:extLst>
            </p:cNvPr>
            <p:cNvSpPr/>
            <p:nvPr/>
          </p:nvSpPr>
          <p:spPr>
            <a:xfrm>
              <a:off x="3895443" y="708383"/>
              <a:ext cx="4176897" cy="4877840"/>
            </a:xfrm>
            <a:prstGeom prst="rect">
              <a:avLst/>
            </a:prstGeom>
            <a:noFill/>
            <a:ln w="19050" cap="flat" cmpd="sng" algn="ctr">
              <a:solidFill>
                <a:sysClr val="windowText" lastClr="000000"/>
              </a:solidFill>
              <a:prstDash val="solid"/>
            </a:ln>
            <a:effectLst/>
          </p:spPr>
          <p:txBody>
            <a:bodyPr rtlCol="0" anchor="t"/>
            <a:lstStyle/>
            <a:p>
              <a:pPr algn="ctr" defTabSz="1042511">
                <a:defRPr/>
              </a:pPr>
              <a:r>
                <a:rPr lang="en-US" sz="1197" b="1" kern="0" dirty="0">
                  <a:solidFill>
                    <a:prstClr val="black"/>
                  </a:solidFill>
                  <a:latin typeface="Arial"/>
                </a:rPr>
                <a:t>Solution_&lt;Name&gt;</a:t>
              </a:r>
            </a:p>
          </p:txBody>
        </p:sp>
        <p:sp>
          <p:nvSpPr>
            <p:cNvPr id="59" name="Rectangle 58">
              <a:extLst>
                <a:ext uri="{FF2B5EF4-FFF2-40B4-BE49-F238E27FC236}">
                  <a16:creationId xmlns:a16="http://schemas.microsoft.com/office/drawing/2014/main" id="{F7D96E38-9768-8148-AB78-D21BA0983153}"/>
                </a:ext>
              </a:extLst>
            </p:cNvPr>
            <p:cNvSpPr/>
            <p:nvPr/>
          </p:nvSpPr>
          <p:spPr>
            <a:xfrm>
              <a:off x="4022377" y="1021695"/>
              <a:ext cx="3346377" cy="360165"/>
            </a:xfrm>
            <a:prstGeom prst="rect">
              <a:avLst/>
            </a:prstGeom>
            <a:solidFill>
              <a:schemeClr val="bg2">
                <a:lumMod val="90000"/>
              </a:schemeClr>
            </a:solidFill>
            <a:ln w="19050" cap="flat" cmpd="sng" algn="ctr">
              <a:solidFill>
                <a:sysClr val="windowText" lastClr="000000"/>
              </a:solidFill>
              <a:prstDash val="solid"/>
            </a:ln>
            <a:effectLst/>
          </p:spPr>
          <p:txBody>
            <a:bodyPr rtlCol="0" anchor="ctr"/>
            <a:lstStyle/>
            <a:p>
              <a:pPr algn="ctr" defTabSz="1042511">
                <a:defRPr/>
              </a:pPr>
              <a:r>
                <a:rPr lang="en-US" sz="1400" b="1" kern="0" dirty="0">
                  <a:solidFill>
                    <a:prstClr val="black"/>
                  </a:solidFill>
                  <a:latin typeface="Arial"/>
                </a:rPr>
                <a:t>Interactive  Visualization Block</a:t>
              </a:r>
            </a:p>
          </p:txBody>
        </p:sp>
        <p:grpSp>
          <p:nvGrpSpPr>
            <p:cNvPr id="60" name="Group 59">
              <a:extLst>
                <a:ext uri="{FF2B5EF4-FFF2-40B4-BE49-F238E27FC236}">
                  <a16:creationId xmlns:a16="http://schemas.microsoft.com/office/drawing/2014/main" id="{5C8D62E5-B3F2-514F-BBD0-029BA1C239FA}"/>
                </a:ext>
              </a:extLst>
            </p:cNvPr>
            <p:cNvGrpSpPr/>
            <p:nvPr/>
          </p:nvGrpSpPr>
          <p:grpSpPr>
            <a:xfrm>
              <a:off x="5744268" y="1475130"/>
              <a:ext cx="1658446" cy="1596847"/>
              <a:chOff x="3443783" y="1812017"/>
              <a:chExt cx="1861479" cy="1038339"/>
            </a:xfrm>
          </p:grpSpPr>
          <p:sp>
            <p:nvSpPr>
              <p:cNvPr id="99" name="Rectangle 98">
                <a:extLst>
                  <a:ext uri="{FF2B5EF4-FFF2-40B4-BE49-F238E27FC236}">
                    <a16:creationId xmlns:a16="http://schemas.microsoft.com/office/drawing/2014/main" id="{D9DF0612-DCF1-8540-9F5F-8AE3A4F40CEC}"/>
                  </a:ext>
                </a:extLst>
              </p:cNvPr>
              <p:cNvSpPr/>
              <p:nvPr/>
            </p:nvSpPr>
            <p:spPr>
              <a:xfrm>
                <a:off x="3443783" y="1812017"/>
                <a:ext cx="1861479" cy="1038339"/>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Coordination Block</a:t>
                </a:r>
              </a:p>
            </p:txBody>
          </p:sp>
          <p:sp>
            <p:nvSpPr>
              <p:cNvPr id="100" name="Rectangle 99">
                <a:extLst>
                  <a:ext uri="{FF2B5EF4-FFF2-40B4-BE49-F238E27FC236}">
                    <a16:creationId xmlns:a16="http://schemas.microsoft.com/office/drawing/2014/main" id="{9AA2A8FD-BF09-E049-B70D-0B0B710F1F89}"/>
                  </a:ext>
                </a:extLst>
              </p:cNvPr>
              <p:cNvSpPr/>
              <p:nvPr/>
            </p:nvSpPr>
            <p:spPr>
              <a:xfrm>
                <a:off x="3537787" y="2041397"/>
                <a:ext cx="891480"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Patterns</a:t>
                </a:r>
              </a:p>
            </p:txBody>
          </p:sp>
          <p:sp>
            <p:nvSpPr>
              <p:cNvPr id="101" name="Rectangle 100">
                <a:extLst>
                  <a:ext uri="{FF2B5EF4-FFF2-40B4-BE49-F238E27FC236}">
                    <a16:creationId xmlns:a16="http://schemas.microsoft.com/office/drawing/2014/main" id="{E84938B6-235E-0141-BD6E-F55439D6F01D}"/>
                  </a:ext>
                </a:extLst>
              </p:cNvPr>
              <p:cNvSpPr/>
              <p:nvPr/>
            </p:nvSpPr>
            <p:spPr>
              <a:xfrm>
                <a:off x="4477310" y="204889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ctivities</a:t>
                </a:r>
              </a:p>
            </p:txBody>
          </p:sp>
          <p:sp>
            <p:nvSpPr>
              <p:cNvPr id="102" name="Rectangle 101">
                <a:extLst>
                  <a:ext uri="{FF2B5EF4-FFF2-40B4-BE49-F238E27FC236}">
                    <a16:creationId xmlns:a16="http://schemas.microsoft.com/office/drawing/2014/main" id="{002B49C3-042B-4941-8D18-0D3C1800800D}"/>
                  </a:ext>
                </a:extLst>
              </p:cNvPr>
              <p:cNvSpPr/>
              <p:nvPr/>
            </p:nvSpPr>
            <p:spPr>
              <a:xfrm>
                <a:off x="3567494" y="2432993"/>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Orchestration</a:t>
                </a:r>
              </a:p>
            </p:txBody>
          </p:sp>
          <p:sp>
            <p:nvSpPr>
              <p:cNvPr id="103" name="Rectangle 102">
                <a:extLst>
                  <a:ext uri="{FF2B5EF4-FFF2-40B4-BE49-F238E27FC236}">
                    <a16:creationId xmlns:a16="http://schemas.microsoft.com/office/drawing/2014/main" id="{396F7C6B-9767-A44F-8BD9-B6A435DBCFB9}"/>
                  </a:ext>
                </a:extLst>
              </p:cNvPr>
              <p:cNvSpPr/>
              <p:nvPr/>
            </p:nvSpPr>
            <p:spPr>
              <a:xfrm>
                <a:off x="3576845" y="2620665"/>
                <a:ext cx="1647195" cy="1510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horeography</a:t>
                </a:r>
              </a:p>
            </p:txBody>
          </p:sp>
        </p:grpSp>
        <p:grpSp>
          <p:nvGrpSpPr>
            <p:cNvPr id="61" name="Group 60">
              <a:extLst>
                <a:ext uri="{FF2B5EF4-FFF2-40B4-BE49-F238E27FC236}">
                  <a16:creationId xmlns:a16="http://schemas.microsoft.com/office/drawing/2014/main" id="{9A428E38-3B05-B042-A095-1D55BF37170B}"/>
                </a:ext>
              </a:extLst>
            </p:cNvPr>
            <p:cNvGrpSpPr/>
            <p:nvPr/>
          </p:nvGrpSpPr>
          <p:grpSpPr>
            <a:xfrm>
              <a:off x="4052832" y="4270424"/>
              <a:ext cx="3288420" cy="1266765"/>
              <a:chOff x="5704916" y="2818330"/>
              <a:chExt cx="1568460" cy="2027653"/>
            </a:xfrm>
          </p:grpSpPr>
          <p:sp>
            <p:nvSpPr>
              <p:cNvPr id="94" name="Rectangle 93">
                <a:extLst>
                  <a:ext uri="{FF2B5EF4-FFF2-40B4-BE49-F238E27FC236}">
                    <a16:creationId xmlns:a16="http://schemas.microsoft.com/office/drawing/2014/main" id="{C1F35A15-3BCF-F546-B73F-5F0CA44EAC76}"/>
                  </a:ext>
                </a:extLst>
              </p:cNvPr>
              <p:cNvSpPr/>
              <p:nvPr/>
            </p:nvSpPr>
            <p:spPr>
              <a:xfrm>
                <a:off x="5704916" y="2818330"/>
                <a:ext cx="1568460" cy="2027653"/>
              </a:xfrm>
              <a:prstGeom prst="rect">
                <a:avLst/>
              </a:prstGeom>
              <a:solidFill>
                <a:srgbClr val="909465">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Data Block</a:t>
                </a:r>
              </a:p>
            </p:txBody>
          </p:sp>
          <p:sp>
            <p:nvSpPr>
              <p:cNvPr id="95" name="Rectangle 94">
                <a:extLst>
                  <a:ext uri="{FF2B5EF4-FFF2-40B4-BE49-F238E27FC236}">
                    <a16:creationId xmlns:a16="http://schemas.microsoft.com/office/drawing/2014/main" id="{353455A4-D131-6847-AF55-C4D83BD64049}"/>
                  </a:ext>
                </a:extLst>
              </p:cNvPr>
              <p:cNvSpPr/>
              <p:nvPr/>
            </p:nvSpPr>
            <p:spPr>
              <a:xfrm>
                <a:off x="5832296" y="3103901"/>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Models</a:t>
                </a:r>
              </a:p>
            </p:txBody>
          </p:sp>
          <p:sp>
            <p:nvSpPr>
              <p:cNvPr id="96" name="Rectangle 95">
                <a:extLst>
                  <a:ext uri="{FF2B5EF4-FFF2-40B4-BE49-F238E27FC236}">
                    <a16:creationId xmlns:a16="http://schemas.microsoft.com/office/drawing/2014/main" id="{BB0B99FE-7D89-1749-856E-F99AE1E01B0B}"/>
                  </a:ext>
                </a:extLst>
              </p:cNvPr>
              <p:cNvSpPr/>
              <p:nvPr/>
            </p:nvSpPr>
            <p:spPr>
              <a:xfrm>
                <a:off x="5841150" y="3744395"/>
                <a:ext cx="1319231" cy="39800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Validation</a:t>
                </a:r>
              </a:p>
            </p:txBody>
          </p:sp>
          <p:sp>
            <p:nvSpPr>
              <p:cNvPr id="97" name="Rectangle 96">
                <a:extLst>
                  <a:ext uri="{FF2B5EF4-FFF2-40B4-BE49-F238E27FC236}">
                    <a16:creationId xmlns:a16="http://schemas.microsoft.com/office/drawing/2014/main" id="{07EA254B-AB9D-A54E-8208-E3B131324529}"/>
                  </a:ext>
                </a:extLst>
              </p:cNvPr>
              <p:cNvSpPr/>
              <p:nvPr/>
            </p:nvSpPr>
            <p:spPr>
              <a:xfrm>
                <a:off x="5838573" y="4292115"/>
                <a:ext cx="1319232" cy="387206"/>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ata Ingestion</a:t>
                </a:r>
              </a:p>
            </p:txBody>
          </p:sp>
          <p:sp>
            <p:nvSpPr>
              <p:cNvPr id="98" name="Rectangle 97">
                <a:extLst>
                  <a:ext uri="{FF2B5EF4-FFF2-40B4-BE49-F238E27FC236}">
                    <a16:creationId xmlns:a16="http://schemas.microsoft.com/office/drawing/2014/main" id="{8A92A1F7-7ACC-DC42-A71D-592B14904252}"/>
                  </a:ext>
                </a:extLst>
              </p:cNvPr>
              <p:cNvSpPr/>
              <p:nvPr/>
            </p:nvSpPr>
            <p:spPr>
              <a:xfrm>
                <a:off x="6661080" y="3121502"/>
                <a:ext cx="498922" cy="47158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sitory</a:t>
                </a:r>
              </a:p>
            </p:txBody>
          </p:sp>
        </p:grpSp>
        <p:sp>
          <p:nvSpPr>
            <p:cNvPr id="62" name="Rectangle 61">
              <a:extLst>
                <a:ext uri="{FF2B5EF4-FFF2-40B4-BE49-F238E27FC236}">
                  <a16:creationId xmlns:a16="http://schemas.microsoft.com/office/drawing/2014/main" id="{E55A2438-8A16-4140-B7B2-2B4AEBC1E2C4}"/>
                </a:ext>
              </a:extLst>
            </p:cNvPr>
            <p:cNvSpPr/>
            <p:nvPr/>
          </p:nvSpPr>
          <p:spPr>
            <a:xfrm>
              <a:off x="7455525" y="1005629"/>
              <a:ext cx="504934" cy="4540141"/>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1368" b="1" kern="0" dirty="0">
                  <a:solidFill>
                    <a:prstClr val="black"/>
                  </a:solidFill>
                  <a:latin typeface="Arial"/>
                </a:rPr>
                <a:t>Security, Services, Management</a:t>
              </a:r>
            </a:p>
          </p:txBody>
        </p:sp>
        <p:sp>
          <p:nvSpPr>
            <p:cNvPr id="63" name="Rectangle 62">
              <a:extLst>
                <a:ext uri="{FF2B5EF4-FFF2-40B4-BE49-F238E27FC236}">
                  <a16:creationId xmlns:a16="http://schemas.microsoft.com/office/drawing/2014/main" id="{7E7003DC-2F18-AA4B-90F8-3CC572576F88}"/>
                </a:ext>
              </a:extLst>
            </p:cNvPr>
            <p:cNvSpPr/>
            <p:nvPr/>
          </p:nvSpPr>
          <p:spPr>
            <a:xfrm>
              <a:off x="3527923" y="708383"/>
              <a:ext cx="362578" cy="4877840"/>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Cloud Infra</a:t>
              </a:r>
            </a:p>
          </p:txBody>
        </p:sp>
        <p:grpSp>
          <p:nvGrpSpPr>
            <p:cNvPr id="64" name="Group 63">
              <a:extLst>
                <a:ext uri="{FF2B5EF4-FFF2-40B4-BE49-F238E27FC236}">
                  <a16:creationId xmlns:a16="http://schemas.microsoft.com/office/drawing/2014/main" id="{4966358D-8ED0-644D-AD02-2625BB878991}"/>
                </a:ext>
              </a:extLst>
            </p:cNvPr>
            <p:cNvGrpSpPr/>
            <p:nvPr/>
          </p:nvGrpSpPr>
          <p:grpSpPr>
            <a:xfrm>
              <a:off x="4524022" y="3172410"/>
              <a:ext cx="2632950" cy="1048981"/>
              <a:chOff x="3443783" y="1812017"/>
              <a:chExt cx="1861479" cy="947296"/>
            </a:xfrm>
          </p:grpSpPr>
          <p:sp>
            <p:nvSpPr>
              <p:cNvPr id="90" name="Rectangle 89">
                <a:extLst>
                  <a:ext uri="{FF2B5EF4-FFF2-40B4-BE49-F238E27FC236}">
                    <a16:creationId xmlns:a16="http://schemas.microsoft.com/office/drawing/2014/main" id="{076D224E-8AB3-5145-B0DA-D257C4E5D2F0}"/>
                  </a:ext>
                </a:extLst>
              </p:cNvPr>
              <p:cNvSpPr/>
              <p:nvPr/>
            </p:nvSpPr>
            <p:spPr>
              <a:xfrm>
                <a:off x="3443783" y="1812017"/>
                <a:ext cx="1861479" cy="947296"/>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US" sz="1027" b="1" kern="0" dirty="0">
                    <a:solidFill>
                      <a:prstClr val="black"/>
                    </a:solidFill>
                    <a:latin typeface="Arial"/>
                  </a:rPr>
                  <a:t>Information Block</a:t>
                </a:r>
              </a:p>
            </p:txBody>
          </p:sp>
          <p:sp>
            <p:nvSpPr>
              <p:cNvPr id="91" name="Rectangle 90">
                <a:extLst>
                  <a:ext uri="{FF2B5EF4-FFF2-40B4-BE49-F238E27FC236}">
                    <a16:creationId xmlns:a16="http://schemas.microsoft.com/office/drawing/2014/main" id="{8F595E75-0D99-3641-B8C8-AC089DD5749E}"/>
                  </a:ext>
                </a:extLst>
              </p:cNvPr>
              <p:cNvSpPr/>
              <p:nvPr/>
            </p:nvSpPr>
            <p:spPr>
              <a:xfrm>
                <a:off x="3552266" y="2009064"/>
                <a:ext cx="877001" cy="29517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Reporting</a:t>
                </a:r>
              </a:p>
            </p:txBody>
          </p:sp>
          <p:sp>
            <p:nvSpPr>
              <p:cNvPr id="92" name="Rectangle 91">
                <a:extLst>
                  <a:ext uri="{FF2B5EF4-FFF2-40B4-BE49-F238E27FC236}">
                    <a16:creationId xmlns:a16="http://schemas.microsoft.com/office/drawing/2014/main" id="{FAA93601-E9E9-434F-B562-A879405F963F}"/>
                  </a:ext>
                </a:extLst>
              </p:cNvPr>
              <p:cNvSpPr/>
              <p:nvPr/>
            </p:nvSpPr>
            <p:spPr>
              <a:xfrm>
                <a:off x="4480578" y="2018883"/>
                <a:ext cx="773373" cy="291559"/>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Analytics</a:t>
                </a:r>
              </a:p>
            </p:txBody>
          </p:sp>
          <p:sp>
            <p:nvSpPr>
              <p:cNvPr id="93" name="Rectangle 92">
                <a:extLst>
                  <a:ext uri="{FF2B5EF4-FFF2-40B4-BE49-F238E27FC236}">
                    <a16:creationId xmlns:a16="http://schemas.microsoft.com/office/drawing/2014/main" id="{2CCB95BE-115F-1E44-A07E-D41FD5D95339}"/>
                  </a:ext>
                </a:extLst>
              </p:cNvPr>
              <p:cNvSpPr/>
              <p:nvPr/>
            </p:nvSpPr>
            <p:spPr>
              <a:xfrm>
                <a:off x="3867491" y="2362472"/>
                <a:ext cx="1018280" cy="306114"/>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Domain ontologies</a:t>
                </a:r>
              </a:p>
            </p:txBody>
          </p:sp>
        </p:grpSp>
        <p:cxnSp>
          <p:nvCxnSpPr>
            <p:cNvPr id="65" name="Straight Arrow Connector 64">
              <a:extLst>
                <a:ext uri="{FF2B5EF4-FFF2-40B4-BE49-F238E27FC236}">
                  <a16:creationId xmlns:a16="http://schemas.microsoft.com/office/drawing/2014/main" id="{0FCF6F53-C8F5-164C-9DA5-06A69DE186B9}"/>
                </a:ext>
              </a:extLst>
            </p:cNvPr>
            <p:cNvCxnSpPr/>
            <p:nvPr/>
          </p:nvCxnSpPr>
          <p:spPr>
            <a:xfrm flipH="1">
              <a:off x="7223072" y="1205777"/>
              <a:ext cx="5824" cy="457711"/>
            </a:xfrm>
            <a:prstGeom prst="straightConnector1">
              <a:avLst/>
            </a:prstGeom>
            <a:noFill/>
            <a:ln w="25400" cap="flat" cmpd="sng" algn="ctr">
              <a:solidFill>
                <a:srgbClr val="C00000"/>
              </a:solidFill>
              <a:prstDash val="solid"/>
              <a:headEnd type="none"/>
              <a:tailEnd type="arrow"/>
            </a:ln>
            <a:effectLst/>
          </p:spPr>
        </p:cxnSp>
        <p:grpSp>
          <p:nvGrpSpPr>
            <p:cNvPr id="66" name="Group 65">
              <a:extLst>
                <a:ext uri="{FF2B5EF4-FFF2-40B4-BE49-F238E27FC236}">
                  <a16:creationId xmlns:a16="http://schemas.microsoft.com/office/drawing/2014/main" id="{26FB4B3A-5DE5-4C45-9A5C-0B936012B45D}"/>
                </a:ext>
              </a:extLst>
            </p:cNvPr>
            <p:cNvGrpSpPr/>
            <p:nvPr/>
          </p:nvGrpSpPr>
          <p:grpSpPr>
            <a:xfrm>
              <a:off x="3990744" y="1457302"/>
              <a:ext cx="1658446" cy="1596847"/>
              <a:chOff x="3990744" y="1457302"/>
              <a:chExt cx="1658446" cy="1596847"/>
            </a:xfrm>
          </p:grpSpPr>
          <p:sp>
            <p:nvSpPr>
              <p:cNvPr id="86" name="Rectangle 85">
                <a:extLst>
                  <a:ext uri="{FF2B5EF4-FFF2-40B4-BE49-F238E27FC236}">
                    <a16:creationId xmlns:a16="http://schemas.microsoft.com/office/drawing/2014/main" id="{6F723CE0-DF28-A34C-8DB7-98DF5721574B}"/>
                  </a:ext>
                </a:extLst>
              </p:cNvPr>
              <p:cNvSpPr/>
              <p:nvPr/>
            </p:nvSpPr>
            <p:spPr>
              <a:xfrm>
                <a:off x="3990744" y="1457302"/>
                <a:ext cx="1658446" cy="1596847"/>
              </a:xfrm>
              <a:prstGeom prst="rect">
                <a:avLst/>
              </a:prstGeom>
              <a:solidFill>
                <a:srgbClr val="94C600">
                  <a:alpha val="61000"/>
                </a:srgbClr>
              </a:solidFill>
              <a:ln w="19050" cap="flat" cmpd="sng" algn="ctr">
                <a:solidFill>
                  <a:sysClr val="windowText" lastClr="000000"/>
                </a:solidFill>
                <a:prstDash val="solid"/>
              </a:ln>
              <a:effectLst/>
            </p:spPr>
            <p:txBody>
              <a:bodyPr rtlCol="0" anchor="t"/>
              <a:lstStyle/>
              <a:p>
                <a:pPr algn="ctr" defTabSz="1042511">
                  <a:defRPr/>
                </a:pPr>
                <a:r>
                  <a:rPr lang="en-GB" sz="1027" b="1" kern="0" dirty="0">
                    <a:solidFill>
                      <a:prstClr val="black"/>
                    </a:solidFill>
                    <a:latin typeface="Arial"/>
                  </a:rPr>
                  <a:t>Application </a:t>
                </a:r>
                <a:r>
                  <a:rPr lang="en-US" sz="1027" b="1" kern="0" dirty="0">
                    <a:solidFill>
                      <a:prstClr val="black"/>
                    </a:solidFill>
                    <a:latin typeface="Arial"/>
                  </a:rPr>
                  <a:t> Block</a:t>
                </a:r>
              </a:p>
            </p:txBody>
          </p:sp>
          <p:sp>
            <p:nvSpPr>
              <p:cNvPr id="87" name="Rectangle 86">
                <a:extLst>
                  <a:ext uri="{FF2B5EF4-FFF2-40B4-BE49-F238E27FC236}">
                    <a16:creationId xmlns:a16="http://schemas.microsoft.com/office/drawing/2014/main" id="{45106337-0577-EE45-B5B4-F3203AF4FF0C}"/>
                  </a:ext>
                </a:extLst>
              </p:cNvPr>
              <p:cNvSpPr/>
              <p:nvPr/>
            </p:nvSpPr>
            <p:spPr>
              <a:xfrm>
                <a:off x="4088221" y="1830930"/>
                <a:ext cx="781346" cy="453942"/>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Common</a:t>
                </a:r>
              </a:p>
            </p:txBody>
          </p:sp>
          <p:sp>
            <p:nvSpPr>
              <p:cNvPr id="88" name="Rectangle 87">
                <a:extLst>
                  <a:ext uri="{FF2B5EF4-FFF2-40B4-BE49-F238E27FC236}">
                    <a16:creationId xmlns:a16="http://schemas.microsoft.com/office/drawing/2014/main" id="{B671F4F1-2892-494F-9AE9-E3C4B7360EFA}"/>
                  </a:ext>
                </a:extLst>
              </p:cNvPr>
              <p:cNvSpPr/>
              <p:nvPr/>
            </p:nvSpPr>
            <p:spPr>
              <a:xfrm>
                <a:off x="4912369" y="1842458"/>
                <a:ext cx="689021" cy="453943"/>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Unique</a:t>
                </a:r>
              </a:p>
            </p:txBody>
          </p:sp>
          <p:sp>
            <p:nvSpPr>
              <p:cNvPr id="89" name="Rectangle 88">
                <a:extLst>
                  <a:ext uri="{FF2B5EF4-FFF2-40B4-BE49-F238E27FC236}">
                    <a16:creationId xmlns:a16="http://schemas.microsoft.com/office/drawing/2014/main" id="{9D726BF9-944A-BE4E-B986-37E54BAE98DD}"/>
                  </a:ext>
                </a:extLst>
              </p:cNvPr>
              <p:cNvSpPr/>
              <p:nvPr/>
            </p:nvSpPr>
            <p:spPr>
              <a:xfrm>
                <a:off x="4101788" y="2433160"/>
                <a:ext cx="1476328" cy="470768"/>
              </a:xfrm>
              <a:prstGeom prst="rect">
                <a:avLst/>
              </a:prstGeom>
              <a:solidFill>
                <a:sysClr val="window" lastClr="FFFFFF"/>
              </a:solidFill>
              <a:ln w="19050" cap="flat" cmpd="sng" algn="ctr">
                <a:solidFill>
                  <a:sysClr val="windowText" lastClr="000000"/>
                </a:solidFill>
                <a:prstDash val="solid"/>
              </a:ln>
              <a:effectLst/>
            </p:spPr>
            <p:txBody>
              <a:bodyPr rtlCol="0" anchor="ctr"/>
              <a:lstStyle/>
              <a:p>
                <a:pPr algn="ctr" defTabSz="1042511">
                  <a:defRPr/>
                </a:pPr>
                <a:r>
                  <a:rPr lang="en-US" sz="912" b="1" kern="0" dirty="0">
                    <a:solidFill>
                      <a:prstClr val="black"/>
                    </a:solidFill>
                    <a:latin typeface="Arial"/>
                  </a:rPr>
                  <a:t>Business Grounding</a:t>
                </a:r>
              </a:p>
            </p:txBody>
          </p:sp>
        </p:grpSp>
        <p:grpSp>
          <p:nvGrpSpPr>
            <p:cNvPr id="67" name="Group 66">
              <a:extLst>
                <a:ext uri="{FF2B5EF4-FFF2-40B4-BE49-F238E27FC236}">
                  <a16:creationId xmlns:a16="http://schemas.microsoft.com/office/drawing/2014/main" id="{4EA08ECD-C795-144D-BECB-0344DD0EA2A2}"/>
                </a:ext>
              </a:extLst>
            </p:cNvPr>
            <p:cNvGrpSpPr/>
            <p:nvPr/>
          </p:nvGrpSpPr>
          <p:grpSpPr>
            <a:xfrm>
              <a:off x="3522840" y="5593442"/>
              <a:ext cx="4544417" cy="1753021"/>
              <a:chOff x="5727062" y="5695492"/>
              <a:chExt cx="4544417" cy="1753021"/>
            </a:xfrm>
          </p:grpSpPr>
          <p:sp>
            <p:nvSpPr>
              <p:cNvPr id="74" name="Rectangle 73">
                <a:extLst>
                  <a:ext uri="{FF2B5EF4-FFF2-40B4-BE49-F238E27FC236}">
                    <a16:creationId xmlns:a16="http://schemas.microsoft.com/office/drawing/2014/main" id="{F0F3CDCA-CAAC-924F-8C24-5DCA2DF19C46}"/>
                  </a:ext>
                </a:extLst>
              </p:cNvPr>
              <p:cNvSpPr/>
              <p:nvPr/>
            </p:nvSpPr>
            <p:spPr>
              <a:xfrm>
                <a:off x="5727063" y="5695492"/>
                <a:ext cx="4544416"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Backhaul Communication</a:t>
                </a:r>
              </a:p>
            </p:txBody>
          </p:sp>
          <p:sp>
            <p:nvSpPr>
              <p:cNvPr id="75" name="Rectangle 74">
                <a:extLst>
                  <a:ext uri="{FF2B5EF4-FFF2-40B4-BE49-F238E27FC236}">
                    <a16:creationId xmlns:a16="http://schemas.microsoft.com/office/drawing/2014/main" id="{4ED4942D-3F9B-8D4A-AED3-89D8EC6378E2}"/>
                  </a:ext>
                </a:extLst>
              </p:cNvPr>
              <p:cNvSpPr/>
              <p:nvPr/>
            </p:nvSpPr>
            <p:spPr>
              <a:xfrm>
                <a:off x="6092448" y="6055657"/>
                <a:ext cx="4179030" cy="1046350"/>
              </a:xfrm>
              <a:prstGeom prst="rect">
                <a:avLst/>
              </a:prstGeom>
              <a:noFill/>
              <a:ln w="19050" cap="flat" cmpd="sng" algn="ctr">
                <a:solidFill>
                  <a:sysClr val="windowText" lastClr="000000"/>
                </a:solidFill>
                <a:prstDash val="solid"/>
              </a:ln>
              <a:effectLst/>
            </p:spPr>
            <p:txBody>
              <a:bodyPr rtlCol="0" anchor="t"/>
              <a:lstStyle/>
              <a:p>
                <a:pPr algn="ctr" defTabSz="1042511">
                  <a:defRPr/>
                </a:pPr>
                <a:endParaRPr lang="en-US" sz="1197" b="1" kern="0" dirty="0">
                  <a:solidFill>
                    <a:prstClr val="black"/>
                  </a:solidFill>
                  <a:latin typeface="Arial"/>
                </a:endParaRPr>
              </a:p>
            </p:txBody>
          </p:sp>
          <p:sp>
            <p:nvSpPr>
              <p:cNvPr id="76" name="Rectangle 75">
                <a:extLst>
                  <a:ext uri="{FF2B5EF4-FFF2-40B4-BE49-F238E27FC236}">
                    <a16:creationId xmlns:a16="http://schemas.microsoft.com/office/drawing/2014/main" id="{DE66CAA8-420D-C944-B2BE-D3BC5CFA2212}"/>
                  </a:ext>
                </a:extLst>
              </p:cNvPr>
              <p:cNvSpPr/>
              <p:nvPr/>
            </p:nvSpPr>
            <p:spPr>
              <a:xfrm>
                <a:off x="6199154" y="6164926"/>
                <a:ext cx="3287806" cy="360165"/>
              </a:xfrm>
              <a:prstGeom prst="rect">
                <a:avLst/>
              </a:prstGeom>
              <a:solidFill>
                <a:srgbClr val="BEDC63"/>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Control</a:t>
                </a:r>
              </a:p>
            </p:txBody>
          </p:sp>
          <p:sp>
            <p:nvSpPr>
              <p:cNvPr id="77" name="Rectangle 76">
                <a:extLst>
                  <a:ext uri="{FF2B5EF4-FFF2-40B4-BE49-F238E27FC236}">
                    <a16:creationId xmlns:a16="http://schemas.microsoft.com/office/drawing/2014/main" id="{D21D4466-08A6-5141-9F0A-86372C6748EA}"/>
                  </a:ext>
                </a:extLst>
              </p:cNvPr>
              <p:cNvSpPr/>
              <p:nvPr/>
            </p:nvSpPr>
            <p:spPr>
              <a:xfrm>
                <a:off x="6216330" y="6592029"/>
                <a:ext cx="1016519" cy="410125"/>
              </a:xfrm>
              <a:prstGeom prst="rect">
                <a:avLst/>
              </a:prstGeom>
              <a:solidFill>
                <a:srgbClr val="BBBEA1"/>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Sensing</a:t>
                </a:r>
              </a:p>
            </p:txBody>
          </p:sp>
          <p:sp>
            <p:nvSpPr>
              <p:cNvPr id="78" name="Rectangle 77">
                <a:extLst>
                  <a:ext uri="{FF2B5EF4-FFF2-40B4-BE49-F238E27FC236}">
                    <a16:creationId xmlns:a16="http://schemas.microsoft.com/office/drawing/2014/main" id="{BA815732-74BE-4848-9A1F-5FDB227A83C6}"/>
                  </a:ext>
                </a:extLst>
              </p:cNvPr>
              <p:cNvSpPr/>
              <p:nvPr/>
            </p:nvSpPr>
            <p:spPr>
              <a:xfrm>
                <a:off x="8643171" y="6602829"/>
                <a:ext cx="848363"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Actuation</a:t>
                </a:r>
              </a:p>
            </p:txBody>
          </p:sp>
          <p:cxnSp>
            <p:nvCxnSpPr>
              <p:cNvPr id="79" name="Straight Arrow Connector 78">
                <a:extLst>
                  <a:ext uri="{FF2B5EF4-FFF2-40B4-BE49-F238E27FC236}">
                    <a16:creationId xmlns:a16="http://schemas.microsoft.com/office/drawing/2014/main" id="{55A2AB59-CA80-BD4A-8E60-B5D12AEB848E}"/>
                  </a:ext>
                </a:extLst>
              </p:cNvPr>
              <p:cNvCxnSpPr>
                <a:cxnSpLocks/>
              </p:cNvCxnSpPr>
              <p:nvPr/>
            </p:nvCxnSpPr>
            <p:spPr>
              <a:xfrm flipH="1">
                <a:off x="6704046" y="6411946"/>
                <a:ext cx="1" cy="360165"/>
              </a:xfrm>
              <a:prstGeom prst="straightConnector1">
                <a:avLst/>
              </a:prstGeom>
              <a:noFill/>
              <a:ln w="25400" cap="flat" cmpd="sng" algn="ctr">
                <a:solidFill>
                  <a:srgbClr val="C00000"/>
                </a:solidFill>
                <a:prstDash val="solid"/>
                <a:headEnd type="arrow"/>
                <a:tailEnd type="arrow"/>
              </a:ln>
              <a:effectLst/>
            </p:spPr>
          </p:cxnSp>
          <p:sp>
            <p:nvSpPr>
              <p:cNvPr id="80" name="Rectangle 79">
                <a:extLst>
                  <a:ext uri="{FF2B5EF4-FFF2-40B4-BE49-F238E27FC236}">
                    <a16:creationId xmlns:a16="http://schemas.microsoft.com/office/drawing/2014/main" id="{E0880B0E-F875-5E48-91C4-D8491FCAD623}"/>
                  </a:ext>
                </a:extLst>
              </p:cNvPr>
              <p:cNvSpPr/>
              <p:nvPr/>
            </p:nvSpPr>
            <p:spPr>
              <a:xfrm>
                <a:off x="5727063" y="7088348"/>
                <a:ext cx="4544413" cy="360165"/>
              </a:xfrm>
              <a:prstGeom prst="rect">
                <a:avLst/>
              </a:prstGeom>
              <a:solidFill>
                <a:srgbClr val="6BACDE"/>
              </a:solidFill>
              <a:ln w="19050" cap="flat" cmpd="sng" algn="ctr">
                <a:solidFill>
                  <a:sysClr val="windowText" lastClr="000000"/>
                </a:solidFill>
                <a:prstDash val="solid"/>
              </a:ln>
              <a:effectLst/>
            </p:spPr>
            <p:txBody>
              <a:bodyPr rtlCol="0" anchor="ctr"/>
              <a:lstStyle/>
              <a:p>
                <a:pPr algn="ctr" defTabSz="1042511">
                  <a:defRPr/>
                </a:pPr>
                <a:r>
                  <a:rPr lang="en-US" sz="1368" b="1" kern="0" dirty="0">
                    <a:solidFill>
                      <a:prstClr val="black"/>
                    </a:solidFill>
                    <a:latin typeface="Arial"/>
                  </a:rPr>
                  <a:t>Last-Mile Communication</a:t>
                </a:r>
              </a:p>
            </p:txBody>
          </p:sp>
          <p:sp>
            <p:nvSpPr>
              <p:cNvPr id="81" name="Rectangle 80">
                <a:extLst>
                  <a:ext uri="{FF2B5EF4-FFF2-40B4-BE49-F238E27FC236}">
                    <a16:creationId xmlns:a16="http://schemas.microsoft.com/office/drawing/2014/main" id="{6646E664-32FD-BD44-9C11-BA2D4F931912}"/>
                  </a:ext>
                </a:extLst>
              </p:cNvPr>
              <p:cNvSpPr/>
              <p:nvPr/>
            </p:nvSpPr>
            <p:spPr>
              <a:xfrm>
                <a:off x="9685676" y="6152358"/>
                <a:ext cx="487121" cy="839287"/>
              </a:xfrm>
              <a:prstGeom prst="rect">
                <a:avLst/>
              </a:prstGeom>
              <a:solidFill>
                <a:srgbClr val="FEC578"/>
              </a:solidFill>
              <a:ln w="19050" cap="flat" cmpd="sng" algn="ctr">
                <a:solidFill>
                  <a:sysClr val="windowText" lastClr="000000"/>
                </a:solidFill>
                <a:prstDash val="solid"/>
              </a:ln>
              <a:effectLst/>
            </p:spPr>
            <p:txBody>
              <a:bodyPr vert="vert" rtlCol="0" anchor="ctr"/>
              <a:lstStyle/>
              <a:p>
                <a:pPr algn="ctr" defTabSz="1042511">
                  <a:defRPr/>
                </a:pPr>
                <a:r>
                  <a:rPr lang="en-US" sz="912" b="1" kern="0" dirty="0">
                    <a:solidFill>
                      <a:prstClr val="black"/>
                    </a:solidFill>
                    <a:latin typeface="Arial"/>
                  </a:rPr>
                  <a:t>Security, services Management</a:t>
                </a:r>
              </a:p>
            </p:txBody>
          </p:sp>
          <p:sp>
            <p:nvSpPr>
              <p:cNvPr id="82" name="Rectangle 81">
                <a:extLst>
                  <a:ext uri="{FF2B5EF4-FFF2-40B4-BE49-F238E27FC236}">
                    <a16:creationId xmlns:a16="http://schemas.microsoft.com/office/drawing/2014/main" id="{DA4F0E80-1D2F-1341-BBAF-FE13F81627EE}"/>
                  </a:ext>
                </a:extLst>
              </p:cNvPr>
              <p:cNvSpPr/>
              <p:nvPr/>
            </p:nvSpPr>
            <p:spPr>
              <a:xfrm>
                <a:off x="5727062" y="6055658"/>
                <a:ext cx="372037" cy="1032689"/>
              </a:xfrm>
              <a:prstGeom prst="rect">
                <a:avLst/>
              </a:prstGeom>
              <a:solidFill>
                <a:srgbClr val="6BACDE"/>
              </a:solidFill>
              <a:ln w="19050" cap="flat" cmpd="sng" algn="ctr">
                <a:solidFill>
                  <a:sysClr val="windowText" lastClr="000000"/>
                </a:solidFill>
                <a:prstDash val="solid"/>
              </a:ln>
              <a:effectLst/>
            </p:spPr>
            <p:txBody>
              <a:bodyPr vert="vert270" rtlCol="0" anchor="ctr"/>
              <a:lstStyle/>
              <a:p>
                <a:pPr algn="ctr" defTabSz="1042511">
                  <a:defRPr/>
                </a:pPr>
                <a:r>
                  <a:rPr lang="en-US" sz="1368" b="1" kern="0" dirty="0">
                    <a:solidFill>
                      <a:prstClr val="black"/>
                    </a:solidFill>
                    <a:latin typeface="Arial"/>
                  </a:rPr>
                  <a:t>Field Infra</a:t>
                </a:r>
              </a:p>
            </p:txBody>
          </p:sp>
          <p:sp>
            <p:nvSpPr>
              <p:cNvPr id="83" name="Rectangle 82">
                <a:extLst>
                  <a:ext uri="{FF2B5EF4-FFF2-40B4-BE49-F238E27FC236}">
                    <a16:creationId xmlns:a16="http://schemas.microsoft.com/office/drawing/2014/main" id="{B7070196-6069-DD4C-A6E0-9EF4CF117EFA}"/>
                  </a:ext>
                </a:extLst>
              </p:cNvPr>
              <p:cNvSpPr/>
              <p:nvPr/>
            </p:nvSpPr>
            <p:spPr>
              <a:xfrm>
                <a:off x="7455525" y="6592029"/>
                <a:ext cx="963129" cy="399326"/>
              </a:xfrm>
              <a:prstGeom prst="rect">
                <a:avLst/>
              </a:prstGeom>
              <a:solidFill>
                <a:srgbClr val="909465">
                  <a:alpha val="61000"/>
                </a:srgbClr>
              </a:solidFill>
              <a:ln w="19050" cap="flat" cmpd="sng" algn="ctr">
                <a:solidFill>
                  <a:sysClr val="windowText" lastClr="000000"/>
                </a:solidFill>
                <a:prstDash val="solid"/>
              </a:ln>
              <a:effectLst/>
            </p:spPr>
            <p:txBody>
              <a:bodyPr rtlCol="0" anchor="ctr"/>
              <a:lstStyle/>
              <a:p>
                <a:pPr algn="ctr" defTabSz="1042511">
                  <a:defRPr/>
                </a:pPr>
                <a:r>
                  <a:rPr lang="en-US" sz="1027" b="1" kern="0" dirty="0">
                    <a:solidFill>
                      <a:prstClr val="black"/>
                    </a:solidFill>
                    <a:latin typeface="Arial"/>
                  </a:rPr>
                  <a:t>Identification</a:t>
                </a:r>
              </a:p>
            </p:txBody>
          </p:sp>
          <p:cxnSp>
            <p:nvCxnSpPr>
              <p:cNvPr id="84" name="Straight Arrow Connector 83">
                <a:extLst>
                  <a:ext uri="{FF2B5EF4-FFF2-40B4-BE49-F238E27FC236}">
                    <a16:creationId xmlns:a16="http://schemas.microsoft.com/office/drawing/2014/main" id="{17BCE5A2-0C97-A74F-B5F7-98422C569713}"/>
                  </a:ext>
                </a:extLst>
              </p:cNvPr>
              <p:cNvCxnSpPr>
                <a:cxnSpLocks/>
              </p:cNvCxnSpPr>
              <p:nvPr/>
            </p:nvCxnSpPr>
            <p:spPr>
              <a:xfrm flipH="1">
                <a:off x="7858942" y="6411946"/>
                <a:ext cx="1" cy="360165"/>
              </a:xfrm>
              <a:prstGeom prst="straightConnector1">
                <a:avLst/>
              </a:prstGeom>
              <a:noFill/>
              <a:ln w="25400" cap="flat" cmpd="sng" algn="ctr">
                <a:solidFill>
                  <a:srgbClr val="C00000"/>
                </a:solidFill>
                <a:prstDash val="solid"/>
                <a:headEnd type="arrow"/>
                <a:tailEnd type="arrow"/>
              </a:ln>
              <a:effectLst/>
            </p:spPr>
          </p:cxnSp>
          <p:cxnSp>
            <p:nvCxnSpPr>
              <p:cNvPr id="85" name="Straight Arrow Connector 84">
                <a:extLst>
                  <a:ext uri="{FF2B5EF4-FFF2-40B4-BE49-F238E27FC236}">
                    <a16:creationId xmlns:a16="http://schemas.microsoft.com/office/drawing/2014/main" id="{21B5A8B7-FA64-2F4C-8B1E-678D69D73390}"/>
                  </a:ext>
                </a:extLst>
              </p:cNvPr>
              <p:cNvCxnSpPr>
                <a:cxnSpLocks/>
              </p:cNvCxnSpPr>
              <p:nvPr/>
            </p:nvCxnSpPr>
            <p:spPr>
              <a:xfrm flipH="1">
                <a:off x="9067352" y="6404220"/>
                <a:ext cx="1" cy="360165"/>
              </a:xfrm>
              <a:prstGeom prst="straightConnector1">
                <a:avLst/>
              </a:prstGeom>
              <a:noFill/>
              <a:ln w="25400" cap="flat" cmpd="sng" algn="ctr">
                <a:solidFill>
                  <a:srgbClr val="C00000"/>
                </a:solidFill>
                <a:prstDash val="solid"/>
                <a:headEnd type="arrow"/>
                <a:tailEnd type="arrow"/>
              </a:ln>
              <a:effectLst/>
            </p:spPr>
          </p:cxnSp>
        </p:grpSp>
        <p:cxnSp>
          <p:nvCxnSpPr>
            <p:cNvPr id="68" name="Straight Arrow Connector 67">
              <a:extLst>
                <a:ext uri="{FF2B5EF4-FFF2-40B4-BE49-F238E27FC236}">
                  <a16:creationId xmlns:a16="http://schemas.microsoft.com/office/drawing/2014/main" id="{8E2D2BE4-6B40-BE4C-A549-D41F45B7609A}"/>
                </a:ext>
              </a:extLst>
            </p:cNvPr>
            <p:cNvCxnSpPr>
              <a:cxnSpLocks/>
            </p:cNvCxnSpPr>
            <p:nvPr/>
          </p:nvCxnSpPr>
          <p:spPr>
            <a:xfrm flipH="1">
              <a:off x="4869567" y="4044897"/>
              <a:ext cx="1" cy="360165"/>
            </a:xfrm>
            <a:prstGeom prst="straightConnector1">
              <a:avLst/>
            </a:prstGeom>
            <a:noFill/>
            <a:ln w="25400" cap="flat" cmpd="sng" algn="ctr">
              <a:solidFill>
                <a:srgbClr val="C00000"/>
              </a:solidFill>
              <a:prstDash val="solid"/>
              <a:headEnd type="arrow"/>
              <a:tailEnd type="arrow"/>
            </a:ln>
            <a:effectLst/>
          </p:spPr>
        </p:cxnSp>
        <p:cxnSp>
          <p:nvCxnSpPr>
            <p:cNvPr id="69" name="Straight Arrow Connector 68">
              <a:extLst>
                <a:ext uri="{FF2B5EF4-FFF2-40B4-BE49-F238E27FC236}">
                  <a16:creationId xmlns:a16="http://schemas.microsoft.com/office/drawing/2014/main" id="{D1BC3BBD-2BEB-134C-A8B8-AFD37AEF7434}"/>
                </a:ext>
              </a:extLst>
            </p:cNvPr>
            <p:cNvCxnSpPr>
              <a:cxnSpLocks/>
            </p:cNvCxnSpPr>
            <p:nvPr/>
          </p:nvCxnSpPr>
          <p:spPr>
            <a:xfrm flipH="1">
              <a:off x="6849786" y="4055198"/>
              <a:ext cx="1" cy="360165"/>
            </a:xfrm>
            <a:prstGeom prst="straightConnector1">
              <a:avLst/>
            </a:prstGeom>
            <a:noFill/>
            <a:ln w="25400" cap="flat" cmpd="sng" algn="ctr">
              <a:solidFill>
                <a:srgbClr val="C00000"/>
              </a:solidFill>
              <a:prstDash val="solid"/>
              <a:headEnd type="arrow"/>
              <a:tailEnd type="arrow"/>
            </a:ln>
            <a:effectLst/>
          </p:spPr>
        </p:cxnSp>
        <p:cxnSp>
          <p:nvCxnSpPr>
            <p:cNvPr id="70" name="Straight Arrow Connector 69">
              <a:extLst>
                <a:ext uri="{FF2B5EF4-FFF2-40B4-BE49-F238E27FC236}">
                  <a16:creationId xmlns:a16="http://schemas.microsoft.com/office/drawing/2014/main" id="{93CC7652-160E-E144-804E-A26A772460E3}"/>
                </a:ext>
              </a:extLst>
            </p:cNvPr>
            <p:cNvCxnSpPr>
              <a:cxnSpLocks/>
            </p:cNvCxnSpPr>
            <p:nvPr/>
          </p:nvCxnSpPr>
          <p:spPr>
            <a:xfrm flipH="1">
              <a:off x="4817701" y="2921344"/>
              <a:ext cx="1" cy="360165"/>
            </a:xfrm>
            <a:prstGeom prst="straightConnector1">
              <a:avLst/>
            </a:prstGeom>
            <a:noFill/>
            <a:ln w="25400" cap="flat" cmpd="sng" algn="ctr">
              <a:solidFill>
                <a:srgbClr val="C00000"/>
              </a:solidFill>
              <a:prstDash val="solid"/>
              <a:headEnd type="arrow"/>
              <a:tailEnd type="arrow"/>
            </a:ln>
            <a:effectLst/>
          </p:spPr>
        </p:cxnSp>
        <p:cxnSp>
          <p:nvCxnSpPr>
            <p:cNvPr id="71" name="Straight Arrow Connector 70">
              <a:extLst>
                <a:ext uri="{FF2B5EF4-FFF2-40B4-BE49-F238E27FC236}">
                  <a16:creationId xmlns:a16="http://schemas.microsoft.com/office/drawing/2014/main" id="{425DF81A-C08D-384E-965B-BA03AE14F163}"/>
                </a:ext>
              </a:extLst>
            </p:cNvPr>
            <p:cNvCxnSpPr>
              <a:cxnSpLocks/>
            </p:cNvCxnSpPr>
            <p:nvPr/>
          </p:nvCxnSpPr>
          <p:spPr>
            <a:xfrm flipH="1">
              <a:off x="6746988" y="2938544"/>
              <a:ext cx="1" cy="360165"/>
            </a:xfrm>
            <a:prstGeom prst="straightConnector1">
              <a:avLst/>
            </a:prstGeom>
            <a:noFill/>
            <a:ln w="25400" cap="flat" cmpd="sng" algn="ctr">
              <a:solidFill>
                <a:srgbClr val="C00000"/>
              </a:solidFill>
              <a:prstDash val="solid"/>
              <a:headEnd type="arrow"/>
              <a:tailEnd type="arrow"/>
            </a:ln>
            <a:effectLst/>
          </p:spPr>
        </p:cxnSp>
        <p:cxnSp>
          <p:nvCxnSpPr>
            <p:cNvPr id="72" name="Straight Arrow Connector 71">
              <a:extLst>
                <a:ext uri="{FF2B5EF4-FFF2-40B4-BE49-F238E27FC236}">
                  <a16:creationId xmlns:a16="http://schemas.microsoft.com/office/drawing/2014/main" id="{68D561EE-7193-B442-B7D8-5B48D5B3A499}"/>
                </a:ext>
              </a:extLst>
            </p:cNvPr>
            <p:cNvCxnSpPr>
              <a:cxnSpLocks/>
            </p:cNvCxnSpPr>
            <p:nvPr/>
          </p:nvCxnSpPr>
          <p:spPr>
            <a:xfrm>
              <a:off x="5539979" y="2380803"/>
              <a:ext cx="352043" cy="0"/>
            </a:xfrm>
            <a:prstGeom prst="straightConnector1">
              <a:avLst/>
            </a:prstGeom>
            <a:noFill/>
            <a:ln w="25400" cap="flat" cmpd="sng" algn="ctr">
              <a:solidFill>
                <a:srgbClr val="C00000"/>
              </a:solidFill>
              <a:prstDash val="solid"/>
              <a:headEnd type="arrow"/>
              <a:tailEnd type="arrow"/>
            </a:ln>
            <a:effectLst/>
          </p:spPr>
        </p:cxnSp>
        <p:cxnSp>
          <p:nvCxnSpPr>
            <p:cNvPr id="73" name="Straight Arrow Connector 72">
              <a:extLst>
                <a:ext uri="{FF2B5EF4-FFF2-40B4-BE49-F238E27FC236}">
                  <a16:creationId xmlns:a16="http://schemas.microsoft.com/office/drawing/2014/main" id="{B9C9E5DE-3C51-6E4D-AE47-AF7EBD025D18}"/>
                </a:ext>
              </a:extLst>
            </p:cNvPr>
            <p:cNvCxnSpPr/>
            <p:nvPr/>
          </p:nvCxnSpPr>
          <p:spPr>
            <a:xfrm flipH="1">
              <a:off x="4180543" y="1206610"/>
              <a:ext cx="5824" cy="457711"/>
            </a:xfrm>
            <a:prstGeom prst="straightConnector1">
              <a:avLst/>
            </a:prstGeom>
            <a:noFill/>
            <a:ln w="25400" cap="flat" cmpd="sng" algn="ctr">
              <a:solidFill>
                <a:srgbClr val="C00000"/>
              </a:solidFill>
              <a:prstDash val="solid"/>
              <a:headEnd type="none"/>
              <a:tailEnd type="arrow"/>
            </a:ln>
            <a:effectLst/>
          </p:spPr>
        </p:cxnSp>
      </p:grpSp>
      <p:sp>
        <p:nvSpPr>
          <p:cNvPr id="104" name="Rectangle 103">
            <a:extLst>
              <a:ext uri="{FF2B5EF4-FFF2-40B4-BE49-F238E27FC236}">
                <a16:creationId xmlns:a16="http://schemas.microsoft.com/office/drawing/2014/main" id="{5A1BB28E-09CC-634A-BA0E-36C03F08A24B}"/>
              </a:ext>
            </a:extLst>
          </p:cNvPr>
          <p:cNvSpPr/>
          <p:nvPr/>
        </p:nvSpPr>
        <p:spPr>
          <a:xfrm>
            <a:off x="3285639" y="3382113"/>
            <a:ext cx="10766375" cy="4085488"/>
          </a:xfrm>
          <a:prstGeom prst="rect">
            <a:avLst/>
          </a:prstGeom>
          <a:noFill/>
          <a:ln w="57150">
            <a:solidFill>
              <a:srgbClr val="90F50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200"/>
          </a:p>
        </p:txBody>
      </p:sp>
      <p:sp>
        <p:nvSpPr>
          <p:cNvPr id="105" name="TextBox 104">
            <a:extLst>
              <a:ext uri="{FF2B5EF4-FFF2-40B4-BE49-F238E27FC236}">
                <a16:creationId xmlns:a16="http://schemas.microsoft.com/office/drawing/2014/main" id="{3A723FE3-57C1-4B4F-B95F-A8263E8CDF17}"/>
              </a:ext>
            </a:extLst>
          </p:cNvPr>
          <p:cNvSpPr txBox="1"/>
          <p:nvPr/>
        </p:nvSpPr>
        <p:spPr>
          <a:xfrm>
            <a:off x="7665123" y="4778052"/>
            <a:ext cx="1540411" cy="666977"/>
          </a:xfrm>
          <a:prstGeom prst="rect">
            <a:avLst/>
          </a:prstGeom>
          <a:noFill/>
        </p:spPr>
        <p:txBody>
          <a:bodyPr wrap="square" rtlCol="0">
            <a:spAutoFit/>
          </a:bodyPr>
          <a:lstStyle/>
          <a:p>
            <a:pPr algn="ctr"/>
            <a:r>
              <a:rPr lang="en-US" sz="1867" b="1" dirty="0">
                <a:solidFill>
                  <a:srgbClr val="90F502"/>
                </a:solidFill>
                <a:latin typeface="Century Gothic"/>
                <a:cs typeface="Century Gothic"/>
              </a:rPr>
              <a:t>Unified ICT Backbone</a:t>
            </a:r>
          </a:p>
        </p:txBody>
      </p:sp>
      <p:pic>
        <p:nvPicPr>
          <p:cNvPr id="106" name="Picture 2">
            <a:extLst>
              <a:ext uri="{FF2B5EF4-FFF2-40B4-BE49-F238E27FC236}">
                <a16:creationId xmlns:a16="http://schemas.microsoft.com/office/drawing/2014/main" id="{459CDB6B-5A78-A24C-92BE-73100BC35D3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07664" y="7627825"/>
            <a:ext cx="2454646" cy="1516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6694289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66385" y="301474"/>
            <a:ext cx="10043721" cy="1241852"/>
          </a:xfrm>
        </p:spPr>
        <p:txBody>
          <a:bodyPr/>
          <a:lstStyle/>
          <a:p>
            <a:r>
              <a:rPr lang="en-IN" dirty="0"/>
              <a:t>Smart City Platform</a:t>
            </a:r>
            <a:br>
              <a:rPr lang="en-IN" dirty="0"/>
            </a:br>
            <a:r>
              <a:rPr lang="en-IN" dirty="0"/>
              <a:t>				</a:t>
            </a:r>
            <a:r>
              <a:rPr lang="en-IN" dirty="0">
                <a:solidFill>
                  <a:srgbClr val="FFFF00"/>
                </a:solidFill>
              </a:rPr>
              <a:t>Key Micro Services </a:t>
            </a:r>
            <a:endParaRPr lang="en-US" dirty="0">
              <a:solidFill>
                <a:srgbClr val="FFFF00"/>
              </a:solidFill>
            </a:endParaRPr>
          </a:p>
        </p:txBody>
      </p:sp>
      <p:sp>
        <p:nvSpPr>
          <p:cNvPr id="12" name="TextBox 11"/>
          <p:cNvSpPr txBox="1"/>
          <p:nvPr/>
        </p:nvSpPr>
        <p:spPr>
          <a:xfrm>
            <a:off x="4874028" y="8116772"/>
            <a:ext cx="9435596" cy="523220"/>
          </a:xfrm>
          <a:prstGeom prst="rect">
            <a:avLst/>
          </a:prstGeom>
          <a:noFill/>
        </p:spPr>
        <p:txBody>
          <a:bodyPr wrap="none" rtlCol="0">
            <a:spAutoFit/>
          </a:bodyPr>
          <a:lstStyle/>
          <a:p>
            <a:r>
              <a:rPr lang="en-IN" sz="2800" b="1" dirty="0">
                <a:solidFill>
                  <a:srgbClr val="FFFF00"/>
                </a:solidFill>
              </a:rPr>
              <a:t>ICT Standardization to leverage from existing standards efforts</a:t>
            </a:r>
            <a:endParaRPr lang="en-US" sz="2800" b="1" dirty="0">
              <a:solidFill>
                <a:srgbClr val="FFFF00"/>
              </a:solidFill>
            </a:endParaRPr>
          </a:p>
        </p:txBody>
      </p:sp>
      <p:sp>
        <p:nvSpPr>
          <p:cNvPr id="9" name="TextBox 8">
            <a:extLst>
              <a:ext uri="{FF2B5EF4-FFF2-40B4-BE49-F238E27FC236}">
                <a16:creationId xmlns:a16="http://schemas.microsoft.com/office/drawing/2014/main" id="{287DD1EA-F336-8946-B8B4-2D58174F3D20}"/>
              </a:ext>
            </a:extLst>
          </p:cNvPr>
          <p:cNvSpPr txBox="1"/>
          <p:nvPr/>
        </p:nvSpPr>
        <p:spPr>
          <a:xfrm>
            <a:off x="1528733" y="1635179"/>
            <a:ext cx="13639800" cy="6573446"/>
          </a:xfrm>
          <a:prstGeom prst="rect">
            <a:avLst/>
          </a:prstGeom>
          <a:solidFill>
            <a:srgbClr val="D0EDF6"/>
          </a:solidFill>
        </p:spPr>
        <p:txBody>
          <a:bodyPr wrap="square" rtlCol="0">
            <a:spAutoFit/>
          </a:bodyPr>
          <a:lstStyle/>
          <a:p>
            <a:endParaRPr lang="en-US" dirty="0"/>
          </a:p>
        </p:txBody>
      </p:sp>
      <p:grpSp>
        <p:nvGrpSpPr>
          <p:cNvPr id="16" name="Group 15">
            <a:extLst>
              <a:ext uri="{FF2B5EF4-FFF2-40B4-BE49-F238E27FC236}">
                <a16:creationId xmlns:a16="http://schemas.microsoft.com/office/drawing/2014/main" id="{1D21A194-2520-C94B-9EEC-C1028E2700FB}"/>
              </a:ext>
            </a:extLst>
          </p:cNvPr>
          <p:cNvGrpSpPr/>
          <p:nvPr/>
        </p:nvGrpSpPr>
        <p:grpSpPr>
          <a:xfrm>
            <a:off x="2000145" y="1719466"/>
            <a:ext cx="12166036" cy="6507548"/>
            <a:chOff x="2000145" y="1719466"/>
            <a:chExt cx="12166036" cy="6507548"/>
          </a:xfrm>
        </p:grpSpPr>
        <p:sp>
          <p:nvSpPr>
            <p:cNvPr id="14" name="Rectangle 13"/>
            <p:cNvSpPr/>
            <p:nvPr/>
          </p:nvSpPr>
          <p:spPr bwMode="auto">
            <a:xfrm>
              <a:off x="3700379" y="1719466"/>
              <a:ext cx="9518316" cy="487041"/>
            </a:xfrm>
            <a:prstGeom prst="rect">
              <a:avLst/>
            </a:prstGeom>
            <a:solidFill>
              <a:srgbClr val="FFFFBD"/>
            </a:solidFill>
            <a:ln w="9525" cap="flat" cmpd="sng" algn="ctr">
              <a:solidFill>
                <a:schemeClr val="tx1"/>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US" sz="3600" b="1" dirty="0">
                <a:latin typeface="Times" pitchFamily="18" charset="0"/>
              </a:endParaRPr>
            </a:p>
          </p:txBody>
        </p:sp>
        <p:sp>
          <p:nvSpPr>
            <p:cNvPr id="84" name="Rectangle 83"/>
            <p:cNvSpPr/>
            <p:nvPr/>
          </p:nvSpPr>
          <p:spPr bwMode="auto">
            <a:xfrm>
              <a:off x="2669040" y="3791946"/>
              <a:ext cx="3409856" cy="3962647"/>
            </a:xfrm>
            <a:prstGeom prst="rect">
              <a:avLst/>
            </a:prstGeom>
            <a:solidFill>
              <a:srgbClr val="B9EDFF"/>
            </a:solidFill>
            <a:ln w="9525" cap="flat" cmpd="sng" algn="ctr">
              <a:solidFill>
                <a:schemeClr val="bg2">
                  <a:lumMod val="20000"/>
                  <a:lumOff val="80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US" sz="3600" b="1" dirty="0">
                <a:latin typeface="Times" pitchFamily="18" charset="0"/>
              </a:endParaRPr>
            </a:p>
          </p:txBody>
        </p:sp>
        <p:sp>
          <p:nvSpPr>
            <p:cNvPr id="2" name="Rectangle 1"/>
            <p:cNvSpPr/>
            <p:nvPr/>
          </p:nvSpPr>
          <p:spPr bwMode="auto">
            <a:xfrm>
              <a:off x="7678798" y="3813826"/>
              <a:ext cx="6452513" cy="3885585"/>
            </a:xfrm>
            <a:prstGeom prst="rect">
              <a:avLst/>
            </a:prstGeom>
            <a:solidFill>
              <a:schemeClr val="bg2">
                <a:lumMod val="20000"/>
                <a:lumOff val="80000"/>
              </a:schemeClr>
            </a:solidFill>
            <a:ln w="9525" cap="flat" cmpd="sng" algn="ctr">
              <a:solidFill>
                <a:schemeClr val="bg2">
                  <a:lumMod val="20000"/>
                  <a:lumOff val="80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defTabSz="1219170" eaLnBrk="0" fontAlgn="base" hangingPunct="0">
                <a:spcBef>
                  <a:spcPct val="0"/>
                </a:spcBef>
                <a:spcAft>
                  <a:spcPct val="0"/>
                </a:spcAft>
              </a:pPr>
              <a:endParaRPr lang="en-US" sz="3600" b="1" dirty="0">
                <a:latin typeface="Times" pitchFamily="18" charset="0"/>
              </a:endParaRPr>
            </a:p>
          </p:txBody>
        </p:sp>
        <p:sp>
          <p:nvSpPr>
            <p:cNvPr id="149" name="Rounded Rectangle 148"/>
            <p:cNvSpPr/>
            <p:nvPr/>
          </p:nvSpPr>
          <p:spPr>
            <a:xfrm>
              <a:off x="6405035" y="3975375"/>
              <a:ext cx="714787" cy="520896"/>
            </a:xfrm>
            <a:prstGeom prst="roundRect">
              <a:avLst/>
            </a:prstGeom>
            <a:solidFill>
              <a:schemeClr val="accent2">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sp>
          <p:nvSpPr>
            <p:cNvPr id="97" name="Rounded Rectangle 96"/>
            <p:cNvSpPr/>
            <p:nvPr/>
          </p:nvSpPr>
          <p:spPr>
            <a:xfrm>
              <a:off x="4561339" y="2860020"/>
              <a:ext cx="8083123" cy="420801"/>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400" b="1" dirty="0">
                <a:solidFill>
                  <a:prstClr val="white"/>
                </a:solidFill>
              </a:endParaRPr>
            </a:p>
          </p:txBody>
        </p:sp>
        <p:sp>
          <p:nvSpPr>
            <p:cNvPr id="94" name="Rounded Rectangle 93"/>
            <p:cNvSpPr/>
            <p:nvPr/>
          </p:nvSpPr>
          <p:spPr>
            <a:xfrm>
              <a:off x="4662941" y="2910820"/>
              <a:ext cx="8116545" cy="420801"/>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r>
                <a:rPr lang="en-US" sz="2400" b="1" dirty="0">
                  <a:solidFill>
                    <a:prstClr val="white"/>
                  </a:solidFill>
                </a:rPr>
                <a:t>Service Mesh (Orchestration)</a:t>
              </a:r>
            </a:p>
          </p:txBody>
        </p:sp>
        <p:sp>
          <p:nvSpPr>
            <p:cNvPr id="100" name="Rounded Rectangle 99"/>
            <p:cNvSpPr/>
            <p:nvPr/>
          </p:nvSpPr>
          <p:spPr>
            <a:xfrm>
              <a:off x="3272633" y="4014729"/>
              <a:ext cx="714787" cy="520896"/>
            </a:xfrm>
            <a:prstGeom prst="roundRect">
              <a:avLst/>
            </a:prstGeom>
            <a:solidFill>
              <a:srgbClr val="7F6D00">
                <a:alpha val="85098"/>
              </a:srgb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pic>
          <p:nvPicPr>
            <p:cNvPr id="104" name="Picture 4"/>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l="2" t="6758" r="19825" b="6537"/>
            <a:stretch/>
          </p:blipFill>
          <p:spPr bwMode="auto">
            <a:xfrm>
              <a:off x="3385405" y="4085031"/>
              <a:ext cx="483167" cy="406048"/>
            </a:xfrm>
            <a:prstGeom prst="rect">
              <a:avLst/>
            </a:prstGeom>
            <a:noFill/>
            <a:ln>
              <a:noFill/>
            </a:ln>
          </p:spPr>
        </p:pic>
        <p:sp>
          <p:nvSpPr>
            <p:cNvPr id="108" name="Rounded Rectangle 107"/>
            <p:cNvSpPr/>
            <p:nvPr/>
          </p:nvSpPr>
          <p:spPr>
            <a:xfrm>
              <a:off x="4561339" y="3349255"/>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110" name="Rounded Rectangle 109"/>
            <p:cNvSpPr/>
            <p:nvPr/>
          </p:nvSpPr>
          <p:spPr>
            <a:xfrm>
              <a:off x="4866139" y="3349255"/>
              <a:ext cx="284780" cy="278979"/>
            </a:xfrm>
            <a:prstGeom prst="roundRect">
              <a:avLst/>
            </a:prstGeom>
            <a:solidFill>
              <a:srgbClr val="7F6D00">
                <a:alpha val="85098"/>
              </a:srgb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113" name="Rectangle 112"/>
            <p:cNvSpPr/>
            <p:nvPr/>
          </p:nvSpPr>
          <p:spPr>
            <a:xfrm>
              <a:off x="3007456" y="4651345"/>
              <a:ext cx="1306427" cy="2570185"/>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sp>
          <p:nvSpPr>
            <p:cNvPr id="114" name="Rounded Rectangle 113"/>
            <p:cNvSpPr/>
            <p:nvPr/>
          </p:nvSpPr>
          <p:spPr>
            <a:xfrm>
              <a:off x="5170979" y="3349255"/>
              <a:ext cx="284780" cy="278979"/>
            </a:xfrm>
            <a:prstGeom prst="roundRect">
              <a:avLst/>
            </a:prstGeom>
            <a:solidFill>
              <a:srgbClr val="7F6D00">
                <a:alpha val="85098"/>
              </a:srgb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cxnSp>
          <p:nvCxnSpPr>
            <p:cNvPr id="6" name="Straight Connector 5"/>
            <p:cNvCxnSpPr/>
            <p:nvPr/>
          </p:nvCxnSpPr>
          <p:spPr>
            <a:xfrm>
              <a:off x="2061336" y="3693796"/>
              <a:ext cx="12104845" cy="0"/>
            </a:xfrm>
            <a:prstGeom prst="line">
              <a:avLst/>
            </a:prstGeom>
            <a:ln>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2982968" y="3749354"/>
              <a:ext cx="1204176" cy="307777"/>
            </a:xfrm>
            <a:prstGeom prst="rect">
              <a:avLst/>
            </a:prstGeom>
          </p:spPr>
          <p:txBody>
            <a:bodyPr wrap="none">
              <a:spAutoFit/>
            </a:bodyPr>
            <a:lstStyle/>
            <a:p>
              <a:pPr algn="ctr" defTabSz="609555"/>
              <a:r>
                <a:rPr lang="en-US" sz="1400" b="1" dirty="0"/>
                <a:t>Identity Layer</a:t>
              </a:r>
            </a:p>
          </p:txBody>
        </p:sp>
        <p:pic>
          <p:nvPicPr>
            <p:cNvPr id="147" name="Picture 146"/>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gray">
            <a:xfrm>
              <a:off x="6653473" y="4205580"/>
              <a:ext cx="313769" cy="131507"/>
            </a:xfrm>
            <a:prstGeom prst="rect">
              <a:avLst/>
            </a:prstGeom>
          </p:spPr>
        </p:pic>
        <p:pic>
          <p:nvPicPr>
            <p:cNvPr id="151" name="Picture 15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gray">
            <a:xfrm>
              <a:off x="6496588" y="4074073"/>
              <a:ext cx="313769" cy="131507"/>
            </a:xfrm>
            <a:prstGeom prst="rect">
              <a:avLst/>
            </a:prstGeom>
          </p:spPr>
        </p:pic>
        <p:pic>
          <p:nvPicPr>
            <p:cNvPr id="153" name="Picture 15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gray">
            <a:xfrm>
              <a:off x="6494613" y="4345223"/>
              <a:ext cx="313769" cy="131507"/>
            </a:xfrm>
            <a:prstGeom prst="rect">
              <a:avLst/>
            </a:prstGeom>
          </p:spPr>
        </p:pic>
        <p:sp>
          <p:nvSpPr>
            <p:cNvPr id="167" name="Rectangle 166"/>
            <p:cNvSpPr/>
            <p:nvPr/>
          </p:nvSpPr>
          <p:spPr>
            <a:xfrm>
              <a:off x="6178268" y="3719854"/>
              <a:ext cx="1151277" cy="307777"/>
            </a:xfrm>
            <a:prstGeom prst="rect">
              <a:avLst/>
            </a:prstGeom>
          </p:spPr>
          <p:txBody>
            <a:bodyPr wrap="none">
              <a:spAutoFit/>
            </a:bodyPr>
            <a:lstStyle/>
            <a:p>
              <a:pPr algn="ctr" defTabSz="609555"/>
              <a:r>
                <a:rPr lang="en-US" sz="1400" b="1" dirty="0"/>
                <a:t>Device Layer.</a:t>
              </a:r>
            </a:p>
          </p:txBody>
        </p:sp>
        <p:cxnSp>
          <p:nvCxnSpPr>
            <p:cNvPr id="10" name="Straight Arrow Connector 9"/>
            <p:cNvCxnSpPr/>
            <p:nvPr/>
          </p:nvCxnSpPr>
          <p:spPr>
            <a:xfrm flipV="1">
              <a:off x="2220392" y="3501653"/>
              <a:ext cx="2252688" cy="7671"/>
            </a:xfrm>
            <a:prstGeom prst="straightConnector1">
              <a:avLst/>
            </a:prstGeom>
            <a:ln>
              <a:solidFill>
                <a:schemeClr val="accent4">
                  <a:lumMod val="75000"/>
                </a:schemeClr>
              </a:solidFill>
              <a:prstDash val="sysDash"/>
              <a:tailEnd type="none"/>
            </a:ln>
            <a:effectLst/>
          </p:spPr>
          <p:style>
            <a:lnRef idx="2">
              <a:schemeClr val="accent1"/>
            </a:lnRef>
            <a:fillRef idx="0">
              <a:schemeClr val="accent1"/>
            </a:fillRef>
            <a:effectRef idx="1">
              <a:schemeClr val="accent1"/>
            </a:effectRef>
            <a:fontRef idx="minor">
              <a:schemeClr val="tx1"/>
            </a:fontRef>
          </p:style>
        </p:cxnSp>
        <p:cxnSp>
          <p:nvCxnSpPr>
            <p:cNvPr id="168" name="Straight Arrow Connector 167"/>
            <p:cNvCxnSpPr/>
            <p:nvPr/>
          </p:nvCxnSpPr>
          <p:spPr>
            <a:xfrm>
              <a:off x="2220392" y="3121219"/>
              <a:ext cx="2252688" cy="0"/>
            </a:xfrm>
            <a:prstGeom prst="straightConnector1">
              <a:avLst/>
            </a:prstGeom>
            <a:ln>
              <a:solidFill>
                <a:schemeClr val="accent4">
                  <a:lumMod val="75000"/>
                </a:schemeClr>
              </a:solidFill>
              <a:prstDash val="sysDash"/>
              <a:tailEnd type="none"/>
            </a:ln>
            <a:effectLst/>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2191057" y="2824198"/>
              <a:ext cx="2435282" cy="307777"/>
            </a:xfrm>
            <a:prstGeom prst="rect">
              <a:avLst/>
            </a:prstGeom>
            <a:noFill/>
          </p:spPr>
          <p:txBody>
            <a:bodyPr wrap="none" rtlCol="0">
              <a:spAutoFit/>
            </a:bodyPr>
            <a:lstStyle/>
            <a:p>
              <a:r>
                <a:rPr lang="en-US" sz="1400" b="1" dirty="0">
                  <a:solidFill>
                    <a:schemeClr val="tx2"/>
                  </a:solidFill>
                  <a:cs typeface="Neo Sans Intel"/>
                </a:rPr>
                <a:t>SOM: Coordination of services</a:t>
              </a:r>
            </a:p>
          </p:txBody>
        </p:sp>
        <p:sp>
          <p:nvSpPr>
            <p:cNvPr id="169" name="TextBox 168"/>
            <p:cNvSpPr txBox="1"/>
            <p:nvPr/>
          </p:nvSpPr>
          <p:spPr>
            <a:xfrm>
              <a:off x="2159410" y="3232325"/>
              <a:ext cx="1824538" cy="307777"/>
            </a:xfrm>
            <a:prstGeom prst="rect">
              <a:avLst/>
            </a:prstGeom>
            <a:noFill/>
          </p:spPr>
          <p:txBody>
            <a:bodyPr wrap="none" rtlCol="0">
              <a:spAutoFit/>
            </a:bodyPr>
            <a:lstStyle/>
            <a:p>
              <a:r>
                <a:rPr lang="en-US" sz="1400" b="1" dirty="0">
                  <a:solidFill>
                    <a:schemeClr val="tx2"/>
                  </a:solidFill>
                  <a:cs typeface="Neo Sans Intel"/>
                </a:rPr>
                <a:t>Adapters : Plug-n-Play</a:t>
              </a:r>
            </a:p>
          </p:txBody>
        </p:sp>
        <p:sp>
          <p:nvSpPr>
            <p:cNvPr id="197" name="TextBox 196"/>
            <p:cNvSpPr txBox="1"/>
            <p:nvPr/>
          </p:nvSpPr>
          <p:spPr>
            <a:xfrm>
              <a:off x="7271412" y="7703794"/>
              <a:ext cx="3345261" cy="523220"/>
            </a:xfrm>
            <a:prstGeom prst="rect">
              <a:avLst/>
            </a:prstGeom>
            <a:noFill/>
          </p:spPr>
          <p:txBody>
            <a:bodyPr wrap="square" rtlCol="0">
              <a:spAutoFit/>
            </a:bodyPr>
            <a:lstStyle/>
            <a:p>
              <a:r>
                <a:rPr lang="en-US" sz="1400" b="1" dirty="0">
                  <a:solidFill>
                    <a:schemeClr val="tx2"/>
                  </a:solidFill>
                  <a:cs typeface="Neo Sans Intel"/>
                </a:rPr>
                <a:t>Platform Services for Smart City as a Service</a:t>
              </a:r>
            </a:p>
          </p:txBody>
        </p:sp>
        <p:cxnSp>
          <p:nvCxnSpPr>
            <p:cNvPr id="198" name="Straight Arrow Connector 197"/>
            <p:cNvCxnSpPr/>
            <p:nvPr/>
          </p:nvCxnSpPr>
          <p:spPr>
            <a:xfrm>
              <a:off x="2082887" y="7597875"/>
              <a:ext cx="1502168" cy="0"/>
            </a:xfrm>
            <a:prstGeom prst="straightConnector1">
              <a:avLst/>
            </a:prstGeom>
            <a:ln>
              <a:solidFill>
                <a:schemeClr val="accent4">
                  <a:lumMod val="75000"/>
                </a:schemeClr>
              </a:solidFill>
              <a:prstDash val="sysDash"/>
              <a:tailEnd type="none"/>
            </a:ln>
            <a:effectLst/>
          </p:spPr>
          <p:style>
            <a:lnRef idx="2">
              <a:schemeClr val="accent1"/>
            </a:lnRef>
            <a:fillRef idx="0">
              <a:schemeClr val="accent1"/>
            </a:fillRef>
            <a:effectRef idx="1">
              <a:schemeClr val="accent1"/>
            </a:effectRef>
            <a:fontRef idx="minor">
              <a:schemeClr val="tx1"/>
            </a:fontRef>
          </p:style>
        </p:cxnSp>
        <p:sp>
          <p:nvSpPr>
            <p:cNvPr id="199" name="TextBox 198"/>
            <p:cNvSpPr txBox="1"/>
            <p:nvPr/>
          </p:nvSpPr>
          <p:spPr>
            <a:xfrm>
              <a:off x="2000145" y="7298454"/>
              <a:ext cx="1180003" cy="307777"/>
            </a:xfrm>
            <a:prstGeom prst="rect">
              <a:avLst/>
            </a:prstGeom>
            <a:noFill/>
          </p:spPr>
          <p:txBody>
            <a:bodyPr wrap="none" rtlCol="0">
              <a:spAutoFit/>
            </a:bodyPr>
            <a:lstStyle/>
            <a:p>
              <a:r>
                <a:rPr lang="en-US" sz="1400" b="1" dirty="0">
                  <a:solidFill>
                    <a:schemeClr val="tx2"/>
                  </a:solidFill>
                  <a:cs typeface="Neo Sans Intel"/>
                </a:rPr>
                <a:t>Infra Services</a:t>
              </a:r>
            </a:p>
          </p:txBody>
        </p:sp>
        <p:sp>
          <p:nvSpPr>
            <p:cNvPr id="200" name="Rounded Rectangle 199"/>
            <p:cNvSpPr/>
            <p:nvPr/>
          </p:nvSpPr>
          <p:spPr>
            <a:xfrm>
              <a:off x="5957491" y="3349253"/>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01" name="Rounded Rectangle 200"/>
            <p:cNvSpPr/>
            <p:nvPr/>
          </p:nvSpPr>
          <p:spPr>
            <a:xfrm>
              <a:off x="6262291" y="3349253"/>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07" name="Rounded Rectangle 206"/>
            <p:cNvSpPr/>
            <p:nvPr/>
          </p:nvSpPr>
          <p:spPr>
            <a:xfrm>
              <a:off x="6567131" y="3349253"/>
              <a:ext cx="284780" cy="278979"/>
            </a:xfrm>
            <a:prstGeom prst="roundRect">
              <a:avLst/>
            </a:prstGeom>
            <a:solidFill>
              <a:schemeClr val="accent2">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08" name="Rounded Rectangle 207"/>
            <p:cNvSpPr/>
            <p:nvPr/>
          </p:nvSpPr>
          <p:spPr>
            <a:xfrm>
              <a:off x="5479633" y="3349711"/>
              <a:ext cx="284780" cy="278979"/>
            </a:xfrm>
            <a:prstGeom prst="roundRect">
              <a:avLst/>
            </a:prstGeom>
            <a:solidFill>
              <a:srgbClr val="7F6D00">
                <a:alpha val="85098"/>
              </a:srgb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18" name="Rounded Rectangle 217"/>
            <p:cNvSpPr/>
            <p:nvPr/>
          </p:nvSpPr>
          <p:spPr>
            <a:xfrm>
              <a:off x="9674075" y="3980384"/>
              <a:ext cx="714787" cy="520896"/>
            </a:xfrm>
            <a:prstGeom prst="roundRect">
              <a:avLst/>
            </a:prstGeom>
            <a:solidFill>
              <a:srgbClr val="C00000">
                <a:alpha val="85098"/>
              </a:srgb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sp>
          <p:nvSpPr>
            <p:cNvPr id="222" name="Rectangle 221"/>
            <p:cNvSpPr/>
            <p:nvPr/>
          </p:nvSpPr>
          <p:spPr>
            <a:xfrm>
              <a:off x="9475946" y="3722618"/>
              <a:ext cx="971741" cy="307777"/>
            </a:xfrm>
            <a:prstGeom prst="rect">
              <a:avLst/>
            </a:prstGeom>
          </p:spPr>
          <p:txBody>
            <a:bodyPr wrap="none">
              <a:spAutoFit/>
            </a:bodyPr>
            <a:lstStyle/>
            <a:p>
              <a:pPr algn="ctr" defTabSz="609555"/>
              <a:r>
                <a:rPr lang="en-US" sz="1400" b="1" dirty="0"/>
                <a:t>Data Layer</a:t>
              </a:r>
            </a:p>
          </p:txBody>
        </p:sp>
        <p:sp>
          <p:nvSpPr>
            <p:cNvPr id="226" name="Rounded Rectangle 225"/>
            <p:cNvSpPr/>
            <p:nvPr/>
          </p:nvSpPr>
          <p:spPr>
            <a:xfrm>
              <a:off x="7469203" y="3362163"/>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27" name="Rounded Rectangle 226"/>
            <p:cNvSpPr/>
            <p:nvPr/>
          </p:nvSpPr>
          <p:spPr>
            <a:xfrm>
              <a:off x="7774003" y="3362163"/>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28" name="Rounded Rectangle 227"/>
            <p:cNvSpPr/>
            <p:nvPr/>
          </p:nvSpPr>
          <p:spPr>
            <a:xfrm>
              <a:off x="8063853" y="3362163"/>
              <a:ext cx="284780" cy="278979"/>
            </a:xfrm>
            <a:prstGeom prst="roundRect">
              <a:avLst/>
            </a:prstGeom>
            <a:solidFill>
              <a:srgbClr val="C00000">
                <a:alpha val="85098"/>
              </a:srgb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41" name="Rounded Rectangle 240"/>
            <p:cNvSpPr/>
            <p:nvPr/>
          </p:nvSpPr>
          <p:spPr>
            <a:xfrm>
              <a:off x="4740547" y="4006777"/>
              <a:ext cx="714787" cy="520896"/>
            </a:xfrm>
            <a:prstGeom prst="roundRect">
              <a:avLst/>
            </a:prstGeom>
            <a:solidFill>
              <a:schemeClr val="accent5">
                <a:lumMod val="7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sp>
          <p:nvSpPr>
            <p:cNvPr id="248" name="Rounded Rectangle 247"/>
            <p:cNvSpPr/>
            <p:nvPr/>
          </p:nvSpPr>
          <p:spPr>
            <a:xfrm>
              <a:off x="8905526" y="3363199"/>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49" name="Rounded Rectangle 248"/>
            <p:cNvSpPr/>
            <p:nvPr/>
          </p:nvSpPr>
          <p:spPr>
            <a:xfrm>
              <a:off x="9210326" y="3363199"/>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52" name="Rounded Rectangle 251"/>
            <p:cNvSpPr/>
            <p:nvPr/>
          </p:nvSpPr>
          <p:spPr>
            <a:xfrm>
              <a:off x="9515166" y="3363199"/>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53" name="Rectangle 252"/>
            <p:cNvSpPr/>
            <p:nvPr/>
          </p:nvSpPr>
          <p:spPr>
            <a:xfrm>
              <a:off x="4143066" y="3739815"/>
              <a:ext cx="1856598" cy="307777"/>
            </a:xfrm>
            <a:prstGeom prst="rect">
              <a:avLst/>
            </a:prstGeom>
          </p:spPr>
          <p:txBody>
            <a:bodyPr wrap="none">
              <a:spAutoFit/>
            </a:bodyPr>
            <a:lstStyle/>
            <a:p>
              <a:pPr algn="ctr" defTabSz="609555"/>
              <a:r>
                <a:rPr lang="en-US" sz="1400" b="1" dirty="0"/>
                <a:t>Partner &amp; Policy Layer.</a:t>
              </a:r>
            </a:p>
          </p:txBody>
        </p:sp>
        <p:sp>
          <p:nvSpPr>
            <p:cNvPr id="265" name="Rounded Rectangle 264"/>
            <p:cNvSpPr/>
            <p:nvPr/>
          </p:nvSpPr>
          <p:spPr>
            <a:xfrm>
              <a:off x="11156871" y="3995520"/>
              <a:ext cx="714787" cy="520896"/>
            </a:xfrm>
            <a:prstGeom prst="roundRect">
              <a:avLst/>
            </a:prstGeom>
            <a:solidFill>
              <a:schemeClr val="accent6">
                <a:lumMod val="7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sp>
          <p:nvSpPr>
            <p:cNvPr id="266" name="Rounded Rectangle 265"/>
            <p:cNvSpPr/>
            <p:nvPr/>
          </p:nvSpPr>
          <p:spPr>
            <a:xfrm>
              <a:off x="10658103" y="3362163"/>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67" name="Rounded Rectangle 266"/>
            <p:cNvSpPr/>
            <p:nvPr/>
          </p:nvSpPr>
          <p:spPr>
            <a:xfrm>
              <a:off x="10951614" y="3362163"/>
              <a:ext cx="284780" cy="278979"/>
            </a:xfrm>
            <a:prstGeom prst="roundRect">
              <a:avLst/>
            </a:prstGeom>
            <a:solidFill>
              <a:schemeClr val="accent6">
                <a:lumMod val="7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69" name="Rectangle 268"/>
            <p:cNvSpPr/>
            <p:nvPr/>
          </p:nvSpPr>
          <p:spPr>
            <a:xfrm>
              <a:off x="10640050" y="3749947"/>
              <a:ext cx="1742785" cy="307777"/>
            </a:xfrm>
            <a:prstGeom prst="rect">
              <a:avLst/>
            </a:prstGeom>
            <a:noFill/>
          </p:spPr>
          <p:txBody>
            <a:bodyPr wrap="none">
              <a:spAutoFit/>
            </a:bodyPr>
            <a:lstStyle/>
            <a:p>
              <a:pPr algn="ctr" defTabSz="609555"/>
              <a:r>
                <a:rPr lang="en-US" sz="1400" b="1" dirty="0"/>
                <a:t>Data Workflow Layer</a:t>
              </a:r>
            </a:p>
          </p:txBody>
        </p:sp>
        <p:sp>
          <p:nvSpPr>
            <p:cNvPr id="280" name="Rounded Rectangle 279"/>
            <p:cNvSpPr/>
            <p:nvPr/>
          </p:nvSpPr>
          <p:spPr>
            <a:xfrm>
              <a:off x="12646203" y="4005439"/>
              <a:ext cx="714787" cy="520896"/>
            </a:xfrm>
            <a:prstGeom prst="roundRect">
              <a:avLst/>
            </a:prstGeom>
            <a:solidFill>
              <a:srgbClr val="D2B40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sp>
          <p:nvSpPr>
            <p:cNvPr id="281" name="Rounded Rectangle 280"/>
            <p:cNvSpPr/>
            <p:nvPr/>
          </p:nvSpPr>
          <p:spPr>
            <a:xfrm>
              <a:off x="11920526" y="3361387"/>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82" name="Rounded Rectangle 281"/>
            <p:cNvSpPr/>
            <p:nvPr/>
          </p:nvSpPr>
          <p:spPr>
            <a:xfrm>
              <a:off x="12225326" y="3361387"/>
              <a:ext cx="284780" cy="278979"/>
            </a:xfrm>
            <a:prstGeom prst="roundRect">
              <a:avLst/>
            </a:prstGeom>
            <a:solidFill>
              <a:srgbClr val="D2B40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a:solidFill>
                  <a:prstClr val="white"/>
                </a:solidFill>
              </a:endParaRPr>
            </a:p>
          </p:txBody>
        </p:sp>
        <p:sp>
          <p:nvSpPr>
            <p:cNvPr id="284" name="Rectangle 283"/>
            <p:cNvSpPr/>
            <p:nvPr/>
          </p:nvSpPr>
          <p:spPr>
            <a:xfrm>
              <a:off x="12113057" y="3749171"/>
              <a:ext cx="1689886" cy="307777"/>
            </a:xfrm>
            <a:prstGeom prst="rect">
              <a:avLst/>
            </a:prstGeom>
          </p:spPr>
          <p:txBody>
            <a:bodyPr wrap="none">
              <a:spAutoFit/>
            </a:bodyPr>
            <a:lstStyle/>
            <a:p>
              <a:pPr algn="ctr" defTabSz="609555"/>
              <a:r>
                <a:rPr lang="en-US" sz="1400" b="1" dirty="0"/>
                <a:t>Data Analytics Layer</a:t>
              </a:r>
            </a:p>
          </p:txBody>
        </p:sp>
        <p:sp>
          <p:nvSpPr>
            <p:cNvPr id="287" name="Rounded Rectangle 286"/>
            <p:cNvSpPr/>
            <p:nvPr/>
          </p:nvSpPr>
          <p:spPr>
            <a:xfrm>
              <a:off x="9825486" y="3350303"/>
              <a:ext cx="284780" cy="278979"/>
            </a:xfrm>
            <a:prstGeom prst="roundRect">
              <a:avLst/>
            </a:prstGeom>
            <a:solidFill>
              <a:schemeClr val="accent5">
                <a:lumMod val="75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grpSp>
          <p:nvGrpSpPr>
            <p:cNvPr id="19" name="Group 18"/>
            <p:cNvGrpSpPr/>
            <p:nvPr/>
          </p:nvGrpSpPr>
          <p:grpSpPr>
            <a:xfrm>
              <a:off x="11308304" y="4026171"/>
              <a:ext cx="448641" cy="470707"/>
              <a:chOff x="10058663" y="1279008"/>
              <a:chExt cx="485361" cy="600695"/>
            </a:xfrm>
          </p:grpSpPr>
          <p:sp>
            <p:nvSpPr>
              <p:cNvPr id="18" name="Sun 17"/>
              <p:cNvSpPr/>
              <p:nvPr/>
            </p:nvSpPr>
            <p:spPr>
              <a:xfrm>
                <a:off x="10061091" y="1279008"/>
                <a:ext cx="285008" cy="304252"/>
              </a:xfrm>
              <a:prstGeom prst="sun">
                <a:avLst/>
              </a:prstGeom>
              <a:no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sp>
            <p:nvSpPr>
              <p:cNvPr id="288" name="Sun 287"/>
              <p:cNvSpPr/>
              <p:nvPr/>
            </p:nvSpPr>
            <p:spPr>
              <a:xfrm>
                <a:off x="10058663" y="1575451"/>
                <a:ext cx="285008" cy="304252"/>
              </a:xfrm>
              <a:prstGeom prst="sun">
                <a:avLst/>
              </a:prstGeom>
              <a:no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sp>
            <p:nvSpPr>
              <p:cNvPr id="289" name="Sun 288"/>
              <p:cNvSpPr/>
              <p:nvPr/>
            </p:nvSpPr>
            <p:spPr>
              <a:xfrm>
                <a:off x="10259016" y="1441308"/>
                <a:ext cx="285008" cy="304252"/>
              </a:xfrm>
              <a:prstGeom prst="sun">
                <a:avLst/>
              </a:prstGeom>
              <a:noFill/>
              <a:ln>
                <a:solidFill>
                  <a:schemeClr val="tx1">
                    <a:lumMod val="95000"/>
                    <a:lumOff val="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grpSp>
        <p:grpSp>
          <p:nvGrpSpPr>
            <p:cNvPr id="22" name="Group 21"/>
            <p:cNvGrpSpPr/>
            <p:nvPr/>
          </p:nvGrpSpPr>
          <p:grpSpPr>
            <a:xfrm>
              <a:off x="12686693" y="4099476"/>
              <a:ext cx="535688" cy="339370"/>
              <a:chOff x="9974340" y="1400530"/>
              <a:chExt cx="535688" cy="339369"/>
            </a:xfrm>
          </p:grpSpPr>
          <p:sp>
            <p:nvSpPr>
              <p:cNvPr id="21" name="TextBox 20"/>
              <p:cNvSpPr txBox="1"/>
              <p:nvPr/>
            </p:nvSpPr>
            <p:spPr>
              <a:xfrm>
                <a:off x="10024585" y="1442651"/>
                <a:ext cx="420308" cy="276998"/>
              </a:xfrm>
              <a:prstGeom prst="rect">
                <a:avLst/>
              </a:prstGeom>
              <a:noFill/>
            </p:spPr>
            <p:txBody>
              <a:bodyPr wrap="none" rtlCol="0">
                <a:spAutoFit/>
              </a:bodyPr>
              <a:lstStyle/>
              <a:p>
                <a:r>
                  <a:rPr lang="en-US" sz="1200" b="1" dirty="0">
                    <a:solidFill>
                      <a:srgbClr val="00B050"/>
                    </a:solidFill>
                    <a:cs typeface="Neo Sans Intel"/>
                  </a:rPr>
                  <a:t>$$$</a:t>
                </a:r>
              </a:p>
            </p:txBody>
          </p:sp>
          <p:sp>
            <p:nvSpPr>
              <p:cNvPr id="294" name="Cloud 293"/>
              <p:cNvSpPr/>
              <p:nvPr/>
            </p:nvSpPr>
            <p:spPr>
              <a:xfrm>
                <a:off x="9974340" y="1400530"/>
                <a:ext cx="535688" cy="339369"/>
              </a:xfrm>
              <a:prstGeom prst="cloud">
                <a:avLst/>
              </a:prstGeom>
              <a:noFill/>
              <a:ln>
                <a:solidFill>
                  <a:schemeClr val="tx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1" dirty="0">
                  <a:solidFill>
                    <a:schemeClr val="tx1"/>
                  </a:solidFill>
                </a:endParaRPr>
              </a:p>
            </p:txBody>
          </p:sp>
        </p:grpSp>
        <p:sp>
          <p:nvSpPr>
            <p:cNvPr id="296" name="Rounded Rectangle 295"/>
            <p:cNvSpPr/>
            <p:nvPr/>
          </p:nvSpPr>
          <p:spPr>
            <a:xfrm>
              <a:off x="6871931" y="3346963"/>
              <a:ext cx="284780" cy="278979"/>
            </a:xfrm>
            <a:prstGeom prst="roundRect">
              <a:avLst/>
            </a:prstGeom>
            <a:solidFill>
              <a:schemeClr val="accent2">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26" name="Flowchart: Delay 25"/>
            <p:cNvSpPr/>
            <p:nvPr/>
          </p:nvSpPr>
          <p:spPr>
            <a:xfrm>
              <a:off x="9914121" y="4053911"/>
              <a:ext cx="212527" cy="246416"/>
            </a:xfrm>
            <a:prstGeom prst="flowChartDelay">
              <a:avLst/>
            </a:prstGeom>
            <a:noFill/>
            <a:ln w="31750" cmpd="sng">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sp>
          <p:nvSpPr>
            <p:cNvPr id="305" name="Flowchart: Delay 304"/>
            <p:cNvSpPr/>
            <p:nvPr/>
          </p:nvSpPr>
          <p:spPr>
            <a:xfrm>
              <a:off x="9775966" y="4155511"/>
              <a:ext cx="212527" cy="246416"/>
            </a:xfrm>
            <a:prstGeom prst="flowChartDelay">
              <a:avLst/>
            </a:prstGeom>
            <a:noFill/>
            <a:ln w="317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sp>
          <p:nvSpPr>
            <p:cNvPr id="306" name="Flowchart: Delay 305"/>
            <p:cNvSpPr/>
            <p:nvPr/>
          </p:nvSpPr>
          <p:spPr>
            <a:xfrm>
              <a:off x="10056561" y="4159549"/>
              <a:ext cx="212527" cy="246416"/>
            </a:xfrm>
            <a:prstGeom prst="flowChartDelay">
              <a:avLst/>
            </a:prstGeom>
            <a:noFill/>
            <a:ln w="3175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grpSp>
          <p:nvGrpSpPr>
            <p:cNvPr id="33" name="Group 32"/>
            <p:cNvGrpSpPr/>
            <p:nvPr/>
          </p:nvGrpSpPr>
          <p:grpSpPr>
            <a:xfrm>
              <a:off x="4938868" y="4036391"/>
              <a:ext cx="351155" cy="422915"/>
              <a:chOff x="9377856" y="829270"/>
              <a:chExt cx="351154" cy="422914"/>
            </a:xfrm>
          </p:grpSpPr>
          <p:grpSp>
            <p:nvGrpSpPr>
              <p:cNvPr id="31" name="Group 30"/>
              <p:cNvGrpSpPr/>
              <p:nvPr/>
            </p:nvGrpSpPr>
            <p:grpSpPr>
              <a:xfrm>
                <a:off x="9377856" y="829270"/>
                <a:ext cx="351154" cy="422914"/>
                <a:chOff x="9377856" y="868403"/>
                <a:chExt cx="320063" cy="387339"/>
              </a:xfrm>
              <a:solidFill>
                <a:schemeClr val="tx1">
                  <a:lumMod val="65000"/>
                  <a:lumOff val="35000"/>
                </a:schemeClr>
              </a:solidFill>
            </p:grpSpPr>
            <p:sp>
              <p:nvSpPr>
                <p:cNvPr id="28" name="Flowchart: Connector 27"/>
                <p:cNvSpPr/>
                <p:nvPr/>
              </p:nvSpPr>
              <p:spPr>
                <a:xfrm>
                  <a:off x="9416727" y="868403"/>
                  <a:ext cx="238853" cy="167582"/>
                </a:xfrm>
                <a:prstGeom prst="flowChartConnector">
                  <a:avLst/>
                </a:prstGeom>
                <a:grp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sp>
              <p:nvSpPr>
                <p:cNvPr id="29" name="Flowchart: Delay 28"/>
                <p:cNvSpPr/>
                <p:nvPr/>
              </p:nvSpPr>
              <p:spPr>
                <a:xfrm rot="16200000">
                  <a:off x="9425608" y="983430"/>
                  <a:ext cx="224560" cy="320063"/>
                </a:xfrm>
                <a:prstGeom prst="flowChartDelay">
                  <a:avLst/>
                </a:prstGeom>
                <a:grpFill/>
                <a:ln>
                  <a:solidFill>
                    <a:schemeClr val="tx1">
                      <a:lumMod val="65000"/>
                      <a:lumOff val="3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grpSp>
          <p:sp>
            <p:nvSpPr>
              <p:cNvPr id="32" name="Isosceles Triangle 31"/>
              <p:cNvSpPr/>
              <p:nvPr/>
            </p:nvSpPr>
            <p:spPr>
              <a:xfrm rot="10800000">
                <a:off x="9488537" y="1025942"/>
                <a:ext cx="133770" cy="195196"/>
              </a:xfrm>
              <a:prstGeom prst="triangle">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a:p>
            </p:txBody>
          </p:sp>
        </p:grpSp>
        <p:sp>
          <p:nvSpPr>
            <p:cNvPr id="4" name="Pentagon 3"/>
            <p:cNvSpPr/>
            <p:nvPr/>
          </p:nvSpPr>
          <p:spPr>
            <a:xfrm rot="5400000">
              <a:off x="8784334" y="2716777"/>
              <a:ext cx="319420" cy="248964"/>
            </a:xfrm>
            <a:prstGeom prst="homePlate">
              <a:avLst/>
            </a:prstGeom>
            <a:solidFill>
              <a:schemeClr val="bg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a:solidFill>
                  <a:prstClr val="white"/>
                </a:solidFill>
              </a:endParaRPr>
            </a:p>
          </p:txBody>
        </p:sp>
        <p:sp>
          <p:nvSpPr>
            <p:cNvPr id="313" name="Rounded Rectangle 312"/>
            <p:cNvSpPr/>
            <p:nvPr/>
          </p:nvSpPr>
          <p:spPr>
            <a:xfrm>
              <a:off x="10363914" y="3361385"/>
              <a:ext cx="284780" cy="278979"/>
            </a:xfrm>
            <a:prstGeom prst="roundRect">
              <a:avLst/>
            </a:prstGeom>
            <a:solidFill>
              <a:schemeClr val="accent1">
                <a:lumMod val="50000"/>
                <a:alpha val="85098"/>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1400" b="1">
                <a:solidFill>
                  <a:prstClr val="white"/>
                </a:solidFill>
              </a:endParaRPr>
            </a:p>
          </p:txBody>
        </p:sp>
        <p:sp>
          <p:nvSpPr>
            <p:cNvPr id="5" name="Rectangle 4"/>
            <p:cNvSpPr/>
            <p:nvPr/>
          </p:nvSpPr>
          <p:spPr>
            <a:xfrm>
              <a:off x="6198267" y="2264431"/>
              <a:ext cx="5095893" cy="366317"/>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solidFill>
                    <a:schemeClr val="tx1"/>
                  </a:solidFill>
                </a:rPr>
                <a:t>API Management </a:t>
              </a:r>
            </a:p>
          </p:txBody>
        </p:sp>
        <p:sp>
          <p:nvSpPr>
            <p:cNvPr id="8" name="Rectangle 7"/>
            <p:cNvSpPr/>
            <p:nvPr/>
          </p:nvSpPr>
          <p:spPr>
            <a:xfrm>
              <a:off x="2975178" y="4655950"/>
              <a:ext cx="1361165" cy="2723823"/>
            </a:xfrm>
            <a:prstGeom prst="rect">
              <a:avLst/>
            </a:prstGeom>
          </p:spPr>
          <p:txBody>
            <a:bodyPr wrap="square">
              <a:spAutoFit/>
            </a:bodyPr>
            <a:lstStyle/>
            <a:p>
              <a:r>
                <a:rPr lang="en-US" sz="900" b="1" dirty="0"/>
                <a:t>User Account Mgmt.</a:t>
              </a:r>
            </a:p>
            <a:p>
              <a:r>
                <a:rPr lang="en-US" sz="900" b="1" dirty="0"/>
                <a:t>User Authentication (Two Factor)</a:t>
              </a:r>
            </a:p>
            <a:p>
              <a:r>
                <a:rPr lang="en-US" sz="900" b="1" dirty="0"/>
                <a:t>Password Protection &amp; Recovery</a:t>
              </a:r>
            </a:p>
            <a:p>
              <a:r>
                <a:rPr lang="en-US" sz="900" b="1" dirty="0"/>
                <a:t>Authorization &amp; RBACS</a:t>
              </a:r>
            </a:p>
            <a:p>
              <a:r>
                <a:rPr lang="en-US" sz="900" b="1" dirty="0"/>
                <a:t>User Profile Management (Extensible)</a:t>
              </a:r>
            </a:p>
            <a:p>
              <a:r>
                <a:rPr lang="en-US" sz="900" b="1" dirty="0"/>
                <a:t>Single Sign-On &amp; Global Logout</a:t>
              </a:r>
            </a:p>
            <a:p>
              <a:r>
                <a:rPr lang="en-US" sz="900" b="1" dirty="0"/>
                <a:t>Social Integration</a:t>
              </a:r>
            </a:p>
            <a:p>
              <a:r>
                <a:rPr lang="en-US" sz="900" b="1" dirty="0"/>
                <a:t>Open standards support (OAuth, SAML, OpenID)</a:t>
              </a:r>
            </a:p>
            <a:p>
              <a:r>
                <a:rPr lang="en-US" sz="900" b="1" dirty="0"/>
                <a:t>White Labeling - Login Box for web apps and mobile apps</a:t>
              </a:r>
            </a:p>
            <a:p>
              <a:r>
                <a:rPr lang="en-US" sz="900" b="1" dirty="0"/>
                <a:t>Customization and Rules</a:t>
              </a:r>
            </a:p>
            <a:p>
              <a:r>
                <a:rPr lang="en-US" sz="900" b="1" dirty="0"/>
                <a:t>AD Integration</a:t>
              </a:r>
            </a:p>
          </p:txBody>
        </p:sp>
        <p:sp>
          <p:nvSpPr>
            <p:cNvPr id="103" name="Rectangle 102"/>
            <p:cNvSpPr/>
            <p:nvPr/>
          </p:nvSpPr>
          <p:spPr>
            <a:xfrm>
              <a:off x="6189077" y="4634623"/>
              <a:ext cx="1306427" cy="2597583"/>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sp>
          <p:nvSpPr>
            <p:cNvPr id="13" name="Rectangle 12"/>
            <p:cNvSpPr/>
            <p:nvPr/>
          </p:nvSpPr>
          <p:spPr>
            <a:xfrm>
              <a:off x="6167689" y="4646499"/>
              <a:ext cx="1306428" cy="2862322"/>
            </a:xfrm>
            <a:prstGeom prst="rect">
              <a:avLst/>
            </a:prstGeom>
          </p:spPr>
          <p:txBody>
            <a:bodyPr wrap="square">
              <a:spAutoFit/>
            </a:bodyPr>
            <a:lstStyle/>
            <a:p>
              <a:r>
                <a:rPr lang="en-US" sz="900" b="1" dirty="0"/>
                <a:t>Secure Device Onboarding</a:t>
              </a:r>
            </a:p>
            <a:p>
              <a:r>
                <a:rPr lang="en-US" sz="900" b="1" dirty="0"/>
                <a:t>Device Registration / un-registration</a:t>
              </a:r>
            </a:p>
            <a:p>
              <a:r>
                <a:rPr lang="en-US" sz="900" b="1" dirty="0"/>
                <a:t>Device authentication &amp; association</a:t>
              </a:r>
            </a:p>
            <a:p>
              <a:r>
                <a:rPr lang="en-US" sz="900" b="1" dirty="0"/>
                <a:t>Device Attestation &amp; Blacklisting</a:t>
              </a:r>
            </a:p>
            <a:p>
              <a:r>
                <a:rPr lang="en-US" sz="900" b="1" dirty="0"/>
                <a:t>Asset Management</a:t>
              </a:r>
            </a:p>
            <a:p>
              <a:r>
                <a:rPr lang="en-US" sz="900" b="1" dirty="0"/>
                <a:t>Field Gateway as Device Proxies</a:t>
              </a:r>
            </a:p>
            <a:p>
              <a:r>
                <a:rPr lang="en-US" sz="900" b="1" dirty="0"/>
                <a:t>OTA updates and configuration</a:t>
              </a:r>
            </a:p>
            <a:p>
              <a:r>
                <a:rPr lang="en-US" sz="900" b="1" dirty="0"/>
                <a:t>Open standards support (TR-69, OMA-DM, LWM2M)</a:t>
              </a:r>
            </a:p>
            <a:p>
              <a:r>
                <a:rPr lang="en-US" sz="900" b="1" dirty="0"/>
                <a:t>Device – Application Permissions</a:t>
              </a:r>
            </a:p>
            <a:p>
              <a:r>
                <a:rPr lang="en-US" sz="900" b="1" dirty="0"/>
                <a:t>Customization and Rules</a:t>
              </a:r>
            </a:p>
          </p:txBody>
        </p:sp>
        <p:sp>
          <p:nvSpPr>
            <p:cNvPr id="106" name="Rectangle 105"/>
            <p:cNvSpPr/>
            <p:nvPr/>
          </p:nvSpPr>
          <p:spPr>
            <a:xfrm>
              <a:off x="9509609" y="4627954"/>
              <a:ext cx="1306427" cy="2716687"/>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sp>
          <p:nvSpPr>
            <p:cNvPr id="107" name="Rectangle 106"/>
            <p:cNvSpPr/>
            <p:nvPr/>
          </p:nvSpPr>
          <p:spPr>
            <a:xfrm>
              <a:off x="9487974" y="4636208"/>
              <a:ext cx="1306428" cy="2862322"/>
            </a:xfrm>
            <a:prstGeom prst="rect">
              <a:avLst/>
            </a:prstGeom>
          </p:spPr>
          <p:txBody>
            <a:bodyPr wrap="square">
              <a:spAutoFit/>
            </a:bodyPr>
            <a:lstStyle/>
            <a:p>
              <a:r>
                <a:rPr lang="en-US" sz="900" b="1" dirty="0"/>
                <a:t>Sensor Data &amp; Events Data</a:t>
              </a:r>
            </a:p>
            <a:p>
              <a:r>
                <a:rPr lang="en-US" sz="900" b="1" dirty="0"/>
                <a:t>Flexible Data Model Support</a:t>
              </a:r>
            </a:p>
            <a:p>
              <a:r>
                <a:rPr lang="en-US" sz="900" b="1" dirty="0"/>
                <a:t>Data Schema (Ontology) Support</a:t>
              </a:r>
            </a:p>
            <a:p>
              <a:r>
                <a:rPr lang="en-US" sz="900" b="1" dirty="0"/>
                <a:t>Stream &amp; Point Data</a:t>
              </a:r>
            </a:p>
            <a:p>
              <a:r>
                <a:rPr lang="en-US" sz="900" b="1" dirty="0"/>
                <a:t>Persistent Storage &amp; Ephemeral Data</a:t>
              </a:r>
            </a:p>
            <a:p>
              <a:r>
                <a:rPr lang="en-US" sz="900" b="1" dirty="0"/>
                <a:t>Data Encryption at REST</a:t>
              </a:r>
            </a:p>
            <a:p>
              <a:r>
                <a:rPr lang="en-US" sz="900" b="1" dirty="0"/>
                <a:t> </a:t>
              </a:r>
            </a:p>
            <a:p>
              <a:r>
                <a:rPr lang="en-US" sz="900" b="1" dirty="0"/>
                <a:t>IOT Hub (Pub-Sub)</a:t>
              </a:r>
            </a:p>
            <a:p>
              <a:r>
                <a:rPr lang="en-US" sz="900" b="1" dirty="0"/>
                <a:t>Transport protocols (HTTP / MQTT / Any other ?)</a:t>
              </a:r>
            </a:p>
            <a:p>
              <a:r>
                <a:rPr lang="en-US" sz="900" b="1" dirty="0"/>
                <a:t>Support for Video ?</a:t>
              </a:r>
            </a:p>
            <a:p>
              <a:r>
                <a:rPr lang="en-US" sz="900" b="1" dirty="0"/>
                <a:t>Binary Data Support </a:t>
              </a:r>
            </a:p>
            <a:p>
              <a:r>
                <a:rPr lang="en-US" sz="900" b="1" dirty="0"/>
                <a:t>Spatio – Temporal Querying</a:t>
              </a:r>
            </a:p>
          </p:txBody>
        </p:sp>
        <p:sp>
          <p:nvSpPr>
            <p:cNvPr id="109" name="Rectangle 108"/>
            <p:cNvSpPr/>
            <p:nvPr/>
          </p:nvSpPr>
          <p:spPr>
            <a:xfrm>
              <a:off x="4496312" y="4628304"/>
              <a:ext cx="1306427" cy="2593227"/>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sp>
          <p:nvSpPr>
            <p:cNvPr id="111" name="Rectangle 110"/>
            <p:cNvSpPr/>
            <p:nvPr/>
          </p:nvSpPr>
          <p:spPr>
            <a:xfrm>
              <a:off x="4496313" y="4640180"/>
              <a:ext cx="1306428" cy="2031325"/>
            </a:xfrm>
            <a:prstGeom prst="rect">
              <a:avLst/>
            </a:prstGeom>
          </p:spPr>
          <p:txBody>
            <a:bodyPr wrap="square">
              <a:spAutoFit/>
            </a:bodyPr>
            <a:lstStyle/>
            <a:p>
              <a:r>
                <a:rPr lang="en-US" sz="900" b="1" dirty="0"/>
                <a:t>Partner / Service Provider Onboarding</a:t>
              </a:r>
            </a:p>
            <a:p>
              <a:r>
                <a:rPr lang="en-US" sz="900" b="1" dirty="0"/>
                <a:t>Developer Onboarding</a:t>
              </a:r>
            </a:p>
            <a:p>
              <a:r>
                <a:rPr lang="en-IN" sz="900" b="1" dirty="0"/>
                <a:t>Dashboards</a:t>
              </a:r>
            </a:p>
            <a:p>
              <a:r>
                <a:rPr lang="en-IN" sz="900" b="1" dirty="0"/>
                <a:t>API Key Management</a:t>
              </a:r>
            </a:p>
            <a:p>
              <a:endParaRPr lang="en-US" sz="900" b="1" dirty="0"/>
            </a:p>
            <a:p>
              <a:r>
                <a:rPr lang="en-US" sz="900" b="1" dirty="0"/>
                <a:t>App Management</a:t>
              </a:r>
            </a:p>
            <a:p>
              <a:r>
                <a:rPr lang="en-IN" sz="900" b="1" dirty="0"/>
                <a:t>Tools for Workflow Customization</a:t>
              </a:r>
            </a:p>
            <a:p>
              <a:r>
                <a:rPr lang="en-IN" sz="900" b="1" dirty="0"/>
                <a:t>Monetization Support</a:t>
              </a:r>
            </a:p>
            <a:p>
              <a:r>
                <a:rPr lang="en-IN" sz="900" b="1" dirty="0"/>
                <a:t>Integration with Billing &amp; Reporting</a:t>
              </a:r>
            </a:p>
            <a:p>
              <a:r>
                <a:rPr lang="en-IN" sz="900" b="1" dirty="0"/>
                <a:t>Multi-Tenancy and Data Level Isolation</a:t>
              </a:r>
            </a:p>
          </p:txBody>
        </p:sp>
        <p:sp>
          <p:nvSpPr>
            <p:cNvPr id="112" name="Rectangle 111"/>
            <p:cNvSpPr/>
            <p:nvPr/>
          </p:nvSpPr>
          <p:spPr>
            <a:xfrm>
              <a:off x="10969379" y="4627597"/>
              <a:ext cx="1306427" cy="2717043"/>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sp>
          <p:nvSpPr>
            <p:cNvPr id="115" name="Rectangle 114"/>
            <p:cNvSpPr/>
            <p:nvPr/>
          </p:nvSpPr>
          <p:spPr>
            <a:xfrm>
              <a:off x="10969379" y="4639471"/>
              <a:ext cx="1306428" cy="1892826"/>
            </a:xfrm>
            <a:prstGeom prst="rect">
              <a:avLst/>
            </a:prstGeom>
          </p:spPr>
          <p:txBody>
            <a:bodyPr wrap="square">
              <a:spAutoFit/>
            </a:bodyPr>
            <a:lstStyle/>
            <a:p>
              <a:r>
                <a:rPr lang="en-US" sz="900" b="1" dirty="0"/>
                <a:t>Configurable processing for data streams</a:t>
              </a:r>
            </a:p>
            <a:p>
              <a:r>
                <a:rPr lang="en-US" sz="900" b="1" dirty="0"/>
                <a:t>Rule engine Integration</a:t>
              </a:r>
            </a:p>
            <a:p>
              <a:r>
                <a:rPr lang="en-US" sz="900" b="1" dirty="0"/>
                <a:t>Multi-channel notification support (Email / SMS / GCM)</a:t>
              </a:r>
            </a:p>
            <a:p>
              <a:r>
                <a:rPr lang="en-US" sz="900" b="1" dirty="0"/>
                <a:t>Real time processing</a:t>
              </a:r>
            </a:p>
            <a:p>
              <a:r>
                <a:rPr lang="en-US" sz="900" b="1" dirty="0"/>
                <a:t>Push Notification</a:t>
              </a:r>
              <a:endParaRPr lang="en-IN" sz="900" b="1" dirty="0"/>
            </a:p>
            <a:p>
              <a:r>
                <a:rPr lang="en-IN" sz="900" b="1" dirty="0"/>
                <a:t>Function-as-a-Service</a:t>
              </a:r>
            </a:p>
            <a:p>
              <a:r>
                <a:rPr lang="en-IN" sz="900" b="1" dirty="0"/>
                <a:t>Web Hooks integration for notification to </a:t>
              </a:r>
            </a:p>
            <a:p>
              <a:endParaRPr lang="en-US" sz="900" b="1" dirty="0"/>
            </a:p>
          </p:txBody>
        </p:sp>
        <p:sp>
          <p:nvSpPr>
            <p:cNvPr id="116" name="Rectangle 115"/>
            <p:cNvSpPr/>
            <p:nvPr/>
          </p:nvSpPr>
          <p:spPr>
            <a:xfrm>
              <a:off x="12423035" y="4639472"/>
              <a:ext cx="1306427" cy="2705168"/>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sp>
          <p:nvSpPr>
            <p:cNvPr id="118" name="Rectangle 117"/>
            <p:cNvSpPr/>
            <p:nvPr/>
          </p:nvSpPr>
          <p:spPr>
            <a:xfrm>
              <a:off x="12423034" y="4651347"/>
              <a:ext cx="1306428" cy="2308324"/>
            </a:xfrm>
            <a:prstGeom prst="rect">
              <a:avLst/>
            </a:prstGeom>
          </p:spPr>
          <p:txBody>
            <a:bodyPr wrap="square">
              <a:spAutoFit/>
            </a:bodyPr>
            <a:lstStyle/>
            <a:p>
              <a:r>
                <a:rPr lang="en-US" sz="900" b="1" dirty="0"/>
                <a:t>Secure Enclave for running analytics containers near data</a:t>
              </a:r>
            </a:p>
            <a:p>
              <a:r>
                <a:rPr lang="en-US" sz="900" b="1" dirty="0"/>
                <a:t>Offline and real-time big data analytics</a:t>
              </a:r>
            </a:p>
            <a:p>
              <a:r>
                <a:rPr lang="en-US" sz="900" b="1" dirty="0"/>
                <a:t>Time series analysis (trend, trend variance), Graph analytics</a:t>
              </a:r>
            </a:p>
            <a:p>
              <a:r>
                <a:rPr lang="en-US" sz="900" b="1" dirty="0"/>
                <a:t>Cohort / Funnel Analysis for recommendation</a:t>
              </a:r>
            </a:p>
            <a:p>
              <a:r>
                <a:rPr lang="en-IN" sz="900" b="1" dirty="0"/>
                <a:t>Deep Learning frameworks with support for Computer Vision, NLP workloads</a:t>
              </a:r>
              <a:endParaRPr lang="en-US" sz="900" b="1" dirty="0"/>
            </a:p>
            <a:p>
              <a:endParaRPr lang="en-US" sz="900" b="1" dirty="0"/>
            </a:p>
          </p:txBody>
        </p:sp>
        <p:sp>
          <p:nvSpPr>
            <p:cNvPr id="119" name="Rectangle 118"/>
            <p:cNvSpPr/>
            <p:nvPr/>
          </p:nvSpPr>
          <p:spPr>
            <a:xfrm>
              <a:off x="4025116" y="1851959"/>
              <a:ext cx="2162171" cy="302557"/>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sz="1600" b="1" dirty="0">
                  <a:solidFill>
                    <a:schemeClr val="tx1"/>
                  </a:solidFill>
                </a:rPr>
                <a:t>Smart Parking</a:t>
              </a:r>
              <a:endParaRPr lang="en-US" sz="1600" b="1" dirty="0">
                <a:solidFill>
                  <a:schemeClr val="tx1"/>
                </a:solidFill>
              </a:endParaRPr>
            </a:p>
          </p:txBody>
        </p:sp>
        <p:sp>
          <p:nvSpPr>
            <p:cNvPr id="120" name="Rectangle 119"/>
            <p:cNvSpPr/>
            <p:nvPr/>
          </p:nvSpPr>
          <p:spPr>
            <a:xfrm>
              <a:off x="6297237" y="1851959"/>
              <a:ext cx="2162171" cy="284959"/>
            </a:xfrm>
            <a:prstGeom prst="rect">
              <a:avLst/>
            </a:prstGeom>
            <a:solidFill>
              <a:srgbClr val="F395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sz="1600" b="1" dirty="0">
                  <a:solidFill>
                    <a:schemeClr val="tx1"/>
                  </a:solidFill>
                </a:rPr>
                <a:t>Smart Energy</a:t>
              </a:r>
              <a:endParaRPr lang="en-US" sz="1600" b="1" dirty="0">
                <a:solidFill>
                  <a:schemeClr val="tx1"/>
                </a:solidFill>
              </a:endParaRPr>
            </a:p>
          </p:txBody>
        </p:sp>
        <p:sp>
          <p:nvSpPr>
            <p:cNvPr id="121" name="Rectangle 120"/>
            <p:cNvSpPr/>
            <p:nvPr/>
          </p:nvSpPr>
          <p:spPr>
            <a:xfrm>
              <a:off x="8556961" y="1851959"/>
              <a:ext cx="2162171" cy="284181"/>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tx1"/>
                  </a:solidFill>
                </a:rPr>
                <a:t>ICCC</a:t>
              </a:r>
            </a:p>
          </p:txBody>
        </p:sp>
        <p:sp>
          <p:nvSpPr>
            <p:cNvPr id="122" name="Rectangle 121"/>
            <p:cNvSpPr/>
            <p:nvPr/>
          </p:nvSpPr>
          <p:spPr>
            <a:xfrm>
              <a:off x="10812919" y="1851959"/>
              <a:ext cx="2162171" cy="271695"/>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solidFill>
                    <a:schemeClr val="tx1"/>
                  </a:solidFill>
                </a:rPr>
                <a:t>Developer Apps </a:t>
              </a:r>
            </a:p>
          </p:txBody>
        </p:sp>
        <p:sp>
          <p:nvSpPr>
            <p:cNvPr id="85" name="TextBox 84"/>
            <p:cNvSpPr txBox="1"/>
            <p:nvPr/>
          </p:nvSpPr>
          <p:spPr>
            <a:xfrm>
              <a:off x="3441534" y="7257416"/>
              <a:ext cx="2106667" cy="338554"/>
            </a:xfrm>
            <a:prstGeom prst="rect">
              <a:avLst/>
            </a:prstGeom>
            <a:noFill/>
          </p:spPr>
          <p:txBody>
            <a:bodyPr wrap="none" rtlCol="0">
              <a:spAutoFit/>
            </a:bodyPr>
            <a:lstStyle/>
            <a:p>
              <a:r>
                <a:rPr lang="en-IN" sz="1600" b="1" dirty="0">
                  <a:solidFill>
                    <a:srgbClr val="FF0000"/>
                  </a:solidFill>
                </a:rPr>
                <a:t>E-Governance Services</a:t>
              </a:r>
              <a:endParaRPr lang="en-US" sz="1600" b="1" dirty="0">
                <a:solidFill>
                  <a:srgbClr val="FF0000"/>
                </a:solidFill>
              </a:endParaRPr>
            </a:p>
          </p:txBody>
        </p:sp>
        <p:sp>
          <p:nvSpPr>
            <p:cNvPr id="86" name="TextBox 85"/>
            <p:cNvSpPr txBox="1"/>
            <p:nvPr/>
          </p:nvSpPr>
          <p:spPr>
            <a:xfrm>
              <a:off x="6459663" y="7257813"/>
              <a:ext cx="1000595" cy="338554"/>
            </a:xfrm>
            <a:prstGeom prst="rect">
              <a:avLst/>
            </a:prstGeom>
            <a:noFill/>
          </p:spPr>
          <p:txBody>
            <a:bodyPr wrap="none" rtlCol="0">
              <a:spAutoFit/>
            </a:bodyPr>
            <a:lstStyle/>
            <a:p>
              <a:r>
                <a:rPr lang="en-IN" sz="1600" b="1" dirty="0">
                  <a:solidFill>
                    <a:srgbClr val="FF0000"/>
                  </a:solidFill>
                </a:rPr>
                <a:t>OneM2M</a:t>
              </a:r>
              <a:endParaRPr lang="en-US" sz="1600" b="1" dirty="0">
                <a:solidFill>
                  <a:srgbClr val="FF0000"/>
                </a:solidFill>
              </a:endParaRPr>
            </a:p>
          </p:txBody>
        </p:sp>
        <p:sp>
          <p:nvSpPr>
            <p:cNvPr id="90" name="Rectangle 89"/>
            <p:cNvSpPr/>
            <p:nvPr/>
          </p:nvSpPr>
          <p:spPr>
            <a:xfrm>
              <a:off x="7982335" y="4702301"/>
              <a:ext cx="1306427" cy="2642339"/>
            </a:xfrm>
            <a:prstGeom prst="rect">
              <a:avLst/>
            </a:prstGeom>
            <a:noFill/>
            <a:ln w="19050">
              <a:solidFill>
                <a:schemeClr val="tx1">
                  <a:lumMod val="50000"/>
                  <a:lumOff val="50000"/>
                </a:schemeClr>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sz="2400" b="1"/>
            </a:p>
          </p:txBody>
        </p:sp>
        <p:cxnSp>
          <p:nvCxnSpPr>
            <p:cNvPr id="92" name="Straight Arrow Connector 91"/>
            <p:cNvCxnSpPr/>
            <p:nvPr/>
          </p:nvCxnSpPr>
          <p:spPr>
            <a:xfrm>
              <a:off x="2200367" y="2082419"/>
              <a:ext cx="1595725" cy="5"/>
            </a:xfrm>
            <a:prstGeom prst="straightConnector1">
              <a:avLst/>
            </a:prstGeom>
            <a:ln>
              <a:solidFill>
                <a:schemeClr val="accent4">
                  <a:lumMod val="75000"/>
                </a:schemeClr>
              </a:solidFill>
              <a:prstDash val="sysDash"/>
              <a:tailEnd type="none"/>
            </a:ln>
            <a:effectLst/>
          </p:spPr>
          <p:style>
            <a:lnRef idx="2">
              <a:schemeClr val="accent1"/>
            </a:lnRef>
            <a:fillRef idx="0">
              <a:schemeClr val="accent1"/>
            </a:fillRef>
            <a:effectRef idx="1">
              <a:schemeClr val="accent1"/>
            </a:effectRef>
            <a:fontRef idx="minor">
              <a:schemeClr val="tx1"/>
            </a:fontRef>
          </p:style>
        </p:cxnSp>
        <p:sp>
          <p:nvSpPr>
            <p:cNvPr id="93" name="TextBox 92"/>
            <p:cNvSpPr txBox="1"/>
            <p:nvPr/>
          </p:nvSpPr>
          <p:spPr>
            <a:xfrm>
              <a:off x="2171031" y="1774805"/>
              <a:ext cx="2174100" cy="307777"/>
            </a:xfrm>
            <a:prstGeom prst="rect">
              <a:avLst/>
            </a:prstGeom>
            <a:noFill/>
          </p:spPr>
          <p:txBody>
            <a:bodyPr wrap="square" rtlCol="0">
              <a:spAutoFit/>
            </a:bodyPr>
            <a:lstStyle/>
            <a:p>
              <a:r>
                <a:rPr lang="en-US" sz="1400" b="1" dirty="0">
                  <a:solidFill>
                    <a:schemeClr val="tx2"/>
                  </a:solidFill>
                  <a:cs typeface="Neo Sans Intel"/>
                </a:rPr>
                <a:t>Application Layer</a:t>
              </a:r>
            </a:p>
          </p:txBody>
        </p:sp>
        <p:sp>
          <p:nvSpPr>
            <p:cNvPr id="98" name="Rectangle 97"/>
            <p:cNvSpPr/>
            <p:nvPr/>
          </p:nvSpPr>
          <p:spPr>
            <a:xfrm>
              <a:off x="7991046" y="3712926"/>
              <a:ext cx="1199367" cy="307777"/>
            </a:xfrm>
            <a:prstGeom prst="rect">
              <a:avLst/>
            </a:prstGeom>
          </p:spPr>
          <p:txBody>
            <a:bodyPr wrap="none">
              <a:spAutoFit/>
            </a:bodyPr>
            <a:lstStyle/>
            <a:p>
              <a:pPr algn="ctr" defTabSz="609555"/>
              <a:r>
                <a:rPr lang="en-US" sz="1400" b="1" dirty="0"/>
                <a:t>Context Layer</a:t>
              </a:r>
            </a:p>
          </p:txBody>
        </p:sp>
        <p:sp>
          <p:nvSpPr>
            <p:cNvPr id="99" name="Rectangle 98"/>
            <p:cNvSpPr/>
            <p:nvPr/>
          </p:nvSpPr>
          <p:spPr>
            <a:xfrm>
              <a:off x="7983459" y="4733325"/>
              <a:ext cx="1361165" cy="3139321"/>
            </a:xfrm>
            <a:prstGeom prst="rect">
              <a:avLst/>
            </a:prstGeom>
          </p:spPr>
          <p:txBody>
            <a:bodyPr wrap="square">
              <a:spAutoFit/>
            </a:bodyPr>
            <a:lstStyle/>
            <a:p>
              <a:r>
                <a:rPr lang="en-US" sz="900" b="1" dirty="0"/>
                <a:t>Time &amp; Location Services</a:t>
              </a:r>
            </a:p>
            <a:p>
              <a:endParaRPr lang="en-US" sz="900" b="1" dirty="0"/>
            </a:p>
            <a:p>
              <a:r>
                <a:rPr lang="en-US" sz="900" b="1" dirty="0"/>
                <a:t>Base Map Service</a:t>
              </a:r>
            </a:p>
            <a:p>
              <a:r>
                <a:rPr lang="en-US" sz="900" b="1" dirty="0"/>
                <a:t>Organization - Department Space Boundaries </a:t>
              </a:r>
            </a:p>
            <a:p>
              <a:r>
                <a:rPr lang="en-US" sz="900" b="1" dirty="0"/>
                <a:t>Map Visualization API’s</a:t>
              </a:r>
            </a:p>
            <a:p>
              <a:r>
                <a:rPr lang="en-US" sz="900" b="1" dirty="0"/>
                <a:t>Spatial Planning Tools</a:t>
              </a:r>
            </a:p>
            <a:p>
              <a:r>
                <a:rPr lang="en-US" sz="900" b="1" dirty="0"/>
                <a:t>Space ID’s</a:t>
              </a:r>
            </a:p>
            <a:p>
              <a:r>
                <a:rPr lang="en-US" sz="900" b="1" dirty="0"/>
                <a:t>Virtual Private Address</a:t>
              </a:r>
            </a:p>
            <a:p>
              <a:r>
                <a:rPr lang="en-US" sz="900" b="1" dirty="0"/>
                <a:t>Location coordinates specification</a:t>
              </a:r>
            </a:p>
            <a:p>
              <a:endParaRPr lang="en-US" sz="900" b="1" dirty="0"/>
            </a:p>
            <a:p>
              <a:endParaRPr lang="en-US" sz="900" b="1" dirty="0"/>
            </a:p>
            <a:p>
              <a:r>
                <a:rPr lang="en-US" sz="900" b="1" dirty="0"/>
                <a:t>Time synchronization service (NTP, PTP)</a:t>
              </a:r>
            </a:p>
            <a:p>
              <a:r>
                <a:rPr lang="en-US" sz="900" b="1" dirty="0"/>
                <a:t>Time format specification</a:t>
              </a:r>
            </a:p>
            <a:p>
              <a:r>
                <a:rPr lang="en-US" sz="900" b="1" dirty="0"/>
                <a:t>Time-Order Guarantees</a:t>
              </a:r>
            </a:p>
            <a:p>
              <a:endParaRPr lang="en-US" sz="900" b="1" dirty="0"/>
            </a:p>
            <a:p>
              <a:endParaRPr lang="en-US" sz="900" b="1" dirty="0"/>
            </a:p>
          </p:txBody>
        </p:sp>
        <p:sp>
          <p:nvSpPr>
            <p:cNvPr id="101" name="Rounded Rectangle 100"/>
            <p:cNvSpPr/>
            <p:nvPr/>
          </p:nvSpPr>
          <p:spPr>
            <a:xfrm>
              <a:off x="8243135" y="3975265"/>
              <a:ext cx="714787" cy="520896"/>
            </a:xfrm>
            <a:prstGeom prst="roundRect">
              <a:avLst/>
            </a:prstGeom>
            <a:solidFill>
              <a:srgbClr val="00B0F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en-US" sz="2800" b="1" dirty="0">
                <a:solidFill>
                  <a:prstClr val="white"/>
                </a:solidFill>
              </a:endParaRPr>
            </a:p>
          </p:txBody>
        </p:sp>
        <p:pic>
          <p:nvPicPr>
            <p:cNvPr id="24" name="Picture 2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390461" y="4095508"/>
              <a:ext cx="401331" cy="325913"/>
            </a:xfrm>
            <a:prstGeom prst="rect">
              <a:avLst/>
            </a:prstGeom>
          </p:spPr>
        </p:pic>
      </p:grpSp>
    </p:spTree>
    <p:extLst>
      <p:ext uri="{BB962C8B-B14F-4D97-AF65-F5344CB8AC3E}">
        <p14:creationId xmlns:p14="http://schemas.microsoft.com/office/powerpoint/2010/main" val="3161475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34" name="think-cell Slide" r:id="rId6" imgW="473" imgH="473" progId="TCLayout.ActiveDocument.1">
                  <p:embed/>
                </p:oleObj>
              </mc:Choice>
              <mc:Fallback>
                <p:oleObj name="think-cell Slide" r:id="rId6" imgW="473" imgH="473" progId="TCLayout.ActiveDocument.1">
                  <p:embed/>
                  <p:pic>
                    <p:nvPicPr>
                      <p:cNvPr id="7" name="Object 6"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8" name="Rectangle 7" hidden="1"/>
          <p:cNvSpPr/>
          <p:nvPr>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5867" dirty="0">
              <a:latin typeface="Roboto Black" panose="02000000000000000000" pitchFamily="2" charset="0"/>
              <a:ea typeface="Roboto Black" panose="02000000000000000000" pitchFamily="2" charset="0"/>
              <a:cs typeface="+mj-cs"/>
              <a:sym typeface="Roboto Black" panose="02000000000000000000" pitchFamily="2" charset="0"/>
            </a:endParaRPr>
          </a:p>
        </p:txBody>
      </p:sp>
      <p:sp>
        <p:nvSpPr>
          <p:cNvPr id="4" name="Title 3"/>
          <p:cNvSpPr>
            <a:spLocks noGrp="1"/>
          </p:cNvSpPr>
          <p:nvPr>
            <p:ph type="title"/>
          </p:nvPr>
        </p:nvSpPr>
        <p:spPr/>
        <p:txBody>
          <a:bodyPr/>
          <a:lstStyle/>
          <a:p>
            <a:r>
              <a:rPr lang="en-GB" dirty="0"/>
              <a:t>Smart Cities Mission</a:t>
            </a:r>
          </a:p>
        </p:txBody>
      </p:sp>
      <p:sp>
        <p:nvSpPr>
          <p:cNvPr id="13" name="Content Placeholder 4"/>
          <p:cNvSpPr>
            <a:spLocks noGrp="1"/>
          </p:cNvSpPr>
          <p:nvPr>
            <p:ph sz="half" idx="1"/>
          </p:nvPr>
        </p:nvSpPr>
        <p:spPr>
          <a:xfrm>
            <a:off x="1268373" y="1343842"/>
            <a:ext cx="7288859" cy="4545470"/>
          </a:xfrm>
          <a:solidFill>
            <a:schemeClr val="bg1">
              <a:lumMod val="75000"/>
            </a:schemeClr>
          </a:solidFill>
        </p:spPr>
        <p:txBody>
          <a:bodyPr anchor="ctr"/>
          <a:lstStyle/>
          <a:p>
            <a:pPr marL="0" indent="0" algn="ctr">
              <a:buNone/>
            </a:pPr>
            <a:r>
              <a:rPr lang="en-US" sz="5333" dirty="0">
                <a:solidFill>
                  <a:srgbClr val="113037"/>
                </a:solidFill>
                <a:latin typeface="Roboto Black" panose="02000000000000000000" pitchFamily="2" charset="0"/>
                <a:ea typeface="Roboto Black" panose="02000000000000000000" pitchFamily="2" charset="0"/>
              </a:rPr>
              <a:t>100 Cities</a:t>
            </a:r>
          </a:p>
          <a:p>
            <a:pPr marL="0" indent="0" algn="ctr">
              <a:buNone/>
            </a:pPr>
            <a:endParaRPr lang="en-GB" sz="5333" dirty="0">
              <a:solidFill>
                <a:srgbClr val="113037"/>
              </a:solidFill>
              <a:latin typeface="Roboto Black" panose="02000000000000000000" pitchFamily="2" charset="0"/>
              <a:ea typeface="Roboto Black" panose="02000000000000000000" pitchFamily="2" charset="0"/>
            </a:endParaRPr>
          </a:p>
        </p:txBody>
      </p:sp>
      <p:sp>
        <p:nvSpPr>
          <p:cNvPr id="14" name="Content Placeholder 5"/>
          <p:cNvSpPr txBox="1">
            <a:spLocks/>
          </p:cNvSpPr>
          <p:nvPr/>
        </p:nvSpPr>
        <p:spPr>
          <a:xfrm>
            <a:off x="8248564" y="2418198"/>
            <a:ext cx="7288859" cy="4919389"/>
          </a:xfrm>
          <a:prstGeom prst="rect">
            <a:avLst/>
          </a:prstGeom>
          <a:solidFill>
            <a:schemeClr val="bg1">
              <a:lumMod val="75000"/>
            </a:schemeClr>
          </a:solidFill>
        </p:spPr>
        <p:txBody>
          <a:bodyPr vert="horz" lIns="121920" tIns="60960" rIns="121920" bIns="60960" rtlCol="0" anchor="ctr">
            <a:normAutofit/>
          </a:bodyPr>
          <a:lstStyle>
            <a:lvl1pPr indent="0" algn="ctr">
              <a:lnSpc>
                <a:spcPct val="90000"/>
              </a:lnSpc>
              <a:spcBef>
                <a:spcPts val="1000"/>
              </a:spcBef>
              <a:buFont typeface="Arial" panose="020B0604020202020204" pitchFamily="34" charset="0"/>
              <a:buNone/>
              <a:defRPr sz="4000">
                <a:solidFill>
                  <a:srgbClr val="113037"/>
                </a:solidFill>
                <a:latin typeface="Roboto Black" panose="02000000000000000000" pitchFamily="2" charset="0"/>
                <a:ea typeface="Roboto Black" panose="02000000000000000000" pitchFamily="2"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5333" dirty="0"/>
              <a:t>100 million people</a:t>
            </a:r>
          </a:p>
          <a:p>
            <a:endParaRPr lang="en-GB" sz="5333" dirty="0"/>
          </a:p>
        </p:txBody>
      </p:sp>
      <p:grpSp>
        <p:nvGrpSpPr>
          <p:cNvPr id="436" name="Group 435"/>
          <p:cNvGrpSpPr/>
          <p:nvPr/>
        </p:nvGrpSpPr>
        <p:grpSpPr>
          <a:xfrm>
            <a:off x="8285017" y="6043036"/>
            <a:ext cx="7216123" cy="1140827"/>
            <a:chOff x="6213763" y="4532277"/>
            <a:chExt cx="5412092" cy="855620"/>
          </a:xfrm>
        </p:grpSpPr>
        <p:sp>
          <p:nvSpPr>
            <p:cNvPr id="234" name="Freeform 153"/>
            <p:cNvSpPr>
              <a:spLocks/>
            </p:cNvSpPr>
            <p:nvPr/>
          </p:nvSpPr>
          <p:spPr bwMode="auto">
            <a:xfrm>
              <a:off x="6213763"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35" name="Oval 154"/>
            <p:cNvSpPr>
              <a:spLocks noChangeArrowheads="1"/>
            </p:cNvSpPr>
            <p:nvPr/>
          </p:nvSpPr>
          <p:spPr bwMode="auto">
            <a:xfrm>
              <a:off x="6251973"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36" name="Freeform 157"/>
            <p:cNvSpPr>
              <a:spLocks/>
            </p:cNvSpPr>
            <p:nvPr/>
          </p:nvSpPr>
          <p:spPr bwMode="auto">
            <a:xfrm>
              <a:off x="6930535"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37" name="Oval 158"/>
            <p:cNvSpPr>
              <a:spLocks noChangeArrowheads="1"/>
            </p:cNvSpPr>
            <p:nvPr/>
          </p:nvSpPr>
          <p:spPr bwMode="auto">
            <a:xfrm>
              <a:off x="6968745"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38" name="Freeform 159"/>
            <p:cNvSpPr>
              <a:spLocks/>
            </p:cNvSpPr>
            <p:nvPr/>
          </p:nvSpPr>
          <p:spPr bwMode="auto">
            <a:xfrm>
              <a:off x="6750571"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39" name="Oval 160"/>
            <p:cNvSpPr>
              <a:spLocks noChangeArrowheads="1"/>
            </p:cNvSpPr>
            <p:nvPr/>
          </p:nvSpPr>
          <p:spPr bwMode="auto">
            <a:xfrm>
              <a:off x="6790014"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40" name="Oval 165"/>
            <p:cNvSpPr>
              <a:spLocks noChangeArrowheads="1"/>
            </p:cNvSpPr>
            <p:nvPr/>
          </p:nvSpPr>
          <p:spPr bwMode="auto">
            <a:xfrm>
              <a:off x="6614982" y="4532277"/>
              <a:ext cx="81353"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1" name="Freeform 166"/>
            <p:cNvSpPr>
              <a:spLocks noEditPoints="1"/>
            </p:cNvSpPr>
            <p:nvPr/>
          </p:nvSpPr>
          <p:spPr bwMode="auto">
            <a:xfrm>
              <a:off x="6569375" y="4626115"/>
              <a:ext cx="172568" cy="318671"/>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2" name="Oval 167"/>
            <p:cNvSpPr>
              <a:spLocks noChangeArrowheads="1"/>
            </p:cNvSpPr>
            <p:nvPr/>
          </p:nvSpPr>
          <p:spPr bwMode="auto">
            <a:xfrm>
              <a:off x="6436253" y="4532277"/>
              <a:ext cx="83202"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3" name="Freeform 168"/>
            <p:cNvSpPr>
              <a:spLocks noEditPoints="1"/>
            </p:cNvSpPr>
            <p:nvPr/>
          </p:nvSpPr>
          <p:spPr bwMode="auto">
            <a:xfrm>
              <a:off x="6390645" y="4626115"/>
              <a:ext cx="172568" cy="318671"/>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4" name="Freeform 153"/>
            <p:cNvSpPr>
              <a:spLocks/>
            </p:cNvSpPr>
            <p:nvPr/>
          </p:nvSpPr>
          <p:spPr bwMode="auto">
            <a:xfrm>
              <a:off x="7115758"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45" name="Oval 154"/>
            <p:cNvSpPr>
              <a:spLocks noChangeArrowheads="1"/>
            </p:cNvSpPr>
            <p:nvPr/>
          </p:nvSpPr>
          <p:spPr bwMode="auto">
            <a:xfrm>
              <a:off x="7153968"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46" name="Freeform 157"/>
            <p:cNvSpPr>
              <a:spLocks/>
            </p:cNvSpPr>
            <p:nvPr/>
          </p:nvSpPr>
          <p:spPr bwMode="auto">
            <a:xfrm>
              <a:off x="7832528"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47" name="Oval 158"/>
            <p:cNvSpPr>
              <a:spLocks noChangeArrowheads="1"/>
            </p:cNvSpPr>
            <p:nvPr/>
          </p:nvSpPr>
          <p:spPr bwMode="auto">
            <a:xfrm>
              <a:off x="7870740"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48" name="Freeform 159"/>
            <p:cNvSpPr>
              <a:spLocks/>
            </p:cNvSpPr>
            <p:nvPr/>
          </p:nvSpPr>
          <p:spPr bwMode="auto">
            <a:xfrm>
              <a:off x="7652566"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49" name="Oval 160"/>
            <p:cNvSpPr>
              <a:spLocks noChangeArrowheads="1"/>
            </p:cNvSpPr>
            <p:nvPr/>
          </p:nvSpPr>
          <p:spPr bwMode="auto">
            <a:xfrm>
              <a:off x="7692009"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50" name="Oval 165"/>
            <p:cNvSpPr>
              <a:spLocks noChangeArrowheads="1"/>
            </p:cNvSpPr>
            <p:nvPr/>
          </p:nvSpPr>
          <p:spPr bwMode="auto">
            <a:xfrm>
              <a:off x="7516977" y="4532277"/>
              <a:ext cx="81353"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1" name="Freeform 166"/>
            <p:cNvSpPr>
              <a:spLocks noEditPoints="1"/>
            </p:cNvSpPr>
            <p:nvPr/>
          </p:nvSpPr>
          <p:spPr bwMode="auto">
            <a:xfrm>
              <a:off x="7471370" y="4626115"/>
              <a:ext cx="172568" cy="318671"/>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2" name="Oval 167"/>
            <p:cNvSpPr>
              <a:spLocks noChangeArrowheads="1"/>
            </p:cNvSpPr>
            <p:nvPr/>
          </p:nvSpPr>
          <p:spPr bwMode="auto">
            <a:xfrm>
              <a:off x="7338247" y="4532277"/>
              <a:ext cx="83202"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3" name="Freeform 168"/>
            <p:cNvSpPr>
              <a:spLocks noEditPoints="1"/>
            </p:cNvSpPr>
            <p:nvPr/>
          </p:nvSpPr>
          <p:spPr bwMode="auto">
            <a:xfrm>
              <a:off x="7292640" y="4626115"/>
              <a:ext cx="172568" cy="318671"/>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4" name="Freeform 153"/>
            <p:cNvSpPr>
              <a:spLocks/>
            </p:cNvSpPr>
            <p:nvPr/>
          </p:nvSpPr>
          <p:spPr bwMode="auto">
            <a:xfrm>
              <a:off x="8017751"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55" name="Oval 154"/>
            <p:cNvSpPr>
              <a:spLocks noChangeArrowheads="1"/>
            </p:cNvSpPr>
            <p:nvPr/>
          </p:nvSpPr>
          <p:spPr bwMode="auto">
            <a:xfrm>
              <a:off x="8055963"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56" name="Oval 165"/>
            <p:cNvSpPr>
              <a:spLocks noChangeArrowheads="1"/>
            </p:cNvSpPr>
            <p:nvPr/>
          </p:nvSpPr>
          <p:spPr bwMode="auto">
            <a:xfrm>
              <a:off x="8418970" y="4532277"/>
              <a:ext cx="81353"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7" name="Freeform 166"/>
            <p:cNvSpPr>
              <a:spLocks noEditPoints="1"/>
            </p:cNvSpPr>
            <p:nvPr/>
          </p:nvSpPr>
          <p:spPr bwMode="auto">
            <a:xfrm>
              <a:off x="8373363" y="4626115"/>
              <a:ext cx="172568" cy="318671"/>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8" name="Oval 167"/>
            <p:cNvSpPr>
              <a:spLocks noChangeArrowheads="1"/>
            </p:cNvSpPr>
            <p:nvPr/>
          </p:nvSpPr>
          <p:spPr bwMode="auto">
            <a:xfrm>
              <a:off x="8240241" y="4532277"/>
              <a:ext cx="83202"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9" name="Freeform 168"/>
            <p:cNvSpPr>
              <a:spLocks noEditPoints="1"/>
            </p:cNvSpPr>
            <p:nvPr/>
          </p:nvSpPr>
          <p:spPr bwMode="auto">
            <a:xfrm>
              <a:off x="8194633" y="4626115"/>
              <a:ext cx="172568" cy="318671"/>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0" name="Freeform 153"/>
            <p:cNvSpPr>
              <a:spLocks/>
            </p:cNvSpPr>
            <p:nvPr/>
          </p:nvSpPr>
          <p:spPr bwMode="auto">
            <a:xfrm>
              <a:off x="6213763"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61" name="Oval 154"/>
            <p:cNvSpPr>
              <a:spLocks noChangeArrowheads="1"/>
            </p:cNvSpPr>
            <p:nvPr/>
          </p:nvSpPr>
          <p:spPr bwMode="auto">
            <a:xfrm>
              <a:off x="6251973"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62" name="Freeform 157"/>
            <p:cNvSpPr>
              <a:spLocks/>
            </p:cNvSpPr>
            <p:nvPr/>
          </p:nvSpPr>
          <p:spPr bwMode="auto">
            <a:xfrm>
              <a:off x="6930535"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63" name="Oval 158"/>
            <p:cNvSpPr>
              <a:spLocks noChangeArrowheads="1"/>
            </p:cNvSpPr>
            <p:nvPr/>
          </p:nvSpPr>
          <p:spPr bwMode="auto">
            <a:xfrm>
              <a:off x="6968745"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64" name="Freeform 159"/>
            <p:cNvSpPr>
              <a:spLocks/>
            </p:cNvSpPr>
            <p:nvPr/>
          </p:nvSpPr>
          <p:spPr bwMode="auto">
            <a:xfrm>
              <a:off x="6750571"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65" name="Oval 160"/>
            <p:cNvSpPr>
              <a:spLocks noChangeArrowheads="1"/>
            </p:cNvSpPr>
            <p:nvPr/>
          </p:nvSpPr>
          <p:spPr bwMode="auto">
            <a:xfrm>
              <a:off x="6790014"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66" name="Oval 165"/>
            <p:cNvSpPr>
              <a:spLocks noChangeArrowheads="1"/>
            </p:cNvSpPr>
            <p:nvPr/>
          </p:nvSpPr>
          <p:spPr bwMode="auto">
            <a:xfrm>
              <a:off x="6614982" y="4975387"/>
              <a:ext cx="81353"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7" name="Freeform 166"/>
            <p:cNvSpPr>
              <a:spLocks noEditPoints="1"/>
            </p:cNvSpPr>
            <p:nvPr/>
          </p:nvSpPr>
          <p:spPr bwMode="auto">
            <a:xfrm>
              <a:off x="6569375" y="5069225"/>
              <a:ext cx="172568" cy="318671"/>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8" name="Oval 167"/>
            <p:cNvSpPr>
              <a:spLocks noChangeArrowheads="1"/>
            </p:cNvSpPr>
            <p:nvPr/>
          </p:nvSpPr>
          <p:spPr bwMode="auto">
            <a:xfrm>
              <a:off x="6436253" y="4975387"/>
              <a:ext cx="83202"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9" name="Freeform 168"/>
            <p:cNvSpPr>
              <a:spLocks noEditPoints="1"/>
            </p:cNvSpPr>
            <p:nvPr/>
          </p:nvSpPr>
          <p:spPr bwMode="auto">
            <a:xfrm>
              <a:off x="6390645" y="5069225"/>
              <a:ext cx="172568" cy="318671"/>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0" name="Freeform 153"/>
            <p:cNvSpPr>
              <a:spLocks/>
            </p:cNvSpPr>
            <p:nvPr/>
          </p:nvSpPr>
          <p:spPr bwMode="auto">
            <a:xfrm>
              <a:off x="7115758"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71" name="Oval 154"/>
            <p:cNvSpPr>
              <a:spLocks noChangeArrowheads="1"/>
            </p:cNvSpPr>
            <p:nvPr/>
          </p:nvSpPr>
          <p:spPr bwMode="auto">
            <a:xfrm>
              <a:off x="7153968"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72" name="Freeform 157"/>
            <p:cNvSpPr>
              <a:spLocks/>
            </p:cNvSpPr>
            <p:nvPr/>
          </p:nvSpPr>
          <p:spPr bwMode="auto">
            <a:xfrm>
              <a:off x="7832528"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73" name="Oval 158"/>
            <p:cNvSpPr>
              <a:spLocks noChangeArrowheads="1"/>
            </p:cNvSpPr>
            <p:nvPr/>
          </p:nvSpPr>
          <p:spPr bwMode="auto">
            <a:xfrm>
              <a:off x="7870740"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74" name="Freeform 159"/>
            <p:cNvSpPr>
              <a:spLocks/>
            </p:cNvSpPr>
            <p:nvPr/>
          </p:nvSpPr>
          <p:spPr bwMode="auto">
            <a:xfrm>
              <a:off x="7652566"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75" name="Oval 160"/>
            <p:cNvSpPr>
              <a:spLocks noChangeArrowheads="1"/>
            </p:cNvSpPr>
            <p:nvPr/>
          </p:nvSpPr>
          <p:spPr bwMode="auto">
            <a:xfrm>
              <a:off x="7692009"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76" name="Oval 165"/>
            <p:cNvSpPr>
              <a:spLocks noChangeArrowheads="1"/>
            </p:cNvSpPr>
            <p:nvPr/>
          </p:nvSpPr>
          <p:spPr bwMode="auto">
            <a:xfrm>
              <a:off x="7516977" y="4975387"/>
              <a:ext cx="81353"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7" name="Freeform 166"/>
            <p:cNvSpPr>
              <a:spLocks noEditPoints="1"/>
            </p:cNvSpPr>
            <p:nvPr/>
          </p:nvSpPr>
          <p:spPr bwMode="auto">
            <a:xfrm>
              <a:off x="7471370" y="5069225"/>
              <a:ext cx="172568" cy="318671"/>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8" name="Oval 167"/>
            <p:cNvSpPr>
              <a:spLocks noChangeArrowheads="1"/>
            </p:cNvSpPr>
            <p:nvPr/>
          </p:nvSpPr>
          <p:spPr bwMode="auto">
            <a:xfrm>
              <a:off x="7338247" y="4975387"/>
              <a:ext cx="83202"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9" name="Freeform 168"/>
            <p:cNvSpPr>
              <a:spLocks noEditPoints="1"/>
            </p:cNvSpPr>
            <p:nvPr/>
          </p:nvSpPr>
          <p:spPr bwMode="auto">
            <a:xfrm>
              <a:off x="7292640" y="5069225"/>
              <a:ext cx="172568" cy="318671"/>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0" name="Freeform 153"/>
            <p:cNvSpPr>
              <a:spLocks/>
            </p:cNvSpPr>
            <p:nvPr/>
          </p:nvSpPr>
          <p:spPr bwMode="auto">
            <a:xfrm>
              <a:off x="8017751"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81" name="Oval 154"/>
            <p:cNvSpPr>
              <a:spLocks noChangeArrowheads="1"/>
            </p:cNvSpPr>
            <p:nvPr/>
          </p:nvSpPr>
          <p:spPr bwMode="auto">
            <a:xfrm>
              <a:off x="8055963"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282" name="Oval 165"/>
            <p:cNvSpPr>
              <a:spLocks noChangeArrowheads="1"/>
            </p:cNvSpPr>
            <p:nvPr/>
          </p:nvSpPr>
          <p:spPr bwMode="auto">
            <a:xfrm>
              <a:off x="8418970" y="4975387"/>
              <a:ext cx="81353"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3" name="Freeform 166"/>
            <p:cNvSpPr>
              <a:spLocks noEditPoints="1"/>
            </p:cNvSpPr>
            <p:nvPr/>
          </p:nvSpPr>
          <p:spPr bwMode="auto">
            <a:xfrm>
              <a:off x="8373363" y="5069225"/>
              <a:ext cx="172568" cy="318671"/>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4" name="Oval 167"/>
            <p:cNvSpPr>
              <a:spLocks noChangeArrowheads="1"/>
            </p:cNvSpPr>
            <p:nvPr/>
          </p:nvSpPr>
          <p:spPr bwMode="auto">
            <a:xfrm>
              <a:off x="8240241" y="4975387"/>
              <a:ext cx="83202" cy="83761"/>
            </a:xfrm>
            <a:prstGeom prst="ellipse">
              <a:avLst/>
            </a:pr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5" name="Freeform 168"/>
            <p:cNvSpPr>
              <a:spLocks noEditPoints="1"/>
            </p:cNvSpPr>
            <p:nvPr/>
          </p:nvSpPr>
          <p:spPr bwMode="auto">
            <a:xfrm>
              <a:off x="8194633" y="5069225"/>
              <a:ext cx="172568" cy="318671"/>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solidFill>
              <a:srgbClr val="173F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12" name="Freeform 157"/>
            <p:cNvSpPr>
              <a:spLocks/>
            </p:cNvSpPr>
            <p:nvPr/>
          </p:nvSpPr>
          <p:spPr bwMode="auto">
            <a:xfrm>
              <a:off x="8734523"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3" name="Oval 158"/>
            <p:cNvSpPr>
              <a:spLocks noChangeArrowheads="1"/>
            </p:cNvSpPr>
            <p:nvPr/>
          </p:nvSpPr>
          <p:spPr bwMode="auto">
            <a:xfrm>
              <a:off x="8772733"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4" name="Freeform 159"/>
            <p:cNvSpPr>
              <a:spLocks/>
            </p:cNvSpPr>
            <p:nvPr/>
          </p:nvSpPr>
          <p:spPr bwMode="auto">
            <a:xfrm>
              <a:off x="8554559"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5" name="Oval 160"/>
            <p:cNvSpPr>
              <a:spLocks noChangeArrowheads="1"/>
            </p:cNvSpPr>
            <p:nvPr/>
          </p:nvSpPr>
          <p:spPr bwMode="auto">
            <a:xfrm>
              <a:off x="8594003"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6" name="Freeform 153"/>
            <p:cNvSpPr>
              <a:spLocks/>
            </p:cNvSpPr>
            <p:nvPr/>
          </p:nvSpPr>
          <p:spPr bwMode="auto">
            <a:xfrm>
              <a:off x="8919746"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7" name="Oval 154"/>
            <p:cNvSpPr>
              <a:spLocks noChangeArrowheads="1"/>
            </p:cNvSpPr>
            <p:nvPr/>
          </p:nvSpPr>
          <p:spPr bwMode="auto">
            <a:xfrm>
              <a:off x="8957956"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8" name="Freeform 159"/>
            <p:cNvSpPr>
              <a:spLocks/>
            </p:cNvSpPr>
            <p:nvPr/>
          </p:nvSpPr>
          <p:spPr bwMode="auto">
            <a:xfrm>
              <a:off x="9456553"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19" name="Oval 160"/>
            <p:cNvSpPr>
              <a:spLocks noChangeArrowheads="1"/>
            </p:cNvSpPr>
            <p:nvPr/>
          </p:nvSpPr>
          <p:spPr bwMode="auto">
            <a:xfrm>
              <a:off x="9495997"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320" name="Group 319"/>
            <p:cNvGrpSpPr/>
            <p:nvPr/>
          </p:nvGrpSpPr>
          <p:grpSpPr>
            <a:xfrm>
              <a:off x="9096627" y="4532277"/>
              <a:ext cx="351297" cy="412509"/>
              <a:chOff x="629950" y="2421868"/>
              <a:chExt cx="514492" cy="591215"/>
            </a:xfrm>
            <a:solidFill>
              <a:srgbClr val="173F49"/>
            </a:solidFill>
          </p:grpSpPr>
          <p:sp>
            <p:nvSpPr>
              <p:cNvPr id="407" name="Oval 165"/>
              <p:cNvSpPr>
                <a:spLocks noChangeArrowheads="1"/>
              </p:cNvSpPr>
              <p:nvPr/>
            </p:nvSpPr>
            <p:spPr bwMode="auto">
              <a:xfrm>
                <a:off x="958503" y="2421868"/>
                <a:ext cx="119146"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08" name="Freeform 166"/>
              <p:cNvSpPr>
                <a:spLocks noEditPoints="1"/>
              </p:cNvSpPr>
              <p:nvPr/>
            </p:nvSpPr>
            <p:spPr bwMode="auto">
              <a:xfrm>
                <a:off x="891709" y="2556358"/>
                <a:ext cx="252733" cy="456725"/>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09" name="Oval 167"/>
              <p:cNvSpPr>
                <a:spLocks noChangeArrowheads="1"/>
              </p:cNvSpPr>
              <p:nvPr/>
            </p:nvSpPr>
            <p:spPr bwMode="auto">
              <a:xfrm>
                <a:off x="696744" y="2421868"/>
                <a:ext cx="121854"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10" name="Freeform 168"/>
              <p:cNvSpPr>
                <a:spLocks noEditPoints="1"/>
              </p:cNvSpPr>
              <p:nvPr/>
            </p:nvSpPr>
            <p:spPr bwMode="auto">
              <a:xfrm>
                <a:off x="629950" y="2556358"/>
                <a:ext cx="252733" cy="456725"/>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sp>
          <p:nvSpPr>
            <p:cNvPr id="321" name="Freeform 157"/>
            <p:cNvSpPr>
              <a:spLocks/>
            </p:cNvSpPr>
            <p:nvPr/>
          </p:nvSpPr>
          <p:spPr bwMode="auto">
            <a:xfrm>
              <a:off x="8734523"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2" name="Oval 158"/>
            <p:cNvSpPr>
              <a:spLocks noChangeArrowheads="1"/>
            </p:cNvSpPr>
            <p:nvPr/>
          </p:nvSpPr>
          <p:spPr bwMode="auto">
            <a:xfrm>
              <a:off x="8772733"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3" name="Freeform 159"/>
            <p:cNvSpPr>
              <a:spLocks/>
            </p:cNvSpPr>
            <p:nvPr/>
          </p:nvSpPr>
          <p:spPr bwMode="auto">
            <a:xfrm>
              <a:off x="8554559"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4" name="Oval 160"/>
            <p:cNvSpPr>
              <a:spLocks noChangeArrowheads="1"/>
            </p:cNvSpPr>
            <p:nvPr/>
          </p:nvSpPr>
          <p:spPr bwMode="auto">
            <a:xfrm>
              <a:off x="8594003"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5" name="Freeform 153"/>
            <p:cNvSpPr>
              <a:spLocks/>
            </p:cNvSpPr>
            <p:nvPr/>
          </p:nvSpPr>
          <p:spPr bwMode="auto">
            <a:xfrm>
              <a:off x="8919746"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6" name="Oval 154"/>
            <p:cNvSpPr>
              <a:spLocks noChangeArrowheads="1"/>
            </p:cNvSpPr>
            <p:nvPr/>
          </p:nvSpPr>
          <p:spPr bwMode="auto">
            <a:xfrm>
              <a:off x="8957956"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7" name="Freeform 159"/>
            <p:cNvSpPr>
              <a:spLocks/>
            </p:cNvSpPr>
            <p:nvPr/>
          </p:nvSpPr>
          <p:spPr bwMode="auto">
            <a:xfrm>
              <a:off x="9456553"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28" name="Oval 160"/>
            <p:cNvSpPr>
              <a:spLocks noChangeArrowheads="1"/>
            </p:cNvSpPr>
            <p:nvPr/>
          </p:nvSpPr>
          <p:spPr bwMode="auto">
            <a:xfrm>
              <a:off x="9495997"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329" name="Group 328"/>
            <p:cNvGrpSpPr/>
            <p:nvPr/>
          </p:nvGrpSpPr>
          <p:grpSpPr>
            <a:xfrm>
              <a:off x="9096627" y="4975387"/>
              <a:ext cx="351297" cy="412509"/>
              <a:chOff x="629950" y="2421868"/>
              <a:chExt cx="514492" cy="591215"/>
            </a:xfrm>
            <a:solidFill>
              <a:srgbClr val="173F49"/>
            </a:solidFill>
          </p:grpSpPr>
          <p:sp>
            <p:nvSpPr>
              <p:cNvPr id="403" name="Oval 165"/>
              <p:cNvSpPr>
                <a:spLocks noChangeArrowheads="1"/>
              </p:cNvSpPr>
              <p:nvPr/>
            </p:nvSpPr>
            <p:spPr bwMode="auto">
              <a:xfrm>
                <a:off x="958503" y="2421868"/>
                <a:ext cx="119146"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04" name="Freeform 166"/>
              <p:cNvSpPr>
                <a:spLocks noEditPoints="1"/>
              </p:cNvSpPr>
              <p:nvPr/>
            </p:nvSpPr>
            <p:spPr bwMode="auto">
              <a:xfrm>
                <a:off x="891709" y="2556358"/>
                <a:ext cx="252733" cy="456725"/>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05" name="Oval 167"/>
              <p:cNvSpPr>
                <a:spLocks noChangeArrowheads="1"/>
              </p:cNvSpPr>
              <p:nvPr/>
            </p:nvSpPr>
            <p:spPr bwMode="auto">
              <a:xfrm>
                <a:off x="696744" y="2421868"/>
                <a:ext cx="121854"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06" name="Freeform 168"/>
              <p:cNvSpPr>
                <a:spLocks noEditPoints="1"/>
              </p:cNvSpPr>
              <p:nvPr/>
            </p:nvSpPr>
            <p:spPr bwMode="auto">
              <a:xfrm>
                <a:off x="629950" y="2556358"/>
                <a:ext cx="252733" cy="456725"/>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sp>
          <p:nvSpPr>
            <p:cNvPr id="341" name="Freeform 159"/>
            <p:cNvSpPr>
              <a:spLocks/>
            </p:cNvSpPr>
            <p:nvPr/>
          </p:nvSpPr>
          <p:spPr bwMode="auto">
            <a:xfrm>
              <a:off x="9651408"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2" name="Oval 160"/>
            <p:cNvSpPr>
              <a:spLocks noChangeArrowheads="1"/>
            </p:cNvSpPr>
            <p:nvPr/>
          </p:nvSpPr>
          <p:spPr bwMode="auto">
            <a:xfrm>
              <a:off x="9690852"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50" name="Freeform 159"/>
            <p:cNvSpPr>
              <a:spLocks/>
            </p:cNvSpPr>
            <p:nvPr/>
          </p:nvSpPr>
          <p:spPr bwMode="auto">
            <a:xfrm>
              <a:off x="9651408"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51" name="Oval 160"/>
            <p:cNvSpPr>
              <a:spLocks noChangeArrowheads="1"/>
            </p:cNvSpPr>
            <p:nvPr/>
          </p:nvSpPr>
          <p:spPr bwMode="auto">
            <a:xfrm>
              <a:off x="9690852"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412" name="Group 411"/>
            <p:cNvGrpSpPr/>
            <p:nvPr/>
          </p:nvGrpSpPr>
          <p:grpSpPr>
            <a:xfrm>
              <a:off x="9831372" y="4532277"/>
              <a:ext cx="881655" cy="855620"/>
              <a:chOff x="9831372" y="4532277"/>
              <a:chExt cx="881655" cy="855620"/>
            </a:xfrm>
          </p:grpSpPr>
          <p:sp>
            <p:nvSpPr>
              <p:cNvPr id="339" name="Freeform 157"/>
              <p:cNvSpPr>
                <a:spLocks/>
              </p:cNvSpPr>
              <p:nvPr/>
            </p:nvSpPr>
            <p:spPr bwMode="auto">
              <a:xfrm>
                <a:off x="9831372"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0" name="Oval 158"/>
              <p:cNvSpPr>
                <a:spLocks noChangeArrowheads="1"/>
              </p:cNvSpPr>
              <p:nvPr/>
            </p:nvSpPr>
            <p:spPr bwMode="auto">
              <a:xfrm>
                <a:off x="9869582"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3" name="Freeform 153"/>
              <p:cNvSpPr>
                <a:spLocks/>
              </p:cNvSpPr>
              <p:nvPr/>
            </p:nvSpPr>
            <p:spPr bwMode="auto">
              <a:xfrm>
                <a:off x="10016595"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4" name="Oval 154"/>
              <p:cNvSpPr>
                <a:spLocks noChangeArrowheads="1"/>
              </p:cNvSpPr>
              <p:nvPr/>
            </p:nvSpPr>
            <p:spPr bwMode="auto">
              <a:xfrm>
                <a:off x="10054805"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5" name="Freeform 159"/>
              <p:cNvSpPr>
                <a:spLocks/>
              </p:cNvSpPr>
              <p:nvPr/>
            </p:nvSpPr>
            <p:spPr bwMode="auto">
              <a:xfrm>
                <a:off x="10553402"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6" name="Oval 160"/>
              <p:cNvSpPr>
                <a:spLocks noChangeArrowheads="1"/>
              </p:cNvSpPr>
              <p:nvPr/>
            </p:nvSpPr>
            <p:spPr bwMode="auto">
              <a:xfrm>
                <a:off x="10592846"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347" name="Group 346"/>
              <p:cNvGrpSpPr/>
              <p:nvPr/>
            </p:nvGrpSpPr>
            <p:grpSpPr>
              <a:xfrm>
                <a:off x="10193476" y="4532277"/>
                <a:ext cx="351297" cy="412509"/>
                <a:chOff x="629950" y="2421868"/>
                <a:chExt cx="514492" cy="591215"/>
              </a:xfrm>
              <a:solidFill>
                <a:srgbClr val="173F49"/>
              </a:solidFill>
            </p:grpSpPr>
            <p:sp>
              <p:nvSpPr>
                <p:cNvPr id="395" name="Oval 165"/>
                <p:cNvSpPr>
                  <a:spLocks noChangeArrowheads="1"/>
                </p:cNvSpPr>
                <p:nvPr/>
              </p:nvSpPr>
              <p:spPr bwMode="auto">
                <a:xfrm>
                  <a:off x="958503" y="2421868"/>
                  <a:ext cx="119146"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6" name="Freeform 166"/>
                <p:cNvSpPr>
                  <a:spLocks noEditPoints="1"/>
                </p:cNvSpPr>
                <p:nvPr/>
              </p:nvSpPr>
              <p:spPr bwMode="auto">
                <a:xfrm>
                  <a:off x="891709" y="2556358"/>
                  <a:ext cx="252733" cy="456725"/>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7" name="Oval 167"/>
                <p:cNvSpPr>
                  <a:spLocks noChangeArrowheads="1"/>
                </p:cNvSpPr>
                <p:nvPr/>
              </p:nvSpPr>
              <p:spPr bwMode="auto">
                <a:xfrm>
                  <a:off x="696744" y="2421868"/>
                  <a:ext cx="121854"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8" name="Freeform 168"/>
                <p:cNvSpPr>
                  <a:spLocks noEditPoints="1"/>
                </p:cNvSpPr>
                <p:nvPr/>
              </p:nvSpPr>
              <p:spPr bwMode="auto">
                <a:xfrm>
                  <a:off x="629950" y="2556358"/>
                  <a:ext cx="252733" cy="456725"/>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sp>
            <p:nvSpPr>
              <p:cNvPr id="348" name="Freeform 157"/>
              <p:cNvSpPr>
                <a:spLocks/>
              </p:cNvSpPr>
              <p:nvPr/>
            </p:nvSpPr>
            <p:spPr bwMode="auto">
              <a:xfrm>
                <a:off x="9831372"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49" name="Oval 158"/>
              <p:cNvSpPr>
                <a:spLocks noChangeArrowheads="1"/>
              </p:cNvSpPr>
              <p:nvPr/>
            </p:nvSpPr>
            <p:spPr bwMode="auto">
              <a:xfrm>
                <a:off x="9869582"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52" name="Freeform 153"/>
              <p:cNvSpPr>
                <a:spLocks/>
              </p:cNvSpPr>
              <p:nvPr/>
            </p:nvSpPr>
            <p:spPr bwMode="auto">
              <a:xfrm>
                <a:off x="10016595"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53" name="Oval 154"/>
              <p:cNvSpPr>
                <a:spLocks noChangeArrowheads="1"/>
              </p:cNvSpPr>
              <p:nvPr/>
            </p:nvSpPr>
            <p:spPr bwMode="auto">
              <a:xfrm>
                <a:off x="10054805"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54" name="Freeform 159"/>
              <p:cNvSpPr>
                <a:spLocks/>
              </p:cNvSpPr>
              <p:nvPr/>
            </p:nvSpPr>
            <p:spPr bwMode="auto">
              <a:xfrm>
                <a:off x="10553402"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55" name="Oval 160"/>
              <p:cNvSpPr>
                <a:spLocks noChangeArrowheads="1"/>
              </p:cNvSpPr>
              <p:nvPr/>
            </p:nvSpPr>
            <p:spPr bwMode="auto">
              <a:xfrm>
                <a:off x="10592846"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356" name="Group 355"/>
              <p:cNvGrpSpPr/>
              <p:nvPr/>
            </p:nvGrpSpPr>
            <p:grpSpPr>
              <a:xfrm>
                <a:off x="10193476" y="4975387"/>
                <a:ext cx="351297" cy="412509"/>
                <a:chOff x="629950" y="2421868"/>
                <a:chExt cx="514492" cy="591215"/>
              </a:xfrm>
              <a:solidFill>
                <a:srgbClr val="173F49"/>
              </a:solidFill>
            </p:grpSpPr>
            <p:sp>
              <p:nvSpPr>
                <p:cNvPr id="391" name="Oval 165"/>
                <p:cNvSpPr>
                  <a:spLocks noChangeArrowheads="1"/>
                </p:cNvSpPr>
                <p:nvPr/>
              </p:nvSpPr>
              <p:spPr bwMode="auto">
                <a:xfrm>
                  <a:off x="958503" y="2421868"/>
                  <a:ext cx="119146"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2" name="Freeform 166"/>
                <p:cNvSpPr>
                  <a:spLocks noEditPoints="1"/>
                </p:cNvSpPr>
                <p:nvPr/>
              </p:nvSpPr>
              <p:spPr bwMode="auto">
                <a:xfrm>
                  <a:off x="891709" y="2556358"/>
                  <a:ext cx="252733" cy="456725"/>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3" name="Oval 167"/>
                <p:cNvSpPr>
                  <a:spLocks noChangeArrowheads="1"/>
                </p:cNvSpPr>
                <p:nvPr/>
              </p:nvSpPr>
              <p:spPr bwMode="auto">
                <a:xfrm>
                  <a:off x="696744" y="2421868"/>
                  <a:ext cx="121854"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4" name="Freeform 168"/>
                <p:cNvSpPr>
                  <a:spLocks noEditPoints="1"/>
                </p:cNvSpPr>
                <p:nvPr/>
              </p:nvSpPr>
              <p:spPr bwMode="auto">
                <a:xfrm>
                  <a:off x="629950" y="2556358"/>
                  <a:ext cx="252733" cy="456725"/>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grpSp>
        <p:grpSp>
          <p:nvGrpSpPr>
            <p:cNvPr id="413" name="Group 412"/>
            <p:cNvGrpSpPr/>
            <p:nvPr/>
          </p:nvGrpSpPr>
          <p:grpSpPr>
            <a:xfrm>
              <a:off x="10744200" y="4532277"/>
              <a:ext cx="881655" cy="855620"/>
              <a:chOff x="9831372" y="4532277"/>
              <a:chExt cx="881655" cy="855620"/>
            </a:xfrm>
          </p:grpSpPr>
          <p:sp>
            <p:nvSpPr>
              <p:cNvPr id="414" name="Freeform 157"/>
              <p:cNvSpPr>
                <a:spLocks/>
              </p:cNvSpPr>
              <p:nvPr/>
            </p:nvSpPr>
            <p:spPr bwMode="auto">
              <a:xfrm>
                <a:off x="9831372"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15" name="Oval 158"/>
              <p:cNvSpPr>
                <a:spLocks noChangeArrowheads="1"/>
              </p:cNvSpPr>
              <p:nvPr/>
            </p:nvSpPr>
            <p:spPr bwMode="auto">
              <a:xfrm>
                <a:off x="9869582"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16" name="Freeform 153"/>
              <p:cNvSpPr>
                <a:spLocks/>
              </p:cNvSpPr>
              <p:nvPr/>
            </p:nvSpPr>
            <p:spPr bwMode="auto">
              <a:xfrm>
                <a:off x="10016595"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17" name="Oval 154"/>
              <p:cNvSpPr>
                <a:spLocks noChangeArrowheads="1"/>
              </p:cNvSpPr>
              <p:nvPr/>
            </p:nvSpPr>
            <p:spPr bwMode="auto">
              <a:xfrm>
                <a:off x="10054805" y="453227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18" name="Freeform 159"/>
              <p:cNvSpPr>
                <a:spLocks/>
              </p:cNvSpPr>
              <p:nvPr/>
            </p:nvSpPr>
            <p:spPr bwMode="auto">
              <a:xfrm>
                <a:off x="10553402" y="4626745"/>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19" name="Oval 160"/>
              <p:cNvSpPr>
                <a:spLocks noChangeArrowheads="1"/>
              </p:cNvSpPr>
              <p:nvPr/>
            </p:nvSpPr>
            <p:spPr bwMode="auto">
              <a:xfrm>
                <a:off x="10592846" y="453227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420" name="Group 419"/>
              <p:cNvGrpSpPr/>
              <p:nvPr/>
            </p:nvGrpSpPr>
            <p:grpSpPr>
              <a:xfrm>
                <a:off x="10193476" y="4532277"/>
                <a:ext cx="351297" cy="412509"/>
                <a:chOff x="629950" y="2421868"/>
                <a:chExt cx="514492" cy="591215"/>
              </a:xfrm>
              <a:solidFill>
                <a:srgbClr val="173F49"/>
              </a:solidFill>
            </p:grpSpPr>
            <p:sp>
              <p:nvSpPr>
                <p:cNvPr id="432" name="Oval 165"/>
                <p:cNvSpPr>
                  <a:spLocks noChangeArrowheads="1"/>
                </p:cNvSpPr>
                <p:nvPr/>
              </p:nvSpPr>
              <p:spPr bwMode="auto">
                <a:xfrm>
                  <a:off x="958503" y="2421868"/>
                  <a:ext cx="119146"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33" name="Freeform 166"/>
                <p:cNvSpPr>
                  <a:spLocks noEditPoints="1"/>
                </p:cNvSpPr>
                <p:nvPr/>
              </p:nvSpPr>
              <p:spPr bwMode="auto">
                <a:xfrm>
                  <a:off x="891709" y="2556358"/>
                  <a:ext cx="252733" cy="456725"/>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34" name="Oval 167"/>
                <p:cNvSpPr>
                  <a:spLocks noChangeArrowheads="1"/>
                </p:cNvSpPr>
                <p:nvPr/>
              </p:nvSpPr>
              <p:spPr bwMode="auto">
                <a:xfrm>
                  <a:off x="696744" y="2421868"/>
                  <a:ext cx="121854"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35" name="Freeform 168"/>
                <p:cNvSpPr>
                  <a:spLocks noEditPoints="1"/>
                </p:cNvSpPr>
                <p:nvPr/>
              </p:nvSpPr>
              <p:spPr bwMode="auto">
                <a:xfrm>
                  <a:off x="629950" y="2556358"/>
                  <a:ext cx="252733" cy="456725"/>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sp>
            <p:nvSpPr>
              <p:cNvPr id="421" name="Freeform 157"/>
              <p:cNvSpPr>
                <a:spLocks/>
              </p:cNvSpPr>
              <p:nvPr/>
            </p:nvSpPr>
            <p:spPr bwMode="auto">
              <a:xfrm>
                <a:off x="9831372"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19 w 109"/>
                  <a:gd name="T11" fmla="*/ 104 h 213"/>
                  <a:gd name="T12" fmla="*/ 19 w 109"/>
                  <a:gd name="T13" fmla="*/ 35 h 213"/>
                  <a:gd name="T14" fmla="*/ 21 w 109"/>
                  <a:gd name="T15" fmla="*/ 33 h 213"/>
                  <a:gd name="T16" fmla="*/ 21 w 109"/>
                  <a:gd name="T17" fmla="*/ 33 h 213"/>
                  <a:gd name="T18" fmla="*/ 23 w 109"/>
                  <a:gd name="T19" fmla="*/ 35 h 213"/>
                  <a:gd name="T20" fmla="*/ 23 w 109"/>
                  <a:gd name="T21" fmla="*/ 198 h 213"/>
                  <a:gd name="T22" fmla="*/ 37 w 109"/>
                  <a:gd name="T23" fmla="*/ 213 h 213"/>
                  <a:gd name="T24" fmla="*/ 52 w 109"/>
                  <a:gd name="T25" fmla="*/ 198 h 213"/>
                  <a:gd name="T26" fmla="*/ 52 w 109"/>
                  <a:gd name="T27" fmla="*/ 116 h 213"/>
                  <a:gd name="T28" fmla="*/ 54 w 109"/>
                  <a:gd name="T29" fmla="*/ 114 h 213"/>
                  <a:gd name="T30" fmla="*/ 54 w 109"/>
                  <a:gd name="T31" fmla="*/ 114 h 213"/>
                  <a:gd name="T32" fmla="*/ 56 w 109"/>
                  <a:gd name="T33" fmla="*/ 116 h 213"/>
                  <a:gd name="T34" fmla="*/ 56 w 109"/>
                  <a:gd name="T35" fmla="*/ 198 h 213"/>
                  <a:gd name="T36" fmla="*/ 70 w 109"/>
                  <a:gd name="T37" fmla="*/ 213 h 213"/>
                  <a:gd name="T38" fmla="*/ 85 w 109"/>
                  <a:gd name="T39" fmla="*/ 198 h 213"/>
                  <a:gd name="T40" fmla="*/ 85 w 109"/>
                  <a:gd name="T41" fmla="*/ 35 h 213"/>
                  <a:gd name="T42" fmla="*/ 87 w 109"/>
                  <a:gd name="T43" fmla="*/ 33 h 213"/>
                  <a:gd name="T44" fmla="*/ 87 w 109"/>
                  <a:gd name="T45" fmla="*/ 33 h 213"/>
                  <a:gd name="T46" fmla="*/ 89 w 109"/>
                  <a:gd name="T47" fmla="*/ 35 h 213"/>
                  <a:gd name="T48" fmla="*/ 89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4" y="0"/>
                      <a:pt x="0" y="15"/>
                      <a:pt x="0" y="32"/>
                    </a:cubicBezTo>
                    <a:cubicBezTo>
                      <a:pt x="0" y="78"/>
                      <a:pt x="0" y="78"/>
                      <a:pt x="0" y="78"/>
                    </a:cubicBezTo>
                    <a:cubicBezTo>
                      <a:pt x="0" y="90"/>
                      <a:pt x="6" y="100"/>
                      <a:pt x="16" y="106"/>
                    </a:cubicBezTo>
                    <a:cubicBezTo>
                      <a:pt x="17" y="107"/>
                      <a:pt x="19" y="105"/>
                      <a:pt x="19" y="104"/>
                    </a:cubicBezTo>
                    <a:cubicBezTo>
                      <a:pt x="19" y="35"/>
                      <a:pt x="19" y="35"/>
                      <a:pt x="19" y="35"/>
                    </a:cubicBezTo>
                    <a:cubicBezTo>
                      <a:pt x="19" y="34"/>
                      <a:pt x="20" y="33"/>
                      <a:pt x="21" y="33"/>
                    </a:cubicBezTo>
                    <a:cubicBezTo>
                      <a:pt x="21" y="33"/>
                      <a:pt x="21" y="33"/>
                      <a:pt x="21" y="33"/>
                    </a:cubicBezTo>
                    <a:cubicBezTo>
                      <a:pt x="23" y="33"/>
                      <a:pt x="23" y="34"/>
                      <a:pt x="23" y="35"/>
                    </a:cubicBezTo>
                    <a:cubicBezTo>
                      <a:pt x="23" y="198"/>
                      <a:pt x="23" y="198"/>
                      <a:pt x="23" y="198"/>
                    </a:cubicBezTo>
                    <a:cubicBezTo>
                      <a:pt x="23" y="206"/>
                      <a:pt x="30" y="213"/>
                      <a:pt x="37" y="213"/>
                    </a:cubicBezTo>
                    <a:cubicBezTo>
                      <a:pt x="46" y="213"/>
                      <a:pt x="52" y="207"/>
                      <a:pt x="52" y="198"/>
                    </a:cubicBezTo>
                    <a:cubicBezTo>
                      <a:pt x="52" y="116"/>
                      <a:pt x="52" y="116"/>
                      <a:pt x="52" y="116"/>
                    </a:cubicBezTo>
                    <a:cubicBezTo>
                      <a:pt x="52" y="115"/>
                      <a:pt x="53" y="114"/>
                      <a:pt x="54" y="114"/>
                    </a:cubicBezTo>
                    <a:cubicBezTo>
                      <a:pt x="54" y="114"/>
                      <a:pt x="54" y="114"/>
                      <a:pt x="54" y="114"/>
                    </a:cubicBezTo>
                    <a:cubicBezTo>
                      <a:pt x="55" y="114"/>
                      <a:pt x="56" y="115"/>
                      <a:pt x="56" y="116"/>
                    </a:cubicBezTo>
                    <a:cubicBezTo>
                      <a:pt x="56" y="198"/>
                      <a:pt x="56" y="198"/>
                      <a:pt x="56" y="198"/>
                    </a:cubicBezTo>
                    <a:cubicBezTo>
                      <a:pt x="56" y="206"/>
                      <a:pt x="62" y="213"/>
                      <a:pt x="70" y="213"/>
                    </a:cubicBezTo>
                    <a:cubicBezTo>
                      <a:pt x="79" y="213"/>
                      <a:pt x="85" y="207"/>
                      <a:pt x="85" y="198"/>
                    </a:cubicBezTo>
                    <a:cubicBezTo>
                      <a:pt x="85" y="35"/>
                      <a:pt x="85" y="35"/>
                      <a:pt x="85" y="35"/>
                    </a:cubicBezTo>
                    <a:cubicBezTo>
                      <a:pt x="85" y="34"/>
                      <a:pt x="86" y="33"/>
                      <a:pt x="87" y="33"/>
                    </a:cubicBezTo>
                    <a:cubicBezTo>
                      <a:pt x="87" y="33"/>
                      <a:pt x="87" y="33"/>
                      <a:pt x="87" y="33"/>
                    </a:cubicBezTo>
                    <a:cubicBezTo>
                      <a:pt x="88" y="33"/>
                      <a:pt x="89" y="34"/>
                      <a:pt x="89" y="35"/>
                    </a:cubicBezTo>
                    <a:cubicBezTo>
                      <a:pt x="89" y="103"/>
                      <a:pt x="89" y="103"/>
                      <a:pt x="89" y="103"/>
                    </a:cubicBezTo>
                    <a:cubicBezTo>
                      <a:pt x="89" y="105"/>
                      <a:pt x="91" y="106"/>
                      <a:pt x="93" y="105"/>
                    </a:cubicBezTo>
                    <a:cubicBezTo>
                      <a:pt x="102" y="100"/>
                      <a:pt x="109" y="90"/>
                      <a:pt x="109" y="78"/>
                    </a:cubicBezTo>
                    <a:cubicBezTo>
                      <a:pt x="109" y="32"/>
                      <a:pt x="109" y="32"/>
                      <a:pt x="109" y="32"/>
                    </a:cubicBezTo>
                    <a:cubicBezTo>
                      <a:pt x="109" y="15"/>
                      <a:pt x="94"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22" name="Oval 158"/>
              <p:cNvSpPr>
                <a:spLocks noChangeArrowheads="1"/>
              </p:cNvSpPr>
              <p:nvPr/>
            </p:nvSpPr>
            <p:spPr bwMode="auto">
              <a:xfrm>
                <a:off x="9869582"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23" name="Freeform 153"/>
              <p:cNvSpPr>
                <a:spLocks/>
              </p:cNvSpPr>
              <p:nvPr/>
            </p:nvSpPr>
            <p:spPr bwMode="auto">
              <a:xfrm>
                <a:off x="10016595"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3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3"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24" name="Oval 154"/>
              <p:cNvSpPr>
                <a:spLocks noChangeArrowheads="1"/>
              </p:cNvSpPr>
              <p:nvPr/>
            </p:nvSpPr>
            <p:spPr bwMode="auto">
              <a:xfrm>
                <a:off x="10054805" y="4975387"/>
                <a:ext cx="83202"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25" name="Freeform 159"/>
              <p:cNvSpPr>
                <a:spLocks/>
              </p:cNvSpPr>
              <p:nvPr/>
            </p:nvSpPr>
            <p:spPr bwMode="auto">
              <a:xfrm>
                <a:off x="10553402" y="5069856"/>
                <a:ext cx="159625" cy="318041"/>
              </a:xfrm>
              <a:custGeom>
                <a:avLst/>
                <a:gdLst>
                  <a:gd name="T0" fmla="*/ 77 w 109"/>
                  <a:gd name="T1" fmla="*/ 0 h 213"/>
                  <a:gd name="T2" fmla="*/ 32 w 109"/>
                  <a:gd name="T3" fmla="*/ 0 h 213"/>
                  <a:gd name="T4" fmla="*/ 0 w 109"/>
                  <a:gd name="T5" fmla="*/ 32 h 213"/>
                  <a:gd name="T6" fmla="*/ 0 w 109"/>
                  <a:gd name="T7" fmla="*/ 78 h 213"/>
                  <a:gd name="T8" fmla="*/ 16 w 109"/>
                  <a:gd name="T9" fmla="*/ 106 h 213"/>
                  <a:gd name="T10" fmla="*/ 20 w 109"/>
                  <a:gd name="T11" fmla="*/ 104 h 213"/>
                  <a:gd name="T12" fmla="*/ 20 w 109"/>
                  <a:gd name="T13" fmla="*/ 35 h 213"/>
                  <a:gd name="T14" fmla="*/ 22 w 109"/>
                  <a:gd name="T15" fmla="*/ 33 h 213"/>
                  <a:gd name="T16" fmla="*/ 22 w 109"/>
                  <a:gd name="T17" fmla="*/ 33 h 213"/>
                  <a:gd name="T18" fmla="*/ 24 w 109"/>
                  <a:gd name="T19" fmla="*/ 35 h 213"/>
                  <a:gd name="T20" fmla="*/ 24 w 109"/>
                  <a:gd name="T21" fmla="*/ 198 h 213"/>
                  <a:gd name="T22" fmla="*/ 38 w 109"/>
                  <a:gd name="T23" fmla="*/ 213 h 213"/>
                  <a:gd name="T24" fmla="*/ 53 w 109"/>
                  <a:gd name="T25" fmla="*/ 198 h 213"/>
                  <a:gd name="T26" fmla="*/ 53 w 109"/>
                  <a:gd name="T27" fmla="*/ 116 h 213"/>
                  <a:gd name="T28" fmla="*/ 55 w 109"/>
                  <a:gd name="T29" fmla="*/ 114 h 213"/>
                  <a:gd name="T30" fmla="*/ 55 w 109"/>
                  <a:gd name="T31" fmla="*/ 114 h 213"/>
                  <a:gd name="T32" fmla="*/ 57 w 109"/>
                  <a:gd name="T33" fmla="*/ 116 h 213"/>
                  <a:gd name="T34" fmla="*/ 57 w 109"/>
                  <a:gd name="T35" fmla="*/ 198 h 213"/>
                  <a:gd name="T36" fmla="*/ 71 w 109"/>
                  <a:gd name="T37" fmla="*/ 213 h 213"/>
                  <a:gd name="T38" fmla="*/ 86 w 109"/>
                  <a:gd name="T39" fmla="*/ 198 h 213"/>
                  <a:gd name="T40" fmla="*/ 86 w 109"/>
                  <a:gd name="T41" fmla="*/ 35 h 213"/>
                  <a:gd name="T42" fmla="*/ 88 w 109"/>
                  <a:gd name="T43" fmla="*/ 33 h 213"/>
                  <a:gd name="T44" fmla="*/ 88 w 109"/>
                  <a:gd name="T45" fmla="*/ 33 h 213"/>
                  <a:gd name="T46" fmla="*/ 90 w 109"/>
                  <a:gd name="T47" fmla="*/ 35 h 213"/>
                  <a:gd name="T48" fmla="*/ 90 w 109"/>
                  <a:gd name="T49" fmla="*/ 103 h 213"/>
                  <a:gd name="T50" fmla="*/ 94 w 109"/>
                  <a:gd name="T51" fmla="*/ 105 h 213"/>
                  <a:gd name="T52" fmla="*/ 109 w 109"/>
                  <a:gd name="T53" fmla="*/ 78 h 213"/>
                  <a:gd name="T54" fmla="*/ 109 w 109"/>
                  <a:gd name="T55" fmla="*/ 32 h 213"/>
                  <a:gd name="T56" fmla="*/ 77 w 109"/>
                  <a:gd name="T57"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9" h="213">
                    <a:moveTo>
                      <a:pt x="77" y="0"/>
                    </a:moveTo>
                    <a:cubicBezTo>
                      <a:pt x="32" y="0"/>
                      <a:pt x="32" y="0"/>
                      <a:pt x="32" y="0"/>
                    </a:cubicBezTo>
                    <a:cubicBezTo>
                      <a:pt x="15" y="0"/>
                      <a:pt x="0" y="15"/>
                      <a:pt x="0" y="32"/>
                    </a:cubicBezTo>
                    <a:cubicBezTo>
                      <a:pt x="0" y="78"/>
                      <a:pt x="0" y="78"/>
                      <a:pt x="0" y="78"/>
                    </a:cubicBezTo>
                    <a:cubicBezTo>
                      <a:pt x="0" y="90"/>
                      <a:pt x="7" y="100"/>
                      <a:pt x="16" y="106"/>
                    </a:cubicBezTo>
                    <a:cubicBezTo>
                      <a:pt x="18" y="107"/>
                      <a:pt x="20" y="105"/>
                      <a:pt x="20" y="104"/>
                    </a:cubicBezTo>
                    <a:cubicBezTo>
                      <a:pt x="20" y="35"/>
                      <a:pt x="20" y="35"/>
                      <a:pt x="20" y="35"/>
                    </a:cubicBezTo>
                    <a:cubicBezTo>
                      <a:pt x="20" y="34"/>
                      <a:pt x="21" y="33"/>
                      <a:pt x="22" y="33"/>
                    </a:cubicBezTo>
                    <a:cubicBezTo>
                      <a:pt x="22" y="33"/>
                      <a:pt x="22" y="33"/>
                      <a:pt x="22" y="33"/>
                    </a:cubicBezTo>
                    <a:cubicBezTo>
                      <a:pt x="23" y="33"/>
                      <a:pt x="24" y="34"/>
                      <a:pt x="24" y="35"/>
                    </a:cubicBezTo>
                    <a:cubicBezTo>
                      <a:pt x="24" y="198"/>
                      <a:pt x="24" y="198"/>
                      <a:pt x="24" y="198"/>
                    </a:cubicBezTo>
                    <a:cubicBezTo>
                      <a:pt x="24" y="206"/>
                      <a:pt x="30" y="213"/>
                      <a:pt x="38" y="213"/>
                    </a:cubicBezTo>
                    <a:cubicBezTo>
                      <a:pt x="46" y="213"/>
                      <a:pt x="53" y="207"/>
                      <a:pt x="53" y="198"/>
                    </a:cubicBezTo>
                    <a:cubicBezTo>
                      <a:pt x="53" y="116"/>
                      <a:pt x="53" y="116"/>
                      <a:pt x="53" y="116"/>
                    </a:cubicBezTo>
                    <a:cubicBezTo>
                      <a:pt x="53" y="115"/>
                      <a:pt x="54" y="114"/>
                      <a:pt x="55" y="114"/>
                    </a:cubicBezTo>
                    <a:cubicBezTo>
                      <a:pt x="55" y="114"/>
                      <a:pt x="55" y="114"/>
                      <a:pt x="55" y="114"/>
                    </a:cubicBezTo>
                    <a:cubicBezTo>
                      <a:pt x="56" y="114"/>
                      <a:pt x="57" y="115"/>
                      <a:pt x="57" y="116"/>
                    </a:cubicBezTo>
                    <a:cubicBezTo>
                      <a:pt x="57" y="198"/>
                      <a:pt x="57" y="198"/>
                      <a:pt x="57" y="198"/>
                    </a:cubicBezTo>
                    <a:cubicBezTo>
                      <a:pt x="57" y="206"/>
                      <a:pt x="63" y="213"/>
                      <a:pt x="71" y="213"/>
                    </a:cubicBezTo>
                    <a:cubicBezTo>
                      <a:pt x="79" y="213"/>
                      <a:pt x="86" y="207"/>
                      <a:pt x="86" y="198"/>
                    </a:cubicBezTo>
                    <a:cubicBezTo>
                      <a:pt x="86" y="35"/>
                      <a:pt x="86" y="35"/>
                      <a:pt x="86" y="35"/>
                    </a:cubicBezTo>
                    <a:cubicBezTo>
                      <a:pt x="86" y="34"/>
                      <a:pt x="87" y="33"/>
                      <a:pt x="88" y="33"/>
                    </a:cubicBezTo>
                    <a:cubicBezTo>
                      <a:pt x="88" y="33"/>
                      <a:pt x="88" y="33"/>
                      <a:pt x="88" y="33"/>
                    </a:cubicBezTo>
                    <a:cubicBezTo>
                      <a:pt x="89" y="33"/>
                      <a:pt x="90" y="34"/>
                      <a:pt x="90" y="35"/>
                    </a:cubicBezTo>
                    <a:cubicBezTo>
                      <a:pt x="90" y="103"/>
                      <a:pt x="90" y="103"/>
                      <a:pt x="90" y="103"/>
                    </a:cubicBezTo>
                    <a:cubicBezTo>
                      <a:pt x="90" y="105"/>
                      <a:pt x="92" y="106"/>
                      <a:pt x="94" y="105"/>
                    </a:cubicBezTo>
                    <a:cubicBezTo>
                      <a:pt x="103" y="100"/>
                      <a:pt x="109" y="90"/>
                      <a:pt x="109" y="78"/>
                    </a:cubicBezTo>
                    <a:cubicBezTo>
                      <a:pt x="109" y="32"/>
                      <a:pt x="109" y="32"/>
                      <a:pt x="109" y="32"/>
                    </a:cubicBezTo>
                    <a:cubicBezTo>
                      <a:pt x="109" y="15"/>
                      <a:pt x="95" y="0"/>
                      <a:pt x="77" y="0"/>
                    </a:cubicBezTo>
                    <a:close/>
                  </a:path>
                </a:pathLst>
              </a:cu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426" name="Oval 160"/>
              <p:cNvSpPr>
                <a:spLocks noChangeArrowheads="1"/>
              </p:cNvSpPr>
              <p:nvPr/>
            </p:nvSpPr>
            <p:spPr bwMode="auto">
              <a:xfrm>
                <a:off x="10592846" y="4975387"/>
                <a:ext cx="81969" cy="83761"/>
              </a:xfrm>
              <a:prstGeom prst="ellipse">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grpSp>
            <p:nvGrpSpPr>
              <p:cNvPr id="427" name="Group 426"/>
              <p:cNvGrpSpPr/>
              <p:nvPr/>
            </p:nvGrpSpPr>
            <p:grpSpPr>
              <a:xfrm>
                <a:off x="10193476" y="4975387"/>
                <a:ext cx="351297" cy="412509"/>
                <a:chOff x="629950" y="2421868"/>
                <a:chExt cx="514492" cy="591215"/>
              </a:xfrm>
              <a:solidFill>
                <a:srgbClr val="173F49"/>
              </a:solidFill>
            </p:grpSpPr>
            <p:sp>
              <p:nvSpPr>
                <p:cNvPr id="428" name="Oval 165"/>
                <p:cNvSpPr>
                  <a:spLocks noChangeArrowheads="1"/>
                </p:cNvSpPr>
                <p:nvPr/>
              </p:nvSpPr>
              <p:spPr bwMode="auto">
                <a:xfrm>
                  <a:off x="958503" y="2421868"/>
                  <a:ext cx="119146"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29" name="Freeform 166"/>
                <p:cNvSpPr>
                  <a:spLocks noEditPoints="1"/>
                </p:cNvSpPr>
                <p:nvPr/>
              </p:nvSpPr>
              <p:spPr bwMode="auto">
                <a:xfrm>
                  <a:off x="891709" y="2556358"/>
                  <a:ext cx="252733" cy="456725"/>
                </a:xfrm>
                <a:custGeom>
                  <a:avLst/>
                  <a:gdLst>
                    <a:gd name="T0" fmla="*/ 118 w 118"/>
                    <a:gd name="T1" fmla="*/ 142 h 213"/>
                    <a:gd name="T2" fmla="*/ 102 w 118"/>
                    <a:gd name="T3" fmla="*/ 102 h 213"/>
                    <a:gd name="T4" fmla="*/ 113 w 118"/>
                    <a:gd name="T5" fmla="*/ 78 h 213"/>
                    <a:gd name="T6" fmla="*/ 113 w 118"/>
                    <a:gd name="T7" fmla="*/ 32 h 213"/>
                    <a:gd name="T8" fmla="*/ 81 w 118"/>
                    <a:gd name="T9" fmla="*/ 0 h 213"/>
                    <a:gd name="T10" fmla="*/ 36 w 118"/>
                    <a:gd name="T11" fmla="*/ 0 h 213"/>
                    <a:gd name="T12" fmla="*/ 4 w 118"/>
                    <a:gd name="T13" fmla="*/ 32 h 213"/>
                    <a:gd name="T14" fmla="*/ 4 w 118"/>
                    <a:gd name="T15" fmla="*/ 78 h 213"/>
                    <a:gd name="T16" fmla="*/ 15 w 118"/>
                    <a:gd name="T17" fmla="*/ 102 h 213"/>
                    <a:gd name="T18" fmla="*/ 0 w 118"/>
                    <a:gd name="T19" fmla="*/ 142 h 213"/>
                    <a:gd name="T20" fmla="*/ 28 w 118"/>
                    <a:gd name="T21" fmla="*/ 142 h 213"/>
                    <a:gd name="T22" fmla="*/ 28 w 118"/>
                    <a:gd name="T23" fmla="*/ 198 h 213"/>
                    <a:gd name="T24" fmla="*/ 42 w 118"/>
                    <a:gd name="T25" fmla="*/ 213 h 213"/>
                    <a:gd name="T26" fmla="*/ 57 w 118"/>
                    <a:gd name="T27" fmla="*/ 198 h 213"/>
                    <a:gd name="T28" fmla="*/ 57 w 118"/>
                    <a:gd name="T29" fmla="*/ 142 h 213"/>
                    <a:gd name="T30" fmla="*/ 61 w 118"/>
                    <a:gd name="T31" fmla="*/ 142 h 213"/>
                    <a:gd name="T32" fmla="*/ 61 w 118"/>
                    <a:gd name="T33" fmla="*/ 198 h 213"/>
                    <a:gd name="T34" fmla="*/ 75 w 118"/>
                    <a:gd name="T35" fmla="*/ 213 h 213"/>
                    <a:gd name="T36" fmla="*/ 90 w 118"/>
                    <a:gd name="T37" fmla="*/ 198 h 213"/>
                    <a:gd name="T38" fmla="*/ 90 w 118"/>
                    <a:gd name="T39" fmla="*/ 142 h 213"/>
                    <a:gd name="T40" fmla="*/ 118 w 118"/>
                    <a:gd name="T41" fmla="*/ 142 h 213"/>
                    <a:gd name="T42" fmla="*/ 92 w 118"/>
                    <a:gd name="T43" fmla="*/ 33 h 213"/>
                    <a:gd name="T44" fmla="*/ 92 w 118"/>
                    <a:gd name="T45" fmla="*/ 33 h 213"/>
                    <a:gd name="T46" fmla="*/ 94 w 118"/>
                    <a:gd name="T47" fmla="*/ 35 h 213"/>
                    <a:gd name="T48" fmla="*/ 94 w 118"/>
                    <a:gd name="T49" fmla="*/ 81 h 213"/>
                    <a:gd name="T50" fmla="*/ 90 w 118"/>
                    <a:gd name="T51" fmla="*/ 70 h 213"/>
                    <a:gd name="T52" fmla="*/ 90 w 118"/>
                    <a:gd name="T53" fmla="*/ 35 h 213"/>
                    <a:gd name="T54" fmla="*/ 92 w 118"/>
                    <a:gd name="T55" fmla="*/ 33 h 213"/>
                    <a:gd name="T56" fmla="*/ 24 w 118"/>
                    <a:gd name="T57" fmla="*/ 80 h 213"/>
                    <a:gd name="T58" fmla="*/ 24 w 118"/>
                    <a:gd name="T59" fmla="*/ 35 h 213"/>
                    <a:gd name="T60" fmla="*/ 26 w 118"/>
                    <a:gd name="T61" fmla="*/ 33 h 213"/>
                    <a:gd name="T62" fmla="*/ 28 w 118"/>
                    <a:gd name="T63" fmla="*/ 35 h 213"/>
                    <a:gd name="T64" fmla="*/ 28 w 118"/>
                    <a:gd name="T65" fmla="*/ 69 h 213"/>
                    <a:gd name="T66" fmla="*/ 24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2" y="102"/>
                        <a:pt x="102" y="102"/>
                        <a:pt x="102" y="102"/>
                      </a:cubicBezTo>
                      <a:cubicBezTo>
                        <a:pt x="109" y="96"/>
                        <a:pt x="113" y="87"/>
                        <a:pt x="113" y="78"/>
                      </a:cubicBezTo>
                      <a:cubicBezTo>
                        <a:pt x="113" y="32"/>
                        <a:pt x="113" y="32"/>
                        <a:pt x="113" y="32"/>
                      </a:cubicBezTo>
                      <a:cubicBezTo>
                        <a:pt x="113" y="14"/>
                        <a:pt x="99" y="0"/>
                        <a:pt x="81" y="0"/>
                      </a:cubicBezTo>
                      <a:cubicBezTo>
                        <a:pt x="36" y="0"/>
                        <a:pt x="36" y="0"/>
                        <a:pt x="36" y="0"/>
                      </a:cubicBezTo>
                      <a:cubicBezTo>
                        <a:pt x="19" y="0"/>
                        <a:pt x="4" y="14"/>
                        <a:pt x="4" y="32"/>
                      </a:cubicBezTo>
                      <a:cubicBezTo>
                        <a:pt x="4" y="78"/>
                        <a:pt x="4" y="78"/>
                        <a:pt x="4" y="78"/>
                      </a:cubicBezTo>
                      <a:cubicBezTo>
                        <a:pt x="4" y="87"/>
                        <a:pt x="9" y="96"/>
                        <a:pt x="15" y="102"/>
                      </a:cubicBezTo>
                      <a:cubicBezTo>
                        <a:pt x="0" y="142"/>
                        <a:pt x="0" y="142"/>
                        <a:pt x="0" y="142"/>
                      </a:cubicBezTo>
                      <a:cubicBezTo>
                        <a:pt x="28" y="142"/>
                        <a:pt x="28" y="142"/>
                        <a:pt x="28" y="142"/>
                      </a:cubicBezTo>
                      <a:cubicBezTo>
                        <a:pt x="28" y="198"/>
                        <a:pt x="28" y="198"/>
                        <a:pt x="28" y="198"/>
                      </a:cubicBezTo>
                      <a:cubicBezTo>
                        <a:pt x="28" y="206"/>
                        <a:pt x="34" y="212"/>
                        <a:pt x="42" y="213"/>
                      </a:cubicBezTo>
                      <a:cubicBezTo>
                        <a:pt x="50" y="213"/>
                        <a:pt x="57" y="206"/>
                        <a:pt x="57" y="198"/>
                      </a:cubicBezTo>
                      <a:cubicBezTo>
                        <a:pt x="57" y="142"/>
                        <a:pt x="57" y="142"/>
                        <a:pt x="57" y="142"/>
                      </a:cubicBezTo>
                      <a:cubicBezTo>
                        <a:pt x="61" y="142"/>
                        <a:pt x="61" y="142"/>
                        <a:pt x="61" y="142"/>
                      </a:cubicBezTo>
                      <a:cubicBezTo>
                        <a:pt x="61" y="198"/>
                        <a:pt x="61" y="198"/>
                        <a:pt x="61" y="198"/>
                      </a:cubicBezTo>
                      <a:cubicBezTo>
                        <a:pt x="61" y="206"/>
                        <a:pt x="67" y="212"/>
                        <a:pt x="75" y="213"/>
                      </a:cubicBezTo>
                      <a:cubicBezTo>
                        <a:pt x="83" y="213"/>
                        <a:pt x="90" y="206"/>
                        <a:pt x="90" y="198"/>
                      </a:cubicBezTo>
                      <a:cubicBezTo>
                        <a:pt x="90" y="142"/>
                        <a:pt x="90" y="142"/>
                        <a:pt x="90" y="142"/>
                      </a:cubicBezTo>
                      <a:lnTo>
                        <a:pt x="118" y="142"/>
                      </a:lnTo>
                      <a:close/>
                      <a:moveTo>
                        <a:pt x="92" y="33"/>
                      </a:moveTo>
                      <a:cubicBezTo>
                        <a:pt x="92" y="33"/>
                        <a:pt x="92" y="33"/>
                        <a:pt x="92" y="33"/>
                      </a:cubicBezTo>
                      <a:cubicBezTo>
                        <a:pt x="93" y="33"/>
                        <a:pt x="94" y="34"/>
                        <a:pt x="94" y="35"/>
                      </a:cubicBezTo>
                      <a:cubicBezTo>
                        <a:pt x="94" y="81"/>
                        <a:pt x="94" y="81"/>
                        <a:pt x="94" y="81"/>
                      </a:cubicBezTo>
                      <a:cubicBezTo>
                        <a:pt x="90" y="70"/>
                        <a:pt x="90" y="70"/>
                        <a:pt x="90" y="70"/>
                      </a:cubicBezTo>
                      <a:cubicBezTo>
                        <a:pt x="90" y="35"/>
                        <a:pt x="90" y="35"/>
                        <a:pt x="90" y="35"/>
                      </a:cubicBezTo>
                      <a:cubicBezTo>
                        <a:pt x="90" y="34"/>
                        <a:pt x="91" y="33"/>
                        <a:pt x="92" y="33"/>
                      </a:cubicBezTo>
                      <a:close/>
                      <a:moveTo>
                        <a:pt x="24" y="80"/>
                      </a:moveTo>
                      <a:cubicBezTo>
                        <a:pt x="24" y="35"/>
                        <a:pt x="24" y="35"/>
                        <a:pt x="24" y="35"/>
                      </a:cubicBezTo>
                      <a:cubicBezTo>
                        <a:pt x="24" y="34"/>
                        <a:pt x="25" y="33"/>
                        <a:pt x="26" y="33"/>
                      </a:cubicBezTo>
                      <a:cubicBezTo>
                        <a:pt x="27" y="33"/>
                        <a:pt x="28" y="34"/>
                        <a:pt x="28" y="35"/>
                      </a:cubicBezTo>
                      <a:cubicBezTo>
                        <a:pt x="28" y="69"/>
                        <a:pt x="28" y="69"/>
                        <a:pt x="28" y="69"/>
                      </a:cubicBezTo>
                      <a:lnTo>
                        <a:pt x="2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30" name="Oval 167"/>
                <p:cNvSpPr>
                  <a:spLocks noChangeArrowheads="1"/>
                </p:cNvSpPr>
                <p:nvPr/>
              </p:nvSpPr>
              <p:spPr bwMode="auto">
                <a:xfrm>
                  <a:off x="696744" y="2421868"/>
                  <a:ext cx="121854" cy="12004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31" name="Freeform 168"/>
                <p:cNvSpPr>
                  <a:spLocks noEditPoints="1"/>
                </p:cNvSpPr>
                <p:nvPr/>
              </p:nvSpPr>
              <p:spPr bwMode="auto">
                <a:xfrm>
                  <a:off x="629950" y="2556358"/>
                  <a:ext cx="252733" cy="456725"/>
                </a:xfrm>
                <a:custGeom>
                  <a:avLst/>
                  <a:gdLst>
                    <a:gd name="T0" fmla="*/ 118 w 118"/>
                    <a:gd name="T1" fmla="*/ 142 h 213"/>
                    <a:gd name="T2" fmla="*/ 103 w 118"/>
                    <a:gd name="T3" fmla="*/ 102 h 213"/>
                    <a:gd name="T4" fmla="*/ 114 w 118"/>
                    <a:gd name="T5" fmla="*/ 78 h 213"/>
                    <a:gd name="T6" fmla="*/ 114 w 118"/>
                    <a:gd name="T7" fmla="*/ 32 h 213"/>
                    <a:gd name="T8" fmla="*/ 82 w 118"/>
                    <a:gd name="T9" fmla="*/ 0 h 213"/>
                    <a:gd name="T10" fmla="*/ 37 w 118"/>
                    <a:gd name="T11" fmla="*/ 0 h 213"/>
                    <a:gd name="T12" fmla="*/ 5 w 118"/>
                    <a:gd name="T13" fmla="*/ 32 h 213"/>
                    <a:gd name="T14" fmla="*/ 5 w 118"/>
                    <a:gd name="T15" fmla="*/ 78 h 213"/>
                    <a:gd name="T16" fmla="*/ 16 w 118"/>
                    <a:gd name="T17" fmla="*/ 102 h 213"/>
                    <a:gd name="T18" fmla="*/ 0 w 118"/>
                    <a:gd name="T19" fmla="*/ 142 h 213"/>
                    <a:gd name="T20" fmla="*/ 29 w 118"/>
                    <a:gd name="T21" fmla="*/ 142 h 213"/>
                    <a:gd name="T22" fmla="*/ 29 w 118"/>
                    <a:gd name="T23" fmla="*/ 198 h 213"/>
                    <a:gd name="T24" fmla="*/ 43 w 118"/>
                    <a:gd name="T25" fmla="*/ 213 h 213"/>
                    <a:gd name="T26" fmla="*/ 58 w 118"/>
                    <a:gd name="T27" fmla="*/ 198 h 213"/>
                    <a:gd name="T28" fmla="*/ 58 w 118"/>
                    <a:gd name="T29" fmla="*/ 142 h 213"/>
                    <a:gd name="T30" fmla="*/ 62 w 118"/>
                    <a:gd name="T31" fmla="*/ 142 h 213"/>
                    <a:gd name="T32" fmla="*/ 62 w 118"/>
                    <a:gd name="T33" fmla="*/ 198 h 213"/>
                    <a:gd name="T34" fmla="*/ 76 w 118"/>
                    <a:gd name="T35" fmla="*/ 213 h 213"/>
                    <a:gd name="T36" fmla="*/ 91 w 118"/>
                    <a:gd name="T37" fmla="*/ 198 h 213"/>
                    <a:gd name="T38" fmla="*/ 91 w 118"/>
                    <a:gd name="T39" fmla="*/ 142 h 213"/>
                    <a:gd name="T40" fmla="*/ 118 w 118"/>
                    <a:gd name="T41" fmla="*/ 142 h 213"/>
                    <a:gd name="T42" fmla="*/ 93 w 118"/>
                    <a:gd name="T43" fmla="*/ 33 h 213"/>
                    <a:gd name="T44" fmla="*/ 93 w 118"/>
                    <a:gd name="T45" fmla="*/ 33 h 213"/>
                    <a:gd name="T46" fmla="*/ 95 w 118"/>
                    <a:gd name="T47" fmla="*/ 35 h 213"/>
                    <a:gd name="T48" fmla="*/ 95 w 118"/>
                    <a:gd name="T49" fmla="*/ 81 h 213"/>
                    <a:gd name="T50" fmla="*/ 91 w 118"/>
                    <a:gd name="T51" fmla="*/ 70 h 213"/>
                    <a:gd name="T52" fmla="*/ 91 w 118"/>
                    <a:gd name="T53" fmla="*/ 35 h 213"/>
                    <a:gd name="T54" fmla="*/ 93 w 118"/>
                    <a:gd name="T55" fmla="*/ 33 h 213"/>
                    <a:gd name="T56" fmla="*/ 25 w 118"/>
                    <a:gd name="T57" fmla="*/ 80 h 213"/>
                    <a:gd name="T58" fmla="*/ 25 w 118"/>
                    <a:gd name="T59" fmla="*/ 35 h 213"/>
                    <a:gd name="T60" fmla="*/ 27 w 118"/>
                    <a:gd name="T61" fmla="*/ 33 h 213"/>
                    <a:gd name="T62" fmla="*/ 29 w 118"/>
                    <a:gd name="T63" fmla="*/ 35 h 213"/>
                    <a:gd name="T64" fmla="*/ 29 w 118"/>
                    <a:gd name="T65" fmla="*/ 69 h 213"/>
                    <a:gd name="T66" fmla="*/ 25 w 118"/>
                    <a:gd name="T67" fmla="*/ 8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213">
                      <a:moveTo>
                        <a:pt x="118" y="142"/>
                      </a:moveTo>
                      <a:cubicBezTo>
                        <a:pt x="103" y="102"/>
                        <a:pt x="103" y="102"/>
                        <a:pt x="103" y="102"/>
                      </a:cubicBezTo>
                      <a:cubicBezTo>
                        <a:pt x="110" y="96"/>
                        <a:pt x="114" y="87"/>
                        <a:pt x="114" y="78"/>
                      </a:cubicBezTo>
                      <a:cubicBezTo>
                        <a:pt x="114" y="32"/>
                        <a:pt x="114" y="32"/>
                        <a:pt x="114" y="32"/>
                      </a:cubicBezTo>
                      <a:cubicBezTo>
                        <a:pt x="114" y="14"/>
                        <a:pt x="100" y="0"/>
                        <a:pt x="82" y="0"/>
                      </a:cubicBezTo>
                      <a:cubicBezTo>
                        <a:pt x="37" y="0"/>
                        <a:pt x="37" y="0"/>
                        <a:pt x="37" y="0"/>
                      </a:cubicBezTo>
                      <a:cubicBezTo>
                        <a:pt x="19" y="0"/>
                        <a:pt x="5" y="14"/>
                        <a:pt x="5" y="32"/>
                      </a:cubicBezTo>
                      <a:cubicBezTo>
                        <a:pt x="5" y="78"/>
                        <a:pt x="5" y="78"/>
                        <a:pt x="5" y="78"/>
                      </a:cubicBezTo>
                      <a:cubicBezTo>
                        <a:pt x="5" y="87"/>
                        <a:pt x="9" y="96"/>
                        <a:pt x="16" y="102"/>
                      </a:cubicBezTo>
                      <a:cubicBezTo>
                        <a:pt x="0" y="142"/>
                        <a:pt x="0" y="142"/>
                        <a:pt x="0" y="142"/>
                      </a:cubicBezTo>
                      <a:cubicBezTo>
                        <a:pt x="29" y="142"/>
                        <a:pt x="29" y="142"/>
                        <a:pt x="29" y="142"/>
                      </a:cubicBezTo>
                      <a:cubicBezTo>
                        <a:pt x="29" y="198"/>
                        <a:pt x="29" y="198"/>
                        <a:pt x="29" y="198"/>
                      </a:cubicBezTo>
                      <a:cubicBezTo>
                        <a:pt x="29" y="206"/>
                        <a:pt x="35" y="212"/>
                        <a:pt x="43" y="213"/>
                      </a:cubicBezTo>
                      <a:cubicBezTo>
                        <a:pt x="51" y="213"/>
                        <a:pt x="58" y="206"/>
                        <a:pt x="58" y="198"/>
                      </a:cubicBezTo>
                      <a:cubicBezTo>
                        <a:pt x="58" y="142"/>
                        <a:pt x="58" y="142"/>
                        <a:pt x="58" y="142"/>
                      </a:cubicBezTo>
                      <a:cubicBezTo>
                        <a:pt x="62" y="142"/>
                        <a:pt x="62" y="142"/>
                        <a:pt x="62" y="142"/>
                      </a:cubicBezTo>
                      <a:cubicBezTo>
                        <a:pt x="62" y="198"/>
                        <a:pt x="62" y="198"/>
                        <a:pt x="62" y="198"/>
                      </a:cubicBezTo>
                      <a:cubicBezTo>
                        <a:pt x="62" y="206"/>
                        <a:pt x="68" y="212"/>
                        <a:pt x="76" y="213"/>
                      </a:cubicBezTo>
                      <a:cubicBezTo>
                        <a:pt x="84" y="213"/>
                        <a:pt x="91" y="206"/>
                        <a:pt x="91" y="198"/>
                      </a:cubicBezTo>
                      <a:cubicBezTo>
                        <a:pt x="91" y="142"/>
                        <a:pt x="91" y="142"/>
                        <a:pt x="91" y="142"/>
                      </a:cubicBezTo>
                      <a:lnTo>
                        <a:pt x="118" y="142"/>
                      </a:lnTo>
                      <a:close/>
                      <a:moveTo>
                        <a:pt x="93" y="33"/>
                      </a:moveTo>
                      <a:cubicBezTo>
                        <a:pt x="93" y="33"/>
                        <a:pt x="93" y="33"/>
                        <a:pt x="93" y="33"/>
                      </a:cubicBezTo>
                      <a:cubicBezTo>
                        <a:pt x="94" y="33"/>
                        <a:pt x="95" y="34"/>
                        <a:pt x="95" y="35"/>
                      </a:cubicBezTo>
                      <a:cubicBezTo>
                        <a:pt x="95" y="81"/>
                        <a:pt x="95" y="81"/>
                        <a:pt x="95" y="81"/>
                      </a:cubicBezTo>
                      <a:cubicBezTo>
                        <a:pt x="91" y="70"/>
                        <a:pt x="91" y="70"/>
                        <a:pt x="91" y="70"/>
                      </a:cubicBezTo>
                      <a:cubicBezTo>
                        <a:pt x="91" y="35"/>
                        <a:pt x="91" y="35"/>
                        <a:pt x="91" y="35"/>
                      </a:cubicBezTo>
                      <a:cubicBezTo>
                        <a:pt x="91" y="34"/>
                        <a:pt x="91" y="33"/>
                        <a:pt x="93" y="33"/>
                      </a:cubicBezTo>
                      <a:close/>
                      <a:moveTo>
                        <a:pt x="25" y="80"/>
                      </a:moveTo>
                      <a:cubicBezTo>
                        <a:pt x="25" y="35"/>
                        <a:pt x="25" y="35"/>
                        <a:pt x="25" y="35"/>
                      </a:cubicBezTo>
                      <a:cubicBezTo>
                        <a:pt x="25" y="34"/>
                        <a:pt x="26" y="33"/>
                        <a:pt x="27" y="33"/>
                      </a:cubicBezTo>
                      <a:cubicBezTo>
                        <a:pt x="28" y="33"/>
                        <a:pt x="29" y="34"/>
                        <a:pt x="29" y="35"/>
                      </a:cubicBezTo>
                      <a:cubicBezTo>
                        <a:pt x="29" y="69"/>
                        <a:pt x="29" y="69"/>
                        <a:pt x="29" y="69"/>
                      </a:cubicBezTo>
                      <a:lnTo>
                        <a:pt x="25"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grpSp>
      </p:grpSp>
      <p:grpSp>
        <p:nvGrpSpPr>
          <p:cNvPr id="15" name="Group 14"/>
          <p:cNvGrpSpPr/>
          <p:nvPr/>
        </p:nvGrpSpPr>
        <p:grpSpPr>
          <a:xfrm>
            <a:off x="1205660" y="4339923"/>
            <a:ext cx="7315200" cy="1590191"/>
            <a:chOff x="-83128" y="3845169"/>
            <a:chExt cx="12357190" cy="2465577"/>
          </a:xfrm>
        </p:grpSpPr>
        <p:grpSp>
          <p:nvGrpSpPr>
            <p:cNvPr id="16" name="Group 41"/>
            <p:cNvGrpSpPr>
              <a:grpSpLocks noChangeAspect="1"/>
            </p:cNvGrpSpPr>
            <p:nvPr/>
          </p:nvGrpSpPr>
          <p:grpSpPr bwMode="auto">
            <a:xfrm>
              <a:off x="-83128" y="3845169"/>
              <a:ext cx="6239885" cy="2465577"/>
              <a:chOff x="-95" y="1253"/>
              <a:chExt cx="7661" cy="3175"/>
            </a:xfrm>
          </p:grpSpPr>
          <p:sp>
            <p:nvSpPr>
              <p:cNvPr id="126" name="AutoShape 40"/>
              <p:cNvSpPr>
                <a:spLocks noChangeAspect="1" noChangeArrowheads="1" noTextEdit="1"/>
              </p:cNvSpPr>
              <p:nvPr/>
            </p:nvSpPr>
            <p:spPr bwMode="auto">
              <a:xfrm>
                <a:off x="-95" y="1253"/>
                <a:ext cx="7661"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7" name="Freeform 42"/>
              <p:cNvSpPr>
                <a:spLocks noEditPoints="1"/>
              </p:cNvSpPr>
              <p:nvPr/>
            </p:nvSpPr>
            <p:spPr bwMode="auto">
              <a:xfrm>
                <a:off x="47" y="1755"/>
                <a:ext cx="6930" cy="1359"/>
              </a:xfrm>
              <a:custGeom>
                <a:avLst/>
                <a:gdLst>
                  <a:gd name="T0" fmla="*/ 5734 w 6930"/>
                  <a:gd name="T1" fmla="*/ 1231 h 1359"/>
                  <a:gd name="T2" fmla="*/ 5760 w 6930"/>
                  <a:gd name="T3" fmla="*/ 1129 h 1359"/>
                  <a:gd name="T4" fmla="*/ 5760 w 6930"/>
                  <a:gd name="T5" fmla="*/ 1186 h 1359"/>
                  <a:gd name="T6" fmla="*/ 5760 w 6930"/>
                  <a:gd name="T7" fmla="*/ 1129 h 1359"/>
                  <a:gd name="T8" fmla="*/ 2764 w 6930"/>
                  <a:gd name="T9" fmla="*/ 1146 h 1359"/>
                  <a:gd name="T10" fmla="*/ 5835 w 6930"/>
                  <a:gd name="T11" fmla="*/ 1042 h 1359"/>
                  <a:gd name="T12" fmla="*/ 5835 w 6930"/>
                  <a:gd name="T13" fmla="*/ 1054 h 1359"/>
                  <a:gd name="T14" fmla="*/ 5835 w 6930"/>
                  <a:gd name="T15" fmla="*/ 1042 h 1359"/>
                  <a:gd name="T16" fmla="*/ 2781 w 6930"/>
                  <a:gd name="T17" fmla="*/ 1046 h 1359"/>
                  <a:gd name="T18" fmla="*/ 2783 w 6930"/>
                  <a:gd name="T19" fmla="*/ 1044 h 1359"/>
                  <a:gd name="T20" fmla="*/ 3674 w 6930"/>
                  <a:gd name="T21" fmla="*/ 994 h 1359"/>
                  <a:gd name="T22" fmla="*/ 3674 w 6930"/>
                  <a:gd name="T23" fmla="*/ 1162 h 1359"/>
                  <a:gd name="T24" fmla="*/ 5854 w 6930"/>
                  <a:gd name="T25" fmla="*/ 990 h 1359"/>
                  <a:gd name="T26" fmla="*/ 5852 w 6930"/>
                  <a:gd name="T27" fmla="*/ 1025 h 1359"/>
                  <a:gd name="T28" fmla="*/ 5854 w 6930"/>
                  <a:gd name="T29" fmla="*/ 990 h 1359"/>
                  <a:gd name="T30" fmla="*/ 6242 w 6930"/>
                  <a:gd name="T31" fmla="*/ 1113 h 1359"/>
                  <a:gd name="T32" fmla="*/ 6245 w 6930"/>
                  <a:gd name="T33" fmla="*/ 1110 h 1359"/>
                  <a:gd name="T34" fmla="*/ 6292 w 6930"/>
                  <a:gd name="T35" fmla="*/ 878 h 1359"/>
                  <a:gd name="T36" fmla="*/ 6292 w 6930"/>
                  <a:gd name="T37" fmla="*/ 885 h 1359"/>
                  <a:gd name="T38" fmla="*/ 6301 w 6930"/>
                  <a:gd name="T39" fmla="*/ 850 h 1359"/>
                  <a:gd name="T40" fmla="*/ 6301 w 6930"/>
                  <a:gd name="T41" fmla="*/ 871 h 1359"/>
                  <a:gd name="T42" fmla="*/ 6301 w 6930"/>
                  <a:gd name="T43" fmla="*/ 850 h 1359"/>
                  <a:gd name="T44" fmla="*/ 3003 w 6930"/>
                  <a:gd name="T45" fmla="*/ 885 h 1359"/>
                  <a:gd name="T46" fmla="*/ 5036 w 6930"/>
                  <a:gd name="T47" fmla="*/ 732 h 1359"/>
                  <a:gd name="T48" fmla="*/ 5036 w 6930"/>
                  <a:gd name="T49" fmla="*/ 878 h 1359"/>
                  <a:gd name="T50" fmla="*/ 3041 w 6930"/>
                  <a:gd name="T51" fmla="*/ 658 h 1359"/>
                  <a:gd name="T52" fmla="*/ 3043 w 6930"/>
                  <a:gd name="T53" fmla="*/ 724 h 1359"/>
                  <a:gd name="T54" fmla="*/ 2 w 6930"/>
                  <a:gd name="T55" fmla="*/ 618 h 1359"/>
                  <a:gd name="T56" fmla="*/ 2 w 6930"/>
                  <a:gd name="T57" fmla="*/ 1359 h 1359"/>
                  <a:gd name="T58" fmla="*/ 5157 w 6930"/>
                  <a:gd name="T59" fmla="*/ 611 h 1359"/>
                  <a:gd name="T60" fmla="*/ 5157 w 6930"/>
                  <a:gd name="T61" fmla="*/ 611 h 1359"/>
                  <a:gd name="T62" fmla="*/ 6928 w 6930"/>
                  <a:gd name="T63" fmla="*/ 999 h 1359"/>
                  <a:gd name="T64" fmla="*/ 3204 w 6930"/>
                  <a:gd name="T65" fmla="*/ 502 h 1359"/>
                  <a:gd name="T66" fmla="*/ 3204 w 6930"/>
                  <a:gd name="T67" fmla="*/ 563 h 1359"/>
                  <a:gd name="T68" fmla="*/ 3939 w 6930"/>
                  <a:gd name="T69" fmla="*/ 455 h 1359"/>
                  <a:gd name="T70" fmla="*/ 3859 w 6930"/>
                  <a:gd name="T71" fmla="*/ 833 h 1359"/>
                  <a:gd name="T72" fmla="*/ 3941 w 6930"/>
                  <a:gd name="T73" fmla="*/ 490 h 1359"/>
                  <a:gd name="T74" fmla="*/ 3232 w 6930"/>
                  <a:gd name="T75" fmla="*/ 436 h 1359"/>
                  <a:gd name="T76" fmla="*/ 3232 w 6930"/>
                  <a:gd name="T77" fmla="*/ 471 h 1359"/>
                  <a:gd name="T78" fmla="*/ 3946 w 6930"/>
                  <a:gd name="T79" fmla="*/ 391 h 1359"/>
                  <a:gd name="T80" fmla="*/ 3946 w 6930"/>
                  <a:gd name="T81" fmla="*/ 450 h 1359"/>
                  <a:gd name="T82" fmla="*/ 3946 w 6930"/>
                  <a:gd name="T83" fmla="*/ 391 h 1359"/>
                  <a:gd name="T84" fmla="*/ 1712 w 6930"/>
                  <a:gd name="T85" fmla="*/ 1037 h 1359"/>
                  <a:gd name="T86" fmla="*/ 3956 w 6930"/>
                  <a:gd name="T87" fmla="*/ 329 h 1359"/>
                  <a:gd name="T88" fmla="*/ 3956 w 6930"/>
                  <a:gd name="T89" fmla="*/ 384 h 1359"/>
                  <a:gd name="T90" fmla="*/ 3956 w 6930"/>
                  <a:gd name="T91" fmla="*/ 329 h 1359"/>
                  <a:gd name="T92" fmla="*/ 4552 w 6930"/>
                  <a:gd name="T93" fmla="*/ 433 h 1359"/>
                  <a:gd name="T94" fmla="*/ 4757 w 6930"/>
                  <a:gd name="T95" fmla="*/ 0 h 1359"/>
                  <a:gd name="T96" fmla="*/ 4757 w 6930"/>
                  <a:gd name="T97" fmla="*/ 125 h 1359"/>
                  <a:gd name="T98" fmla="*/ 4757 w 6930"/>
                  <a:gd name="T99"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59">
                    <a:moveTo>
                      <a:pt x="5736" y="1210"/>
                    </a:moveTo>
                    <a:lnTo>
                      <a:pt x="5734" y="1210"/>
                    </a:lnTo>
                    <a:lnTo>
                      <a:pt x="5734" y="1231"/>
                    </a:lnTo>
                    <a:lnTo>
                      <a:pt x="5736" y="1231"/>
                    </a:lnTo>
                    <a:lnTo>
                      <a:pt x="5736" y="1210"/>
                    </a:lnTo>
                    <a:close/>
                    <a:moveTo>
                      <a:pt x="5760" y="1129"/>
                    </a:moveTo>
                    <a:lnTo>
                      <a:pt x="5760" y="1129"/>
                    </a:lnTo>
                    <a:lnTo>
                      <a:pt x="5760" y="1186"/>
                    </a:lnTo>
                    <a:lnTo>
                      <a:pt x="5760" y="1186"/>
                    </a:lnTo>
                    <a:lnTo>
                      <a:pt x="5760" y="1184"/>
                    </a:lnTo>
                    <a:lnTo>
                      <a:pt x="5760" y="1184"/>
                    </a:lnTo>
                    <a:lnTo>
                      <a:pt x="5760" y="1129"/>
                    </a:lnTo>
                    <a:close/>
                    <a:moveTo>
                      <a:pt x="2764" y="1063"/>
                    </a:moveTo>
                    <a:lnTo>
                      <a:pt x="2764" y="1063"/>
                    </a:lnTo>
                    <a:lnTo>
                      <a:pt x="2764" y="1146"/>
                    </a:lnTo>
                    <a:lnTo>
                      <a:pt x="2764" y="1146"/>
                    </a:lnTo>
                    <a:lnTo>
                      <a:pt x="2764" y="1063"/>
                    </a:lnTo>
                    <a:close/>
                    <a:moveTo>
                      <a:pt x="5835" y="1042"/>
                    </a:moveTo>
                    <a:lnTo>
                      <a:pt x="5833" y="1042"/>
                    </a:lnTo>
                    <a:lnTo>
                      <a:pt x="5833" y="1054"/>
                    </a:lnTo>
                    <a:lnTo>
                      <a:pt x="5835" y="1054"/>
                    </a:lnTo>
                    <a:lnTo>
                      <a:pt x="5835" y="1054"/>
                    </a:lnTo>
                    <a:lnTo>
                      <a:pt x="5835" y="1054"/>
                    </a:lnTo>
                    <a:lnTo>
                      <a:pt x="5835" y="1042"/>
                    </a:lnTo>
                    <a:close/>
                    <a:moveTo>
                      <a:pt x="2783" y="1013"/>
                    </a:moveTo>
                    <a:lnTo>
                      <a:pt x="2781" y="1013"/>
                    </a:lnTo>
                    <a:lnTo>
                      <a:pt x="2781" y="1046"/>
                    </a:lnTo>
                    <a:lnTo>
                      <a:pt x="2781" y="1046"/>
                    </a:lnTo>
                    <a:lnTo>
                      <a:pt x="2781" y="1044"/>
                    </a:lnTo>
                    <a:lnTo>
                      <a:pt x="2783" y="1044"/>
                    </a:lnTo>
                    <a:lnTo>
                      <a:pt x="2783" y="1013"/>
                    </a:lnTo>
                    <a:close/>
                    <a:moveTo>
                      <a:pt x="3674" y="994"/>
                    </a:moveTo>
                    <a:lnTo>
                      <a:pt x="3674" y="994"/>
                    </a:lnTo>
                    <a:lnTo>
                      <a:pt x="3674" y="1162"/>
                    </a:lnTo>
                    <a:lnTo>
                      <a:pt x="3674" y="1162"/>
                    </a:lnTo>
                    <a:lnTo>
                      <a:pt x="3674" y="1162"/>
                    </a:lnTo>
                    <a:lnTo>
                      <a:pt x="3674" y="1162"/>
                    </a:lnTo>
                    <a:lnTo>
                      <a:pt x="3674" y="994"/>
                    </a:lnTo>
                    <a:close/>
                    <a:moveTo>
                      <a:pt x="5854" y="990"/>
                    </a:moveTo>
                    <a:lnTo>
                      <a:pt x="5852" y="990"/>
                    </a:lnTo>
                    <a:lnTo>
                      <a:pt x="5852" y="1025"/>
                    </a:lnTo>
                    <a:lnTo>
                      <a:pt x="5852" y="1025"/>
                    </a:lnTo>
                    <a:lnTo>
                      <a:pt x="5852" y="1023"/>
                    </a:lnTo>
                    <a:lnTo>
                      <a:pt x="5854" y="1023"/>
                    </a:lnTo>
                    <a:lnTo>
                      <a:pt x="5854" y="990"/>
                    </a:lnTo>
                    <a:close/>
                    <a:moveTo>
                      <a:pt x="6245" y="938"/>
                    </a:moveTo>
                    <a:lnTo>
                      <a:pt x="6242" y="938"/>
                    </a:lnTo>
                    <a:lnTo>
                      <a:pt x="6242" y="1113"/>
                    </a:lnTo>
                    <a:lnTo>
                      <a:pt x="6245" y="1113"/>
                    </a:lnTo>
                    <a:lnTo>
                      <a:pt x="6245" y="1110"/>
                    </a:lnTo>
                    <a:lnTo>
                      <a:pt x="6245" y="1110"/>
                    </a:lnTo>
                    <a:lnTo>
                      <a:pt x="6245" y="938"/>
                    </a:lnTo>
                    <a:close/>
                    <a:moveTo>
                      <a:pt x="6294" y="878"/>
                    </a:moveTo>
                    <a:lnTo>
                      <a:pt x="6292" y="878"/>
                    </a:lnTo>
                    <a:lnTo>
                      <a:pt x="6292" y="888"/>
                    </a:lnTo>
                    <a:lnTo>
                      <a:pt x="6292" y="888"/>
                    </a:lnTo>
                    <a:lnTo>
                      <a:pt x="6292" y="885"/>
                    </a:lnTo>
                    <a:lnTo>
                      <a:pt x="6294" y="885"/>
                    </a:lnTo>
                    <a:lnTo>
                      <a:pt x="6294" y="878"/>
                    </a:lnTo>
                    <a:close/>
                    <a:moveTo>
                      <a:pt x="6301" y="850"/>
                    </a:moveTo>
                    <a:lnTo>
                      <a:pt x="6301" y="850"/>
                    </a:lnTo>
                    <a:lnTo>
                      <a:pt x="6301" y="871"/>
                    </a:lnTo>
                    <a:lnTo>
                      <a:pt x="6301" y="871"/>
                    </a:lnTo>
                    <a:lnTo>
                      <a:pt x="6301" y="869"/>
                    </a:lnTo>
                    <a:lnTo>
                      <a:pt x="6301" y="869"/>
                    </a:lnTo>
                    <a:lnTo>
                      <a:pt x="6301" y="850"/>
                    </a:lnTo>
                    <a:close/>
                    <a:moveTo>
                      <a:pt x="3005" y="762"/>
                    </a:moveTo>
                    <a:lnTo>
                      <a:pt x="3003" y="762"/>
                    </a:lnTo>
                    <a:lnTo>
                      <a:pt x="3003" y="885"/>
                    </a:lnTo>
                    <a:lnTo>
                      <a:pt x="3005" y="885"/>
                    </a:lnTo>
                    <a:lnTo>
                      <a:pt x="3005" y="762"/>
                    </a:lnTo>
                    <a:close/>
                    <a:moveTo>
                      <a:pt x="5036" y="732"/>
                    </a:moveTo>
                    <a:lnTo>
                      <a:pt x="5034" y="732"/>
                    </a:lnTo>
                    <a:lnTo>
                      <a:pt x="5034" y="878"/>
                    </a:lnTo>
                    <a:lnTo>
                      <a:pt x="5036" y="878"/>
                    </a:lnTo>
                    <a:lnTo>
                      <a:pt x="5036" y="732"/>
                    </a:lnTo>
                    <a:close/>
                    <a:moveTo>
                      <a:pt x="3043" y="658"/>
                    </a:moveTo>
                    <a:lnTo>
                      <a:pt x="3041" y="658"/>
                    </a:lnTo>
                    <a:lnTo>
                      <a:pt x="3041" y="727"/>
                    </a:lnTo>
                    <a:lnTo>
                      <a:pt x="3043" y="727"/>
                    </a:lnTo>
                    <a:lnTo>
                      <a:pt x="3043" y="724"/>
                    </a:lnTo>
                    <a:lnTo>
                      <a:pt x="3043" y="724"/>
                    </a:lnTo>
                    <a:lnTo>
                      <a:pt x="3043" y="658"/>
                    </a:lnTo>
                    <a:close/>
                    <a:moveTo>
                      <a:pt x="2" y="618"/>
                    </a:moveTo>
                    <a:lnTo>
                      <a:pt x="0" y="618"/>
                    </a:lnTo>
                    <a:lnTo>
                      <a:pt x="0" y="1359"/>
                    </a:lnTo>
                    <a:lnTo>
                      <a:pt x="2" y="1359"/>
                    </a:lnTo>
                    <a:lnTo>
                      <a:pt x="2" y="618"/>
                    </a:lnTo>
                    <a:close/>
                    <a:moveTo>
                      <a:pt x="5157" y="611"/>
                    </a:moveTo>
                    <a:lnTo>
                      <a:pt x="5157" y="611"/>
                    </a:lnTo>
                    <a:lnTo>
                      <a:pt x="5157" y="637"/>
                    </a:lnTo>
                    <a:lnTo>
                      <a:pt x="5157" y="637"/>
                    </a:lnTo>
                    <a:lnTo>
                      <a:pt x="5157" y="611"/>
                    </a:lnTo>
                    <a:close/>
                    <a:moveTo>
                      <a:pt x="6930" y="509"/>
                    </a:moveTo>
                    <a:lnTo>
                      <a:pt x="6928" y="509"/>
                    </a:lnTo>
                    <a:lnTo>
                      <a:pt x="6928" y="999"/>
                    </a:lnTo>
                    <a:lnTo>
                      <a:pt x="6930" y="999"/>
                    </a:lnTo>
                    <a:lnTo>
                      <a:pt x="6930" y="509"/>
                    </a:lnTo>
                    <a:close/>
                    <a:moveTo>
                      <a:pt x="3204" y="502"/>
                    </a:moveTo>
                    <a:lnTo>
                      <a:pt x="3204" y="502"/>
                    </a:lnTo>
                    <a:lnTo>
                      <a:pt x="3204" y="563"/>
                    </a:lnTo>
                    <a:lnTo>
                      <a:pt x="3204" y="563"/>
                    </a:lnTo>
                    <a:lnTo>
                      <a:pt x="3204" y="502"/>
                    </a:lnTo>
                    <a:close/>
                    <a:moveTo>
                      <a:pt x="3941" y="455"/>
                    </a:moveTo>
                    <a:lnTo>
                      <a:pt x="3939" y="455"/>
                    </a:lnTo>
                    <a:lnTo>
                      <a:pt x="3939" y="492"/>
                    </a:lnTo>
                    <a:lnTo>
                      <a:pt x="3859" y="644"/>
                    </a:lnTo>
                    <a:lnTo>
                      <a:pt x="3859" y="833"/>
                    </a:lnTo>
                    <a:lnTo>
                      <a:pt x="3859" y="833"/>
                    </a:lnTo>
                    <a:lnTo>
                      <a:pt x="3859" y="642"/>
                    </a:lnTo>
                    <a:lnTo>
                      <a:pt x="3941" y="490"/>
                    </a:lnTo>
                    <a:lnTo>
                      <a:pt x="3941" y="455"/>
                    </a:lnTo>
                    <a:close/>
                    <a:moveTo>
                      <a:pt x="3234" y="436"/>
                    </a:moveTo>
                    <a:lnTo>
                      <a:pt x="3232" y="436"/>
                    </a:lnTo>
                    <a:lnTo>
                      <a:pt x="3232" y="474"/>
                    </a:lnTo>
                    <a:lnTo>
                      <a:pt x="3232" y="474"/>
                    </a:lnTo>
                    <a:lnTo>
                      <a:pt x="3232" y="471"/>
                    </a:lnTo>
                    <a:lnTo>
                      <a:pt x="3234" y="471"/>
                    </a:lnTo>
                    <a:lnTo>
                      <a:pt x="3234" y="436"/>
                    </a:lnTo>
                    <a:close/>
                    <a:moveTo>
                      <a:pt x="3946" y="391"/>
                    </a:moveTo>
                    <a:lnTo>
                      <a:pt x="3946" y="391"/>
                    </a:lnTo>
                    <a:lnTo>
                      <a:pt x="3946" y="450"/>
                    </a:lnTo>
                    <a:lnTo>
                      <a:pt x="3946" y="450"/>
                    </a:lnTo>
                    <a:lnTo>
                      <a:pt x="3946" y="447"/>
                    </a:lnTo>
                    <a:lnTo>
                      <a:pt x="3946" y="447"/>
                    </a:lnTo>
                    <a:lnTo>
                      <a:pt x="3946" y="391"/>
                    </a:lnTo>
                    <a:close/>
                    <a:moveTo>
                      <a:pt x="1714" y="369"/>
                    </a:moveTo>
                    <a:lnTo>
                      <a:pt x="1712" y="369"/>
                    </a:lnTo>
                    <a:lnTo>
                      <a:pt x="1712" y="1037"/>
                    </a:lnTo>
                    <a:lnTo>
                      <a:pt x="1714" y="1037"/>
                    </a:lnTo>
                    <a:lnTo>
                      <a:pt x="1714" y="369"/>
                    </a:lnTo>
                    <a:close/>
                    <a:moveTo>
                      <a:pt x="3956" y="329"/>
                    </a:moveTo>
                    <a:lnTo>
                      <a:pt x="3953" y="329"/>
                    </a:lnTo>
                    <a:lnTo>
                      <a:pt x="3953" y="384"/>
                    </a:lnTo>
                    <a:lnTo>
                      <a:pt x="3956" y="384"/>
                    </a:lnTo>
                    <a:lnTo>
                      <a:pt x="3956" y="381"/>
                    </a:lnTo>
                    <a:lnTo>
                      <a:pt x="3956" y="381"/>
                    </a:lnTo>
                    <a:lnTo>
                      <a:pt x="3956" y="329"/>
                    </a:lnTo>
                    <a:close/>
                    <a:moveTo>
                      <a:pt x="4608" y="232"/>
                    </a:moveTo>
                    <a:lnTo>
                      <a:pt x="4606" y="232"/>
                    </a:lnTo>
                    <a:lnTo>
                      <a:pt x="4552" y="433"/>
                    </a:lnTo>
                    <a:lnTo>
                      <a:pt x="4554" y="431"/>
                    </a:lnTo>
                    <a:lnTo>
                      <a:pt x="4608" y="232"/>
                    </a:lnTo>
                    <a:close/>
                    <a:moveTo>
                      <a:pt x="4757" y="0"/>
                    </a:moveTo>
                    <a:lnTo>
                      <a:pt x="4755" y="0"/>
                    </a:lnTo>
                    <a:lnTo>
                      <a:pt x="4755" y="125"/>
                    </a:lnTo>
                    <a:lnTo>
                      <a:pt x="4757" y="125"/>
                    </a:lnTo>
                    <a:lnTo>
                      <a:pt x="4757" y="123"/>
                    </a:lnTo>
                    <a:lnTo>
                      <a:pt x="4757" y="123"/>
                    </a:lnTo>
                    <a:lnTo>
                      <a:pt x="47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8" name="Freeform 43"/>
              <p:cNvSpPr>
                <a:spLocks noEditPoints="1"/>
              </p:cNvSpPr>
              <p:nvPr/>
            </p:nvSpPr>
            <p:spPr bwMode="auto">
              <a:xfrm>
                <a:off x="47" y="1755"/>
                <a:ext cx="6930" cy="1359"/>
              </a:xfrm>
              <a:custGeom>
                <a:avLst/>
                <a:gdLst>
                  <a:gd name="T0" fmla="*/ 5734 w 6930"/>
                  <a:gd name="T1" fmla="*/ 1231 h 1359"/>
                  <a:gd name="T2" fmla="*/ 5760 w 6930"/>
                  <a:gd name="T3" fmla="*/ 1129 h 1359"/>
                  <a:gd name="T4" fmla="*/ 5760 w 6930"/>
                  <a:gd name="T5" fmla="*/ 1186 h 1359"/>
                  <a:gd name="T6" fmla="*/ 5760 w 6930"/>
                  <a:gd name="T7" fmla="*/ 1129 h 1359"/>
                  <a:gd name="T8" fmla="*/ 2764 w 6930"/>
                  <a:gd name="T9" fmla="*/ 1146 h 1359"/>
                  <a:gd name="T10" fmla="*/ 5835 w 6930"/>
                  <a:gd name="T11" fmla="*/ 1042 h 1359"/>
                  <a:gd name="T12" fmla="*/ 5835 w 6930"/>
                  <a:gd name="T13" fmla="*/ 1054 h 1359"/>
                  <a:gd name="T14" fmla="*/ 5835 w 6930"/>
                  <a:gd name="T15" fmla="*/ 1042 h 1359"/>
                  <a:gd name="T16" fmla="*/ 2781 w 6930"/>
                  <a:gd name="T17" fmla="*/ 1046 h 1359"/>
                  <a:gd name="T18" fmla="*/ 2783 w 6930"/>
                  <a:gd name="T19" fmla="*/ 1044 h 1359"/>
                  <a:gd name="T20" fmla="*/ 3674 w 6930"/>
                  <a:gd name="T21" fmla="*/ 994 h 1359"/>
                  <a:gd name="T22" fmla="*/ 3674 w 6930"/>
                  <a:gd name="T23" fmla="*/ 1162 h 1359"/>
                  <a:gd name="T24" fmla="*/ 5854 w 6930"/>
                  <a:gd name="T25" fmla="*/ 990 h 1359"/>
                  <a:gd name="T26" fmla="*/ 5852 w 6930"/>
                  <a:gd name="T27" fmla="*/ 1025 h 1359"/>
                  <a:gd name="T28" fmla="*/ 5854 w 6930"/>
                  <a:gd name="T29" fmla="*/ 990 h 1359"/>
                  <a:gd name="T30" fmla="*/ 6242 w 6930"/>
                  <a:gd name="T31" fmla="*/ 1113 h 1359"/>
                  <a:gd name="T32" fmla="*/ 6245 w 6930"/>
                  <a:gd name="T33" fmla="*/ 1110 h 1359"/>
                  <a:gd name="T34" fmla="*/ 6292 w 6930"/>
                  <a:gd name="T35" fmla="*/ 878 h 1359"/>
                  <a:gd name="T36" fmla="*/ 6292 w 6930"/>
                  <a:gd name="T37" fmla="*/ 885 h 1359"/>
                  <a:gd name="T38" fmla="*/ 6301 w 6930"/>
                  <a:gd name="T39" fmla="*/ 850 h 1359"/>
                  <a:gd name="T40" fmla="*/ 6301 w 6930"/>
                  <a:gd name="T41" fmla="*/ 871 h 1359"/>
                  <a:gd name="T42" fmla="*/ 6301 w 6930"/>
                  <a:gd name="T43" fmla="*/ 850 h 1359"/>
                  <a:gd name="T44" fmla="*/ 3003 w 6930"/>
                  <a:gd name="T45" fmla="*/ 885 h 1359"/>
                  <a:gd name="T46" fmla="*/ 5036 w 6930"/>
                  <a:gd name="T47" fmla="*/ 732 h 1359"/>
                  <a:gd name="T48" fmla="*/ 5036 w 6930"/>
                  <a:gd name="T49" fmla="*/ 878 h 1359"/>
                  <a:gd name="T50" fmla="*/ 3041 w 6930"/>
                  <a:gd name="T51" fmla="*/ 658 h 1359"/>
                  <a:gd name="T52" fmla="*/ 3043 w 6930"/>
                  <a:gd name="T53" fmla="*/ 724 h 1359"/>
                  <a:gd name="T54" fmla="*/ 2 w 6930"/>
                  <a:gd name="T55" fmla="*/ 618 h 1359"/>
                  <a:gd name="T56" fmla="*/ 2 w 6930"/>
                  <a:gd name="T57" fmla="*/ 1359 h 1359"/>
                  <a:gd name="T58" fmla="*/ 5157 w 6930"/>
                  <a:gd name="T59" fmla="*/ 611 h 1359"/>
                  <a:gd name="T60" fmla="*/ 5157 w 6930"/>
                  <a:gd name="T61" fmla="*/ 611 h 1359"/>
                  <a:gd name="T62" fmla="*/ 6928 w 6930"/>
                  <a:gd name="T63" fmla="*/ 999 h 1359"/>
                  <a:gd name="T64" fmla="*/ 3204 w 6930"/>
                  <a:gd name="T65" fmla="*/ 502 h 1359"/>
                  <a:gd name="T66" fmla="*/ 3204 w 6930"/>
                  <a:gd name="T67" fmla="*/ 563 h 1359"/>
                  <a:gd name="T68" fmla="*/ 3939 w 6930"/>
                  <a:gd name="T69" fmla="*/ 455 h 1359"/>
                  <a:gd name="T70" fmla="*/ 3859 w 6930"/>
                  <a:gd name="T71" fmla="*/ 833 h 1359"/>
                  <a:gd name="T72" fmla="*/ 3941 w 6930"/>
                  <a:gd name="T73" fmla="*/ 490 h 1359"/>
                  <a:gd name="T74" fmla="*/ 3232 w 6930"/>
                  <a:gd name="T75" fmla="*/ 436 h 1359"/>
                  <a:gd name="T76" fmla="*/ 3232 w 6930"/>
                  <a:gd name="T77" fmla="*/ 471 h 1359"/>
                  <a:gd name="T78" fmla="*/ 3946 w 6930"/>
                  <a:gd name="T79" fmla="*/ 391 h 1359"/>
                  <a:gd name="T80" fmla="*/ 3946 w 6930"/>
                  <a:gd name="T81" fmla="*/ 450 h 1359"/>
                  <a:gd name="T82" fmla="*/ 3946 w 6930"/>
                  <a:gd name="T83" fmla="*/ 391 h 1359"/>
                  <a:gd name="T84" fmla="*/ 1712 w 6930"/>
                  <a:gd name="T85" fmla="*/ 1037 h 1359"/>
                  <a:gd name="T86" fmla="*/ 3956 w 6930"/>
                  <a:gd name="T87" fmla="*/ 329 h 1359"/>
                  <a:gd name="T88" fmla="*/ 3956 w 6930"/>
                  <a:gd name="T89" fmla="*/ 384 h 1359"/>
                  <a:gd name="T90" fmla="*/ 3956 w 6930"/>
                  <a:gd name="T91" fmla="*/ 329 h 1359"/>
                  <a:gd name="T92" fmla="*/ 4552 w 6930"/>
                  <a:gd name="T93" fmla="*/ 433 h 1359"/>
                  <a:gd name="T94" fmla="*/ 4757 w 6930"/>
                  <a:gd name="T95" fmla="*/ 0 h 1359"/>
                  <a:gd name="T96" fmla="*/ 4757 w 6930"/>
                  <a:gd name="T97" fmla="*/ 125 h 1359"/>
                  <a:gd name="T98" fmla="*/ 4757 w 6930"/>
                  <a:gd name="T99"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59">
                    <a:moveTo>
                      <a:pt x="5736" y="1210"/>
                    </a:moveTo>
                    <a:lnTo>
                      <a:pt x="5734" y="1210"/>
                    </a:lnTo>
                    <a:lnTo>
                      <a:pt x="5734" y="1231"/>
                    </a:lnTo>
                    <a:lnTo>
                      <a:pt x="5736" y="1231"/>
                    </a:lnTo>
                    <a:lnTo>
                      <a:pt x="5736" y="1210"/>
                    </a:lnTo>
                    <a:moveTo>
                      <a:pt x="5760" y="1129"/>
                    </a:moveTo>
                    <a:lnTo>
                      <a:pt x="5760" y="1129"/>
                    </a:lnTo>
                    <a:lnTo>
                      <a:pt x="5760" y="1186"/>
                    </a:lnTo>
                    <a:lnTo>
                      <a:pt x="5760" y="1186"/>
                    </a:lnTo>
                    <a:lnTo>
                      <a:pt x="5760" y="1184"/>
                    </a:lnTo>
                    <a:lnTo>
                      <a:pt x="5760" y="1184"/>
                    </a:lnTo>
                    <a:lnTo>
                      <a:pt x="5760" y="1129"/>
                    </a:lnTo>
                    <a:moveTo>
                      <a:pt x="2764" y="1063"/>
                    </a:moveTo>
                    <a:lnTo>
                      <a:pt x="2764" y="1063"/>
                    </a:lnTo>
                    <a:lnTo>
                      <a:pt x="2764" y="1146"/>
                    </a:lnTo>
                    <a:lnTo>
                      <a:pt x="2764" y="1146"/>
                    </a:lnTo>
                    <a:lnTo>
                      <a:pt x="2764" y="1063"/>
                    </a:lnTo>
                    <a:moveTo>
                      <a:pt x="5835" y="1042"/>
                    </a:moveTo>
                    <a:lnTo>
                      <a:pt x="5833" y="1042"/>
                    </a:lnTo>
                    <a:lnTo>
                      <a:pt x="5833" y="1054"/>
                    </a:lnTo>
                    <a:lnTo>
                      <a:pt x="5835" y="1054"/>
                    </a:lnTo>
                    <a:lnTo>
                      <a:pt x="5835" y="1054"/>
                    </a:lnTo>
                    <a:lnTo>
                      <a:pt x="5835" y="1054"/>
                    </a:lnTo>
                    <a:lnTo>
                      <a:pt x="5835" y="1042"/>
                    </a:lnTo>
                    <a:moveTo>
                      <a:pt x="2783" y="1013"/>
                    </a:moveTo>
                    <a:lnTo>
                      <a:pt x="2781" y="1013"/>
                    </a:lnTo>
                    <a:lnTo>
                      <a:pt x="2781" y="1046"/>
                    </a:lnTo>
                    <a:lnTo>
                      <a:pt x="2781" y="1046"/>
                    </a:lnTo>
                    <a:lnTo>
                      <a:pt x="2781" y="1044"/>
                    </a:lnTo>
                    <a:lnTo>
                      <a:pt x="2783" y="1044"/>
                    </a:lnTo>
                    <a:lnTo>
                      <a:pt x="2783" y="1013"/>
                    </a:lnTo>
                    <a:moveTo>
                      <a:pt x="3674" y="994"/>
                    </a:moveTo>
                    <a:lnTo>
                      <a:pt x="3674" y="994"/>
                    </a:lnTo>
                    <a:lnTo>
                      <a:pt x="3674" y="1162"/>
                    </a:lnTo>
                    <a:lnTo>
                      <a:pt x="3674" y="1162"/>
                    </a:lnTo>
                    <a:lnTo>
                      <a:pt x="3674" y="1162"/>
                    </a:lnTo>
                    <a:lnTo>
                      <a:pt x="3674" y="1162"/>
                    </a:lnTo>
                    <a:lnTo>
                      <a:pt x="3674" y="994"/>
                    </a:lnTo>
                    <a:moveTo>
                      <a:pt x="5854" y="990"/>
                    </a:moveTo>
                    <a:lnTo>
                      <a:pt x="5852" y="990"/>
                    </a:lnTo>
                    <a:lnTo>
                      <a:pt x="5852" y="1025"/>
                    </a:lnTo>
                    <a:lnTo>
                      <a:pt x="5852" y="1025"/>
                    </a:lnTo>
                    <a:lnTo>
                      <a:pt x="5852" y="1023"/>
                    </a:lnTo>
                    <a:lnTo>
                      <a:pt x="5854" y="1023"/>
                    </a:lnTo>
                    <a:lnTo>
                      <a:pt x="5854" y="990"/>
                    </a:lnTo>
                    <a:moveTo>
                      <a:pt x="6245" y="938"/>
                    </a:moveTo>
                    <a:lnTo>
                      <a:pt x="6242" y="938"/>
                    </a:lnTo>
                    <a:lnTo>
                      <a:pt x="6242" y="1113"/>
                    </a:lnTo>
                    <a:lnTo>
                      <a:pt x="6245" y="1113"/>
                    </a:lnTo>
                    <a:lnTo>
                      <a:pt x="6245" y="1110"/>
                    </a:lnTo>
                    <a:lnTo>
                      <a:pt x="6245" y="1110"/>
                    </a:lnTo>
                    <a:lnTo>
                      <a:pt x="6245" y="938"/>
                    </a:lnTo>
                    <a:moveTo>
                      <a:pt x="6294" y="878"/>
                    </a:moveTo>
                    <a:lnTo>
                      <a:pt x="6292" y="878"/>
                    </a:lnTo>
                    <a:lnTo>
                      <a:pt x="6292" y="888"/>
                    </a:lnTo>
                    <a:lnTo>
                      <a:pt x="6292" y="888"/>
                    </a:lnTo>
                    <a:lnTo>
                      <a:pt x="6292" y="885"/>
                    </a:lnTo>
                    <a:lnTo>
                      <a:pt x="6294" y="885"/>
                    </a:lnTo>
                    <a:lnTo>
                      <a:pt x="6294" y="878"/>
                    </a:lnTo>
                    <a:moveTo>
                      <a:pt x="6301" y="850"/>
                    </a:moveTo>
                    <a:lnTo>
                      <a:pt x="6301" y="850"/>
                    </a:lnTo>
                    <a:lnTo>
                      <a:pt x="6301" y="871"/>
                    </a:lnTo>
                    <a:lnTo>
                      <a:pt x="6301" y="871"/>
                    </a:lnTo>
                    <a:lnTo>
                      <a:pt x="6301" y="869"/>
                    </a:lnTo>
                    <a:lnTo>
                      <a:pt x="6301" y="869"/>
                    </a:lnTo>
                    <a:lnTo>
                      <a:pt x="6301" y="850"/>
                    </a:lnTo>
                    <a:moveTo>
                      <a:pt x="3005" y="762"/>
                    </a:moveTo>
                    <a:lnTo>
                      <a:pt x="3003" y="762"/>
                    </a:lnTo>
                    <a:lnTo>
                      <a:pt x="3003" y="885"/>
                    </a:lnTo>
                    <a:lnTo>
                      <a:pt x="3005" y="885"/>
                    </a:lnTo>
                    <a:lnTo>
                      <a:pt x="3005" y="762"/>
                    </a:lnTo>
                    <a:moveTo>
                      <a:pt x="5036" y="732"/>
                    </a:moveTo>
                    <a:lnTo>
                      <a:pt x="5034" y="732"/>
                    </a:lnTo>
                    <a:lnTo>
                      <a:pt x="5034" y="878"/>
                    </a:lnTo>
                    <a:lnTo>
                      <a:pt x="5036" y="878"/>
                    </a:lnTo>
                    <a:lnTo>
                      <a:pt x="5036" y="732"/>
                    </a:lnTo>
                    <a:moveTo>
                      <a:pt x="3043" y="658"/>
                    </a:moveTo>
                    <a:lnTo>
                      <a:pt x="3041" y="658"/>
                    </a:lnTo>
                    <a:lnTo>
                      <a:pt x="3041" y="727"/>
                    </a:lnTo>
                    <a:lnTo>
                      <a:pt x="3043" y="727"/>
                    </a:lnTo>
                    <a:lnTo>
                      <a:pt x="3043" y="724"/>
                    </a:lnTo>
                    <a:lnTo>
                      <a:pt x="3043" y="724"/>
                    </a:lnTo>
                    <a:lnTo>
                      <a:pt x="3043" y="658"/>
                    </a:lnTo>
                    <a:moveTo>
                      <a:pt x="2" y="618"/>
                    </a:moveTo>
                    <a:lnTo>
                      <a:pt x="0" y="618"/>
                    </a:lnTo>
                    <a:lnTo>
                      <a:pt x="0" y="1359"/>
                    </a:lnTo>
                    <a:lnTo>
                      <a:pt x="2" y="1359"/>
                    </a:lnTo>
                    <a:lnTo>
                      <a:pt x="2" y="618"/>
                    </a:lnTo>
                    <a:moveTo>
                      <a:pt x="5157" y="611"/>
                    </a:moveTo>
                    <a:lnTo>
                      <a:pt x="5157" y="611"/>
                    </a:lnTo>
                    <a:lnTo>
                      <a:pt x="5157" y="637"/>
                    </a:lnTo>
                    <a:lnTo>
                      <a:pt x="5157" y="637"/>
                    </a:lnTo>
                    <a:lnTo>
                      <a:pt x="5157" y="611"/>
                    </a:lnTo>
                    <a:moveTo>
                      <a:pt x="6930" y="509"/>
                    </a:moveTo>
                    <a:lnTo>
                      <a:pt x="6928" y="509"/>
                    </a:lnTo>
                    <a:lnTo>
                      <a:pt x="6928" y="999"/>
                    </a:lnTo>
                    <a:lnTo>
                      <a:pt x="6930" y="999"/>
                    </a:lnTo>
                    <a:lnTo>
                      <a:pt x="6930" y="509"/>
                    </a:lnTo>
                    <a:moveTo>
                      <a:pt x="3204" y="502"/>
                    </a:moveTo>
                    <a:lnTo>
                      <a:pt x="3204" y="502"/>
                    </a:lnTo>
                    <a:lnTo>
                      <a:pt x="3204" y="563"/>
                    </a:lnTo>
                    <a:lnTo>
                      <a:pt x="3204" y="563"/>
                    </a:lnTo>
                    <a:lnTo>
                      <a:pt x="3204" y="502"/>
                    </a:lnTo>
                    <a:moveTo>
                      <a:pt x="3941" y="455"/>
                    </a:moveTo>
                    <a:lnTo>
                      <a:pt x="3939" y="455"/>
                    </a:lnTo>
                    <a:lnTo>
                      <a:pt x="3939" y="492"/>
                    </a:lnTo>
                    <a:lnTo>
                      <a:pt x="3859" y="644"/>
                    </a:lnTo>
                    <a:lnTo>
                      <a:pt x="3859" y="833"/>
                    </a:lnTo>
                    <a:lnTo>
                      <a:pt x="3859" y="833"/>
                    </a:lnTo>
                    <a:lnTo>
                      <a:pt x="3859" y="642"/>
                    </a:lnTo>
                    <a:lnTo>
                      <a:pt x="3941" y="490"/>
                    </a:lnTo>
                    <a:lnTo>
                      <a:pt x="3941" y="455"/>
                    </a:lnTo>
                    <a:moveTo>
                      <a:pt x="3234" y="436"/>
                    </a:moveTo>
                    <a:lnTo>
                      <a:pt x="3232" y="436"/>
                    </a:lnTo>
                    <a:lnTo>
                      <a:pt x="3232" y="474"/>
                    </a:lnTo>
                    <a:lnTo>
                      <a:pt x="3232" y="474"/>
                    </a:lnTo>
                    <a:lnTo>
                      <a:pt x="3232" y="471"/>
                    </a:lnTo>
                    <a:lnTo>
                      <a:pt x="3234" y="471"/>
                    </a:lnTo>
                    <a:lnTo>
                      <a:pt x="3234" y="436"/>
                    </a:lnTo>
                    <a:moveTo>
                      <a:pt x="3946" y="391"/>
                    </a:moveTo>
                    <a:lnTo>
                      <a:pt x="3946" y="391"/>
                    </a:lnTo>
                    <a:lnTo>
                      <a:pt x="3946" y="450"/>
                    </a:lnTo>
                    <a:lnTo>
                      <a:pt x="3946" y="450"/>
                    </a:lnTo>
                    <a:lnTo>
                      <a:pt x="3946" y="447"/>
                    </a:lnTo>
                    <a:lnTo>
                      <a:pt x="3946" y="447"/>
                    </a:lnTo>
                    <a:lnTo>
                      <a:pt x="3946" y="391"/>
                    </a:lnTo>
                    <a:moveTo>
                      <a:pt x="1714" y="369"/>
                    </a:moveTo>
                    <a:lnTo>
                      <a:pt x="1712" y="369"/>
                    </a:lnTo>
                    <a:lnTo>
                      <a:pt x="1712" y="1037"/>
                    </a:lnTo>
                    <a:lnTo>
                      <a:pt x="1714" y="1037"/>
                    </a:lnTo>
                    <a:lnTo>
                      <a:pt x="1714" y="369"/>
                    </a:lnTo>
                    <a:moveTo>
                      <a:pt x="3956" y="329"/>
                    </a:moveTo>
                    <a:lnTo>
                      <a:pt x="3953" y="329"/>
                    </a:lnTo>
                    <a:lnTo>
                      <a:pt x="3953" y="384"/>
                    </a:lnTo>
                    <a:lnTo>
                      <a:pt x="3956" y="384"/>
                    </a:lnTo>
                    <a:lnTo>
                      <a:pt x="3956" y="381"/>
                    </a:lnTo>
                    <a:lnTo>
                      <a:pt x="3956" y="381"/>
                    </a:lnTo>
                    <a:lnTo>
                      <a:pt x="3956" y="329"/>
                    </a:lnTo>
                    <a:moveTo>
                      <a:pt x="4608" y="232"/>
                    </a:moveTo>
                    <a:lnTo>
                      <a:pt x="4606" y="232"/>
                    </a:lnTo>
                    <a:lnTo>
                      <a:pt x="4552" y="433"/>
                    </a:lnTo>
                    <a:lnTo>
                      <a:pt x="4554" y="431"/>
                    </a:lnTo>
                    <a:lnTo>
                      <a:pt x="4608" y="232"/>
                    </a:lnTo>
                    <a:moveTo>
                      <a:pt x="4757" y="0"/>
                    </a:moveTo>
                    <a:lnTo>
                      <a:pt x="4755" y="0"/>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9" name="Freeform 44"/>
              <p:cNvSpPr>
                <a:spLocks noEditPoints="1"/>
              </p:cNvSpPr>
              <p:nvPr/>
            </p:nvSpPr>
            <p:spPr bwMode="auto">
              <a:xfrm>
                <a:off x="49" y="1755"/>
                <a:ext cx="6931" cy="1359"/>
              </a:xfrm>
              <a:custGeom>
                <a:avLst/>
                <a:gdLst>
                  <a:gd name="T0" fmla="*/ 3613 w 6931"/>
                  <a:gd name="T1" fmla="*/ 1222 h 1359"/>
                  <a:gd name="T2" fmla="*/ 5736 w 6931"/>
                  <a:gd name="T3" fmla="*/ 1207 h 1359"/>
                  <a:gd name="T4" fmla="*/ 5734 w 6931"/>
                  <a:gd name="T5" fmla="*/ 1231 h 1359"/>
                  <a:gd name="T6" fmla="*/ 5760 w 6931"/>
                  <a:gd name="T7" fmla="*/ 1127 h 1359"/>
                  <a:gd name="T8" fmla="*/ 5758 w 6931"/>
                  <a:gd name="T9" fmla="*/ 1184 h 1359"/>
                  <a:gd name="T10" fmla="*/ 5760 w 6931"/>
                  <a:gd name="T11" fmla="*/ 1181 h 1359"/>
                  <a:gd name="T12" fmla="*/ 2762 w 6931"/>
                  <a:gd name="T13" fmla="*/ 1061 h 1359"/>
                  <a:gd name="T14" fmla="*/ 2764 w 6931"/>
                  <a:gd name="T15" fmla="*/ 1146 h 1359"/>
                  <a:gd name="T16" fmla="*/ 5833 w 6931"/>
                  <a:gd name="T17" fmla="*/ 1039 h 1359"/>
                  <a:gd name="T18" fmla="*/ 5836 w 6931"/>
                  <a:gd name="T19" fmla="*/ 1054 h 1359"/>
                  <a:gd name="T20" fmla="*/ 5836 w 6931"/>
                  <a:gd name="T21" fmla="*/ 1039 h 1359"/>
                  <a:gd name="T22" fmla="*/ 2781 w 6931"/>
                  <a:gd name="T23" fmla="*/ 1013 h 1359"/>
                  <a:gd name="T24" fmla="*/ 2781 w 6931"/>
                  <a:gd name="T25" fmla="*/ 1042 h 1359"/>
                  <a:gd name="T26" fmla="*/ 3675 w 6931"/>
                  <a:gd name="T27" fmla="*/ 992 h 1359"/>
                  <a:gd name="T28" fmla="*/ 3672 w 6931"/>
                  <a:gd name="T29" fmla="*/ 1162 h 1359"/>
                  <a:gd name="T30" fmla="*/ 3675 w 6931"/>
                  <a:gd name="T31" fmla="*/ 1160 h 1359"/>
                  <a:gd name="T32" fmla="*/ 5852 w 6931"/>
                  <a:gd name="T33" fmla="*/ 990 h 1359"/>
                  <a:gd name="T34" fmla="*/ 5852 w 6931"/>
                  <a:gd name="T35" fmla="*/ 1023 h 1359"/>
                  <a:gd name="T36" fmla="*/ 5855 w 6931"/>
                  <a:gd name="T37" fmla="*/ 990 h 1359"/>
                  <a:gd name="T38" fmla="*/ 6243 w 6931"/>
                  <a:gd name="T39" fmla="*/ 938 h 1359"/>
                  <a:gd name="T40" fmla="*/ 6245 w 6931"/>
                  <a:gd name="T41" fmla="*/ 1108 h 1359"/>
                  <a:gd name="T42" fmla="*/ 6295 w 6931"/>
                  <a:gd name="T43" fmla="*/ 878 h 1359"/>
                  <a:gd name="T44" fmla="*/ 6292 w 6931"/>
                  <a:gd name="T45" fmla="*/ 885 h 1359"/>
                  <a:gd name="T46" fmla="*/ 6295 w 6931"/>
                  <a:gd name="T47" fmla="*/ 885 h 1359"/>
                  <a:gd name="T48" fmla="*/ 6299 w 6931"/>
                  <a:gd name="T49" fmla="*/ 850 h 1359"/>
                  <a:gd name="T50" fmla="*/ 6302 w 6931"/>
                  <a:gd name="T51" fmla="*/ 869 h 1359"/>
                  <a:gd name="T52" fmla="*/ 6302 w 6931"/>
                  <a:gd name="T53" fmla="*/ 850 h 1359"/>
                  <a:gd name="T54" fmla="*/ 3003 w 6931"/>
                  <a:gd name="T55" fmla="*/ 762 h 1359"/>
                  <a:gd name="T56" fmla="*/ 3005 w 6931"/>
                  <a:gd name="T57" fmla="*/ 762 h 1359"/>
                  <a:gd name="T58" fmla="*/ 5034 w 6931"/>
                  <a:gd name="T59" fmla="*/ 732 h 1359"/>
                  <a:gd name="T60" fmla="*/ 5037 w 6931"/>
                  <a:gd name="T61" fmla="*/ 732 h 1359"/>
                  <a:gd name="T62" fmla="*/ 3041 w 6931"/>
                  <a:gd name="T63" fmla="*/ 658 h 1359"/>
                  <a:gd name="T64" fmla="*/ 3041 w 6931"/>
                  <a:gd name="T65" fmla="*/ 722 h 1359"/>
                  <a:gd name="T66" fmla="*/ 0 w 6931"/>
                  <a:gd name="T67" fmla="*/ 616 h 1359"/>
                  <a:gd name="T68" fmla="*/ 0 w 6931"/>
                  <a:gd name="T69" fmla="*/ 1359 h 1359"/>
                  <a:gd name="T70" fmla="*/ 5157 w 6931"/>
                  <a:gd name="T71" fmla="*/ 608 h 1359"/>
                  <a:gd name="T72" fmla="*/ 5155 w 6931"/>
                  <a:gd name="T73" fmla="*/ 637 h 1359"/>
                  <a:gd name="T74" fmla="*/ 6931 w 6931"/>
                  <a:gd name="T75" fmla="*/ 507 h 1359"/>
                  <a:gd name="T76" fmla="*/ 6928 w 6931"/>
                  <a:gd name="T77" fmla="*/ 999 h 1359"/>
                  <a:gd name="T78" fmla="*/ 3204 w 6931"/>
                  <a:gd name="T79" fmla="*/ 500 h 1359"/>
                  <a:gd name="T80" fmla="*/ 3202 w 6931"/>
                  <a:gd name="T81" fmla="*/ 563 h 1359"/>
                  <a:gd name="T82" fmla="*/ 3204 w 6931"/>
                  <a:gd name="T83" fmla="*/ 561 h 1359"/>
                  <a:gd name="T84" fmla="*/ 3939 w 6931"/>
                  <a:gd name="T85" fmla="*/ 452 h 1359"/>
                  <a:gd name="T86" fmla="*/ 3857 w 6931"/>
                  <a:gd name="T87" fmla="*/ 642 h 1359"/>
                  <a:gd name="T88" fmla="*/ 3859 w 6931"/>
                  <a:gd name="T89" fmla="*/ 639 h 1359"/>
                  <a:gd name="T90" fmla="*/ 3232 w 6931"/>
                  <a:gd name="T91" fmla="*/ 433 h 1359"/>
                  <a:gd name="T92" fmla="*/ 3232 w 6931"/>
                  <a:gd name="T93" fmla="*/ 471 h 1359"/>
                  <a:gd name="T94" fmla="*/ 3232 w 6931"/>
                  <a:gd name="T95" fmla="*/ 471 h 1359"/>
                  <a:gd name="T96" fmla="*/ 3944 w 6931"/>
                  <a:gd name="T97" fmla="*/ 391 h 1359"/>
                  <a:gd name="T98" fmla="*/ 3947 w 6931"/>
                  <a:gd name="T99" fmla="*/ 447 h 1359"/>
                  <a:gd name="T100" fmla="*/ 3947 w 6931"/>
                  <a:gd name="T101" fmla="*/ 391 h 1359"/>
                  <a:gd name="T102" fmla="*/ 1712 w 6931"/>
                  <a:gd name="T103" fmla="*/ 369 h 1359"/>
                  <a:gd name="T104" fmla="*/ 1714 w 6931"/>
                  <a:gd name="T105" fmla="*/ 367 h 1359"/>
                  <a:gd name="T106" fmla="*/ 3954 w 6931"/>
                  <a:gd name="T107" fmla="*/ 329 h 1359"/>
                  <a:gd name="T108" fmla="*/ 3954 w 6931"/>
                  <a:gd name="T109" fmla="*/ 381 h 1359"/>
                  <a:gd name="T110" fmla="*/ 4609 w 6931"/>
                  <a:gd name="T111" fmla="*/ 230 h 1359"/>
                  <a:gd name="T112" fmla="*/ 4552 w 6931"/>
                  <a:gd name="T113" fmla="*/ 431 h 1359"/>
                  <a:gd name="T114" fmla="*/ 4758 w 6931"/>
                  <a:gd name="T115" fmla="*/ 0 h 1359"/>
                  <a:gd name="T116" fmla="*/ 4755 w 6931"/>
                  <a:gd name="T117" fmla="*/ 123 h 1359"/>
                  <a:gd name="T118" fmla="*/ 4758 w 6931"/>
                  <a:gd name="T119" fmla="*/ 121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1" h="1359">
                    <a:moveTo>
                      <a:pt x="3616" y="1222"/>
                    </a:moveTo>
                    <a:lnTo>
                      <a:pt x="3613" y="1222"/>
                    </a:lnTo>
                    <a:lnTo>
                      <a:pt x="3613" y="1222"/>
                    </a:lnTo>
                    <a:lnTo>
                      <a:pt x="3616" y="1222"/>
                    </a:lnTo>
                    <a:lnTo>
                      <a:pt x="3616" y="1222"/>
                    </a:lnTo>
                    <a:close/>
                    <a:moveTo>
                      <a:pt x="5736" y="1207"/>
                    </a:moveTo>
                    <a:lnTo>
                      <a:pt x="5734" y="1207"/>
                    </a:lnTo>
                    <a:lnTo>
                      <a:pt x="5734" y="1210"/>
                    </a:lnTo>
                    <a:lnTo>
                      <a:pt x="5734" y="1231"/>
                    </a:lnTo>
                    <a:lnTo>
                      <a:pt x="5736" y="1231"/>
                    </a:lnTo>
                    <a:lnTo>
                      <a:pt x="5736" y="1207"/>
                    </a:lnTo>
                    <a:close/>
                    <a:moveTo>
                      <a:pt x="5760" y="1127"/>
                    </a:moveTo>
                    <a:lnTo>
                      <a:pt x="5758" y="1127"/>
                    </a:lnTo>
                    <a:lnTo>
                      <a:pt x="5758" y="1129"/>
                    </a:lnTo>
                    <a:lnTo>
                      <a:pt x="5758" y="1184"/>
                    </a:lnTo>
                    <a:lnTo>
                      <a:pt x="5760" y="1184"/>
                    </a:lnTo>
                    <a:lnTo>
                      <a:pt x="5760" y="1181"/>
                    </a:lnTo>
                    <a:lnTo>
                      <a:pt x="5760" y="1181"/>
                    </a:lnTo>
                    <a:lnTo>
                      <a:pt x="5760" y="1127"/>
                    </a:lnTo>
                    <a:close/>
                    <a:moveTo>
                      <a:pt x="2764" y="1061"/>
                    </a:moveTo>
                    <a:lnTo>
                      <a:pt x="2762" y="1061"/>
                    </a:lnTo>
                    <a:lnTo>
                      <a:pt x="2762" y="1063"/>
                    </a:lnTo>
                    <a:lnTo>
                      <a:pt x="2762" y="1146"/>
                    </a:lnTo>
                    <a:lnTo>
                      <a:pt x="2764" y="1146"/>
                    </a:lnTo>
                    <a:lnTo>
                      <a:pt x="2764" y="1061"/>
                    </a:lnTo>
                    <a:close/>
                    <a:moveTo>
                      <a:pt x="5836" y="1039"/>
                    </a:moveTo>
                    <a:lnTo>
                      <a:pt x="5833" y="1039"/>
                    </a:lnTo>
                    <a:lnTo>
                      <a:pt x="5833" y="1042"/>
                    </a:lnTo>
                    <a:lnTo>
                      <a:pt x="5833" y="1054"/>
                    </a:lnTo>
                    <a:lnTo>
                      <a:pt x="5836" y="1054"/>
                    </a:lnTo>
                    <a:lnTo>
                      <a:pt x="5836" y="1051"/>
                    </a:lnTo>
                    <a:lnTo>
                      <a:pt x="5836" y="1051"/>
                    </a:lnTo>
                    <a:lnTo>
                      <a:pt x="5836" y="1039"/>
                    </a:lnTo>
                    <a:close/>
                    <a:moveTo>
                      <a:pt x="2783" y="1011"/>
                    </a:moveTo>
                    <a:lnTo>
                      <a:pt x="2781" y="1011"/>
                    </a:lnTo>
                    <a:lnTo>
                      <a:pt x="2781" y="1013"/>
                    </a:lnTo>
                    <a:lnTo>
                      <a:pt x="2781" y="1044"/>
                    </a:lnTo>
                    <a:lnTo>
                      <a:pt x="2781" y="1044"/>
                    </a:lnTo>
                    <a:lnTo>
                      <a:pt x="2781" y="1042"/>
                    </a:lnTo>
                    <a:lnTo>
                      <a:pt x="2783" y="1042"/>
                    </a:lnTo>
                    <a:lnTo>
                      <a:pt x="2783" y="1011"/>
                    </a:lnTo>
                    <a:close/>
                    <a:moveTo>
                      <a:pt x="3675" y="992"/>
                    </a:moveTo>
                    <a:lnTo>
                      <a:pt x="3672" y="992"/>
                    </a:lnTo>
                    <a:lnTo>
                      <a:pt x="3672" y="994"/>
                    </a:lnTo>
                    <a:lnTo>
                      <a:pt x="3672" y="1162"/>
                    </a:lnTo>
                    <a:lnTo>
                      <a:pt x="3675" y="1162"/>
                    </a:lnTo>
                    <a:lnTo>
                      <a:pt x="3675" y="1160"/>
                    </a:lnTo>
                    <a:lnTo>
                      <a:pt x="3675" y="1160"/>
                    </a:lnTo>
                    <a:lnTo>
                      <a:pt x="3675" y="992"/>
                    </a:lnTo>
                    <a:close/>
                    <a:moveTo>
                      <a:pt x="5855" y="990"/>
                    </a:moveTo>
                    <a:lnTo>
                      <a:pt x="5852" y="990"/>
                    </a:lnTo>
                    <a:lnTo>
                      <a:pt x="5852" y="990"/>
                    </a:lnTo>
                    <a:lnTo>
                      <a:pt x="5852" y="1023"/>
                    </a:lnTo>
                    <a:lnTo>
                      <a:pt x="5852" y="1023"/>
                    </a:lnTo>
                    <a:lnTo>
                      <a:pt x="5852" y="1023"/>
                    </a:lnTo>
                    <a:lnTo>
                      <a:pt x="5855" y="1023"/>
                    </a:lnTo>
                    <a:lnTo>
                      <a:pt x="5855" y="990"/>
                    </a:lnTo>
                    <a:close/>
                    <a:moveTo>
                      <a:pt x="6245" y="935"/>
                    </a:moveTo>
                    <a:lnTo>
                      <a:pt x="6243" y="935"/>
                    </a:lnTo>
                    <a:lnTo>
                      <a:pt x="6243" y="938"/>
                    </a:lnTo>
                    <a:lnTo>
                      <a:pt x="6243" y="1110"/>
                    </a:lnTo>
                    <a:lnTo>
                      <a:pt x="6245" y="1110"/>
                    </a:lnTo>
                    <a:lnTo>
                      <a:pt x="6245" y="1108"/>
                    </a:lnTo>
                    <a:lnTo>
                      <a:pt x="6245" y="1108"/>
                    </a:lnTo>
                    <a:lnTo>
                      <a:pt x="6245" y="935"/>
                    </a:lnTo>
                    <a:close/>
                    <a:moveTo>
                      <a:pt x="6295" y="878"/>
                    </a:moveTo>
                    <a:lnTo>
                      <a:pt x="6292" y="878"/>
                    </a:lnTo>
                    <a:lnTo>
                      <a:pt x="6292" y="878"/>
                    </a:lnTo>
                    <a:lnTo>
                      <a:pt x="6292" y="885"/>
                    </a:lnTo>
                    <a:lnTo>
                      <a:pt x="6292" y="885"/>
                    </a:lnTo>
                    <a:lnTo>
                      <a:pt x="6292" y="885"/>
                    </a:lnTo>
                    <a:lnTo>
                      <a:pt x="6295" y="885"/>
                    </a:lnTo>
                    <a:lnTo>
                      <a:pt x="6295" y="878"/>
                    </a:lnTo>
                    <a:close/>
                    <a:moveTo>
                      <a:pt x="6302" y="850"/>
                    </a:moveTo>
                    <a:lnTo>
                      <a:pt x="6299" y="850"/>
                    </a:lnTo>
                    <a:lnTo>
                      <a:pt x="6299" y="850"/>
                    </a:lnTo>
                    <a:lnTo>
                      <a:pt x="6299" y="869"/>
                    </a:lnTo>
                    <a:lnTo>
                      <a:pt x="6302" y="869"/>
                    </a:lnTo>
                    <a:lnTo>
                      <a:pt x="6302" y="869"/>
                    </a:lnTo>
                    <a:lnTo>
                      <a:pt x="6302" y="869"/>
                    </a:lnTo>
                    <a:lnTo>
                      <a:pt x="6302" y="850"/>
                    </a:lnTo>
                    <a:close/>
                    <a:moveTo>
                      <a:pt x="3005" y="762"/>
                    </a:moveTo>
                    <a:lnTo>
                      <a:pt x="3003" y="762"/>
                    </a:lnTo>
                    <a:lnTo>
                      <a:pt x="3003" y="762"/>
                    </a:lnTo>
                    <a:lnTo>
                      <a:pt x="3003" y="885"/>
                    </a:lnTo>
                    <a:lnTo>
                      <a:pt x="3005" y="885"/>
                    </a:lnTo>
                    <a:lnTo>
                      <a:pt x="3005" y="762"/>
                    </a:lnTo>
                    <a:close/>
                    <a:moveTo>
                      <a:pt x="5037" y="732"/>
                    </a:moveTo>
                    <a:lnTo>
                      <a:pt x="5034" y="732"/>
                    </a:lnTo>
                    <a:lnTo>
                      <a:pt x="5034" y="732"/>
                    </a:lnTo>
                    <a:lnTo>
                      <a:pt x="5034" y="878"/>
                    </a:lnTo>
                    <a:lnTo>
                      <a:pt x="5037" y="878"/>
                    </a:lnTo>
                    <a:lnTo>
                      <a:pt x="5037" y="732"/>
                    </a:lnTo>
                    <a:close/>
                    <a:moveTo>
                      <a:pt x="3043" y="656"/>
                    </a:moveTo>
                    <a:lnTo>
                      <a:pt x="3041" y="656"/>
                    </a:lnTo>
                    <a:lnTo>
                      <a:pt x="3041" y="658"/>
                    </a:lnTo>
                    <a:lnTo>
                      <a:pt x="3041" y="724"/>
                    </a:lnTo>
                    <a:lnTo>
                      <a:pt x="3041" y="724"/>
                    </a:lnTo>
                    <a:lnTo>
                      <a:pt x="3041" y="722"/>
                    </a:lnTo>
                    <a:lnTo>
                      <a:pt x="3043" y="722"/>
                    </a:lnTo>
                    <a:lnTo>
                      <a:pt x="3043" y="656"/>
                    </a:lnTo>
                    <a:close/>
                    <a:moveTo>
                      <a:pt x="0" y="616"/>
                    </a:moveTo>
                    <a:lnTo>
                      <a:pt x="0" y="616"/>
                    </a:lnTo>
                    <a:lnTo>
                      <a:pt x="0" y="618"/>
                    </a:lnTo>
                    <a:lnTo>
                      <a:pt x="0" y="1359"/>
                    </a:lnTo>
                    <a:lnTo>
                      <a:pt x="0" y="1359"/>
                    </a:lnTo>
                    <a:lnTo>
                      <a:pt x="0" y="616"/>
                    </a:lnTo>
                    <a:close/>
                    <a:moveTo>
                      <a:pt x="5157" y="608"/>
                    </a:moveTo>
                    <a:lnTo>
                      <a:pt x="5155" y="608"/>
                    </a:lnTo>
                    <a:lnTo>
                      <a:pt x="5155" y="611"/>
                    </a:lnTo>
                    <a:lnTo>
                      <a:pt x="5155" y="637"/>
                    </a:lnTo>
                    <a:lnTo>
                      <a:pt x="5157" y="637"/>
                    </a:lnTo>
                    <a:lnTo>
                      <a:pt x="5157" y="608"/>
                    </a:lnTo>
                    <a:close/>
                    <a:moveTo>
                      <a:pt x="6931" y="507"/>
                    </a:moveTo>
                    <a:lnTo>
                      <a:pt x="6928" y="507"/>
                    </a:lnTo>
                    <a:lnTo>
                      <a:pt x="6928" y="509"/>
                    </a:lnTo>
                    <a:lnTo>
                      <a:pt x="6928" y="999"/>
                    </a:lnTo>
                    <a:lnTo>
                      <a:pt x="6931" y="999"/>
                    </a:lnTo>
                    <a:lnTo>
                      <a:pt x="6931" y="507"/>
                    </a:lnTo>
                    <a:close/>
                    <a:moveTo>
                      <a:pt x="3204" y="500"/>
                    </a:moveTo>
                    <a:lnTo>
                      <a:pt x="3202" y="500"/>
                    </a:lnTo>
                    <a:lnTo>
                      <a:pt x="3202" y="502"/>
                    </a:lnTo>
                    <a:lnTo>
                      <a:pt x="3202" y="563"/>
                    </a:lnTo>
                    <a:lnTo>
                      <a:pt x="3204" y="563"/>
                    </a:lnTo>
                    <a:lnTo>
                      <a:pt x="3204" y="561"/>
                    </a:lnTo>
                    <a:lnTo>
                      <a:pt x="3204" y="561"/>
                    </a:lnTo>
                    <a:lnTo>
                      <a:pt x="3204" y="500"/>
                    </a:lnTo>
                    <a:close/>
                    <a:moveTo>
                      <a:pt x="3942" y="452"/>
                    </a:moveTo>
                    <a:lnTo>
                      <a:pt x="3939" y="452"/>
                    </a:lnTo>
                    <a:lnTo>
                      <a:pt x="3939" y="455"/>
                    </a:lnTo>
                    <a:lnTo>
                      <a:pt x="3939" y="490"/>
                    </a:lnTo>
                    <a:lnTo>
                      <a:pt x="3857" y="642"/>
                    </a:lnTo>
                    <a:lnTo>
                      <a:pt x="3857" y="833"/>
                    </a:lnTo>
                    <a:lnTo>
                      <a:pt x="3859" y="833"/>
                    </a:lnTo>
                    <a:lnTo>
                      <a:pt x="3859" y="639"/>
                    </a:lnTo>
                    <a:lnTo>
                      <a:pt x="3942" y="488"/>
                    </a:lnTo>
                    <a:lnTo>
                      <a:pt x="3942" y="452"/>
                    </a:lnTo>
                    <a:close/>
                    <a:moveTo>
                      <a:pt x="3232" y="433"/>
                    </a:moveTo>
                    <a:lnTo>
                      <a:pt x="3232" y="433"/>
                    </a:lnTo>
                    <a:lnTo>
                      <a:pt x="3232" y="436"/>
                    </a:lnTo>
                    <a:lnTo>
                      <a:pt x="3232" y="471"/>
                    </a:lnTo>
                    <a:lnTo>
                      <a:pt x="3232" y="471"/>
                    </a:lnTo>
                    <a:lnTo>
                      <a:pt x="3232" y="471"/>
                    </a:lnTo>
                    <a:lnTo>
                      <a:pt x="3232" y="471"/>
                    </a:lnTo>
                    <a:lnTo>
                      <a:pt x="3232" y="433"/>
                    </a:lnTo>
                    <a:close/>
                    <a:moveTo>
                      <a:pt x="3947" y="391"/>
                    </a:moveTo>
                    <a:lnTo>
                      <a:pt x="3944" y="391"/>
                    </a:lnTo>
                    <a:lnTo>
                      <a:pt x="3944" y="391"/>
                    </a:lnTo>
                    <a:lnTo>
                      <a:pt x="3944" y="447"/>
                    </a:lnTo>
                    <a:lnTo>
                      <a:pt x="3947" y="447"/>
                    </a:lnTo>
                    <a:lnTo>
                      <a:pt x="3947" y="445"/>
                    </a:lnTo>
                    <a:lnTo>
                      <a:pt x="3947" y="445"/>
                    </a:lnTo>
                    <a:lnTo>
                      <a:pt x="3947" y="391"/>
                    </a:lnTo>
                    <a:close/>
                    <a:moveTo>
                      <a:pt x="1714" y="367"/>
                    </a:moveTo>
                    <a:lnTo>
                      <a:pt x="1712" y="367"/>
                    </a:lnTo>
                    <a:lnTo>
                      <a:pt x="1712" y="369"/>
                    </a:lnTo>
                    <a:lnTo>
                      <a:pt x="1712" y="1037"/>
                    </a:lnTo>
                    <a:lnTo>
                      <a:pt x="1714" y="1037"/>
                    </a:lnTo>
                    <a:lnTo>
                      <a:pt x="1714" y="367"/>
                    </a:lnTo>
                    <a:close/>
                    <a:moveTo>
                      <a:pt x="3956" y="327"/>
                    </a:moveTo>
                    <a:lnTo>
                      <a:pt x="3954" y="327"/>
                    </a:lnTo>
                    <a:lnTo>
                      <a:pt x="3954" y="329"/>
                    </a:lnTo>
                    <a:lnTo>
                      <a:pt x="3954" y="381"/>
                    </a:lnTo>
                    <a:lnTo>
                      <a:pt x="3954" y="381"/>
                    </a:lnTo>
                    <a:lnTo>
                      <a:pt x="3954" y="381"/>
                    </a:lnTo>
                    <a:lnTo>
                      <a:pt x="3956" y="381"/>
                    </a:lnTo>
                    <a:lnTo>
                      <a:pt x="3956" y="327"/>
                    </a:lnTo>
                    <a:close/>
                    <a:moveTo>
                      <a:pt x="4609" y="230"/>
                    </a:moveTo>
                    <a:lnTo>
                      <a:pt x="4606" y="230"/>
                    </a:lnTo>
                    <a:lnTo>
                      <a:pt x="4606" y="232"/>
                    </a:lnTo>
                    <a:lnTo>
                      <a:pt x="4552" y="431"/>
                    </a:lnTo>
                    <a:lnTo>
                      <a:pt x="4554" y="431"/>
                    </a:lnTo>
                    <a:lnTo>
                      <a:pt x="4609" y="230"/>
                    </a:lnTo>
                    <a:close/>
                    <a:moveTo>
                      <a:pt x="4758" y="0"/>
                    </a:moveTo>
                    <a:lnTo>
                      <a:pt x="4755" y="0"/>
                    </a:lnTo>
                    <a:lnTo>
                      <a:pt x="4755" y="0"/>
                    </a:lnTo>
                    <a:lnTo>
                      <a:pt x="4755" y="123"/>
                    </a:lnTo>
                    <a:lnTo>
                      <a:pt x="4758" y="123"/>
                    </a:lnTo>
                    <a:lnTo>
                      <a:pt x="4758" y="121"/>
                    </a:lnTo>
                    <a:lnTo>
                      <a:pt x="4758" y="121"/>
                    </a:lnTo>
                    <a:lnTo>
                      <a:pt x="4758" y="0"/>
                    </a:ln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0" name="Freeform 45"/>
              <p:cNvSpPr>
                <a:spLocks noEditPoints="1"/>
              </p:cNvSpPr>
              <p:nvPr/>
            </p:nvSpPr>
            <p:spPr bwMode="auto">
              <a:xfrm>
                <a:off x="49" y="1755"/>
                <a:ext cx="6931" cy="1359"/>
              </a:xfrm>
              <a:custGeom>
                <a:avLst/>
                <a:gdLst>
                  <a:gd name="T0" fmla="*/ 3613 w 6931"/>
                  <a:gd name="T1" fmla="*/ 1222 h 1359"/>
                  <a:gd name="T2" fmla="*/ 5736 w 6931"/>
                  <a:gd name="T3" fmla="*/ 1207 h 1359"/>
                  <a:gd name="T4" fmla="*/ 5734 w 6931"/>
                  <a:gd name="T5" fmla="*/ 1231 h 1359"/>
                  <a:gd name="T6" fmla="*/ 5760 w 6931"/>
                  <a:gd name="T7" fmla="*/ 1127 h 1359"/>
                  <a:gd name="T8" fmla="*/ 5758 w 6931"/>
                  <a:gd name="T9" fmla="*/ 1184 h 1359"/>
                  <a:gd name="T10" fmla="*/ 5760 w 6931"/>
                  <a:gd name="T11" fmla="*/ 1181 h 1359"/>
                  <a:gd name="T12" fmla="*/ 2762 w 6931"/>
                  <a:gd name="T13" fmla="*/ 1061 h 1359"/>
                  <a:gd name="T14" fmla="*/ 2764 w 6931"/>
                  <a:gd name="T15" fmla="*/ 1146 h 1359"/>
                  <a:gd name="T16" fmla="*/ 5833 w 6931"/>
                  <a:gd name="T17" fmla="*/ 1039 h 1359"/>
                  <a:gd name="T18" fmla="*/ 5836 w 6931"/>
                  <a:gd name="T19" fmla="*/ 1054 h 1359"/>
                  <a:gd name="T20" fmla="*/ 5836 w 6931"/>
                  <a:gd name="T21" fmla="*/ 1039 h 1359"/>
                  <a:gd name="T22" fmla="*/ 2781 w 6931"/>
                  <a:gd name="T23" fmla="*/ 1013 h 1359"/>
                  <a:gd name="T24" fmla="*/ 2781 w 6931"/>
                  <a:gd name="T25" fmla="*/ 1042 h 1359"/>
                  <a:gd name="T26" fmla="*/ 3675 w 6931"/>
                  <a:gd name="T27" fmla="*/ 992 h 1359"/>
                  <a:gd name="T28" fmla="*/ 3672 w 6931"/>
                  <a:gd name="T29" fmla="*/ 1162 h 1359"/>
                  <a:gd name="T30" fmla="*/ 3675 w 6931"/>
                  <a:gd name="T31" fmla="*/ 1160 h 1359"/>
                  <a:gd name="T32" fmla="*/ 5852 w 6931"/>
                  <a:gd name="T33" fmla="*/ 990 h 1359"/>
                  <a:gd name="T34" fmla="*/ 5852 w 6931"/>
                  <a:gd name="T35" fmla="*/ 1023 h 1359"/>
                  <a:gd name="T36" fmla="*/ 5855 w 6931"/>
                  <a:gd name="T37" fmla="*/ 990 h 1359"/>
                  <a:gd name="T38" fmla="*/ 6243 w 6931"/>
                  <a:gd name="T39" fmla="*/ 938 h 1359"/>
                  <a:gd name="T40" fmla="*/ 6245 w 6931"/>
                  <a:gd name="T41" fmla="*/ 1108 h 1359"/>
                  <a:gd name="T42" fmla="*/ 6295 w 6931"/>
                  <a:gd name="T43" fmla="*/ 878 h 1359"/>
                  <a:gd name="T44" fmla="*/ 6292 w 6931"/>
                  <a:gd name="T45" fmla="*/ 885 h 1359"/>
                  <a:gd name="T46" fmla="*/ 6295 w 6931"/>
                  <a:gd name="T47" fmla="*/ 885 h 1359"/>
                  <a:gd name="T48" fmla="*/ 6299 w 6931"/>
                  <a:gd name="T49" fmla="*/ 850 h 1359"/>
                  <a:gd name="T50" fmla="*/ 6302 w 6931"/>
                  <a:gd name="T51" fmla="*/ 869 h 1359"/>
                  <a:gd name="T52" fmla="*/ 6302 w 6931"/>
                  <a:gd name="T53" fmla="*/ 850 h 1359"/>
                  <a:gd name="T54" fmla="*/ 3003 w 6931"/>
                  <a:gd name="T55" fmla="*/ 762 h 1359"/>
                  <a:gd name="T56" fmla="*/ 3005 w 6931"/>
                  <a:gd name="T57" fmla="*/ 762 h 1359"/>
                  <a:gd name="T58" fmla="*/ 5034 w 6931"/>
                  <a:gd name="T59" fmla="*/ 732 h 1359"/>
                  <a:gd name="T60" fmla="*/ 5037 w 6931"/>
                  <a:gd name="T61" fmla="*/ 732 h 1359"/>
                  <a:gd name="T62" fmla="*/ 3041 w 6931"/>
                  <a:gd name="T63" fmla="*/ 658 h 1359"/>
                  <a:gd name="T64" fmla="*/ 3041 w 6931"/>
                  <a:gd name="T65" fmla="*/ 722 h 1359"/>
                  <a:gd name="T66" fmla="*/ 0 w 6931"/>
                  <a:gd name="T67" fmla="*/ 616 h 1359"/>
                  <a:gd name="T68" fmla="*/ 0 w 6931"/>
                  <a:gd name="T69" fmla="*/ 1359 h 1359"/>
                  <a:gd name="T70" fmla="*/ 5157 w 6931"/>
                  <a:gd name="T71" fmla="*/ 608 h 1359"/>
                  <a:gd name="T72" fmla="*/ 5155 w 6931"/>
                  <a:gd name="T73" fmla="*/ 637 h 1359"/>
                  <a:gd name="T74" fmla="*/ 6931 w 6931"/>
                  <a:gd name="T75" fmla="*/ 507 h 1359"/>
                  <a:gd name="T76" fmla="*/ 6928 w 6931"/>
                  <a:gd name="T77" fmla="*/ 999 h 1359"/>
                  <a:gd name="T78" fmla="*/ 3204 w 6931"/>
                  <a:gd name="T79" fmla="*/ 500 h 1359"/>
                  <a:gd name="T80" fmla="*/ 3202 w 6931"/>
                  <a:gd name="T81" fmla="*/ 563 h 1359"/>
                  <a:gd name="T82" fmla="*/ 3204 w 6931"/>
                  <a:gd name="T83" fmla="*/ 561 h 1359"/>
                  <a:gd name="T84" fmla="*/ 3939 w 6931"/>
                  <a:gd name="T85" fmla="*/ 452 h 1359"/>
                  <a:gd name="T86" fmla="*/ 3857 w 6931"/>
                  <a:gd name="T87" fmla="*/ 642 h 1359"/>
                  <a:gd name="T88" fmla="*/ 3859 w 6931"/>
                  <a:gd name="T89" fmla="*/ 639 h 1359"/>
                  <a:gd name="T90" fmla="*/ 3232 w 6931"/>
                  <a:gd name="T91" fmla="*/ 433 h 1359"/>
                  <a:gd name="T92" fmla="*/ 3232 w 6931"/>
                  <a:gd name="T93" fmla="*/ 471 h 1359"/>
                  <a:gd name="T94" fmla="*/ 3232 w 6931"/>
                  <a:gd name="T95" fmla="*/ 471 h 1359"/>
                  <a:gd name="T96" fmla="*/ 3944 w 6931"/>
                  <a:gd name="T97" fmla="*/ 391 h 1359"/>
                  <a:gd name="T98" fmla="*/ 3947 w 6931"/>
                  <a:gd name="T99" fmla="*/ 447 h 1359"/>
                  <a:gd name="T100" fmla="*/ 3947 w 6931"/>
                  <a:gd name="T101" fmla="*/ 391 h 1359"/>
                  <a:gd name="T102" fmla="*/ 1712 w 6931"/>
                  <a:gd name="T103" fmla="*/ 369 h 1359"/>
                  <a:gd name="T104" fmla="*/ 1714 w 6931"/>
                  <a:gd name="T105" fmla="*/ 367 h 1359"/>
                  <a:gd name="T106" fmla="*/ 3954 w 6931"/>
                  <a:gd name="T107" fmla="*/ 329 h 1359"/>
                  <a:gd name="T108" fmla="*/ 3954 w 6931"/>
                  <a:gd name="T109" fmla="*/ 381 h 1359"/>
                  <a:gd name="T110" fmla="*/ 4609 w 6931"/>
                  <a:gd name="T111" fmla="*/ 230 h 1359"/>
                  <a:gd name="T112" fmla="*/ 4552 w 6931"/>
                  <a:gd name="T113" fmla="*/ 431 h 1359"/>
                  <a:gd name="T114" fmla="*/ 4758 w 6931"/>
                  <a:gd name="T115" fmla="*/ 0 h 1359"/>
                  <a:gd name="T116" fmla="*/ 4755 w 6931"/>
                  <a:gd name="T117" fmla="*/ 123 h 1359"/>
                  <a:gd name="T118" fmla="*/ 4758 w 6931"/>
                  <a:gd name="T119" fmla="*/ 121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1" h="1359">
                    <a:moveTo>
                      <a:pt x="3616" y="1222"/>
                    </a:moveTo>
                    <a:lnTo>
                      <a:pt x="3613" y="1222"/>
                    </a:lnTo>
                    <a:lnTo>
                      <a:pt x="3613" y="1222"/>
                    </a:lnTo>
                    <a:lnTo>
                      <a:pt x="3616" y="1222"/>
                    </a:lnTo>
                    <a:lnTo>
                      <a:pt x="3616" y="1222"/>
                    </a:lnTo>
                    <a:moveTo>
                      <a:pt x="5736" y="1207"/>
                    </a:moveTo>
                    <a:lnTo>
                      <a:pt x="5734" y="1207"/>
                    </a:lnTo>
                    <a:lnTo>
                      <a:pt x="5734" y="1210"/>
                    </a:lnTo>
                    <a:lnTo>
                      <a:pt x="5734" y="1231"/>
                    </a:lnTo>
                    <a:lnTo>
                      <a:pt x="5736" y="1231"/>
                    </a:lnTo>
                    <a:lnTo>
                      <a:pt x="5736" y="1207"/>
                    </a:lnTo>
                    <a:moveTo>
                      <a:pt x="5760" y="1127"/>
                    </a:moveTo>
                    <a:lnTo>
                      <a:pt x="5758" y="1127"/>
                    </a:lnTo>
                    <a:lnTo>
                      <a:pt x="5758" y="1129"/>
                    </a:lnTo>
                    <a:lnTo>
                      <a:pt x="5758" y="1184"/>
                    </a:lnTo>
                    <a:lnTo>
                      <a:pt x="5760" y="1184"/>
                    </a:lnTo>
                    <a:lnTo>
                      <a:pt x="5760" y="1181"/>
                    </a:lnTo>
                    <a:lnTo>
                      <a:pt x="5760" y="1181"/>
                    </a:lnTo>
                    <a:lnTo>
                      <a:pt x="5760" y="1127"/>
                    </a:lnTo>
                    <a:moveTo>
                      <a:pt x="2764" y="1061"/>
                    </a:moveTo>
                    <a:lnTo>
                      <a:pt x="2762" y="1061"/>
                    </a:lnTo>
                    <a:lnTo>
                      <a:pt x="2762" y="1063"/>
                    </a:lnTo>
                    <a:lnTo>
                      <a:pt x="2762" y="1146"/>
                    </a:lnTo>
                    <a:lnTo>
                      <a:pt x="2764" y="1146"/>
                    </a:lnTo>
                    <a:lnTo>
                      <a:pt x="2764" y="1061"/>
                    </a:lnTo>
                    <a:moveTo>
                      <a:pt x="5836" y="1039"/>
                    </a:moveTo>
                    <a:lnTo>
                      <a:pt x="5833" y="1039"/>
                    </a:lnTo>
                    <a:lnTo>
                      <a:pt x="5833" y="1042"/>
                    </a:lnTo>
                    <a:lnTo>
                      <a:pt x="5833" y="1054"/>
                    </a:lnTo>
                    <a:lnTo>
                      <a:pt x="5836" y="1054"/>
                    </a:lnTo>
                    <a:lnTo>
                      <a:pt x="5836" y="1051"/>
                    </a:lnTo>
                    <a:lnTo>
                      <a:pt x="5836" y="1051"/>
                    </a:lnTo>
                    <a:lnTo>
                      <a:pt x="5836" y="1039"/>
                    </a:lnTo>
                    <a:moveTo>
                      <a:pt x="2783" y="1011"/>
                    </a:moveTo>
                    <a:lnTo>
                      <a:pt x="2781" y="1011"/>
                    </a:lnTo>
                    <a:lnTo>
                      <a:pt x="2781" y="1013"/>
                    </a:lnTo>
                    <a:lnTo>
                      <a:pt x="2781" y="1044"/>
                    </a:lnTo>
                    <a:lnTo>
                      <a:pt x="2781" y="1044"/>
                    </a:lnTo>
                    <a:lnTo>
                      <a:pt x="2781" y="1042"/>
                    </a:lnTo>
                    <a:lnTo>
                      <a:pt x="2783" y="1042"/>
                    </a:lnTo>
                    <a:lnTo>
                      <a:pt x="2783" y="1011"/>
                    </a:lnTo>
                    <a:moveTo>
                      <a:pt x="3675" y="992"/>
                    </a:moveTo>
                    <a:lnTo>
                      <a:pt x="3672" y="992"/>
                    </a:lnTo>
                    <a:lnTo>
                      <a:pt x="3672" y="994"/>
                    </a:lnTo>
                    <a:lnTo>
                      <a:pt x="3672" y="1162"/>
                    </a:lnTo>
                    <a:lnTo>
                      <a:pt x="3675" y="1162"/>
                    </a:lnTo>
                    <a:lnTo>
                      <a:pt x="3675" y="1160"/>
                    </a:lnTo>
                    <a:lnTo>
                      <a:pt x="3675" y="1160"/>
                    </a:lnTo>
                    <a:lnTo>
                      <a:pt x="3675" y="992"/>
                    </a:lnTo>
                    <a:moveTo>
                      <a:pt x="5855" y="990"/>
                    </a:moveTo>
                    <a:lnTo>
                      <a:pt x="5852" y="990"/>
                    </a:lnTo>
                    <a:lnTo>
                      <a:pt x="5852" y="990"/>
                    </a:lnTo>
                    <a:lnTo>
                      <a:pt x="5852" y="1023"/>
                    </a:lnTo>
                    <a:lnTo>
                      <a:pt x="5852" y="1023"/>
                    </a:lnTo>
                    <a:lnTo>
                      <a:pt x="5852" y="1023"/>
                    </a:lnTo>
                    <a:lnTo>
                      <a:pt x="5855" y="1023"/>
                    </a:lnTo>
                    <a:lnTo>
                      <a:pt x="5855" y="990"/>
                    </a:lnTo>
                    <a:moveTo>
                      <a:pt x="6245" y="935"/>
                    </a:moveTo>
                    <a:lnTo>
                      <a:pt x="6243" y="935"/>
                    </a:lnTo>
                    <a:lnTo>
                      <a:pt x="6243" y="938"/>
                    </a:lnTo>
                    <a:lnTo>
                      <a:pt x="6243" y="1110"/>
                    </a:lnTo>
                    <a:lnTo>
                      <a:pt x="6245" y="1110"/>
                    </a:lnTo>
                    <a:lnTo>
                      <a:pt x="6245" y="1108"/>
                    </a:lnTo>
                    <a:lnTo>
                      <a:pt x="6245" y="1108"/>
                    </a:lnTo>
                    <a:lnTo>
                      <a:pt x="6245" y="935"/>
                    </a:lnTo>
                    <a:moveTo>
                      <a:pt x="6295" y="878"/>
                    </a:moveTo>
                    <a:lnTo>
                      <a:pt x="6292" y="878"/>
                    </a:lnTo>
                    <a:lnTo>
                      <a:pt x="6292" y="878"/>
                    </a:lnTo>
                    <a:lnTo>
                      <a:pt x="6292" y="885"/>
                    </a:lnTo>
                    <a:lnTo>
                      <a:pt x="6292" y="885"/>
                    </a:lnTo>
                    <a:lnTo>
                      <a:pt x="6292" y="885"/>
                    </a:lnTo>
                    <a:lnTo>
                      <a:pt x="6295" y="885"/>
                    </a:lnTo>
                    <a:lnTo>
                      <a:pt x="6295" y="878"/>
                    </a:lnTo>
                    <a:moveTo>
                      <a:pt x="6302" y="850"/>
                    </a:moveTo>
                    <a:lnTo>
                      <a:pt x="6299" y="850"/>
                    </a:lnTo>
                    <a:lnTo>
                      <a:pt x="6299" y="850"/>
                    </a:lnTo>
                    <a:lnTo>
                      <a:pt x="6299" y="869"/>
                    </a:lnTo>
                    <a:lnTo>
                      <a:pt x="6302" y="869"/>
                    </a:lnTo>
                    <a:lnTo>
                      <a:pt x="6302" y="869"/>
                    </a:lnTo>
                    <a:lnTo>
                      <a:pt x="6302" y="869"/>
                    </a:lnTo>
                    <a:lnTo>
                      <a:pt x="6302" y="850"/>
                    </a:lnTo>
                    <a:moveTo>
                      <a:pt x="3005" y="762"/>
                    </a:moveTo>
                    <a:lnTo>
                      <a:pt x="3003" y="762"/>
                    </a:lnTo>
                    <a:lnTo>
                      <a:pt x="3003" y="762"/>
                    </a:lnTo>
                    <a:lnTo>
                      <a:pt x="3003" y="885"/>
                    </a:lnTo>
                    <a:lnTo>
                      <a:pt x="3005" y="885"/>
                    </a:lnTo>
                    <a:lnTo>
                      <a:pt x="3005" y="762"/>
                    </a:lnTo>
                    <a:moveTo>
                      <a:pt x="5037" y="732"/>
                    </a:moveTo>
                    <a:lnTo>
                      <a:pt x="5034" y="732"/>
                    </a:lnTo>
                    <a:lnTo>
                      <a:pt x="5034" y="732"/>
                    </a:lnTo>
                    <a:lnTo>
                      <a:pt x="5034" y="878"/>
                    </a:lnTo>
                    <a:lnTo>
                      <a:pt x="5037" y="878"/>
                    </a:lnTo>
                    <a:lnTo>
                      <a:pt x="5037" y="732"/>
                    </a:lnTo>
                    <a:moveTo>
                      <a:pt x="3043" y="656"/>
                    </a:moveTo>
                    <a:lnTo>
                      <a:pt x="3041" y="656"/>
                    </a:lnTo>
                    <a:lnTo>
                      <a:pt x="3041" y="658"/>
                    </a:lnTo>
                    <a:lnTo>
                      <a:pt x="3041" y="724"/>
                    </a:lnTo>
                    <a:lnTo>
                      <a:pt x="3041" y="724"/>
                    </a:lnTo>
                    <a:lnTo>
                      <a:pt x="3041" y="722"/>
                    </a:lnTo>
                    <a:lnTo>
                      <a:pt x="3043" y="722"/>
                    </a:lnTo>
                    <a:lnTo>
                      <a:pt x="3043" y="656"/>
                    </a:lnTo>
                    <a:moveTo>
                      <a:pt x="0" y="616"/>
                    </a:moveTo>
                    <a:lnTo>
                      <a:pt x="0" y="616"/>
                    </a:lnTo>
                    <a:lnTo>
                      <a:pt x="0" y="618"/>
                    </a:lnTo>
                    <a:lnTo>
                      <a:pt x="0" y="1359"/>
                    </a:lnTo>
                    <a:lnTo>
                      <a:pt x="0" y="1359"/>
                    </a:lnTo>
                    <a:lnTo>
                      <a:pt x="0" y="616"/>
                    </a:lnTo>
                    <a:moveTo>
                      <a:pt x="5157" y="608"/>
                    </a:moveTo>
                    <a:lnTo>
                      <a:pt x="5155" y="608"/>
                    </a:lnTo>
                    <a:lnTo>
                      <a:pt x="5155" y="611"/>
                    </a:lnTo>
                    <a:lnTo>
                      <a:pt x="5155" y="637"/>
                    </a:lnTo>
                    <a:lnTo>
                      <a:pt x="5157" y="637"/>
                    </a:lnTo>
                    <a:lnTo>
                      <a:pt x="5157" y="608"/>
                    </a:lnTo>
                    <a:moveTo>
                      <a:pt x="6931" y="507"/>
                    </a:moveTo>
                    <a:lnTo>
                      <a:pt x="6928" y="507"/>
                    </a:lnTo>
                    <a:lnTo>
                      <a:pt x="6928" y="509"/>
                    </a:lnTo>
                    <a:lnTo>
                      <a:pt x="6928" y="999"/>
                    </a:lnTo>
                    <a:lnTo>
                      <a:pt x="6931" y="999"/>
                    </a:lnTo>
                    <a:lnTo>
                      <a:pt x="6931" y="507"/>
                    </a:lnTo>
                    <a:moveTo>
                      <a:pt x="3204" y="500"/>
                    </a:moveTo>
                    <a:lnTo>
                      <a:pt x="3202" y="500"/>
                    </a:lnTo>
                    <a:lnTo>
                      <a:pt x="3202" y="502"/>
                    </a:lnTo>
                    <a:lnTo>
                      <a:pt x="3202" y="563"/>
                    </a:lnTo>
                    <a:lnTo>
                      <a:pt x="3204" y="563"/>
                    </a:lnTo>
                    <a:lnTo>
                      <a:pt x="3204" y="561"/>
                    </a:lnTo>
                    <a:lnTo>
                      <a:pt x="3204" y="561"/>
                    </a:lnTo>
                    <a:lnTo>
                      <a:pt x="3204" y="500"/>
                    </a:lnTo>
                    <a:moveTo>
                      <a:pt x="3942" y="452"/>
                    </a:moveTo>
                    <a:lnTo>
                      <a:pt x="3939" y="452"/>
                    </a:lnTo>
                    <a:lnTo>
                      <a:pt x="3939" y="455"/>
                    </a:lnTo>
                    <a:lnTo>
                      <a:pt x="3939" y="490"/>
                    </a:lnTo>
                    <a:lnTo>
                      <a:pt x="3857" y="642"/>
                    </a:lnTo>
                    <a:lnTo>
                      <a:pt x="3857" y="833"/>
                    </a:lnTo>
                    <a:lnTo>
                      <a:pt x="3859" y="833"/>
                    </a:lnTo>
                    <a:lnTo>
                      <a:pt x="3859" y="639"/>
                    </a:lnTo>
                    <a:lnTo>
                      <a:pt x="3942" y="488"/>
                    </a:lnTo>
                    <a:lnTo>
                      <a:pt x="3942" y="452"/>
                    </a:lnTo>
                    <a:moveTo>
                      <a:pt x="3232" y="433"/>
                    </a:moveTo>
                    <a:lnTo>
                      <a:pt x="3232" y="433"/>
                    </a:lnTo>
                    <a:lnTo>
                      <a:pt x="3232" y="436"/>
                    </a:lnTo>
                    <a:lnTo>
                      <a:pt x="3232" y="471"/>
                    </a:lnTo>
                    <a:lnTo>
                      <a:pt x="3232" y="471"/>
                    </a:lnTo>
                    <a:lnTo>
                      <a:pt x="3232" y="471"/>
                    </a:lnTo>
                    <a:lnTo>
                      <a:pt x="3232" y="471"/>
                    </a:lnTo>
                    <a:lnTo>
                      <a:pt x="3232" y="433"/>
                    </a:lnTo>
                    <a:moveTo>
                      <a:pt x="3947" y="391"/>
                    </a:moveTo>
                    <a:lnTo>
                      <a:pt x="3944" y="391"/>
                    </a:lnTo>
                    <a:lnTo>
                      <a:pt x="3944" y="391"/>
                    </a:lnTo>
                    <a:lnTo>
                      <a:pt x="3944" y="447"/>
                    </a:lnTo>
                    <a:lnTo>
                      <a:pt x="3947" y="447"/>
                    </a:lnTo>
                    <a:lnTo>
                      <a:pt x="3947" y="445"/>
                    </a:lnTo>
                    <a:lnTo>
                      <a:pt x="3947" y="445"/>
                    </a:lnTo>
                    <a:lnTo>
                      <a:pt x="3947" y="391"/>
                    </a:lnTo>
                    <a:moveTo>
                      <a:pt x="1714" y="367"/>
                    </a:moveTo>
                    <a:lnTo>
                      <a:pt x="1712" y="367"/>
                    </a:lnTo>
                    <a:lnTo>
                      <a:pt x="1712" y="369"/>
                    </a:lnTo>
                    <a:lnTo>
                      <a:pt x="1712" y="1037"/>
                    </a:lnTo>
                    <a:lnTo>
                      <a:pt x="1714" y="1037"/>
                    </a:lnTo>
                    <a:lnTo>
                      <a:pt x="1714" y="367"/>
                    </a:lnTo>
                    <a:moveTo>
                      <a:pt x="3956" y="327"/>
                    </a:moveTo>
                    <a:lnTo>
                      <a:pt x="3954" y="327"/>
                    </a:lnTo>
                    <a:lnTo>
                      <a:pt x="3954" y="329"/>
                    </a:lnTo>
                    <a:lnTo>
                      <a:pt x="3954" y="381"/>
                    </a:lnTo>
                    <a:lnTo>
                      <a:pt x="3954" y="381"/>
                    </a:lnTo>
                    <a:lnTo>
                      <a:pt x="3954" y="381"/>
                    </a:lnTo>
                    <a:lnTo>
                      <a:pt x="3956" y="381"/>
                    </a:lnTo>
                    <a:lnTo>
                      <a:pt x="3956" y="327"/>
                    </a:lnTo>
                    <a:moveTo>
                      <a:pt x="4609" y="230"/>
                    </a:moveTo>
                    <a:lnTo>
                      <a:pt x="4606" y="230"/>
                    </a:lnTo>
                    <a:lnTo>
                      <a:pt x="4606" y="232"/>
                    </a:lnTo>
                    <a:lnTo>
                      <a:pt x="4552" y="431"/>
                    </a:lnTo>
                    <a:lnTo>
                      <a:pt x="4554" y="431"/>
                    </a:lnTo>
                    <a:lnTo>
                      <a:pt x="4609" y="230"/>
                    </a:lnTo>
                    <a:moveTo>
                      <a:pt x="4758" y="0"/>
                    </a:moveTo>
                    <a:lnTo>
                      <a:pt x="4755" y="0"/>
                    </a:lnTo>
                    <a:lnTo>
                      <a:pt x="4755" y="0"/>
                    </a:lnTo>
                    <a:lnTo>
                      <a:pt x="4755" y="123"/>
                    </a:lnTo>
                    <a:lnTo>
                      <a:pt x="4758" y="123"/>
                    </a:lnTo>
                    <a:lnTo>
                      <a:pt x="4758" y="121"/>
                    </a:lnTo>
                    <a:lnTo>
                      <a:pt x="4758" y="121"/>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1" name="Freeform 46"/>
              <p:cNvSpPr>
                <a:spLocks noEditPoints="1"/>
              </p:cNvSpPr>
              <p:nvPr/>
            </p:nvSpPr>
            <p:spPr bwMode="auto">
              <a:xfrm>
                <a:off x="49" y="1753"/>
                <a:ext cx="6933" cy="1361"/>
              </a:xfrm>
              <a:custGeom>
                <a:avLst/>
                <a:gdLst>
                  <a:gd name="T0" fmla="*/ 3616 w 6933"/>
                  <a:gd name="T1" fmla="*/ 1224 h 1361"/>
                  <a:gd name="T2" fmla="*/ 3618 w 6933"/>
                  <a:gd name="T3" fmla="*/ 1221 h 1361"/>
                  <a:gd name="T4" fmla="*/ 5736 w 6933"/>
                  <a:gd name="T5" fmla="*/ 1209 h 1361"/>
                  <a:gd name="T6" fmla="*/ 5736 w 6933"/>
                  <a:gd name="T7" fmla="*/ 1207 h 1361"/>
                  <a:gd name="T8" fmla="*/ 5760 w 6933"/>
                  <a:gd name="T9" fmla="*/ 1129 h 1361"/>
                  <a:gd name="T10" fmla="*/ 5763 w 6933"/>
                  <a:gd name="T11" fmla="*/ 1181 h 1361"/>
                  <a:gd name="T12" fmla="*/ 2767 w 6933"/>
                  <a:gd name="T13" fmla="*/ 1063 h 1361"/>
                  <a:gd name="T14" fmla="*/ 2764 w 6933"/>
                  <a:gd name="T15" fmla="*/ 1148 h 1361"/>
                  <a:gd name="T16" fmla="*/ 5838 w 6933"/>
                  <a:gd name="T17" fmla="*/ 1041 h 1361"/>
                  <a:gd name="T18" fmla="*/ 5836 w 6933"/>
                  <a:gd name="T19" fmla="*/ 1053 h 1361"/>
                  <a:gd name="T20" fmla="*/ 5838 w 6933"/>
                  <a:gd name="T21" fmla="*/ 1051 h 1361"/>
                  <a:gd name="T22" fmla="*/ 2783 w 6933"/>
                  <a:gd name="T23" fmla="*/ 1011 h 1361"/>
                  <a:gd name="T24" fmla="*/ 2783 w 6933"/>
                  <a:gd name="T25" fmla="*/ 1044 h 1361"/>
                  <a:gd name="T26" fmla="*/ 2783 w 6933"/>
                  <a:gd name="T27" fmla="*/ 1011 h 1361"/>
                  <a:gd name="T28" fmla="*/ 3675 w 6933"/>
                  <a:gd name="T29" fmla="*/ 994 h 1361"/>
                  <a:gd name="T30" fmla="*/ 3677 w 6933"/>
                  <a:gd name="T31" fmla="*/ 1160 h 1361"/>
                  <a:gd name="T32" fmla="*/ 5855 w 6933"/>
                  <a:gd name="T33" fmla="*/ 989 h 1361"/>
                  <a:gd name="T34" fmla="*/ 5855 w 6933"/>
                  <a:gd name="T35" fmla="*/ 1025 h 1361"/>
                  <a:gd name="T36" fmla="*/ 5855 w 6933"/>
                  <a:gd name="T37" fmla="*/ 1022 h 1361"/>
                  <a:gd name="T38" fmla="*/ 6245 w 6933"/>
                  <a:gd name="T39" fmla="*/ 935 h 1361"/>
                  <a:gd name="T40" fmla="*/ 6245 w 6933"/>
                  <a:gd name="T41" fmla="*/ 1110 h 1361"/>
                  <a:gd name="T42" fmla="*/ 6247 w 6933"/>
                  <a:gd name="T43" fmla="*/ 935 h 1361"/>
                  <a:gd name="T44" fmla="*/ 6295 w 6933"/>
                  <a:gd name="T45" fmla="*/ 880 h 1361"/>
                  <a:gd name="T46" fmla="*/ 6295 w 6933"/>
                  <a:gd name="T47" fmla="*/ 885 h 1361"/>
                  <a:gd name="T48" fmla="*/ 6304 w 6933"/>
                  <a:gd name="T49" fmla="*/ 850 h 1361"/>
                  <a:gd name="T50" fmla="*/ 6302 w 6933"/>
                  <a:gd name="T51" fmla="*/ 871 h 1361"/>
                  <a:gd name="T52" fmla="*/ 6304 w 6933"/>
                  <a:gd name="T53" fmla="*/ 869 h 1361"/>
                  <a:gd name="T54" fmla="*/ 3005 w 6933"/>
                  <a:gd name="T55" fmla="*/ 762 h 1361"/>
                  <a:gd name="T56" fmla="*/ 3008 w 6933"/>
                  <a:gd name="T57" fmla="*/ 887 h 1361"/>
                  <a:gd name="T58" fmla="*/ 5037 w 6933"/>
                  <a:gd name="T59" fmla="*/ 731 h 1361"/>
                  <a:gd name="T60" fmla="*/ 5039 w 6933"/>
                  <a:gd name="T61" fmla="*/ 880 h 1361"/>
                  <a:gd name="T62" fmla="*/ 3043 w 6933"/>
                  <a:gd name="T63" fmla="*/ 655 h 1361"/>
                  <a:gd name="T64" fmla="*/ 3043 w 6933"/>
                  <a:gd name="T65" fmla="*/ 724 h 1361"/>
                  <a:gd name="T66" fmla="*/ 3046 w 6933"/>
                  <a:gd name="T67" fmla="*/ 655 h 1361"/>
                  <a:gd name="T68" fmla="*/ 0 w 6933"/>
                  <a:gd name="T69" fmla="*/ 618 h 1361"/>
                  <a:gd name="T70" fmla="*/ 3 w 6933"/>
                  <a:gd name="T71" fmla="*/ 615 h 1361"/>
                  <a:gd name="T72" fmla="*/ 5157 w 6933"/>
                  <a:gd name="T73" fmla="*/ 610 h 1361"/>
                  <a:gd name="T74" fmla="*/ 5160 w 6933"/>
                  <a:gd name="T75" fmla="*/ 608 h 1361"/>
                  <a:gd name="T76" fmla="*/ 6931 w 6933"/>
                  <a:gd name="T77" fmla="*/ 509 h 1361"/>
                  <a:gd name="T78" fmla="*/ 6933 w 6933"/>
                  <a:gd name="T79" fmla="*/ 509 h 1361"/>
                  <a:gd name="T80" fmla="*/ 3204 w 6933"/>
                  <a:gd name="T81" fmla="*/ 502 h 1361"/>
                  <a:gd name="T82" fmla="*/ 3206 w 6933"/>
                  <a:gd name="T83" fmla="*/ 563 h 1361"/>
                  <a:gd name="T84" fmla="*/ 3944 w 6933"/>
                  <a:gd name="T85" fmla="*/ 454 h 1361"/>
                  <a:gd name="T86" fmla="*/ 3942 w 6933"/>
                  <a:gd name="T87" fmla="*/ 490 h 1361"/>
                  <a:gd name="T88" fmla="*/ 3861 w 6933"/>
                  <a:gd name="T89" fmla="*/ 835 h 1361"/>
                  <a:gd name="T90" fmla="*/ 3944 w 6933"/>
                  <a:gd name="T91" fmla="*/ 454 h 1361"/>
                  <a:gd name="T92" fmla="*/ 3232 w 6933"/>
                  <a:gd name="T93" fmla="*/ 435 h 1361"/>
                  <a:gd name="T94" fmla="*/ 3235 w 6933"/>
                  <a:gd name="T95" fmla="*/ 471 h 1361"/>
                  <a:gd name="T96" fmla="*/ 3949 w 6933"/>
                  <a:gd name="T97" fmla="*/ 390 h 1361"/>
                  <a:gd name="T98" fmla="*/ 3947 w 6933"/>
                  <a:gd name="T99" fmla="*/ 447 h 1361"/>
                  <a:gd name="T100" fmla="*/ 3949 w 6933"/>
                  <a:gd name="T101" fmla="*/ 445 h 1361"/>
                  <a:gd name="T102" fmla="*/ 1714 w 6933"/>
                  <a:gd name="T103" fmla="*/ 367 h 1361"/>
                  <a:gd name="T104" fmla="*/ 1717 w 6933"/>
                  <a:gd name="T105" fmla="*/ 1039 h 1361"/>
                  <a:gd name="T106" fmla="*/ 3956 w 6933"/>
                  <a:gd name="T107" fmla="*/ 326 h 1361"/>
                  <a:gd name="T108" fmla="*/ 3956 w 6933"/>
                  <a:gd name="T109" fmla="*/ 383 h 1361"/>
                  <a:gd name="T110" fmla="*/ 3956 w 6933"/>
                  <a:gd name="T111" fmla="*/ 326 h 1361"/>
                  <a:gd name="T112" fmla="*/ 4609 w 6933"/>
                  <a:gd name="T113" fmla="*/ 232 h 1361"/>
                  <a:gd name="T114" fmla="*/ 4609 w 6933"/>
                  <a:gd name="T115" fmla="*/ 232 h 1361"/>
                  <a:gd name="T116" fmla="*/ 4758 w 6933"/>
                  <a:gd name="T117" fmla="*/ 2 h 1361"/>
                  <a:gd name="T118" fmla="*/ 4758 w 6933"/>
                  <a:gd name="T119" fmla="*/ 12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61">
                    <a:moveTo>
                      <a:pt x="3618" y="1221"/>
                    </a:moveTo>
                    <a:lnTo>
                      <a:pt x="3616" y="1221"/>
                    </a:lnTo>
                    <a:lnTo>
                      <a:pt x="3616" y="1224"/>
                    </a:lnTo>
                    <a:lnTo>
                      <a:pt x="3616" y="1224"/>
                    </a:lnTo>
                    <a:lnTo>
                      <a:pt x="3618" y="1224"/>
                    </a:lnTo>
                    <a:lnTo>
                      <a:pt x="3618" y="1221"/>
                    </a:lnTo>
                    <a:close/>
                    <a:moveTo>
                      <a:pt x="5736" y="1207"/>
                    </a:moveTo>
                    <a:lnTo>
                      <a:pt x="5736" y="1207"/>
                    </a:lnTo>
                    <a:lnTo>
                      <a:pt x="5736" y="1209"/>
                    </a:lnTo>
                    <a:lnTo>
                      <a:pt x="5736" y="1233"/>
                    </a:lnTo>
                    <a:lnTo>
                      <a:pt x="5736" y="1233"/>
                    </a:lnTo>
                    <a:lnTo>
                      <a:pt x="5736" y="1207"/>
                    </a:lnTo>
                    <a:close/>
                    <a:moveTo>
                      <a:pt x="5763" y="1127"/>
                    </a:moveTo>
                    <a:lnTo>
                      <a:pt x="5760" y="1127"/>
                    </a:lnTo>
                    <a:lnTo>
                      <a:pt x="5760" y="1129"/>
                    </a:lnTo>
                    <a:lnTo>
                      <a:pt x="5760" y="1183"/>
                    </a:lnTo>
                    <a:lnTo>
                      <a:pt x="5763" y="1183"/>
                    </a:lnTo>
                    <a:lnTo>
                      <a:pt x="5763" y="1181"/>
                    </a:lnTo>
                    <a:lnTo>
                      <a:pt x="5763" y="1181"/>
                    </a:lnTo>
                    <a:lnTo>
                      <a:pt x="5763" y="1127"/>
                    </a:lnTo>
                    <a:close/>
                    <a:moveTo>
                      <a:pt x="2767" y="1063"/>
                    </a:moveTo>
                    <a:lnTo>
                      <a:pt x="2764" y="1063"/>
                    </a:lnTo>
                    <a:lnTo>
                      <a:pt x="2764" y="1063"/>
                    </a:lnTo>
                    <a:lnTo>
                      <a:pt x="2764" y="1148"/>
                    </a:lnTo>
                    <a:lnTo>
                      <a:pt x="2767" y="1148"/>
                    </a:lnTo>
                    <a:lnTo>
                      <a:pt x="2767" y="1063"/>
                    </a:lnTo>
                    <a:close/>
                    <a:moveTo>
                      <a:pt x="5838" y="1041"/>
                    </a:moveTo>
                    <a:lnTo>
                      <a:pt x="5836" y="1041"/>
                    </a:lnTo>
                    <a:lnTo>
                      <a:pt x="5836" y="1041"/>
                    </a:lnTo>
                    <a:lnTo>
                      <a:pt x="5836" y="1053"/>
                    </a:lnTo>
                    <a:lnTo>
                      <a:pt x="5836" y="1053"/>
                    </a:lnTo>
                    <a:lnTo>
                      <a:pt x="5836" y="1051"/>
                    </a:lnTo>
                    <a:lnTo>
                      <a:pt x="5838" y="1051"/>
                    </a:lnTo>
                    <a:lnTo>
                      <a:pt x="5838" y="1041"/>
                    </a:lnTo>
                    <a:close/>
                    <a:moveTo>
                      <a:pt x="2783" y="1011"/>
                    </a:moveTo>
                    <a:lnTo>
                      <a:pt x="2783" y="1011"/>
                    </a:lnTo>
                    <a:lnTo>
                      <a:pt x="2783" y="1013"/>
                    </a:lnTo>
                    <a:lnTo>
                      <a:pt x="2783" y="1044"/>
                    </a:lnTo>
                    <a:lnTo>
                      <a:pt x="2783" y="1044"/>
                    </a:lnTo>
                    <a:lnTo>
                      <a:pt x="2783" y="1044"/>
                    </a:lnTo>
                    <a:lnTo>
                      <a:pt x="2783" y="1044"/>
                    </a:lnTo>
                    <a:lnTo>
                      <a:pt x="2783" y="1011"/>
                    </a:lnTo>
                    <a:close/>
                    <a:moveTo>
                      <a:pt x="3677" y="992"/>
                    </a:moveTo>
                    <a:lnTo>
                      <a:pt x="3675" y="992"/>
                    </a:lnTo>
                    <a:lnTo>
                      <a:pt x="3675" y="994"/>
                    </a:lnTo>
                    <a:lnTo>
                      <a:pt x="3675" y="1162"/>
                    </a:lnTo>
                    <a:lnTo>
                      <a:pt x="3677" y="1162"/>
                    </a:lnTo>
                    <a:lnTo>
                      <a:pt x="3677" y="1160"/>
                    </a:lnTo>
                    <a:lnTo>
                      <a:pt x="3677" y="1160"/>
                    </a:lnTo>
                    <a:lnTo>
                      <a:pt x="3677" y="992"/>
                    </a:lnTo>
                    <a:close/>
                    <a:moveTo>
                      <a:pt x="5855" y="989"/>
                    </a:moveTo>
                    <a:lnTo>
                      <a:pt x="5855" y="989"/>
                    </a:lnTo>
                    <a:lnTo>
                      <a:pt x="5855" y="992"/>
                    </a:lnTo>
                    <a:lnTo>
                      <a:pt x="5855" y="1025"/>
                    </a:lnTo>
                    <a:lnTo>
                      <a:pt x="5855" y="1025"/>
                    </a:lnTo>
                    <a:lnTo>
                      <a:pt x="5855" y="1022"/>
                    </a:lnTo>
                    <a:lnTo>
                      <a:pt x="5855" y="1022"/>
                    </a:lnTo>
                    <a:lnTo>
                      <a:pt x="5855" y="989"/>
                    </a:lnTo>
                    <a:close/>
                    <a:moveTo>
                      <a:pt x="6247" y="935"/>
                    </a:moveTo>
                    <a:lnTo>
                      <a:pt x="6245" y="935"/>
                    </a:lnTo>
                    <a:lnTo>
                      <a:pt x="6245" y="937"/>
                    </a:lnTo>
                    <a:lnTo>
                      <a:pt x="6245" y="1110"/>
                    </a:lnTo>
                    <a:lnTo>
                      <a:pt x="6245" y="1110"/>
                    </a:lnTo>
                    <a:lnTo>
                      <a:pt x="6245" y="1108"/>
                    </a:lnTo>
                    <a:lnTo>
                      <a:pt x="6247" y="1108"/>
                    </a:lnTo>
                    <a:lnTo>
                      <a:pt x="6247" y="935"/>
                    </a:lnTo>
                    <a:close/>
                    <a:moveTo>
                      <a:pt x="6297" y="878"/>
                    </a:moveTo>
                    <a:lnTo>
                      <a:pt x="6295" y="878"/>
                    </a:lnTo>
                    <a:lnTo>
                      <a:pt x="6295" y="880"/>
                    </a:lnTo>
                    <a:lnTo>
                      <a:pt x="6295" y="887"/>
                    </a:lnTo>
                    <a:lnTo>
                      <a:pt x="6295" y="887"/>
                    </a:lnTo>
                    <a:lnTo>
                      <a:pt x="6295" y="885"/>
                    </a:lnTo>
                    <a:lnTo>
                      <a:pt x="6297" y="885"/>
                    </a:lnTo>
                    <a:lnTo>
                      <a:pt x="6297" y="878"/>
                    </a:lnTo>
                    <a:close/>
                    <a:moveTo>
                      <a:pt x="6304" y="850"/>
                    </a:moveTo>
                    <a:lnTo>
                      <a:pt x="6302" y="850"/>
                    </a:lnTo>
                    <a:lnTo>
                      <a:pt x="6302" y="852"/>
                    </a:lnTo>
                    <a:lnTo>
                      <a:pt x="6302" y="871"/>
                    </a:lnTo>
                    <a:lnTo>
                      <a:pt x="6304" y="871"/>
                    </a:lnTo>
                    <a:lnTo>
                      <a:pt x="6304" y="869"/>
                    </a:lnTo>
                    <a:lnTo>
                      <a:pt x="6304" y="869"/>
                    </a:lnTo>
                    <a:lnTo>
                      <a:pt x="6304" y="850"/>
                    </a:lnTo>
                    <a:close/>
                    <a:moveTo>
                      <a:pt x="3008" y="762"/>
                    </a:moveTo>
                    <a:lnTo>
                      <a:pt x="3005" y="762"/>
                    </a:lnTo>
                    <a:lnTo>
                      <a:pt x="3005" y="764"/>
                    </a:lnTo>
                    <a:lnTo>
                      <a:pt x="3005" y="887"/>
                    </a:lnTo>
                    <a:lnTo>
                      <a:pt x="3008" y="887"/>
                    </a:lnTo>
                    <a:lnTo>
                      <a:pt x="3008" y="762"/>
                    </a:lnTo>
                    <a:close/>
                    <a:moveTo>
                      <a:pt x="5039" y="731"/>
                    </a:moveTo>
                    <a:lnTo>
                      <a:pt x="5037" y="731"/>
                    </a:lnTo>
                    <a:lnTo>
                      <a:pt x="5037" y="734"/>
                    </a:lnTo>
                    <a:lnTo>
                      <a:pt x="5037" y="880"/>
                    </a:lnTo>
                    <a:lnTo>
                      <a:pt x="5039" y="880"/>
                    </a:lnTo>
                    <a:lnTo>
                      <a:pt x="5039" y="731"/>
                    </a:lnTo>
                    <a:close/>
                    <a:moveTo>
                      <a:pt x="3046" y="655"/>
                    </a:moveTo>
                    <a:lnTo>
                      <a:pt x="3043" y="655"/>
                    </a:lnTo>
                    <a:lnTo>
                      <a:pt x="3043" y="658"/>
                    </a:lnTo>
                    <a:lnTo>
                      <a:pt x="3043" y="724"/>
                    </a:lnTo>
                    <a:lnTo>
                      <a:pt x="3043" y="724"/>
                    </a:lnTo>
                    <a:lnTo>
                      <a:pt x="3043" y="722"/>
                    </a:lnTo>
                    <a:lnTo>
                      <a:pt x="3046" y="722"/>
                    </a:lnTo>
                    <a:lnTo>
                      <a:pt x="3046" y="655"/>
                    </a:lnTo>
                    <a:close/>
                    <a:moveTo>
                      <a:pt x="3" y="615"/>
                    </a:moveTo>
                    <a:lnTo>
                      <a:pt x="0" y="615"/>
                    </a:lnTo>
                    <a:lnTo>
                      <a:pt x="0" y="618"/>
                    </a:lnTo>
                    <a:lnTo>
                      <a:pt x="0" y="1361"/>
                    </a:lnTo>
                    <a:lnTo>
                      <a:pt x="3" y="1361"/>
                    </a:lnTo>
                    <a:lnTo>
                      <a:pt x="3" y="615"/>
                    </a:lnTo>
                    <a:close/>
                    <a:moveTo>
                      <a:pt x="5160" y="608"/>
                    </a:moveTo>
                    <a:lnTo>
                      <a:pt x="5157" y="608"/>
                    </a:lnTo>
                    <a:lnTo>
                      <a:pt x="5157" y="610"/>
                    </a:lnTo>
                    <a:lnTo>
                      <a:pt x="5157" y="639"/>
                    </a:lnTo>
                    <a:lnTo>
                      <a:pt x="5160" y="639"/>
                    </a:lnTo>
                    <a:lnTo>
                      <a:pt x="5160" y="608"/>
                    </a:lnTo>
                    <a:close/>
                    <a:moveTo>
                      <a:pt x="6933" y="509"/>
                    </a:moveTo>
                    <a:lnTo>
                      <a:pt x="6931" y="509"/>
                    </a:lnTo>
                    <a:lnTo>
                      <a:pt x="6931" y="509"/>
                    </a:lnTo>
                    <a:lnTo>
                      <a:pt x="6931" y="1001"/>
                    </a:lnTo>
                    <a:lnTo>
                      <a:pt x="6933" y="1001"/>
                    </a:lnTo>
                    <a:lnTo>
                      <a:pt x="6933" y="509"/>
                    </a:lnTo>
                    <a:close/>
                    <a:moveTo>
                      <a:pt x="3206" y="499"/>
                    </a:moveTo>
                    <a:lnTo>
                      <a:pt x="3204" y="499"/>
                    </a:lnTo>
                    <a:lnTo>
                      <a:pt x="3204" y="502"/>
                    </a:lnTo>
                    <a:lnTo>
                      <a:pt x="3204" y="563"/>
                    </a:lnTo>
                    <a:lnTo>
                      <a:pt x="3206" y="563"/>
                    </a:lnTo>
                    <a:lnTo>
                      <a:pt x="3206" y="563"/>
                    </a:lnTo>
                    <a:lnTo>
                      <a:pt x="3206" y="563"/>
                    </a:lnTo>
                    <a:lnTo>
                      <a:pt x="3206" y="499"/>
                    </a:lnTo>
                    <a:close/>
                    <a:moveTo>
                      <a:pt x="3944" y="454"/>
                    </a:moveTo>
                    <a:lnTo>
                      <a:pt x="3942" y="454"/>
                    </a:lnTo>
                    <a:lnTo>
                      <a:pt x="3942" y="454"/>
                    </a:lnTo>
                    <a:lnTo>
                      <a:pt x="3942" y="490"/>
                    </a:lnTo>
                    <a:lnTo>
                      <a:pt x="3859" y="641"/>
                    </a:lnTo>
                    <a:lnTo>
                      <a:pt x="3859" y="835"/>
                    </a:lnTo>
                    <a:lnTo>
                      <a:pt x="3861" y="835"/>
                    </a:lnTo>
                    <a:lnTo>
                      <a:pt x="3861" y="641"/>
                    </a:lnTo>
                    <a:lnTo>
                      <a:pt x="3944" y="487"/>
                    </a:lnTo>
                    <a:lnTo>
                      <a:pt x="3944" y="454"/>
                    </a:lnTo>
                    <a:close/>
                    <a:moveTo>
                      <a:pt x="3235" y="433"/>
                    </a:moveTo>
                    <a:lnTo>
                      <a:pt x="3232" y="433"/>
                    </a:lnTo>
                    <a:lnTo>
                      <a:pt x="3232" y="435"/>
                    </a:lnTo>
                    <a:lnTo>
                      <a:pt x="3232" y="473"/>
                    </a:lnTo>
                    <a:lnTo>
                      <a:pt x="3235" y="473"/>
                    </a:lnTo>
                    <a:lnTo>
                      <a:pt x="3235" y="471"/>
                    </a:lnTo>
                    <a:lnTo>
                      <a:pt x="3235" y="471"/>
                    </a:lnTo>
                    <a:lnTo>
                      <a:pt x="3235" y="433"/>
                    </a:lnTo>
                    <a:close/>
                    <a:moveTo>
                      <a:pt x="3949" y="390"/>
                    </a:moveTo>
                    <a:lnTo>
                      <a:pt x="3947" y="390"/>
                    </a:lnTo>
                    <a:lnTo>
                      <a:pt x="3947" y="393"/>
                    </a:lnTo>
                    <a:lnTo>
                      <a:pt x="3947" y="447"/>
                    </a:lnTo>
                    <a:lnTo>
                      <a:pt x="3949" y="447"/>
                    </a:lnTo>
                    <a:lnTo>
                      <a:pt x="3949" y="445"/>
                    </a:lnTo>
                    <a:lnTo>
                      <a:pt x="3949" y="445"/>
                    </a:lnTo>
                    <a:lnTo>
                      <a:pt x="3949" y="390"/>
                    </a:lnTo>
                    <a:close/>
                    <a:moveTo>
                      <a:pt x="1717" y="367"/>
                    </a:moveTo>
                    <a:lnTo>
                      <a:pt x="1714" y="367"/>
                    </a:lnTo>
                    <a:lnTo>
                      <a:pt x="1714" y="369"/>
                    </a:lnTo>
                    <a:lnTo>
                      <a:pt x="1714" y="1039"/>
                    </a:lnTo>
                    <a:lnTo>
                      <a:pt x="1717" y="1039"/>
                    </a:lnTo>
                    <a:lnTo>
                      <a:pt x="1717" y="367"/>
                    </a:lnTo>
                    <a:close/>
                    <a:moveTo>
                      <a:pt x="3956" y="326"/>
                    </a:moveTo>
                    <a:lnTo>
                      <a:pt x="3956" y="326"/>
                    </a:lnTo>
                    <a:lnTo>
                      <a:pt x="3956" y="329"/>
                    </a:lnTo>
                    <a:lnTo>
                      <a:pt x="3956" y="383"/>
                    </a:lnTo>
                    <a:lnTo>
                      <a:pt x="3956" y="383"/>
                    </a:lnTo>
                    <a:lnTo>
                      <a:pt x="3956" y="381"/>
                    </a:lnTo>
                    <a:lnTo>
                      <a:pt x="3956" y="381"/>
                    </a:lnTo>
                    <a:lnTo>
                      <a:pt x="3956" y="326"/>
                    </a:lnTo>
                    <a:close/>
                    <a:moveTo>
                      <a:pt x="4609" y="232"/>
                    </a:moveTo>
                    <a:lnTo>
                      <a:pt x="4609" y="232"/>
                    </a:lnTo>
                    <a:lnTo>
                      <a:pt x="4609" y="232"/>
                    </a:lnTo>
                    <a:lnTo>
                      <a:pt x="4554" y="433"/>
                    </a:lnTo>
                    <a:lnTo>
                      <a:pt x="4554" y="431"/>
                    </a:lnTo>
                    <a:lnTo>
                      <a:pt x="4609" y="232"/>
                    </a:lnTo>
                    <a:close/>
                    <a:moveTo>
                      <a:pt x="4760" y="0"/>
                    </a:moveTo>
                    <a:lnTo>
                      <a:pt x="4758" y="0"/>
                    </a:lnTo>
                    <a:lnTo>
                      <a:pt x="4758" y="2"/>
                    </a:lnTo>
                    <a:lnTo>
                      <a:pt x="4758" y="123"/>
                    </a:lnTo>
                    <a:lnTo>
                      <a:pt x="4758" y="123"/>
                    </a:lnTo>
                    <a:lnTo>
                      <a:pt x="4758" y="120"/>
                    </a:lnTo>
                    <a:lnTo>
                      <a:pt x="4760" y="120"/>
                    </a:lnTo>
                    <a:lnTo>
                      <a:pt x="4760" y="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2" name="Freeform 47"/>
              <p:cNvSpPr>
                <a:spLocks noEditPoints="1"/>
              </p:cNvSpPr>
              <p:nvPr/>
            </p:nvSpPr>
            <p:spPr bwMode="auto">
              <a:xfrm>
                <a:off x="49" y="1753"/>
                <a:ext cx="6933" cy="1361"/>
              </a:xfrm>
              <a:custGeom>
                <a:avLst/>
                <a:gdLst>
                  <a:gd name="T0" fmla="*/ 3616 w 6933"/>
                  <a:gd name="T1" fmla="*/ 1224 h 1361"/>
                  <a:gd name="T2" fmla="*/ 3618 w 6933"/>
                  <a:gd name="T3" fmla="*/ 1221 h 1361"/>
                  <a:gd name="T4" fmla="*/ 5736 w 6933"/>
                  <a:gd name="T5" fmla="*/ 1209 h 1361"/>
                  <a:gd name="T6" fmla="*/ 5736 w 6933"/>
                  <a:gd name="T7" fmla="*/ 1207 h 1361"/>
                  <a:gd name="T8" fmla="*/ 5760 w 6933"/>
                  <a:gd name="T9" fmla="*/ 1129 h 1361"/>
                  <a:gd name="T10" fmla="*/ 5763 w 6933"/>
                  <a:gd name="T11" fmla="*/ 1181 h 1361"/>
                  <a:gd name="T12" fmla="*/ 2767 w 6933"/>
                  <a:gd name="T13" fmla="*/ 1063 h 1361"/>
                  <a:gd name="T14" fmla="*/ 2764 w 6933"/>
                  <a:gd name="T15" fmla="*/ 1148 h 1361"/>
                  <a:gd name="T16" fmla="*/ 5838 w 6933"/>
                  <a:gd name="T17" fmla="*/ 1041 h 1361"/>
                  <a:gd name="T18" fmla="*/ 5836 w 6933"/>
                  <a:gd name="T19" fmla="*/ 1053 h 1361"/>
                  <a:gd name="T20" fmla="*/ 5838 w 6933"/>
                  <a:gd name="T21" fmla="*/ 1051 h 1361"/>
                  <a:gd name="T22" fmla="*/ 2783 w 6933"/>
                  <a:gd name="T23" fmla="*/ 1011 h 1361"/>
                  <a:gd name="T24" fmla="*/ 2783 w 6933"/>
                  <a:gd name="T25" fmla="*/ 1044 h 1361"/>
                  <a:gd name="T26" fmla="*/ 2783 w 6933"/>
                  <a:gd name="T27" fmla="*/ 1011 h 1361"/>
                  <a:gd name="T28" fmla="*/ 3675 w 6933"/>
                  <a:gd name="T29" fmla="*/ 994 h 1361"/>
                  <a:gd name="T30" fmla="*/ 3677 w 6933"/>
                  <a:gd name="T31" fmla="*/ 1160 h 1361"/>
                  <a:gd name="T32" fmla="*/ 5855 w 6933"/>
                  <a:gd name="T33" fmla="*/ 989 h 1361"/>
                  <a:gd name="T34" fmla="*/ 5855 w 6933"/>
                  <a:gd name="T35" fmla="*/ 1025 h 1361"/>
                  <a:gd name="T36" fmla="*/ 5855 w 6933"/>
                  <a:gd name="T37" fmla="*/ 1022 h 1361"/>
                  <a:gd name="T38" fmla="*/ 6245 w 6933"/>
                  <a:gd name="T39" fmla="*/ 935 h 1361"/>
                  <a:gd name="T40" fmla="*/ 6245 w 6933"/>
                  <a:gd name="T41" fmla="*/ 1110 h 1361"/>
                  <a:gd name="T42" fmla="*/ 6247 w 6933"/>
                  <a:gd name="T43" fmla="*/ 935 h 1361"/>
                  <a:gd name="T44" fmla="*/ 6295 w 6933"/>
                  <a:gd name="T45" fmla="*/ 880 h 1361"/>
                  <a:gd name="T46" fmla="*/ 6295 w 6933"/>
                  <a:gd name="T47" fmla="*/ 885 h 1361"/>
                  <a:gd name="T48" fmla="*/ 6304 w 6933"/>
                  <a:gd name="T49" fmla="*/ 850 h 1361"/>
                  <a:gd name="T50" fmla="*/ 6302 w 6933"/>
                  <a:gd name="T51" fmla="*/ 871 h 1361"/>
                  <a:gd name="T52" fmla="*/ 6304 w 6933"/>
                  <a:gd name="T53" fmla="*/ 869 h 1361"/>
                  <a:gd name="T54" fmla="*/ 3005 w 6933"/>
                  <a:gd name="T55" fmla="*/ 762 h 1361"/>
                  <a:gd name="T56" fmla="*/ 3008 w 6933"/>
                  <a:gd name="T57" fmla="*/ 887 h 1361"/>
                  <a:gd name="T58" fmla="*/ 5037 w 6933"/>
                  <a:gd name="T59" fmla="*/ 731 h 1361"/>
                  <a:gd name="T60" fmla="*/ 5039 w 6933"/>
                  <a:gd name="T61" fmla="*/ 880 h 1361"/>
                  <a:gd name="T62" fmla="*/ 3043 w 6933"/>
                  <a:gd name="T63" fmla="*/ 655 h 1361"/>
                  <a:gd name="T64" fmla="*/ 3043 w 6933"/>
                  <a:gd name="T65" fmla="*/ 724 h 1361"/>
                  <a:gd name="T66" fmla="*/ 3046 w 6933"/>
                  <a:gd name="T67" fmla="*/ 655 h 1361"/>
                  <a:gd name="T68" fmla="*/ 0 w 6933"/>
                  <a:gd name="T69" fmla="*/ 618 h 1361"/>
                  <a:gd name="T70" fmla="*/ 3 w 6933"/>
                  <a:gd name="T71" fmla="*/ 615 h 1361"/>
                  <a:gd name="T72" fmla="*/ 5157 w 6933"/>
                  <a:gd name="T73" fmla="*/ 610 h 1361"/>
                  <a:gd name="T74" fmla="*/ 5160 w 6933"/>
                  <a:gd name="T75" fmla="*/ 608 h 1361"/>
                  <a:gd name="T76" fmla="*/ 6931 w 6933"/>
                  <a:gd name="T77" fmla="*/ 509 h 1361"/>
                  <a:gd name="T78" fmla="*/ 6933 w 6933"/>
                  <a:gd name="T79" fmla="*/ 509 h 1361"/>
                  <a:gd name="T80" fmla="*/ 3204 w 6933"/>
                  <a:gd name="T81" fmla="*/ 502 h 1361"/>
                  <a:gd name="T82" fmla="*/ 3206 w 6933"/>
                  <a:gd name="T83" fmla="*/ 563 h 1361"/>
                  <a:gd name="T84" fmla="*/ 3944 w 6933"/>
                  <a:gd name="T85" fmla="*/ 454 h 1361"/>
                  <a:gd name="T86" fmla="*/ 3942 w 6933"/>
                  <a:gd name="T87" fmla="*/ 490 h 1361"/>
                  <a:gd name="T88" fmla="*/ 3861 w 6933"/>
                  <a:gd name="T89" fmla="*/ 835 h 1361"/>
                  <a:gd name="T90" fmla="*/ 3944 w 6933"/>
                  <a:gd name="T91" fmla="*/ 454 h 1361"/>
                  <a:gd name="T92" fmla="*/ 3232 w 6933"/>
                  <a:gd name="T93" fmla="*/ 435 h 1361"/>
                  <a:gd name="T94" fmla="*/ 3235 w 6933"/>
                  <a:gd name="T95" fmla="*/ 471 h 1361"/>
                  <a:gd name="T96" fmla="*/ 3949 w 6933"/>
                  <a:gd name="T97" fmla="*/ 390 h 1361"/>
                  <a:gd name="T98" fmla="*/ 3947 w 6933"/>
                  <a:gd name="T99" fmla="*/ 447 h 1361"/>
                  <a:gd name="T100" fmla="*/ 3949 w 6933"/>
                  <a:gd name="T101" fmla="*/ 445 h 1361"/>
                  <a:gd name="T102" fmla="*/ 1714 w 6933"/>
                  <a:gd name="T103" fmla="*/ 367 h 1361"/>
                  <a:gd name="T104" fmla="*/ 1717 w 6933"/>
                  <a:gd name="T105" fmla="*/ 1039 h 1361"/>
                  <a:gd name="T106" fmla="*/ 3956 w 6933"/>
                  <a:gd name="T107" fmla="*/ 326 h 1361"/>
                  <a:gd name="T108" fmla="*/ 3956 w 6933"/>
                  <a:gd name="T109" fmla="*/ 383 h 1361"/>
                  <a:gd name="T110" fmla="*/ 3956 w 6933"/>
                  <a:gd name="T111" fmla="*/ 326 h 1361"/>
                  <a:gd name="T112" fmla="*/ 4609 w 6933"/>
                  <a:gd name="T113" fmla="*/ 232 h 1361"/>
                  <a:gd name="T114" fmla="*/ 4609 w 6933"/>
                  <a:gd name="T115" fmla="*/ 232 h 1361"/>
                  <a:gd name="T116" fmla="*/ 4758 w 6933"/>
                  <a:gd name="T117" fmla="*/ 2 h 1361"/>
                  <a:gd name="T118" fmla="*/ 4758 w 6933"/>
                  <a:gd name="T119" fmla="*/ 12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61">
                    <a:moveTo>
                      <a:pt x="3618" y="1221"/>
                    </a:moveTo>
                    <a:lnTo>
                      <a:pt x="3616" y="1221"/>
                    </a:lnTo>
                    <a:lnTo>
                      <a:pt x="3616" y="1224"/>
                    </a:lnTo>
                    <a:lnTo>
                      <a:pt x="3616" y="1224"/>
                    </a:lnTo>
                    <a:lnTo>
                      <a:pt x="3618" y="1224"/>
                    </a:lnTo>
                    <a:lnTo>
                      <a:pt x="3618" y="1221"/>
                    </a:lnTo>
                    <a:moveTo>
                      <a:pt x="5736" y="1207"/>
                    </a:moveTo>
                    <a:lnTo>
                      <a:pt x="5736" y="1207"/>
                    </a:lnTo>
                    <a:lnTo>
                      <a:pt x="5736" y="1209"/>
                    </a:lnTo>
                    <a:lnTo>
                      <a:pt x="5736" y="1233"/>
                    </a:lnTo>
                    <a:lnTo>
                      <a:pt x="5736" y="1233"/>
                    </a:lnTo>
                    <a:lnTo>
                      <a:pt x="5736" y="1207"/>
                    </a:lnTo>
                    <a:moveTo>
                      <a:pt x="5763" y="1127"/>
                    </a:moveTo>
                    <a:lnTo>
                      <a:pt x="5760" y="1127"/>
                    </a:lnTo>
                    <a:lnTo>
                      <a:pt x="5760" y="1129"/>
                    </a:lnTo>
                    <a:lnTo>
                      <a:pt x="5760" y="1183"/>
                    </a:lnTo>
                    <a:lnTo>
                      <a:pt x="5763" y="1183"/>
                    </a:lnTo>
                    <a:lnTo>
                      <a:pt x="5763" y="1181"/>
                    </a:lnTo>
                    <a:lnTo>
                      <a:pt x="5763" y="1181"/>
                    </a:lnTo>
                    <a:lnTo>
                      <a:pt x="5763" y="1127"/>
                    </a:lnTo>
                    <a:moveTo>
                      <a:pt x="2767" y="1063"/>
                    </a:moveTo>
                    <a:lnTo>
                      <a:pt x="2764" y="1063"/>
                    </a:lnTo>
                    <a:lnTo>
                      <a:pt x="2764" y="1063"/>
                    </a:lnTo>
                    <a:lnTo>
                      <a:pt x="2764" y="1148"/>
                    </a:lnTo>
                    <a:lnTo>
                      <a:pt x="2767" y="1148"/>
                    </a:lnTo>
                    <a:lnTo>
                      <a:pt x="2767" y="1063"/>
                    </a:lnTo>
                    <a:moveTo>
                      <a:pt x="5838" y="1041"/>
                    </a:moveTo>
                    <a:lnTo>
                      <a:pt x="5836" y="1041"/>
                    </a:lnTo>
                    <a:lnTo>
                      <a:pt x="5836" y="1041"/>
                    </a:lnTo>
                    <a:lnTo>
                      <a:pt x="5836" y="1053"/>
                    </a:lnTo>
                    <a:lnTo>
                      <a:pt x="5836" y="1053"/>
                    </a:lnTo>
                    <a:lnTo>
                      <a:pt x="5836" y="1051"/>
                    </a:lnTo>
                    <a:lnTo>
                      <a:pt x="5838" y="1051"/>
                    </a:lnTo>
                    <a:lnTo>
                      <a:pt x="5838" y="1041"/>
                    </a:lnTo>
                    <a:moveTo>
                      <a:pt x="2783" y="1011"/>
                    </a:moveTo>
                    <a:lnTo>
                      <a:pt x="2783" y="1011"/>
                    </a:lnTo>
                    <a:lnTo>
                      <a:pt x="2783" y="1013"/>
                    </a:lnTo>
                    <a:lnTo>
                      <a:pt x="2783" y="1044"/>
                    </a:lnTo>
                    <a:lnTo>
                      <a:pt x="2783" y="1044"/>
                    </a:lnTo>
                    <a:lnTo>
                      <a:pt x="2783" y="1044"/>
                    </a:lnTo>
                    <a:lnTo>
                      <a:pt x="2783" y="1044"/>
                    </a:lnTo>
                    <a:lnTo>
                      <a:pt x="2783" y="1011"/>
                    </a:lnTo>
                    <a:moveTo>
                      <a:pt x="3677" y="992"/>
                    </a:moveTo>
                    <a:lnTo>
                      <a:pt x="3675" y="992"/>
                    </a:lnTo>
                    <a:lnTo>
                      <a:pt x="3675" y="994"/>
                    </a:lnTo>
                    <a:lnTo>
                      <a:pt x="3675" y="1162"/>
                    </a:lnTo>
                    <a:lnTo>
                      <a:pt x="3677" y="1162"/>
                    </a:lnTo>
                    <a:lnTo>
                      <a:pt x="3677" y="1160"/>
                    </a:lnTo>
                    <a:lnTo>
                      <a:pt x="3677" y="1160"/>
                    </a:lnTo>
                    <a:lnTo>
                      <a:pt x="3677" y="992"/>
                    </a:lnTo>
                    <a:moveTo>
                      <a:pt x="5855" y="989"/>
                    </a:moveTo>
                    <a:lnTo>
                      <a:pt x="5855" y="989"/>
                    </a:lnTo>
                    <a:lnTo>
                      <a:pt x="5855" y="992"/>
                    </a:lnTo>
                    <a:lnTo>
                      <a:pt x="5855" y="1025"/>
                    </a:lnTo>
                    <a:lnTo>
                      <a:pt x="5855" y="1025"/>
                    </a:lnTo>
                    <a:lnTo>
                      <a:pt x="5855" y="1022"/>
                    </a:lnTo>
                    <a:lnTo>
                      <a:pt x="5855" y="1022"/>
                    </a:lnTo>
                    <a:lnTo>
                      <a:pt x="5855" y="989"/>
                    </a:lnTo>
                    <a:moveTo>
                      <a:pt x="6247" y="935"/>
                    </a:moveTo>
                    <a:lnTo>
                      <a:pt x="6245" y="935"/>
                    </a:lnTo>
                    <a:lnTo>
                      <a:pt x="6245" y="937"/>
                    </a:lnTo>
                    <a:lnTo>
                      <a:pt x="6245" y="1110"/>
                    </a:lnTo>
                    <a:lnTo>
                      <a:pt x="6245" y="1110"/>
                    </a:lnTo>
                    <a:lnTo>
                      <a:pt x="6245" y="1108"/>
                    </a:lnTo>
                    <a:lnTo>
                      <a:pt x="6247" y="1108"/>
                    </a:lnTo>
                    <a:lnTo>
                      <a:pt x="6247" y="935"/>
                    </a:lnTo>
                    <a:moveTo>
                      <a:pt x="6297" y="878"/>
                    </a:moveTo>
                    <a:lnTo>
                      <a:pt x="6295" y="878"/>
                    </a:lnTo>
                    <a:lnTo>
                      <a:pt x="6295" y="880"/>
                    </a:lnTo>
                    <a:lnTo>
                      <a:pt x="6295" y="887"/>
                    </a:lnTo>
                    <a:lnTo>
                      <a:pt x="6295" y="887"/>
                    </a:lnTo>
                    <a:lnTo>
                      <a:pt x="6295" y="885"/>
                    </a:lnTo>
                    <a:lnTo>
                      <a:pt x="6297" y="885"/>
                    </a:lnTo>
                    <a:lnTo>
                      <a:pt x="6297" y="878"/>
                    </a:lnTo>
                    <a:moveTo>
                      <a:pt x="6304" y="850"/>
                    </a:moveTo>
                    <a:lnTo>
                      <a:pt x="6302" y="850"/>
                    </a:lnTo>
                    <a:lnTo>
                      <a:pt x="6302" y="852"/>
                    </a:lnTo>
                    <a:lnTo>
                      <a:pt x="6302" y="871"/>
                    </a:lnTo>
                    <a:lnTo>
                      <a:pt x="6304" y="871"/>
                    </a:lnTo>
                    <a:lnTo>
                      <a:pt x="6304" y="869"/>
                    </a:lnTo>
                    <a:lnTo>
                      <a:pt x="6304" y="869"/>
                    </a:lnTo>
                    <a:lnTo>
                      <a:pt x="6304" y="850"/>
                    </a:lnTo>
                    <a:moveTo>
                      <a:pt x="3008" y="762"/>
                    </a:moveTo>
                    <a:lnTo>
                      <a:pt x="3005" y="762"/>
                    </a:lnTo>
                    <a:lnTo>
                      <a:pt x="3005" y="764"/>
                    </a:lnTo>
                    <a:lnTo>
                      <a:pt x="3005" y="887"/>
                    </a:lnTo>
                    <a:lnTo>
                      <a:pt x="3008" y="887"/>
                    </a:lnTo>
                    <a:lnTo>
                      <a:pt x="3008" y="762"/>
                    </a:lnTo>
                    <a:moveTo>
                      <a:pt x="5039" y="731"/>
                    </a:moveTo>
                    <a:lnTo>
                      <a:pt x="5037" y="731"/>
                    </a:lnTo>
                    <a:lnTo>
                      <a:pt x="5037" y="734"/>
                    </a:lnTo>
                    <a:lnTo>
                      <a:pt x="5037" y="880"/>
                    </a:lnTo>
                    <a:lnTo>
                      <a:pt x="5039" y="880"/>
                    </a:lnTo>
                    <a:lnTo>
                      <a:pt x="5039" y="731"/>
                    </a:lnTo>
                    <a:moveTo>
                      <a:pt x="3046" y="655"/>
                    </a:moveTo>
                    <a:lnTo>
                      <a:pt x="3043" y="655"/>
                    </a:lnTo>
                    <a:lnTo>
                      <a:pt x="3043" y="658"/>
                    </a:lnTo>
                    <a:lnTo>
                      <a:pt x="3043" y="724"/>
                    </a:lnTo>
                    <a:lnTo>
                      <a:pt x="3043" y="724"/>
                    </a:lnTo>
                    <a:lnTo>
                      <a:pt x="3043" y="722"/>
                    </a:lnTo>
                    <a:lnTo>
                      <a:pt x="3046" y="722"/>
                    </a:lnTo>
                    <a:lnTo>
                      <a:pt x="3046" y="655"/>
                    </a:lnTo>
                    <a:moveTo>
                      <a:pt x="3" y="615"/>
                    </a:moveTo>
                    <a:lnTo>
                      <a:pt x="0" y="615"/>
                    </a:lnTo>
                    <a:lnTo>
                      <a:pt x="0" y="618"/>
                    </a:lnTo>
                    <a:lnTo>
                      <a:pt x="0" y="1361"/>
                    </a:lnTo>
                    <a:lnTo>
                      <a:pt x="3" y="1361"/>
                    </a:lnTo>
                    <a:lnTo>
                      <a:pt x="3" y="615"/>
                    </a:lnTo>
                    <a:moveTo>
                      <a:pt x="5160" y="608"/>
                    </a:moveTo>
                    <a:lnTo>
                      <a:pt x="5157" y="608"/>
                    </a:lnTo>
                    <a:lnTo>
                      <a:pt x="5157" y="610"/>
                    </a:lnTo>
                    <a:lnTo>
                      <a:pt x="5157" y="639"/>
                    </a:lnTo>
                    <a:lnTo>
                      <a:pt x="5160" y="639"/>
                    </a:lnTo>
                    <a:lnTo>
                      <a:pt x="5160" y="608"/>
                    </a:lnTo>
                    <a:moveTo>
                      <a:pt x="6933" y="509"/>
                    </a:moveTo>
                    <a:lnTo>
                      <a:pt x="6931" y="509"/>
                    </a:lnTo>
                    <a:lnTo>
                      <a:pt x="6931" y="509"/>
                    </a:lnTo>
                    <a:lnTo>
                      <a:pt x="6931" y="1001"/>
                    </a:lnTo>
                    <a:lnTo>
                      <a:pt x="6933" y="1001"/>
                    </a:lnTo>
                    <a:lnTo>
                      <a:pt x="6933" y="509"/>
                    </a:lnTo>
                    <a:moveTo>
                      <a:pt x="3206" y="499"/>
                    </a:moveTo>
                    <a:lnTo>
                      <a:pt x="3204" y="499"/>
                    </a:lnTo>
                    <a:lnTo>
                      <a:pt x="3204" y="502"/>
                    </a:lnTo>
                    <a:lnTo>
                      <a:pt x="3204" y="563"/>
                    </a:lnTo>
                    <a:lnTo>
                      <a:pt x="3206" y="563"/>
                    </a:lnTo>
                    <a:lnTo>
                      <a:pt x="3206" y="563"/>
                    </a:lnTo>
                    <a:lnTo>
                      <a:pt x="3206" y="563"/>
                    </a:lnTo>
                    <a:lnTo>
                      <a:pt x="3206" y="499"/>
                    </a:lnTo>
                    <a:moveTo>
                      <a:pt x="3944" y="454"/>
                    </a:moveTo>
                    <a:lnTo>
                      <a:pt x="3942" y="454"/>
                    </a:lnTo>
                    <a:lnTo>
                      <a:pt x="3942" y="454"/>
                    </a:lnTo>
                    <a:lnTo>
                      <a:pt x="3942" y="490"/>
                    </a:lnTo>
                    <a:lnTo>
                      <a:pt x="3859" y="641"/>
                    </a:lnTo>
                    <a:lnTo>
                      <a:pt x="3859" y="835"/>
                    </a:lnTo>
                    <a:lnTo>
                      <a:pt x="3861" y="835"/>
                    </a:lnTo>
                    <a:lnTo>
                      <a:pt x="3861" y="641"/>
                    </a:lnTo>
                    <a:lnTo>
                      <a:pt x="3944" y="487"/>
                    </a:lnTo>
                    <a:lnTo>
                      <a:pt x="3944" y="454"/>
                    </a:lnTo>
                    <a:moveTo>
                      <a:pt x="3235" y="433"/>
                    </a:moveTo>
                    <a:lnTo>
                      <a:pt x="3232" y="433"/>
                    </a:lnTo>
                    <a:lnTo>
                      <a:pt x="3232" y="435"/>
                    </a:lnTo>
                    <a:lnTo>
                      <a:pt x="3232" y="473"/>
                    </a:lnTo>
                    <a:lnTo>
                      <a:pt x="3235" y="473"/>
                    </a:lnTo>
                    <a:lnTo>
                      <a:pt x="3235" y="471"/>
                    </a:lnTo>
                    <a:lnTo>
                      <a:pt x="3235" y="471"/>
                    </a:lnTo>
                    <a:lnTo>
                      <a:pt x="3235" y="433"/>
                    </a:lnTo>
                    <a:moveTo>
                      <a:pt x="3949" y="390"/>
                    </a:moveTo>
                    <a:lnTo>
                      <a:pt x="3947" y="390"/>
                    </a:lnTo>
                    <a:lnTo>
                      <a:pt x="3947" y="393"/>
                    </a:lnTo>
                    <a:lnTo>
                      <a:pt x="3947" y="447"/>
                    </a:lnTo>
                    <a:lnTo>
                      <a:pt x="3949" y="447"/>
                    </a:lnTo>
                    <a:lnTo>
                      <a:pt x="3949" y="445"/>
                    </a:lnTo>
                    <a:lnTo>
                      <a:pt x="3949" y="445"/>
                    </a:lnTo>
                    <a:lnTo>
                      <a:pt x="3949" y="390"/>
                    </a:lnTo>
                    <a:moveTo>
                      <a:pt x="1717" y="367"/>
                    </a:moveTo>
                    <a:lnTo>
                      <a:pt x="1714" y="367"/>
                    </a:lnTo>
                    <a:lnTo>
                      <a:pt x="1714" y="369"/>
                    </a:lnTo>
                    <a:lnTo>
                      <a:pt x="1714" y="1039"/>
                    </a:lnTo>
                    <a:lnTo>
                      <a:pt x="1717" y="1039"/>
                    </a:lnTo>
                    <a:lnTo>
                      <a:pt x="1717" y="367"/>
                    </a:lnTo>
                    <a:moveTo>
                      <a:pt x="3956" y="326"/>
                    </a:moveTo>
                    <a:lnTo>
                      <a:pt x="3956" y="326"/>
                    </a:lnTo>
                    <a:lnTo>
                      <a:pt x="3956" y="329"/>
                    </a:lnTo>
                    <a:lnTo>
                      <a:pt x="3956" y="383"/>
                    </a:lnTo>
                    <a:lnTo>
                      <a:pt x="3956" y="383"/>
                    </a:lnTo>
                    <a:lnTo>
                      <a:pt x="3956" y="381"/>
                    </a:lnTo>
                    <a:lnTo>
                      <a:pt x="3956" y="381"/>
                    </a:lnTo>
                    <a:lnTo>
                      <a:pt x="3956" y="326"/>
                    </a:lnTo>
                    <a:moveTo>
                      <a:pt x="4609" y="232"/>
                    </a:moveTo>
                    <a:lnTo>
                      <a:pt x="4609" y="232"/>
                    </a:lnTo>
                    <a:lnTo>
                      <a:pt x="4609" y="232"/>
                    </a:lnTo>
                    <a:lnTo>
                      <a:pt x="4554" y="433"/>
                    </a:lnTo>
                    <a:lnTo>
                      <a:pt x="4554" y="431"/>
                    </a:lnTo>
                    <a:lnTo>
                      <a:pt x="4609" y="232"/>
                    </a:lnTo>
                    <a:moveTo>
                      <a:pt x="4760" y="0"/>
                    </a:moveTo>
                    <a:lnTo>
                      <a:pt x="4758" y="0"/>
                    </a:lnTo>
                    <a:lnTo>
                      <a:pt x="4758" y="2"/>
                    </a:lnTo>
                    <a:lnTo>
                      <a:pt x="4758" y="123"/>
                    </a:lnTo>
                    <a:lnTo>
                      <a:pt x="4758" y="123"/>
                    </a:lnTo>
                    <a:lnTo>
                      <a:pt x="4758" y="120"/>
                    </a:lnTo>
                    <a:lnTo>
                      <a:pt x="4760" y="120"/>
                    </a:lnTo>
                    <a:lnTo>
                      <a:pt x="47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3" name="Freeform 48"/>
              <p:cNvSpPr>
                <a:spLocks noEditPoints="1"/>
              </p:cNvSpPr>
              <p:nvPr/>
            </p:nvSpPr>
            <p:spPr bwMode="auto">
              <a:xfrm>
                <a:off x="52" y="1750"/>
                <a:ext cx="6930" cy="1364"/>
              </a:xfrm>
              <a:custGeom>
                <a:avLst/>
                <a:gdLst>
                  <a:gd name="T0" fmla="*/ 3615 w 6930"/>
                  <a:gd name="T1" fmla="*/ 1224 h 1364"/>
                  <a:gd name="T2" fmla="*/ 3617 w 6930"/>
                  <a:gd name="T3" fmla="*/ 1222 h 1364"/>
                  <a:gd name="T4" fmla="*/ 5733 w 6930"/>
                  <a:gd name="T5" fmla="*/ 1210 h 1364"/>
                  <a:gd name="T6" fmla="*/ 5736 w 6930"/>
                  <a:gd name="T7" fmla="*/ 1208 h 1364"/>
                  <a:gd name="T8" fmla="*/ 5760 w 6930"/>
                  <a:gd name="T9" fmla="*/ 1130 h 1364"/>
                  <a:gd name="T10" fmla="*/ 5760 w 6930"/>
                  <a:gd name="T11" fmla="*/ 1182 h 1364"/>
                  <a:gd name="T12" fmla="*/ 2766 w 6930"/>
                  <a:gd name="T13" fmla="*/ 1063 h 1364"/>
                  <a:gd name="T14" fmla="*/ 2764 w 6930"/>
                  <a:gd name="T15" fmla="*/ 1151 h 1364"/>
                  <a:gd name="T16" fmla="*/ 5835 w 6930"/>
                  <a:gd name="T17" fmla="*/ 1042 h 1364"/>
                  <a:gd name="T18" fmla="*/ 5835 w 6930"/>
                  <a:gd name="T19" fmla="*/ 1054 h 1364"/>
                  <a:gd name="T20" fmla="*/ 5835 w 6930"/>
                  <a:gd name="T21" fmla="*/ 1051 h 1364"/>
                  <a:gd name="T22" fmla="*/ 2780 w 6930"/>
                  <a:gd name="T23" fmla="*/ 1014 h 1364"/>
                  <a:gd name="T24" fmla="*/ 2783 w 6930"/>
                  <a:gd name="T25" fmla="*/ 1047 h 1364"/>
                  <a:gd name="T26" fmla="*/ 2783 w 6930"/>
                  <a:gd name="T27" fmla="*/ 1011 h 1364"/>
                  <a:gd name="T28" fmla="*/ 3674 w 6930"/>
                  <a:gd name="T29" fmla="*/ 995 h 1364"/>
                  <a:gd name="T30" fmla="*/ 3676 w 6930"/>
                  <a:gd name="T31" fmla="*/ 1160 h 1364"/>
                  <a:gd name="T32" fmla="*/ 5854 w 6930"/>
                  <a:gd name="T33" fmla="*/ 990 h 1364"/>
                  <a:gd name="T34" fmla="*/ 5852 w 6930"/>
                  <a:gd name="T35" fmla="*/ 1025 h 1364"/>
                  <a:gd name="T36" fmla="*/ 5854 w 6930"/>
                  <a:gd name="T37" fmla="*/ 1023 h 1364"/>
                  <a:gd name="T38" fmla="*/ 6244 w 6930"/>
                  <a:gd name="T39" fmla="*/ 935 h 1364"/>
                  <a:gd name="T40" fmla="*/ 6244 w 6930"/>
                  <a:gd name="T41" fmla="*/ 1111 h 1364"/>
                  <a:gd name="T42" fmla="*/ 6244 w 6930"/>
                  <a:gd name="T43" fmla="*/ 935 h 1364"/>
                  <a:gd name="T44" fmla="*/ 6294 w 6930"/>
                  <a:gd name="T45" fmla="*/ 881 h 1364"/>
                  <a:gd name="T46" fmla="*/ 6294 w 6930"/>
                  <a:gd name="T47" fmla="*/ 886 h 1364"/>
                  <a:gd name="T48" fmla="*/ 6303 w 6930"/>
                  <a:gd name="T49" fmla="*/ 850 h 1364"/>
                  <a:gd name="T50" fmla="*/ 6301 w 6930"/>
                  <a:gd name="T51" fmla="*/ 872 h 1364"/>
                  <a:gd name="T52" fmla="*/ 6303 w 6930"/>
                  <a:gd name="T53" fmla="*/ 869 h 1364"/>
                  <a:gd name="T54" fmla="*/ 3005 w 6930"/>
                  <a:gd name="T55" fmla="*/ 763 h 1364"/>
                  <a:gd name="T56" fmla="*/ 3005 w 6930"/>
                  <a:gd name="T57" fmla="*/ 890 h 1364"/>
                  <a:gd name="T58" fmla="*/ 5036 w 6930"/>
                  <a:gd name="T59" fmla="*/ 732 h 1364"/>
                  <a:gd name="T60" fmla="*/ 5038 w 6930"/>
                  <a:gd name="T61" fmla="*/ 883 h 1364"/>
                  <a:gd name="T62" fmla="*/ 3043 w 6930"/>
                  <a:gd name="T63" fmla="*/ 656 h 1364"/>
                  <a:gd name="T64" fmla="*/ 3043 w 6930"/>
                  <a:gd name="T65" fmla="*/ 725 h 1364"/>
                  <a:gd name="T66" fmla="*/ 3045 w 6930"/>
                  <a:gd name="T67" fmla="*/ 656 h 1364"/>
                  <a:gd name="T68" fmla="*/ 0 w 6930"/>
                  <a:gd name="T69" fmla="*/ 618 h 1364"/>
                  <a:gd name="T70" fmla="*/ 2 w 6930"/>
                  <a:gd name="T71" fmla="*/ 616 h 1364"/>
                  <a:gd name="T72" fmla="*/ 5157 w 6930"/>
                  <a:gd name="T73" fmla="*/ 611 h 1364"/>
                  <a:gd name="T74" fmla="*/ 5159 w 6930"/>
                  <a:gd name="T75" fmla="*/ 609 h 1364"/>
                  <a:gd name="T76" fmla="*/ 6930 w 6930"/>
                  <a:gd name="T77" fmla="*/ 512 h 1364"/>
                  <a:gd name="T78" fmla="*/ 6930 w 6930"/>
                  <a:gd name="T79" fmla="*/ 509 h 1364"/>
                  <a:gd name="T80" fmla="*/ 3203 w 6930"/>
                  <a:gd name="T81" fmla="*/ 502 h 1364"/>
                  <a:gd name="T82" fmla="*/ 3206 w 6930"/>
                  <a:gd name="T83" fmla="*/ 564 h 1364"/>
                  <a:gd name="T84" fmla="*/ 3941 w 6930"/>
                  <a:gd name="T85" fmla="*/ 455 h 1364"/>
                  <a:gd name="T86" fmla="*/ 3941 w 6930"/>
                  <a:gd name="T87" fmla="*/ 457 h 1364"/>
                  <a:gd name="T88" fmla="*/ 3858 w 6930"/>
                  <a:gd name="T89" fmla="*/ 838 h 1364"/>
                  <a:gd name="T90" fmla="*/ 3941 w 6930"/>
                  <a:gd name="T91" fmla="*/ 490 h 1364"/>
                  <a:gd name="T92" fmla="*/ 3232 w 6930"/>
                  <a:gd name="T93" fmla="*/ 434 h 1364"/>
                  <a:gd name="T94" fmla="*/ 3234 w 6930"/>
                  <a:gd name="T95" fmla="*/ 474 h 1364"/>
                  <a:gd name="T96" fmla="*/ 3234 w 6930"/>
                  <a:gd name="T97" fmla="*/ 434 h 1364"/>
                  <a:gd name="T98" fmla="*/ 3946 w 6930"/>
                  <a:gd name="T99" fmla="*/ 393 h 1364"/>
                  <a:gd name="T100" fmla="*/ 3948 w 6930"/>
                  <a:gd name="T101" fmla="*/ 448 h 1364"/>
                  <a:gd name="T102" fmla="*/ 1716 w 6930"/>
                  <a:gd name="T103" fmla="*/ 370 h 1364"/>
                  <a:gd name="T104" fmla="*/ 1714 w 6930"/>
                  <a:gd name="T105" fmla="*/ 1042 h 1364"/>
                  <a:gd name="T106" fmla="*/ 3955 w 6930"/>
                  <a:gd name="T107" fmla="*/ 327 h 1364"/>
                  <a:gd name="T108" fmla="*/ 3953 w 6930"/>
                  <a:gd name="T109" fmla="*/ 384 h 1364"/>
                  <a:gd name="T110" fmla="*/ 3955 w 6930"/>
                  <a:gd name="T111" fmla="*/ 381 h 1364"/>
                  <a:gd name="T112" fmla="*/ 4608 w 6930"/>
                  <a:gd name="T113" fmla="*/ 232 h 1364"/>
                  <a:gd name="T114" fmla="*/ 4554 w 6930"/>
                  <a:gd name="T115" fmla="*/ 434 h 1364"/>
                  <a:gd name="T116" fmla="*/ 4757 w 6930"/>
                  <a:gd name="T117" fmla="*/ 0 h 1364"/>
                  <a:gd name="T118" fmla="*/ 4757 w 6930"/>
                  <a:gd name="T119" fmla="*/ 123 h 1364"/>
                  <a:gd name="T120" fmla="*/ 4757 w 6930"/>
                  <a:gd name="T121" fmla="*/ 0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4">
                    <a:moveTo>
                      <a:pt x="3617" y="1222"/>
                    </a:moveTo>
                    <a:lnTo>
                      <a:pt x="3615" y="1222"/>
                    </a:lnTo>
                    <a:lnTo>
                      <a:pt x="3615" y="1224"/>
                    </a:lnTo>
                    <a:lnTo>
                      <a:pt x="3615" y="1227"/>
                    </a:lnTo>
                    <a:lnTo>
                      <a:pt x="3617" y="1227"/>
                    </a:lnTo>
                    <a:lnTo>
                      <a:pt x="3617" y="1222"/>
                    </a:lnTo>
                    <a:close/>
                    <a:moveTo>
                      <a:pt x="5736" y="1208"/>
                    </a:moveTo>
                    <a:lnTo>
                      <a:pt x="5733" y="1208"/>
                    </a:lnTo>
                    <a:lnTo>
                      <a:pt x="5733" y="1210"/>
                    </a:lnTo>
                    <a:lnTo>
                      <a:pt x="5733" y="1236"/>
                    </a:lnTo>
                    <a:lnTo>
                      <a:pt x="5736" y="1236"/>
                    </a:lnTo>
                    <a:lnTo>
                      <a:pt x="5736" y="1208"/>
                    </a:lnTo>
                    <a:close/>
                    <a:moveTo>
                      <a:pt x="5762" y="1127"/>
                    </a:moveTo>
                    <a:lnTo>
                      <a:pt x="5760" y="1127"/>
                    </a:lnTo>
                    <a:lnTo>
                      <a:pt x="5760" y="1130"/>
                    </a:lnTo>
                    <a:lnTo>
                      <a:pt x="5760" y="1184"/>
                    </a:lnTo>
                    <a:lnTo>
                      <a:pt x="5760" y="1184"/>
                    </a:lnTo>
                    <a:lnTo>
                      <a:pt x="5760" y="1182"/>
                    </a:lnTo>
                    <a:lnTo>
                      <a:pt x="5762" y="1182"/>
                    </a:lnTo>
                    <a:lnTo>
                      <a:pt x="5762" y="1127"/>
                    </a:lnTo>
                    <a:close/>
                    <a:moveTo>
                      <a:pt x="2766" y="1063"/>
                    </a:moveTo>
                    <a:lnTo>
                      <a:pt x="2764" y="1063"/>
                    </a:lnTo>
                    <a:lnTo>
                      <a:pt x="2764" y="1066"/>
                    </a:lnTo>
                    <a:lnTo>
                      <a:pt x="2764" y="1151"/>
                    </a:lnTo>
                    <a:lnTo>
                      <a:pt x="2766" y="1151"/>
                    </a:lnTo>
                    <a:lnTo>
                      <a:pt x="2766" y="1063"/>
                    </a:lnTo>
                    <a:close/>
                    <a:moveTo>
                      <a:pt x="5835" y="1042"/>
                    </a:moveTo>
                    <a:lnTo>
                      <a:pt x="5835" y="1042"/>
                    </a:lnTo>
                    <a:lnTo>
                      <a:pt x="5835" y="1044"/>
                    </a:lnTo>
                    <a:lnTo>
                      <a:pt x="5835" y="1054"/>
                    </a:lnTo>
                    <a:lnTo>
                      <a:pt x="5835" y="1054"/>
                    </a:lnTo>
                    <a:lnTo>
                      <a:pt x="5835" y="1051"/>
                    </a:lnTo>
                    <a:lnTo>
                      <a:pt x="5835" y="1051"/>
                    </a:lnTo>
                    <a:lnTo>
                      <a:pt x="5835" y="1042"/>
                    </a:lnTo>
                    <a:close/>
                    <a:moveTo>
                      <a:pt x="2783" y="1011"/>
                    </a:moveTo>
                    <a:lnTo>
                      <a:pt x="2780" y="1014"/>
                    </a:lnTo>
                    <a:lnTo>
                      <a:pt x="2780" y="1014"/>
                    </a:lnTo>
                    <a:lnTo>
                      <a:pt x="2780" y="1047"/>
                    </a:lnTo>
                    <a:lnTo>
                      <a:pt x="2783" y="1047"/>
                    </a:lnTo>
                    <a:lnTo>
                      <a:pt x="2783" y="1044"/>
                    </a:lnTo>
                    <a:lnTo>
                      <a:pt x="2783" y="1044"/>
                    </a:lnTo>
                    <a:lnTo>
                      <a:pt x="2783" y="1011"/>
                    </a:lnTo>
                    <a:close/>
                    <a:moveTo>
                      <a:pt x="3676" y="995"/>
                    </a:moveTo>
                    <a:lnTo>
                      <a:pt x="3674" y="995"/>
                    </a:lnTo>
                    <a:lnTo>
                      <a:pt x="3674" y="995"/>
                    </a:lnTo>
                    <a:lnTo>
                      <a:pt x="3674" y="1163"/>
                    </a:lnTo>
                    <a:lnTo>
                      <a:pt x="3676" y="1163"/>
                    </a:lnTo>
                    <a:lnTo>
                      <a:pt x="3676" y="1160"/>
                    </a:lnTo>
                    <a:lnTo>
                      <a:pt x="3676" y="1160"/>
                    </a:lnTo>
                    <a:lnTo>
                      <a:pt x="3676" y="995"/>
                    </a:lnTo>
                    <a:close/>
                    <a:moveTo>
                      <a:pt x="5854" y="990"/>
                    </a:moveTo>
                    <a:lnTo>
                      <a:pt x="5852" y="990"/>
                    </a:lnTo>
                    <a:lnTo>
                      <a:pt x="5852" y="992"/>
                    </a:lnTo>
                    <a:lnTo>
                      <a:pt x="5852" y="1025"/>
                    </a:lnTo>
                    <a:lnTo>
                      <a:pt x="5854" y="1025"/>
                    </a:lnTo>
                    <a:lnTo>
                      <a:pt x="5854" y="1023"/>
                    </a:lnTo>
                    <a:lnTo>
                      <a:pt x="5854" y="1023"/>
                    </a:lnTo>
                    <a:lnTo>
                      <a:pt x="5854" y="990"/>
                    </a:lnTo>
                    <a:close/>
                    <a:moveTo>
                      <a:pt x="6244" y="935"/>
                    </a:moveTo>
                    <a:lnTo>
                      <a:pt x="6244" y="935"/>
                    </a:lnTo>
                    <a:lnTo>
                      <a:pt x="6244" y="938"/>
                    </a:lnTo>
                    <a:lnTo>
                      <a:pt x="6244" y="1111"/>
                    </a:lnTo>
                    <a:lnTo>
                      <a:pt x="6244" y="1111"/>
                    </a:lnTo>
                    <a:lnTo>
                      <a:pt x="6244" y="1111"/>
                    </a:lnTo>
                    <a:lnTo>
                      <a:pt x="6244" y="1111"/>
                    </a:lnTo>
                    <a:lnTo>
                      <a:pt x="6244" y="935"/>
                    </a:lnTo>
                    <a:close/>
                    <a:moveTo>
                      <a:pt x="6294" y="879"/>
                    </a:moveTo>
                    <a:lnTo>
                      <a:pt x="6294" y="879"/>
                    </a:lnTo>
                    <a:lnTo>
                      <a:pt x="6294" y="881"/>
                    </a:lnTo>
                    <a:lnTo>
                      <a:pt x="6294" y="888"/>
                    </a:lnTo>
                    <a:lnTo>
                      <a:pt x="6294" y="888"/>
                    </a:lnTo>
                    <a:lnTo>
                      <a:pt x="6294" y="886"/>
                    </a:lnTo>
                    <a:lnTo>
                      <a:pt x="6294" y="886"/>
                    </a:lnTo>
                    <a:lnTo>
                      <a:pt x="6294" y="879"/>
                    </a:lnTo>
                    <a:close/>
                    <a:moveTo>
                      <a:pt x="6303" y="850"/>
                    </a:moveTo>
                    <a:lnTo>
                      <a:pt x="6301" y="850"/>
                    </a:lnTo>
                    <a:lnTo>
                      <a:pt x="6301" y="853"/>
                    </a:lnTo>
                    <a:lnTo>
                      <a:pt x="6301" y="872"/>
                    </a:lnTo>
                    <a:lnTo>
                      <a:pt x="6303" y="872"/>
                    </a:lnTo>
                    <a:lnTo>
                      <a:pt x="6303" y="869"/>
                    </a:lnTo>
                    <a:lnTo>
                      <a:pt x="6303" y="869"/>
                    </a:lnTo>
                    <a:lnTo>
                      <a:pt x="6303" y="850"/>
                    </a:lnTo>
                    <a:close/>
                    <a:moveTo>
                      <a:pt x="3005" y="763"/>
                    </a:moveTo>
                    <a:lnTo>
                      <a:pt x="3005" y="763"/>
                    </a:lnTo>
                    <a:lnTo>
                      <a:pt x="3005" y="765"/>
                    </a:lnTo>
                    <a:lnTo>
                      <a:pt x="3005" y="890"/>
                    </a:lnTo>
                    <a:lnTo>
                      <a:pt x="3005" y="890"/>
                    </a:lnTo>
                    <a:lnTo>
                      <a:pt x="3005" y="763"/>
                    </a:lnTo>
                    <a:close/>
                    <a:moveTo>
                      <a:pt x="5038" y="732"/>
                    </a:moveTo>
                    <a:lnTo>
                      <a:pt x="5036" y="732"/>
                    </a:lnTo>
                    <a:lnTo>
                      <a:pt x="5036" y="734"/>
                    </a:lnTo>
                    <a:lnTo>
                      <a:pt x="5036" y="883"/>
                    </a:lnTo>
                    <a:lnTo>
                      <a:pt x="5038" y="883"/>
                    </a:lnTo>
                    <a:lnTo>
                      <a:pt x="5038" y="732"/>
                    </a:lnTo>
                    <a:close/>
                    <a:moveTo>
                      <a:pt x="3045" y="656"/>
                    </a:moveTo>
                    <a:lnTo>
                      <a:pt x="3043" y="656"/>
                    </a:lnTo>
                    <a:lnTo>
                      <a:pt x="3043" y="658"/>
                    </a:lnTo>
                    <a:lnTo>
                      <a:pt x="3043" y="725"/>
                    </a:lnTo>
                    <a:lnTo>
                      <a:pt x="3043" y="725"/>
                    </a:lnTo>
                    <a:lnTo>
                      <a:pt x="3043" y="725"/>
                    </a:lnTo>
                    <a:lnTo>
                      <a:pt x="3045" y="725"/>
                    </a:lnTo>
                    <a:lnTo>
                      <a:pt x="3045" y="656"/>
                    </a:lnTo>
                    <a:close/>
                    <a:moveTo>
                      <a:pt x="2" y="616"/>
                    </a:moveTo>
                    <a:lnTo>
                      <a:pt x="0" y="616"/>
                    </a:lnTo>
                    <a:lnTo>
                      <a:pt x="0" y="618"/>
                    </a:lnTo>
                    <a:lnTo>
                      <a:pt x="0" y="1364"/>
                    </a:lnTo>
                    <a:lnTo>
                      <a:pt x="2" y="1364"/>
                    </a:lnTo>
                    <a:lnTo>
                      <a:pt x="2" y="616"/>
                    </a:lnTo>
                    <a:close/>
                    <a:moveTo>
                      <a:pt x="5159" y="609"/>
                    </a:moveTo>
                    <a:lnTo>
                      <a:pt x="5157" y="609"/>
                    </a:lnTo>
                    <a:lnTo>
                      <a:pt x="5157" y="611"/>
                    </a:lnTo>
                    <a:lnTo>
                      <a:pt x="5157" y="642"/>
                    </a:lnTo>
                    <a:lnTo>
                      <a:pt x="5159" y="642"/>
                    </a:lnTo>
                    <a:lnTo>
                      <a:pt x="5159" y="609"/>
                    </a:lnTo>
                    <a:close/>
                    <a:moveTo>
                      <a:pt x="6930" y="509"/>
                    </a:moveTo>
                    <a:lnTo>
                      <a:pt x="6930" y="509"/>
                    </a:lnTo>
                    <a:lnTo>
                      <a:pt x="6930" y="512"/>
                    </a:lnTo>
                    <a:lnTo>
                      <a:pt x="6930" y="1004"/>
                    </a:lnTo>
                    <a:lnTo>
                      <a:pt x="6930" y="1004"/>
                    </a:lnTo>
                    <a:lnTo>
                      <a:pt x="6930" y="509"/>
                    </a:lnTo>
                    <a:close/>
                    <a:moveTo>
                      <a:pt x="3206" y="502"/>
                    </a:moveTo>
                    <a:lnTo>
                      <a:pt x="3203" y="502"/>
                    </a:lnTo>
                    <a:lnTo>
                      <a:pt x="3203" y="502"/>
                    </a:lnTo>
                    <a:lnTo>
                      <a:pt x="3203" y="566"/>
                    </a:lnTo>
                    <a:lnTo>
                      <a:pt x="3206" y="566"/>
                    </a:lnTo>
                    <a:lnTo>
                      <a:pt x="3206" y="564"/>
                    </a:lnTo>
                    <a:lnTo>
                      <a:pt x="3206" y="564"/>
                    </a:lnTo>
                    <a:lnTo>
                      <a:pt x="3206" y="502"/>
                    </a:lnTo>
                    <a:close/>
                    <a:moveTo>
                      <a:pt x="3941" y="455"/>
                    </a:moveTo>
                    <a:lnTo>
                      <a:pt x="3941" y="455"/>
                    </a:lnTo>
                    <a:lnTo>
                      <a:pt x="3941" y="455"/>
                    </a:lnTo>
                    <a:lnTo>
                      <a:pt x="3941" y="457"/>
                    </a:lnTo>
                    <a:lnTo>
                      <a:pt x="3941" y="490"/>
                    </a:lnTo>
                    <a:lnTo>
                      <a:pt x="3858" y="644"/>
                    </a:lnTo>
                    <a:lnTo>
                      <a:pt x="3858" y="838"/>
                    </a:lnTo>
                    <a:lnTo>
                      <a:pt x="3861" y="838"/>
                    </a:lnTo>
                    <a:lnTo>
                      <a:pt x="3861" y="642"/>
                    </a:lnTo>
                    <a:lnTo>
                      <a:pt x="3941" y="490"/>
                    </a:lnTo>
                    <a:lnTo>
                      <a:pt x="3941" y="455"/>
                    </a:lnTo>
                    <a:close/>
                    <a:moveTo>
                      <a:pt x="3234" y="434"/>
                    </a:moveTo>
                    <a:lnTo>
                      <a:pt x="3232" y="434"/>
                    </a:lnTo>
                    <a:lnTo>
                      <a:pt x="3232" y="436"/>
                    </a:lnTo>
                    <a:lnTo>
                      <a:pt x="3232" y="474"/>
                    </a:lnTo>
                    <a:lnTo>
                      <a:pt x="3234" y="474"/>
                    </a:lnTo>
                    <a:lnTo>
                      <a:pt x="3234" y="471"/>
                    </a:lnTo>
                    <a:lnTo>
                      <a:pt x="3234" y="471"/>
                    </a:lnTo>
                    <a:lnTo>
                      <a:pt x="3234" y="434"/>
                    </a:lnTo>
                    <a:close/>
                    <a:moveTo>
                      <a:pt x="3948" y="391"/>
                    </a:moveTo>
                    <a:lnTo>
                      <a:pt x="3946" y="391"/>
                    </a:lnTo>
                    <a:lnTo>
                      <a:pt x="3946" y="393"/>
                    </a:lnTo>
                    <a:lnTo>
                      <a:pt x="3946" y="448"/>
                    </a:lnTo>
                    <a:lnTo>
                      <a:pt x="3948" y="448"/>
                    </a:lnTo>
                    <a:lnTo>
                      <a:pt x="3948" y="448"/>
                    </a:lnTo>
                    <a:lnTo>
                      <a:pt x="3948" y="448"/>
                    </a:lnTo>
                    <a:lnTo>
                      <a:pt x="3948" y="391"/>
                    </a:lnTo>
                    <a:close/>
                    <a:moveTo>
                      <a:pt x="1716" y="370"/>
                    </a:moveTo>
                    <a:lnTo>
                      <a:pt x="1714" y="370"/>
                    </a:lnTo>
                    <a:lnTo>
                      <a:pt x="1714" y="370"/>
                    </a:lnTo>
                    <a:lnTo>
                      <a:pt x="1714" y="1042"/>
                    </a:lnTo>
                    <a:lnTo>
                      <a:pt x="1716" y="1042"/>
                    </a:lnTo>
                    <a:lnTo>
                      <a:pt x="1716" y="370"/>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6" y="235"/>
                    </a:lnTo>
                    <a:lnTo>
                      <a:pt x="4551" y="434"/>
                    </a:lnTo>
                    <a:lnTo>
                      <a:pt x="4554" y="434"/>
                    </a:lnTo>
                    <a:lnTo>
                      <a:pt x="4608" y="232"/>
                    </a:lnTo>
                    <a:close/>
                    <a:moveTo>
                      <a:pt x="4757" y="0"/>
                    </a:moveTo>
                    <a:lnTo>
                      <a:pt x="4757" y="0"/>
                    </a:lnTo>
                    <a:lnTo>
                      <a:pt x="4757" y="3"/>
                    </a:lnTo>
                    <a:lnTo>
                      <a:pt x="4757" y="123"/>
                    </a:lnTo>
                    <a:lnTo>
                      <a:pt x="4757" y="123"/>
                    </a:lnTo>
                    <a:lnTo>
                      <a:pt x="4757" y="123"/>
                    </a:lnTo>
                    <a:lnTo>
                      <a:pt x="4757" y="123"/>
                    </a:lnTo>
                    <a:lnTo>
                      <a:pt x="4757" y="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4" name="Freeform 49"/>
              <p:cNvSpPr>
                <a:spLocks noEditPoints="1"/>
              </p:cNvSpPr>
              <p:nvPr/>
            </p:nvSpPr>
            <p:spPr bwMode="auto">
              <a:xfrm>
                <a:off x="52" y="1750"/>
                <a:ext cx="6930" cy="1364"/>
              </a:xfrm>
              <a:custGeom>
                <a:avLst/>
                <a:gdLst>
                  <a:gd name="T0" fmla="*/ 3615 w 6930"/>
                  <a:gd name="T1" fmla="*/ 1224 h 1364"/>
                  <a:gd name="T2" fmla="*/ 3617 w 6930"/>
                  <a:gd name="T3" fmla="*/ 1222 h 1364"/>
                  <a:gd name="T4" fmla="*/ 5733 w 6930"/>
                  <a:gd name="T5" fmla="*/ 1210 h 1364"/>
                  <a:gd name="T6" fmla="*/ 5736 w 6930"/>
                  <a:gd name="T7" fmla="*/ 1208 h 1364"/>
                  <a:gd name="T8" fmla="*/ 5760 w 6930"/>
                  <a:gd name="T9" fmla="*/ 1130 h 1364"/>
                  <a:gd name="T10" fmla="*/ 5760 w 6930"/>
                  <a:gd name="T11" fmla="*/ 1182 h 1364"/>
                  <a:gd name="T12" fmla="*/ 2766 w 6930"/>
                  <a:gd name="T13" fmla="*/ 1063 h 1364"/>
                  <a:gd name="T14" fmla="*/ 2764 w 6930"/>
                  <a:gd name="T15" fmla="*/ 1151 h 1364"/>
                  <a:gd name="T16" fmla="*/ 5835 w 6930"/>
                  <a:gd name="T17" fmla="*/ 1042 h 1364"/>
                  <a:gd name="T18" fmla="*/ 5835 w 6930"/>
                  <a:gd name="T19" fmla="*/ 1054 h 1364"/>
                  <a:gd name="T20" fmla="*/ 5835 w 6930"/>
                  <a:gd name="T21" fmla="*/ 1051 h 1364"/>
                  <a:gd name="T22" fmla="*/ 2780 w 6930"/>
                  <a:gd name="T23" fmla="*/ 1014 h 1364"/>
                  <a:gd name="T24" fmla="*/ 2783 w 6930"/>
                  <a:gd name="T25" fmla="*/ 1047 h 1364"/>
                  <a:gd name="T26" fmla="*/ 2783 w 6930"/>
                  <a:gd name="T27" fmla="*/ 1011 h 1364"/>
                  <a:gd name="T28" fmla="*/ 3674 w 6930"/>
                  <a:gd name="T29" fmla="*/ 995 h 1364"/>
                  <a:gd name="T30" fmla="*/ 3676 w 6930"/>
                  <a:gd name="T31" fmla="*/ 1160 h 1364"/>
                  <a:gd name="T32" fmla="*/ 5854 w 6930"/>
                  <a:gd name="T33" fmla="*/ 990 h 1364"/>
                  <a:gd name="T34" fmla="*/ 5852 w 6930"/>
                  <a:gd name="T35" fmla="*/ 1025 h 1364"/>
                  <a:gd name="T36" fmla="*/ 5854 w 6930"/>
                  <a:gd name="T37" fmla="*/ 1023 h 1364"/>
                  <a:gd name="T38" fmla="*/ 6244 w 6930"/>
                  <a:gd name="T39" fmla="*/ 935 h 1364"/>
                  <a:gd name="T40" fmla="*/ 6244 w 6930"/>
                  <a:gd name="T41" fmla="*/ 1111 h 1364"/>
                  <a:gd name="T42" fmla="*/ 6244 w 6930"/>
                  <a:gd name="T43" fmla="*/ 935 h 1364"/>
                  <a:gd name="T44" fmla="*/ 6294 w 6930"/>
                  <a:gd name="T45" fmla="*/ 881 h 1364"/>
                  <a:gd name="T46" fmla="*/ 6294 w 6930"/>
                  <a:gd name="T47" fmla="*/ 886 h 1364"/>
                  <a:gd name="T48" fmla="*/ 6303 w 6930"/>
                  <a:gd name="T49" fmla="*/ 850 h 1364"/>
                  <a:gd name="T50" fmla="*/ 6301 w 6930"/>
                  <a:gd name="T51" fmla="*/ 872 h 1364"/>
                  <a:gd name="T52" fmla="*/ 6303 w 6930"/>
                  <a:gd name="T53" fmla="*/ 869 h 1364"/>
                  <a:gd name="T54" fmla="*/ 3005 w 6930"/>
                  <a:gd name="T55" fmla="*/ 763 h 1364"/>
                  <a:gd name="T56" fmla="*/ 3005 w 6930"/>
                  <a:gd name="T57" fmla="*/ 890 h 1364"/>
                  <a:gd name="T58" fmla="*/ 5036 w 6930"/>
                  <a:gd name="T59" fmla="*/ 732 h 1364"/>
                  <a:gd name="T60" fmla="*/ 5038 w 6930"/>
                  <a:gd name="T61" fmla="*/ 883 h 1364"/>
                  <a:gd name="T62" fmla="*/ 3043 w 6930"/>
                  <a:gd name="T63" fmla="*/ 656 h 1364"/>
                  <a:gd name="T64" fmla="*/ 3043 w 6930"/>
                  <a:gd name="T65" fmla="*/ 725 h 1364"/>
                  <a:gd name="T66" fmla="*/ 3045 w 6930"/>
                  <a:gd name="T67" fmla="*/ 656 h 1364"/>
                  <a:gd name="T68" fmla="*/ 0 w 6930"/>
                  <a:gd name="T69" fmla="*/ 618 h 1364"/>
                  <a:gd name="T70" fmla="*/ 2 w 6930"/>
                  <a:gd name="T71" fmla="*/ 616 h 1364"/>
                  <a:gd name="T72" fmla="*/ 5157 w 6930"/>
                  <a:gd name="T73" fmla="*/ 611 h 1364"/>
                  <a:gd name="T74" fmla="*/ 5159 w 6930"/>
                  <a:gd name="T75" fmla="*/ 609 h 1364"/>
                  <a:gd name="T76" fmla="*/ 6930 w 6930"/>
                  <a:gd name="T77" fmla="*/ 512 h 1364"/>
                  <a:gd name="T78" fmla="*/ 6930 w 6930"/>
                  <a:gd name="T79" fmla="*/ 509 h 1364"/>
                  <a:gd name="T80" fmla="*/ 3203 w 6930"/>
                  <a:gd name="T81" fmla="*/ 502 h 1364"/>
                  <a:gd name="T82" fmla="*/ 3206 w 6930"/>
                  <a:gd name="T83" fmla="*/ 564 h 1364"/>
                  <a:gd name="T84" fmla="*/ 3941 w 6930"/>
                  <a:gd name="T85" fmla="*/ 455 h 1364"/>
                  <a:gd name="T86" fmla="*/ 3941 w 6930"/>
                  <a:gd name="T87" fmla="*/ 457 h 1364"/>
                  <a:gd name="T88" fmla="*/ 3858 w 6930"/>
                  <a:gd name="T89" fmla="*/ 838 h 1364"/>
                  <a:gd name="T90" fmla="*/ 3941 w 6930"/>
                  <a:gd name="T91" fmla="*/ 490 h 1364"/>
                  <a:gd name="T92" fmla="*/ 3232 w 6930"/>
                  <a:gd name="T93" fmla="*/ 434 h 1364"/>
                  <a:gd name="T94" fmla="*/ 3234 w 6930"/>
                  <a:gd name="T95" fmla="*/ 474 h 1364"/>
                  <a:gd name="T96" fmla="*/ 3234 w 6930"/>
                  <a:gd name="T97" fmla="*/ 434 h 1364"/>
                  <a:gd name="T98" fmla="*/ 3946 w 6930"/>
                  <a:gd name="T99" fmla="*/ 393 h 1364"/>
                  <a:gd name="T100" fmla="*/ 3948 w 6930"/>
                  <a:gd name="T101" fmla="*/ 448 h 1364"/>
                  <a:gd name="T102" fmla="*/ 1716 w 6930"/>
                  <a:gd name="T103" fmla="*/ 370 h 1364"/>
                  <a:gd name="T104" fmla="*/ 1714 w 6930"/>
                  <a:gd name="T105" fmla="*/ 1042 h 1364"/>
                  <a:gd name="T106" fmla="*/ 3955 w 6930"/>
                  <a:gd name="T107" fmla="*/ 327 h 1364"/>
                  <a:gd name="T108" fmla="*/ 3953 w 6930"/>
                  <a:gd name="T109" fmla="*/ 384 h 1364"/>
                  <a:gd name="T110" fmla="*/ 3955 w 6930"/>
                  <a:gd name="T111" fmla="*/ 381 h 1364"/>
                  <a:gd name="T112" fmla="*/ 4608 w 6930"/>
                  <a:gd name="T113" fmla="*/ 232 h 1364"/>
                  <a:gd name="T114" fmla="*/ 4554 w 6930"/>
                  <a:gd name="T115" fmla="*/ 434 h 1364"/>
                  <a:gd name="T116" fmla="*/ 4757 w 6930"/>
                  <a:gd name="T117" fmla="*/ 0 h 1364"/>
                  <a:gd name="T118" fmla="*/ 4757 w 6930"/>
                  <a:gd name="T119" fmla="*/ 123 h 1364"/>
                  <a:gd name="T120" fmla="*/ 4757 w 6930"/>
                  <a:gd name="T121" fmla="*/ 0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4">
                    <a:moveTo>
                      <a:pt x="3617" y="1222"/>
                    </a:moveTo>
                    <a:lnTo>
                      <a:pt x="3615" y="1222"/>
                    </a:lnTo>
                    <a:lnTo>
                      <a:pt x="3615" y="1224"/>
                    </a:lnTo>
                    <a:lnTo>
                      <a:pt x="3615" y="1227"/>
                    </a:lnTo>
                    <a:lnTo>
                      <a:pt x="3617" y="1227"/>
                    </a:lnTo>
                    <a:lnTo>
                      <a:pt x="3617" y="1222"/>
                    </a:lnTo>
                    <a:moveTo>
                      <a:pt x="5736" y="1208"/>
                    </a:moveTo>
                    <a:lnTo>
                      <a:pt x="5733" y="1208"/>
                    </a:lnTo>
                    <a:lnTo>
                      <a:pt x="5733" y="1210"/>
                    </a:lnTo>
                    <a:lnTo>
                      <a:pt x="5733" y="1236"/>
                    </a:lnTo>
                    <a:lnTo>
                      <a:pt x="5736" y="1236"/>
                    </a:lnTo>
                    <a:lnTo>
                      <a:pt x="5736" y="1208"/>
                    </a:lnTo>
                    <a:moveTo>
                      <a:pt x="5762" y="1127"/>
                    </a:moveTo>
                    <a:lnTo>
                      <a:pt x="5760" y="1127"/>
                    </a:lnTo>
                    <a:lnTo>
                      <a:pt x="5760" y="1130"/>
                    </a:lnTo>
                    <a:lnTo>
                      <a:pt x="5760" y="1184"/>
                    </a:lnTo>
                    <a:lnTo>
                      <a:pt x="5760" y="1184"/>
                    </a:lnTo>
                    <a:lnTo>
                      <a:pt x="5760" y="1182"/>
                    </a:lnTo>
                    <a:lnTo>
                      <a:pt x="5762" y="1182"/>
                    </a:lnTo>
                    <a:lnTo>
                      <a:pt x="5762" y="1127"/>
                    </a:lnTo>
                    <a:moveTo>
                      <a:pt x="2766" y="1063"/>
                    </a:moveTo>
                    <a:lnTo>
                      <a:pt x="2764" y="1063"/>
                    </a:lnTo>
                    <a:lnTo>
                      <a:pt x="2764" y="1066"/>
                    </a:lnTo>
                    <a:lnTo>
                      <a:pt x="2764" y="1151"/>
                    </a:lnTo>
                    <a:lnTo>
                      <a:pt x="2766" y="1151"/>
                    </a:lnTo>
                    <a:lnTo>
                      <a:pt x="2766" y="1063"/>
                    </a:lnTo>
                    <a:moveTo>
                      <a:pt x="5835" y="1042"/>
                    </a:moveTo>
                    <a:lnTo>
                      <a:pt x="5835" y="1042"/>
                    </a:lnTo>
                    <a:lnTo>
                      <a:pt x="5835" y="1044"/>
                    </a:lnTo>
                    <a:lnTo>
                      <a:pt x="5835" y="1054"/>
                    </a:lnTo>
                    <a:lnTo>
                      <a:pt x="5835" y="1054"/>
                    </a:lnTo>
                    <a:lnTo>
                      <a:pt x="5835" y="1051"/>
                    </a:lnTo>
                    <a:lnTo>
                      <a:pt x="5835" y="1051"/>
                    </a:lnTo>
                    <a:lnTo>
                      <a:pt x="5835" y="1042"/>
                    </a:lnTo>
                    <a:moveTo>
                      <a:pt x="2783" y="1011"/>
                    </a:moveTo>
                    <a:lnTo>
                      <a:pt x="2780" y="1014"/>
                    </a:lnTo>
                    <a:lnTo>
                      <a:pt x="2780" y="1014"/>
                    </a:lnTo>
                    <a:lnTo>
                      <a:pt x="2780" y="1047"/>
                    </a:lnTo>
                    <a:lnTo>
                      <a:pt x="2783" y="1047"/>
                    </a:lnTo>
                    <a:lnTo>
                      <a:pt x="2783" y="1044"/>
                    </a:lnTo>
                    <a:lnTo>
                      <a:pt x="2783" y="1044"/>
                    </a:lnTo>
                    <a:lnTo>
                      <a:pt x="2783" y="1011"/>
                    </a:lnTo>
                    <a:moveTo>
                      <a:pt x="3676" y="995"/>
                    </a:moveTo>
                    <a:lnTo>
                      <a:pt x="3674" y="995"/>
                    </a:lnTo>
                    <a:lnTo>
                      <a:pt x="3674" y="995"/>
                    </a:lnTo>
                    <a:lnTo>
                      <a:pt x="3674" y="1163"/>
                    </a:lnTo>
                    <a:lnTo>
                      <a:pt x="3676" y="1163"/>
                    </a:lnTo>
                    <a:lnTo>
                      <a:pt x="3676" y="1160"/>
                    </a:lnTo>
                    <a:lnTo>
                      <a:pt x="3676" y="1160"/>
                    </a:lnTo>
                    <a:lnTo>
                      <a:pt x="3676" y="995"/>
                    </a:lnTo>
                    <a:moveTo>
                      <a:pt x="5854" y="990"/>
                    </a:moveTo>
                    <a:lnTo>
                      <a:pt x="5852" y="990"/>
                    </a:lnTo>
                    <a:lnTo>
                      <a:pt x="5852" y="992"/>
                    </a:lnTo>
                    <a:lnTo>
                      <a:pt x="5852" y="1025"/>
                    </a:lnTo>
                    <a:lnTo>
                      <a:pt x="5854" y="1025"/>
                    </a:lnTo>
                    <a:lnTo>
                      <a:pt x="5854" y="1023"/>
                    </a:lnTo>
                    <a:lnTo>
                      <a:pt x="5854" y="1023"/>
                    </a:lnTo>
                    <a:lnTo>
                      <a:pt x="5854" y="990"/>
                    </a:lnTo>
                    <a:moveTo>
                      <a:pt x="6244" y="935"/>
                    </a:moveTo>
                    <a:lnTo>
                      <a:pt x="6244" y="935"/>
                    </a:lnTo>
                    <a:lnTo>
                      <a:pt x="6244" y="938"/>
                    </a:lnTo>
                    <a:lnTo>
                      <a:pt x="6244" y="1111"/>
                    </a:lnTo>
                    <a:lnTo>
                      <a:pt x="6244" y="1111"/>
                    </a:lnTo>
                    <a:lnTo>
                      <a:pt x="6244" y="1111"/>
                    </a:lnTo>
                    <a:lnTo>
                      <a:pt x="6244" y="1111"/>
                    </a:lnTo>
                    <a:lnTo>
                      <a:pt x="6244" y="935"/>
                    </a:lnTo>
                    <a:moveTo>
                      <a:pt x="6294" y="879"/>
                    </a:moveTo>
                    <a:lnTo>
                      <a:pt x="6294" y="879"/>
                    </a:lnTo>
                    <a:lnTo>
                      <a:pt x="6294" y="881"/>
                    </a:lnTo>
                    <a:lnTo>
                      <a:pt x="6294" y="888"/>
                    </a:lnTo>
                    <a:lnTo>
                      <a:pt x="6294" y="888"/>
                    </a:lnTo>
                    <a:lnTo>
                      <a:pt x="6294" y="886"/>
                    </a:lnTo>
                    <a:lnTo>
                      <a:pt x="6294" y="886"/>
                    </a:lnTo>
                    <a:lnTo>
                      <a:pt x="6294" y="879"/>
                    </a:lnTo>
                    <a:moveTo>
                      <a:pt x="6303" y="850"/>
                    </a:moveTo>
                    <a:lnTo>
                      <a:pt x="6301" y="850"/>
                    </a:lnTo>
                    <a:lnTo>
                      <a:pt x="6301" y="853"/>
                    </a:lnTo>
                    <a:lnTo>
                      <a:pt x="6301" y="872"/>
                    </a:lnTo>
                    <a:lnTo>
                      <a:pt x="6303" y="872"/>
                    </a:lnTo>
                    <a:lnTo>
                      <a:pt x="6303" y="869"/>
                    </a:lnTo>
                    <a:lnTo>
                      <a:pt x="6303" y="869"/>
                    </a:lnTo>
                    <a:lnTo>
                      <a:pt x="6303" y="850"/>
                    </a:lnTo>
                    <a:moveTo>
                      <a:pt x="3005" y="763"/>
                    </a:moveTo>
                    <a:lnTo>
                      <a:pt x="3005" y="763"/>
                    </a:lnTo>
                    <a:lnTo>
                      <a:pt x="3005" y="765"/>
                    </a:lnTo>
                    <a:lnTo>
                      <a:pt x="3005" y="890"/>
                    </a:lnTo>
                    <a:lnTo>
                      <a:pt x="3005" y="890"/>
                    </a:lnTo>
                    <a:lnTo>
                      <a:pt x="3005" y="763"/>
                    </a:lnTo>
                    <a:moveTo>
                      <a:pt x="5038" y="732"/>
                    </a:moveTo>
                    <a:lnTo>
                      <a:pt x="5036" y="732"/>
                    </a:lnTo>
                    <a:lnTo>
                      <a:pt x="5036" y="734"/>
                    </a:lnTo>
                    <a:lnTo>
                      <a:pt x="5036" y="883"/>
                    </a:lnTo>
                    <a:lnTo>
                      <a:pt x="5038" y="883"/>
                    </a:lnTo>
                    <a:lnTo>
                      <a:pt x="5038" y="732"/>
                    </a:lnTo>
                    <a:moveTo>
                      <a:pt x="3045" y="656"/>
                    </a:moveTo>
                    <a:lnTo>
                      <a:pt x="3043" y="656"/>
                    </a:lnTo>
                    <a:lnTo>
                      <a:pt x="3043" y="658"/>
                    </a:lnTo>
                    <a:lnTo>
                      <a:pt x="3043" y="725"/>
                    </a:lnTo>
                    <a:lnTo>
                      <a:pt x="3043" y="725"/>
                    </a:lnTo>
                    <a:lnTo>
                      <a:pt x="3043" y="725"/>
                    </a:lnTo>
                    <a:lnTo>
                      <a:pt x="3045" y="725"/>
                    </a:lnTo>
                    <a:lnTo>
                      <a:pt x="3045" y="656"/>
                    </a:lnTo>
                    <a:moveTo>
                      <a:pt x="2" y="616"/>
                    </a:moveTo>
                    <a:lnTo>
                      <a:pt x="0" y="616"/>
                    </a:lnTo>
                    <a:lnTo>
                      <a:pt x="0" y="618"/>
                    </a:lnTo>
                    <a:lnTo>
                      <a:pt x="0" y="1364"/>
                    </a:lnTo>
                    <a:lnTo>
                      <a:pt x="2" y="1364"/>
                    </a:lnTo>
                    <a:lnTo>
                      <a:pt x="2" y="616"/>
                    </a:lnTo>
                    <a:moveTo>
                      <a:pt x="5159" y="609"/>
                    </a:moveTo>
                    <a:lnTo>
                      <a:pt x="5157" y="609"/>
                    </a:lnTo>
                    <a:lnTo>
                      <a:pt x="5157" y="611"/>
                    </a:lnTo>
                    <a:lnTo>
                      <a:pt x="5157" y="642"/>
                    </a:lnTo>
                    <a:lnTo>
                      <a:pt x="5159" y="642"/>
                    </a:lnTo>
                    <a:lnTo>
                      <a:pt x="5159" y="609"/>
                    </a:lnTo>
                    <a:moveTo>
                      <a:pt x="6930" y="509"/>
                    </a:moveTo>
                    <a:lnTo>
                      <a:pt x="6930" y="509"/>
                    </a:lnTo>
                    <a:lnTo>
                      <a:pt x="6930" y="512"/>
                    </a:lnTo>
                    <a:lnTo>
                      <a:pt x="6930" y="1004"/>
                    </a:lnTo>
                    <a:lnTo>
                      <a:pt x="6930" y="1004"/>
                    </a:lnTo>
                    <a:lnTo>
                      <a:pt x="6930" y="509"/>
                    </a:lnTo>
                    <a:moveTo>
                      <a:pt x="3206" y="502"/>
                    </a:moveTo>
                    <a:lnTo>
                      <a:pt x="3203" y="502"/>
                    </a:lnTo>
                    <a:lnTo>
                      <a:pt x="3203" y="502"/>
                    </a:lnTo>
                    <a:lnTo>
                      <a:pt x="3203" y="566"/>
                    </a:lnTo>
                    <a:lnTo>
                      <a:pt x="3206" y="566"/>
                    </a:lnTo>
                    <a:lnTo>
                      <a:pt x="3206" y="564"/>
                    </a:lnTo>
                    <a:lnTo>
                      <a:pt x="3206" y="564"/>
                    </a:lnTo>
                    <a:lnTo>
                      <a:pt x="3206" y="502"/>
                    </a:lnTo>
                    <a:moveTo>
                      <a:pt x="3941" y="455"/>
                    </a:moveTo>
                    <a:lnTo>
                      <a:pt x="3941" y="455"/>
                    </a:lnTo>
                    <a:lnTo>
                      <a:pt x="3941" y="455"/>
                    </a:lnTo>
                    <a:lnTo>
                      <a:pt x="3941" y="457"/>
                    </a:lnTo>
                    <a:lnTo>
                      <a:pt x="3941" y="490"/>
                    </a:lnTo>
                    <a:lnTo>
                      <a:pt x="3858" y="644"/>
                    </a:lnTo>
                    <a:lnTo>
                      <a:pt x="3858" y="838"/>
                    </a:lnTo>
                    <a:lnTo>
                      <a:pt x="3861" y="838"/>
                    </a:lnTo>
                    <a:lnTo>
                      <a:pt x="3861" y="642"/>
                    </a:lnTo>
                    <a:lnTo>
                      <a:pt x="3941" y="490"/>
                    </a:lnTo>
                    <a:lnTo>
                      <a:pt x="3941" y="455"/>
                    </a:lnTo>
                    <a:moveTo>
                      <a:pt x="3234" y="434"/>
                    </a:moveTo>
                    <a:lnTo>
                      <a:pt x="3232" y="434"/>
                    </a:lnTo>
                    <a:lnTo>
                      <a:pt x="3232" y="436"/>
                    </a:lnTo>
                    <a:lnTo>
                      <a:pt x="3232" y="474"/>
                    </a:lnTo>
                    <a:lnTo>
                      <a:pt x="3234" y="474"/>
                    </a:lnTo>
                    <a:lnTo>
                      <a:pt x="3234" y="471"/>
                    </a:lnTo>
                    <a:lnTo>
                      <a:pt x="3234" y="471"/>
                    </a:lnTo>
                    <a:lnTo>
                      <a:pt x="3234" y="434"/>
                    </a:lnTo>
                    <a:moveTo>
                      <a:pt x="3948" y="391"/>
                    </a:moveTo>
                    <a:lnTo>
                      <a:pt x="3946" y="391"/>
                    </a:lnTo>
                    <a:lnTo>
                      <a:pt x="3946" y="393"/>
                    </a:lnTo>
                    <a:lnTo>
                      <a:pt x="3946" y="448"/>
                    </a:lnTo>
                    <a:lnTo>
                      <a:pt x="3948" y="448"/>
                    </a:lnTo>
                    <a:lnTo>
                      <a:pt x="3948" y="448"/>
                    </a:lnTo>
                    <a:lnTo>
                      <a:pt x="3948" y="448"/>
                    </a:lnTo>
                    <a:lnTo>
                      <a:pt x="3948" y="391"/>
                    </a:lnTo>
                    <a:moveTo>
                      <a:pt x="1716" y="370"/>
                    </a:moveTo>
                    <a:lnTo>
                      <a:pt x="1714" y="370"/>
                    </a:lnTo>
                    <a:lnTo>
                      <a:pt x="1714" y="370"/>
                    </a:lnTo>
                    <a:lnTo>
                      <a:pt x="1714" y="1042"/>
                    </a:lnTo>
                    <a:lnTo>
                      <a:pt x="1716" y="1042"/>
                    </a:lnTo>
                    <a:lnTo>
                      <a:pt x="1716" y="370"/>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6" y="235"/>
                    </a:lnTo>
                    <a:lnTo>
                      <a:pt x="4551" y="434"/>
                    </a:lnTo>
                    <a:lnTo>
                      <a:pt x="4554" y="434"/>
                    </a:lnTo>
                    <a:lnTo>
                      <a:pt x="4608" y="232"/>
                    </a:lnTo>
                    <a:moveTo>
                      <a:pt x="4757" y="0"/>
                    </a:moveTo>
                    <a:lnTo>
                      <a:pt x="4757" y="0"/>
                    </a:lnTo>
                    <a:lnTo>
                      <a:pt x="4757" y="3"/>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5" name="Freeform 50"/>
              <p:cNvSpPr>
                <a:spLocks noEditPoints="1"/>
              </p:cNvSpPr>
              <p:nvPr/>
            </p:nvSpPr>
            <p:spPr bwMode="auto">
              <a:xfrm>
                <a:off x="54" y="1748"/>
                <a:ext cx="6930" cy="1366"/>
              </a:xfrm>
              <a:custGeom>
                <a:avLst/>
                <a:gdLst>
                  <a:gd name="T0" fmla="*/ 3615 w 6930"/>
                  <a:gd name="T1" fmla="*/ 1224 h 1366"/>
                  <a:gd name="T2" fmla="*/ 3615 w 6930"/>
                  <a:gd name="T3" fmla="*/ 1222 h 1366"/>
                  <a:gd name="T4" fmla="*/ 5734 w 6930"/>
                  <a:gd name="T5" fmla="*/ 1210 h 1366"/>
                  <a:gd name="T6" fmla="*/ 5736 w 6930"/>
                  <a:gd name="T7" fmla="*/ 1210 h 1366"/>
                  <a:gd name="T8" fmla="*/ 5760 w 6930"/>
                  <a:gd name="T9" fmla="*/ 1129 h 1366"/>
                  <a:gd name="T10" fmla="*/ 5760 w 6930"/>
                  <a:gd name="T11" fmla="*/ 1184 h 1366"/>
                  <a:gd name="T12" fmla="*/ 2766 w 6930"/>
                  <a:gd name="T13" fmla="*/ 1063 h 1366"/>
                  <a:gd name="T14" fmla="*/ 2764 w 6930"/>
                  <a:gd name="T15" fmla="*/ 1153 h 1366"/>
                  <a:gd name="T16" fmla="*/ 5836 w 6930"/>
                  <a:gd name="T17" fmla="*/ 1042 h 1366"/>
                  <a:gd name="T18" fmla="*/ 5833 w 6930"/>
                  <a:gd name="T19" fmla="*/ 1053 h 1366"/>
                  <a:gd name="T20" fmla="*/ 5836 w 6930"/>
                  <a:gd name="T21" fmla="*/ 1051 h 1366"/>
                  <a:gd name="T22" fmla="*/ 2781 w 6930"/>
                  <a:gd name="T23" fmla="*/ 1013 h 1366"/>
                  <a:gd name="T24" fmla="*/ 2783 w 6930"/>
                  <a:gd name="T25" fmla="*/ 1046 h 1366"/>
                  <a:gd name="T26" fmla="*/ 2783 w 6930"/>
                  <a:gd name="T27" fmla="*/ 1013 h 1366"/>
                  <a:gd name="T28" fmla="*/ 3674 w 6930"/>
                  <a:gd name="T29" fmla="*/ 997 h 1366"/>
                  <a:gd name="T30" fmla="*/ 3674 w 6930"/>
                  <a:gd name="T31" fmla="*/ 1160 h 1366"/>
                  <a:gd name="T32" fmla="*/ 5854 w 6930"/>
                  <a:gd name="T33" fmla="*/ 990 h 1366"/>
                  <a:gd name="T34" fmla="*/ 5852 w 6930"/>
                  <a:gd name="T35" fmla="*/ 1025 h 1366"/>
                  <a:gd name="T36" fmla="*/ 5854 w 6930"/>
                  <a:gd name="T37" fmla="*/ 1023 h 1366"/>
                  <a:gd name="T38" fmla="*/ 6242 w 6930"/>
                  <a:gd name="T39" fmla="*/ 935 h 1366"/>
                  <a:gd name="T40" fmla="*/ 6245 w 6930"/>
                  <a:gd name="T41" fmla="*/ 1113 h 1366"/>
                  <a:gd name="T42" fmla="*/ 6245 w 6930"/>
                  <a:gd name="T43" fmla="*/ 935 h 1366"/>
                  <a:gd name="T44" fmla="*/ 6292 w 6930"/>
                  <a:gd name="T45" fmla="*/ 878 h 1366"/>
                  <a:gd name="T46" fmla="*/ 6294 w 6930"/>
                  <a:gd name="T47" fmla="*/ 888 h 1366"/>
                  <a:gd name="T48" fmla="*/ 6294 w 6930"/>
                  <a:gd name="T49" fmla="*/ 878 h 1366"/>
                  <a:gd name="T50" fmla="*/ 6301 w 6930"/>
                  <a:gd name="T51" fmla="*/ 852 h 1366"/>
                  <a:gd name="T52" fmla="*/ 6301 w 6930"/>
                  <a:gd name="T53" fmla="*/ 869 h 1366"/>
                  <a:gd name="T54" fmla="*/ 3005 w 6930"/>
                  <a:gd name="T55" fmla="*/ 762 h 1366"/>
                  <a:gd name="T56" fmla="*/ 3003 w 6930"/>
                  <a:gd name="T57" fmla="*/ 892 h 1366"/>
                  <a:gd name="T58" fmla="*/ 5036 w 6930"/>
                  <a:gd name="T59" fmla="*/ 731 h 1366"/>
                  <a:gd name="T60" fmla="*/ 5036 w 6930"/>
                  <a:gd name="T61" fmla="*/ 885 h 1366"/>
                  <a:gd name="T62" fmla="*/ 3043 w 6930"/>
                  <a:gd name="T63" fmla="*/ 658 h 1366"/>
                  <a:gd name="T64" fmla="*/ 3043 w 6930"/>
                  <a:gd name="T65" fmla="*/ 727 h 1366"/>
                  <a:gd name="T66" fmla="*/ 3043 w 6930"/>
                  <a:gd name="T67" fmla="*/ 724 h 1366"/>
                  <a:gd name="T68" fmla="*/ 0 w 6930"/>
                  <a:gd name="T69" fmla="*/ 618 h 1366"/>
                  <a:gd name="T70" fmla="*/ 2 w 6930"/>
                  <a:gd name="T71" fmla="*/ 1366 h 1366"/>
                  <a:gd name="T72" fmla="*/ 5157 w 6930"/>
                  <a:gd name="T73" fmla="*/ 608 h 1366"/>
                  <a:gd name="T74" fmla="*/ 5159 w 6930"/>
                  <a:gd name="T75" fmla="*/ 644 h 1366"/>
                  <a:gd name="T76" fmla="*/ 6928 w 6930"/>
                  <a:gd name="T77" fmla="*/ 509 h 1366"/>
                  <a:gd name="T78" fmla="*/ 6930 w 6930"/>
                  <a:gd name="T79" fmla="*/ 1006 h 1366"/>
                  <a:gd name="T80" fmla="*/ 3204 w 6930"/>
                  <a:gd name="T81" fmla="*/ 502 h 1366"/>
                  <a:gd name="T82" fmla="*/ 3204 w 6930"/>
                  <a:gd name="T83" fmla="*/ 566 h 1366"/>
                  <a:gd name="T84" fmla="*/ 3206 w 6930"/>
                  <a:gd name="T85" fmla="*/ 502 h 1366"/>
                  <a:gd name="T86" fmla="*/ 3939 w 6930"/>
                  <a:gd name="T87" fmla="*/ 454 h 1366"/>
                  <a:gd name="T88" fmla="*/ 3859 w 6930"/>
                  <a:gd name="T89" fmla="*/ 644 h 1366"/>
                  <a:gd name="T90" fmla="*/ 3861 w 6930"/>
                  <a:gd name="T91" fmla="*/ 642 h 1366"/>
                  <a:gd name="T92" fmla="*/ 3235 w 6930"/>
                  <a:gd name="T93" fmla="*/ 433 h 1366"/>
                  <a:gd name="T94" fmla="*/ 3232 w 6930"/>
                  <a:gd name="T95" fmla="*/ 473 h 1366"/>
                  <a:gd name="T96" fmla="*/ 3235 w 6930"/>
                  <a:gd name="T97" fmla="*/ 471 h 1366"/>
                  <a:gd name="T98" fmla="*/ 3946 w 6930"/>
                  <a:gd name="T99" fmla="*/ 391 h 1366"/>
                  <a:gd name="T100" fmla="*/ 3946 w 6930"/>
                  <a:gd name="T101" fmla="*/ 450 h 1366"/>
                  <a:gd name="T102" fmla="*/ 3949 w 6930"/>
                  <a:gd name="T103" fmla="*/ 447 h 1366"/>
                  <a:gd name="T104" fmla="*/ 1714 w 6930"/>
                  <a:gd name="T105" fmla="*/ 369 h 1366"/>
                  <a:gd name="T106" fmla="*/ 1714 w 6930"/>
                  <a:gd name="T107" fmla="*/ 1044 h 1366"/>
                  <a:gd name="T108" fmla="*/ 3953 w 6930"/>
                  <a:gd name="T109" fmla="*/ 327 h 1366"/>
                  <a:gd name="T110" fmla="*/ 3956 w 6930"/>
                  <a:gd name="T111" fmla="*/ 383 h 1366"/>
                  <a:gd name="T112" fmla="*/ 3956 w 6930"/>
                  <a:gd name="T113" fmla="*/ 327 h 1366"/>
                  <a:gd name="T114" fmla="*/ 4606 w 6930"/>
                  <a:gd name="T115" fmla="*/ 234 h 1366"/>
                  <a:gd name="T116" fmla="*/ 4608 w 6930"/>
                  <a:gd name="T117" fmla="*/ 232 h 1366"/>
                  <a:gd name="T118" fmla="*/ 4755 w 6930"/>
                  <a:gd name="T119" fmla="*/ 2 h 1366"/>
                  <a:gd name="T120" fmla="*/ 4757 w 6930"/>
                  <a:gd name="T121" fmla="*/ 123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6">
                    <a:moveTo>
                      <a:pt x="3615" y="1222"/>
                    </a:moveTo>
                    <a:lnTo>
                      <a:pt x="3615" y="1222"/>
                    </a:lnTo>
                    <a:lnTo>
                      <a:pt x="3615" y="1224"/>
                    </a:lnTo>
                    <a:lnTo>
                      <a:pt x="3615" y="1229"/>
                    </a:lnTo>
                    <a:lnTo>
                      <a:pt x="3615" y="1229"/>
                    </a:lnTo>
                    <a:lnTo>
                      <a:pt x="3615" y="1222"/>
                    </a:lnTo>
                    <a:close/>
                    <a:moveTo>
                      <a:pt x="5736" y="1210"/>
                    </a:moveTo>
                    <a:lnTo>
                      <a:pt x="5734" y="1210"/>
                    </a:lnTo>
                    <a:lnTo>
                      <a:pt x="5734" y="1210"/>
                    </a:lnTo>
                    <a:lnTo>
                      <a:pt x="5734" y="1238"/>
                    </a:lnTo>
                    <a:lnTo>
                      <a:pt x="5736" y="1238"/>
                    </a:lnTo>
                    <a:lnTo>
                      <a:pt x="5736" y="1210"/>
                    </a:lnTo>
                    <a:close/>
                    <a:moveTo>
                      <a:pt x="5762" y="1129"/>
                    </a:moveTo>
                    <a:lnTo>
                      <a:pt x="5760" y="1129"/>
                    </a:lnTo>
                    <a:lnTo>
                      <a:pt x="5760" y="1129"/>
                    </a:lnTo>
                    <a:lnTo>
                      <a:pt x="5760" y="1184"/>
                    </a:lnTo>
                    <a:lnTo>
                      <a:pt x="5760" y="1184"/>
                    </a:lnTo>
                    <a:lnTo>
                      <a:pt x="5760" y="1184"/>
                    </a:lnTo>
                    <a:lnTo>
                      <a:pt x="5762" y="1184"/>
                    </a:lnTo>
                    <a:lnTo>
                      <a:pt x="5762" y="1129"/>
                    </a:lnTo>
                    <a:close/>
                    <a:moveTo>
                      <a:pt x="2766" y="1063"/>
                    </a:moveTo>
                    <a:lnTo>
                      <a:pt x="2764" y="1063"/>
                    </a:lnTo>
                    <a:lnTo>
                      <a:pt x="2764" y="1065"/>
                    </a:lnTo>
                    <a:lnTo>
                      <a:pt x="2764" y="1153"/>
                    </a:lnTo>
                    <a:lnTo>
                      <a:pt x="2766" y="1153"/>
                    </a:lnTo>
                    <a:lnTo>
                      <a:pt x="2766" y="1063"/>
                    </a:lnTo>
                    <a:close/>
                    <a:moveTo>
                      <a:pt x="5836" y="1042"/>
                    </a:moveTo>
                    <a:lnTo>
                      <a:pt x="5833" y="1042"/>
                    </a:lnTo>
                    <a:lnTo>
                      <a:pt x="5833" y="1044"/>
                    </a:lnTo>
                    <a:lnTo>
                      <a:pt x="5833" y="1053"/>
                    </a:lnTo>
                    <a:lnTo>
                      <a:pt x="5836" y="1053"/>
                    </a:lnTo>
                    <a:lnTo>
                      <a:pt x="5836" y="1051"/>
                    </a:lnTo>
                    <a:lnTo>
                      <a:pt x="5836" y="1051"/>
                    </a:lnTo>
                    <a:lnTo>
                      <a:pt x="5836" y="1042"/>
                    </a:lnTo>
                    <a:close/>
                    <a:moveTo>
                      <a:pt x="2783" y="1013"/>
                    </a:moveTo>
                    <a:lnTo>
                      <a:pt x="2781" y="1013"/>
                    </a:lnTo>
                    <a:lnTo>
                      <a:pt x="2781" y="1013"/>
                    </a:lnTo>
                    <a:lnTo>
                      <a:pt x="2781" y="1046"/>
                    </a:lnTo>
                    <a:lnTo>
                      <a:pt x="2783" y="1046"/>
                    </a:lnTo>
                    <a:lnTo>
                      <a:pt x="2783" y="1044"/>
                    </a:lnTo>
                    <a:lnTo>
                      <a:pt x="2783" y="1044"/>
                    </a:lnTo>
                    <a:lnTo>
                      <a:pt x="2783" y="1013"/>
                    </a:lnTo>
                    <a:close/>
                    <a:moveTo>
                      <a:pt x="3677" y="994"/>
                    </a:moveTo>
                    <a:lnTo>
                      <a:pt x="3674" y="994"/>
                    </a:lnTo>
                    <a:lnTo>
                      <a:pt x="3674" y="997"/>
                    </a:lnTo>
                    <a:lnTo>
                      <a:pt x="3674" y="1162"/>
                    </a:lnTo>
                    <a:lnTo>
                      <a:pt x="3674" y="1162"/>
                    </a:lnTo>
                    <a:lnTo>
                      <a:pt x="3674" y="1160"/>
                    </a:lnTo>
                    <a:lnTo>
                      <a:pt x="3677" y="1160"/>
                    </a:lnTo>
                    <a:lnTo>
                      <a:pt x="3677" y="994"/>
                    </a:lnTo>
                    <a:close/>
                    <a:moveTo>
                      <a:pt x="5854" y="990"/>
                    </a:moveTo>
                    <a:lnTo>
                      <a:pt x="5852" y="990"/>
                    </a:lnTo>
                    <a:lnTo>
                      <a:pt x="5852" y="992"/>
                    </a:lnTo>
                    <a:lnTo>
                      <a:pt x="5852" y="1025"/>
                    </a:lnTo>
                    <a:lnTo>
                      <a:pt x="5852" y="1025"/>
                    </a:lnTo>
                    <a:lnTo>
                      <a:pt x="5852" y="1023"/>
                    </a:lnTo>
                    <a:lnTo>
                      <a:pt x="5854" y="1023"/>
                    </a:lnTo>
                    <a:lnTo>
                      <a:pt x="5854" y="990"/>
                    </a:lnTo>
                    <a:close/>
                    <a:moveTo>
                      <a:pt x="6245" y="935"/>
                    </a:moveTo>
                    <a:lnTo>
                      <a:pt x="6242" y="935"/>
                    </a:lnTo>
                    <a:lnTo>
                      <a:pt x="6242" y="937"/>
                    </a:lnTo>
                    <a:lnTo>
                      <a:pt x="6242" y="1113"/>
                    </a:lnTo>
                    <a:lnTo>
                      <a:pt x="6245" y="1113"/>
                    </a:lnTo>
                    <a:lnTo>
                      <a:pt x="6245" y="1110"/>
                    </a:lnTo>
                    <a:lnTo>
                      <a:pt x="6245" y="1110"/>
                    </a:lnTo>
                    <a:lnTo>
                      <a:pt x="6245" y="935"/>
                    </a:lnTo>
                    <a:close/>
                    <a:moveTo>
                      <a:pt x="6294" y="878"/>
                    </a:moveTo>
                    <a:lnTo>
                      <a:pt x="6294" y="878"/>
                    </a:lnTo>
                    <a:lnTo>
                      <a:pt x="6292" y="878"/>
                    </a:lnTo>
                    <a:lnTo>
                      <a:pt x="6292" y="881"/>
                    </a:lnTo>
                    <a:lnTo>
                      <a:pt x="6292" y="888"/>
                    </a:lnTo>
                    <a:lnTo>
                      <a:pt x="6294" y="888"/>
                    </a:lnTo>
                    <a:lnTo>
                      <a:pt x="6294" y="885"/>
                    </a:lnTo>
                    <a:lnTo>
                      <a:pt x="6294" y="885"/>
                    </a:lnTo>
                    <a:lnTo>
                      <a:pt x="6294" y="878"/>
                    </a:lnTo>
                    <a:close/>
                    <a:moveTo>
                      <a:pt x="6304" y="850"/>
                    </a:moveTo>
                    <a:lnTo>
                      <a:pt x="6301" y="850"/>
                    </a:lnTo>
                    <a:lnTo>
                      <a:pt x="6301" y="852"/>
                    </a:lnTo>
                    <a:lnTo>
                      <a:pt x="6301" y="871"/>
                    </a:lnTo>
                    <a:lnTo>
                      <a:pt x="6301" y="871"/>
                    </a:lnTo>
                    <a:lnTo>
                      <a:pt x="6301" y="869"/>
                    </a:lnTo>
                    <a:lnTo>
                      <a:pt x="6304" y="869"/>
                    </a:lnTo>
                    <a:lnTo>
                      <a:pt x="6304" y="850"/>
                    </a:lnTo>
                    <a:close/>
                    <a:moveTo>
                      <a:pt x="3005" y="762"/>
                    </a:moveTo>
                    <a:lnTo>
                      <a:pt x="3003" y="762"/>
                    </a:lnTo>
                    <a:lnTo>
                      <a:pt x="3003" y="765"/>
                    </a:lnTo>
                    <a:lnTo>
                      <a:pt x="3003" y="892"/>
                    </a:lnTo>
                    <a:lnTo>
                      <a:pt x="3005" y="892"/>
                    </a:lnTo>
                    <a:lnTo>
                      <a:pt x="3005" y="762"/>
                    </a:lnTo>
                    <a:close/>
                    <a:moveTo>
                      <a:pt x="5036" y="731"/>
                    </a:moveTo>
                    <a:lnTo>
                      <a:pt x="5036" y="731"/>
                    </a:lnTo>
                    <a:lnTo>
                      <a:pt x="5036" y="734"/>
                    </a:lnTo>
                    <a:lnTo>
                      <a:pt x="5036" y="885"/>
                    </a:lnTo>
                    <a:lnTo>
                      <a:pt x="5036" y="885"/>
                    </a:lnTo>
                    <a:lnTo>
                      <a:pt x="5036" y="731"/>
                    </a:lnTo>
                    <a:close/>
                    <a:moveTo>
                      <a:pt x="3043" y="658"/>
                    </a:moveTo>
                    <a:lnTo>
                      <a:pt x="3043" y="658"/>
                    </a:lnTo>
                    <a:lnTo>
                      <a:pt x="3043" y="658"/>
                    </a:lnTo>
                    <a:lnTo>
                      <a:pt x="3043" y="727"/>
                    </a:lnTo>
                    <a:lnTo>
                      <a:pt x="3043" y="727"/>
                    </a:lnTo>
                    <a:lnTo>
                      <a:pt x="3043" y="724"/>
                    </a:lnTo>
                    <a:lnTo>
                      <a:pt x="3043" y="724"/>
                    </a:lnTo>
                    <a:lnTo>
                      <a:pt x="3043" y="658"/>
                    </a:lnTo>
                    <a:close/>
                    <a:moveTo>
                      <a:pt x="2" y="618"/>
                    </a:moveTo>
                    <a:lnTo>
                      <a:pt x="0" y="618"/>
                    </a:lnTo>
                    <a:lnTo>
                      <a:pt x="0" y="618"/>
                    </a:lnTo>
                    <a:lnTo>
                      <a:pt x="0" y="1366"/>
                    </a:lnTo>
                    <a:lnTo>
                      <a:pt x="2" y="1366"/>
                    </a:lnTo>
                    <a:lnTo>
                      <a:pt x="2" y="618"/>
                    </a:lnTo>
                    <a:close/>
                    <a:moveTo>
                      <a:pt x="5159" y="608"/>
                    </a:moveTo>
                    <a:lnTo>
                      <a:pt x="5157" y="608"/>
                    </a:lnTo>
                    <a:lnTo>
                      <a:pt x="5157" y="611"/>
                    </a:lnTo>
                    <a:lnTo>
                      <a:pt x="5157" y="644"/>
                    </a:lnTo>
                    <a:lnTo>
                      <a:pt x="5159" y="644"/>
                    </a:lnTo>
                    <a:lnTo>
                      <a:pt x="5159" y="608"/>
                    </a:lnTo>
                    <a:close/>
                    <a:moveTo>
                      <a:pt x="6930" y="509"/>
                    </a:moveTo>
                    <a:lnTo>
                      <a:pt x="6928" y="509"/>
                    </a:lnTo>
                    <a:lnTo>
                      <a:pt x="6928" y="511"/>
                    </a:lnTo>
                    <a:lnTo>
                      <a:pt x="6928" y="1006"/>
                    </a:lnTo>
                    <a:lnTo>
                      <a:pt x="6930" y="1006"/>
                    </a:lnTo>
                    <a:lnTo>
                      <a:pt x="6930" y="509"/>
                    </a:lnTo>
                    <a:close/>
                    <a:moveTo>
                      <a:pt x="3206" y="502"/>
                    </a:moveTo>
                    <a:lnTo>
                      <a:pt x="3204" y="502"/>
                    </a:lnTo>
                    <a:lnTo>
                      <a:pt x="3204" y="504"/>
                    </a:lnTo>
                    <a:lnTo>
                      <a:pt x="3204" y="566"/>
                    </a:lnTo>
                    <a:lnTo>
                      <a:pt x="3204" y="566"/>
                    </a:lnTo>
                    <a:lnTo>
                      <a:pt x="3204" y="563"/>
                    </a:lnTo>
                    <a:lnTo>
                      <a:pt x="3206" y="563"/>
                    </a:lnTo>
                    <a:lnTo>
                      <a:pt x="3206" y="502"/>
                    </a:lnTo>
                    <a:close/>
                    <a:moveTo>
                      <a:pt x="3942" y="454"/>
                    </a:moveTo>
                    <a:lnTo>
                      <a:pt x="3939" y="454"/>
                    </a:lnTo>
                    <a:lnTo>
                      <a:pt x="3939" y="454"/>
                    </a:lnTo>
                    <a:lnTo>
                      <a:pt x="3939" y="457"/>
                    </a:lnTo>
                    <a:lnTo>
                      <a:pt x="3939" y="492"/>
                    </a:lnTo>
                    <a:lnTo>
                      <a:pt x="3859" y="644"/>
                    </a:lnTo>
                    <a:lnTo>
                      <a:pt x="3859" y="840"/>
                    </a:lnTo>
                    <a:lnTo>
                      <a:pt x="3861" y="840"/>
                    </a:lnTo>
                    <a:lnTo>
                      <a:pt x="3861" y="642"/>
                    </a:lnTo>
                    <a:lnTo>
                      <a:pt x="3942" y="490"/>
                    </a:lnTo>
                    <a:lnTo>
                      <a:pt x="3942" y="454"/>
                    </a:lnTo>
                    <a:close/>
                    <a:moveTo>
                      <a:pt x="3235" y="433"/>
                    </a:moveTo>
                    <a:lnTo>
                      <a:pt x="3232" y="433"/>
                    </a:lnTo>
                    <a:lnTo>
                      <a:pt x="3232" y="436"/>
                    </a:lnTo>
                    <a:lnTo>
                      <a:pt x="3232" y="473"/>
                    </a:lnTo>
                    <a:lnTo>
                      <a:pt x="3232" y="473"/>
                    </a:lnTo>
                    <a:lnTo>
                      <a:pt x="3232" y="471"/>
                    </a:lnTo>
                    <a:lnTo>
                      <a:pt x="3235" y="471"/>
                    </a:lnTo>
                    <a:lnTo>
                      <a:pt x="3235" y="433"/>
                    </a:lnTo>
                    <a:close/>
                    <a:moveTo>
                      <a:pt x="3949" y="391"/>
                    </a:moveTo>
                    <a:lnTo>
                      <a:pt x="3946" y="391"/>
                    </a:lnTo>
                    <a:lnTo>
                      <a:pt x="3946" y="391"/>
                    </a:lnTo>
                    <a:lnTo>
                      <a:pt x="3946" y="393"/>
                    </a:lnTo>
                    <a:lnTo>
                      <a:pt x="3946" y="450"/>
                    </a:lnTo>
                    <a:lnTo>
                      <a:pt x="3946" y="450"/>
                    </a:lnTo>
                    <a:lnTo>
                      <a:pt x="3946" y="447"/>
                    </a:lnTo>
                    <a:lnTo>
                      <a:pt x="3949" y="447"/>
                    </a:lnTo>
                    <a:lnTo>
                      <a:pt x="3949" y="391"/>
                    </a:lnTo>
                    <a:close/>
                    <a:moveTo>
                      <a:pt x="1714" y="369"/>
                    </a:moveTo>
                    <a:lnTo>
                      <a:pt x="1714" y="369"/>
                    </a:lnTo>
                    <a:lnTo>
                      <a:pt x="1714" y="372"/>
                    </a:lnTo>
                    <a:lnTo>
                      <a:pt x="1714" y="1044"/>
                    </a:lnTo>
                    <a:lnTo>
                      <a:pt x="1714" y="1044"/>
                    </a:lnTo>
                    <a:lnTo>
                      <a:pt x="1714" y="369"/>
                    </a:lnTo>
                    <a:close/>
                    <a:moveTo>
                      <a:pt x="3956" y="327"/>
                    </a:moveTo>
                    <a:lnTo>
                      <a:pt x="3953" y="327"/>
                    </a:lnTo>
                    <a:lnTo>
                      <a:pt x="3953" y="329"/>
                    </a:lnTo>
                    <a:lnTo>
                      <a:pt x="3953" y="383"/>
                    </a:lnTo>
                    <a:lnTo>
                      <a:pt x="3956" y="383"/>
                    </a:lnTo>
                    <a:lnTo>
                      <a:pt x="3956" y="381"/>
                    </a:lnTo>
                    <a:lnTo>
                      <a:pt x="3956" y="381"/>
                    </a:lnTo>
                    <a:lnTo>
                      <a:pt x="3956" y="327"/>
                    </a:lnTo>
                    <a:close/>
                    <a:moveTo>
                      <a:pt x="4608" y="232"/>
                    </a:moveTo>
                    <a:lnTo>
                      <a:pt x="4606" y="232"/>
                    </a:lnTo>
                    <a:lnTo>
                      <a:pt x="4606" y="234"/>
                    </a:lnTo>
                    <a:lnTo>
                      <a:pt x="4552" y="436"/>
                    </a:lnTo>
                    <a:lnTo>
                      <a:pt x="4554" y="433"/>
                    </a:lnTo>
                    <a:lnTo>
                      <a:pt x="4608" y="232"/>
                    </a:lnTo>
                    <a:close/>
                    <a:moveTo>
                      <a:pt x="4757" y="0"/>
                    </a:moveTo>
                    <a:lnTo>
                      <a:pt x="4755" y="0"/>
                    </a:lnTo>
                    <a:lnTo>
                      <a:pt x="4755" y="2"/>
                    </a:lnTo>
                    <a:lnTo>
                      <a:pt x="4755" y="125"/>
                    </a:lnTo>
                    <a:lnTo>
                      <a:pt x="4757" y="125"/>
                    </a:lnTo>
                    <a:lnTo>
                      <a:pt x="4757" y="123"/>
                    </a:lnTo>
                    <a:lnTo>
                      <a:pt x="4757" y="123"/>
                    </a:lnTo>
                    <a:lnTo>
                      <a:pt x="4757" y="0"/>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6" name="Freeform 51"/>
              <p:cNvSpPr>
                <a:spLocks noEditPoints="1"/>
              </p:cNvSpPr>
              <p:nvPr/>
            </p:nvSpPr>
            <p:spPr bwMode="auto">
              <a:xfrm>
                <a:off x="54" y="1748"/>
                <a:ext cx="6930" cy="1366"/>
              </a:xfrm>
              <a:custGeom>
                <a:avLst/>
                <a:gdLst>
                  <a:gd name="T0" fmla="*/ 3615 w 6930"/>
                  <a:gd name="T1" fmla="*/ 1224 h 1366"/>
                  <a:gd name="T2" fmla="*/ 3615 w 6930"/>
                  <a:gd name="T3" fmla="*/ 1222 h 1366"/>
                  <a:gd name="T4" fmla="*/ 5734 w 6930"/>
                  <a:gd name="T5" fmla="*/ 1210 h 1366"/>
                  <a:gd name="T6" fmla="*/ 5736 w 6930"/>
                  <a:gd name="T7" fmla="*/ 1210 h 1366"/>
                  <a:gd name="T8" fmla="*/ 5760 w 6930"/>
                  <a:gd name="T9" fmla="*/ 1129 h 1366"/>
                  <a:gd name="T10" fmla="*/ 5760 w 6930"/>
                  <a:gd name="T11" fmla="*/ 1184 h 1366"/>
                  <a:gd name="T12" fmla="*/ 2766 w 6930"/>
                  <a:gd name="T13" fmla="*/ 1063 h 1366"/>
                  <a:gd name="T14" fmla="*/ 2764 w 6930"/>
                  <a:gd name="T15" fmla="*/ 1153 h 1366"/>
                  <a:gd name="T16" fmla="*/ 5836 w 6930"/>
                  <a:gd name="T17" fmla="*/ 1042 h 1366"/>
                  <a:gd name="T18" fmla="*/ 5833 w 6930"/>
                  <a:gd name="T19" fmla="*/ 1053 h 1366"/>
                  <a:gd name="T20" fmla="*/ 5836 w 6930"/>
                  <a:gd name="T21" fmla="*/ 1051 h 1366"/>
                  <a:gd name="T22" fmla="*/ 2781 w 6930"/>
                  <a:gd name="T23" fmla="*/ 1013 h 1366"/>
                  <a:gd name="T24" fmla="*/ 2783 w 6930"/>
                  <a:gd name="T25" fmla="*/ 1046 h 1366"/>
                  <a:gd name="T26" fmla="*/ 2783 w 6930"/>
                  <a:gd name="T27" fmla="*/ 1013 h 1366"/>
                  <a:gd name="T28" fmla="*/ 3674 w 6930"/>
                  <a:gd name="T29" fmla="*/ 997 h 1366"/>
                  <a:gd name="T30" fmla="*/ 3674 w 6930"/>
                  <a:gd name="T31" fmla="*/ 1160 h 1366"/>
                  <a:gd name="T32" fmla="*/ 5854 w 6930"/>
                  <a:gd name="T33" fmla="*/ 990 h 1366"/>
                  <a:gd name="T34" fmla="*/ 5852 w 6930"/>
                  <a:gd name="T35" fmla="*/ 1025 h 1366"/>
                  <a:gd name="T36" fmla="*/ 5854 w 6930"/>
                  <a:gd name="T37" fmla="*/ 1023 h 1366"/>
                  <a:gd name="T38" fmla="*/ 6242 w 6930"/>
                  <a:gd name="T39" fmla="*/ 935 h 1366"/>
                  <a:gd name="T40" fmla="*/ 6245 w 6930"/>
                  <a:gd name="T41" fmla="*/ 1113 h 1366"/>
                  <a:gd name="T42" fmla="*/ 6245 w 6930"/>
                  <a:gd name="T43" fmla="*/ 935 h 1366"/>
                  <a:gd name="T44" fmla="*/ 6292 w 6930"/>
                  <a:gd name="T45" fmla="*/ 878 h 1366"/>
                  <a:gd name="T46" fmla="*/ 6294 w 6930"/>
                  <a:gd name="T47" fmla="*/ 888 h 1366"/>
                  <a:gd name="T48" fmla="*/ 6294 w 6930"/>
                  <a:gd name="T49" fmla="*/ 878 h 1366"/>
                  <a:gd name="T50" fmla="*/ 6301 w 6930"/>
                  <a:gd name="T51" fmla="*/ 852 h 1366"/>
                  <a:gd name="T52" fmla="*/ 6301 w 6930"/>
                  <a:gd name="T53" fmla="*/ 869 h 1366"/>
                  <a:gd name="T54" fmla="*/ 3005 w 6930"/>
                  <a:gd name="T55" fmla="*/ 762 h 1366"/>
                  <a:gd name="T56" fmla="*/ 3003 w 6930"/>
                  <a:gd name="T57" fmla="*/ 892 h 1366"/>
                  <a:gd name="T58" fmla="*/ 5036 w 6930"/>
                  <a:gd name="T59" fmla="*/ 731 h 1366"/>
                  <a:gd name="T60" fmla="*/ 5036 w 6930"/>
                  <a:gd name="T61" fmla="*/ 885 h 1366"/>
                  <a:gd name="T62" fmla="*/ 3043 w 6930"/>
                  <a:gd name="T63" fmla="*/ 658 h 1366"/>
                  <a:gd name="T64" fmla="*/ 3043 w 6930"/>
                  <a:gd name="T65" fmla="*/ 727 h 1366"/>
                  <a:gd name="T66" fmla="*/ 3043 w 6930"/>
                  <a:gd name="T67" fmla="*/ 724 h 1366"/>
                  <a:gd name="T68" fmla="*/ 0 w 6930"/>
                  <a:gd name="T69" fmla="*/ 618 h 1366"/>
                  <a:gd name="T70" fmla="*/ 2 w 6930"/>
                  <a:gd name="T71" fmla="*/ 1366 h 1366"/>
                  <a:gd name="T72" fmla="*/ 5157 w 6930"/>
                  <a:gd name="T73" fmla="*/ 608 h 1366"/>
                  <a:gd name="T74" fmla="*/ 5159 w 6930"/>
                  <a:gd name="T75" fmla="*/ 644 h 1366"/>
                  <a:gd name="T76" fmla="*/ 6928 w 6930"/>
                  <a:gd name="T77" fmla="*/ 509 h 1366"/>
                  <a:gd name="T78" fmla="*/ 6930 w 6930"/>
                  <a:gd name="T79" fmla="*/ 1006 h 1366"/>
                  <a:gd name="T80" fmla="*/ 3204 w 6930"/>
                  <a:gd name="T81" fmla="*/ 502 h 1366"/>
                  <a:gd name="T82" fmla="*/ 3204 w 6930"/>
                  <a:gd name="T83" fmla="*/ 566 h 1366"/>
                  <a:gd name="T84" fmla="*/ 3206 w 6930"/>
                  <a:gd name="T85" fmla="*/ 502 h 1366"/>
                  <a:gd name="T86" fmla="*/ 3939 w 6930"/>
                  <a:gd name="T87" fmla="*/ 454 h 1366"/>
                  <a:gd name="T88" fmla="*/ 3859 w 6930"/>
                  <a:gd name="T89" fmla="*/ 644 h 1366"/>
                  <a:gd name="T90" fmla="*/ 3861 w 6930"/>
                  <a:gd name="T91" fmla="*/ 642 h 1366"/>
                  <a:gd name="T92" fmla="*/ 3235 w 6930"/>
                  <a:gd name="T93" fmla="*/ 433 h 1366"/>
                  <a:gd name="T94" fmla="*/ 3232 w 6930"/>
                  <a:gd name="T95" fmla="*/ 473 h 1366"/>
                  <a:gd name="T96" fmla="*/ 3235 w 6930"/>
                  <a:gd name="T97" fmla="*/ 471 h 1366"/>
                  <a:gd name="T98" fmla="*/ 3946 w 6930"/>
                  <a:gd name="T99" fmla="*/ 391 h 1366"/>
                  <a:gd name="T100" fmla="*/ 3946 w 6930"/>
                  <a:gd name="T101" fmla="*/ 450 h 1366"/>
                  <a:gd name="T102" fmla="*/ 3949 w 6930"/>
                  <a:gd name="T103" fmla="*/ 447 h 1366"/>
                  <a:gd name="T104" fmla="*/ 1714 w 6930"/>
                  <a:gd name="T105" fmla="*/ 369 h 1366"/>
                  <a:gd name="T106" fmla="*/ 1714 w 6930"/>
                  <a:gd name="T107" fmla="*/ 1044 h 1366"/>
                  <a:gd name="T108" fmla="*/ 3953 w 6930"/>
                  <a:gd name="T109" fmla="*/ 327 h 1366"/>
                  <a:gd name="T110" fmla="*/ 3956 w 6930"/>
                  <a:gd name="T111" fmla="*/ 383 h 1366"/>
                  <a:gd name="T112" fmla="*/ 3956 w 6930"/>
                  <a:gd name="T113" fmla="*/ 327 h 1366"/>
                  <a:gd name="T114" fmla="*/ 4606 w 6930"/>
                  <a:gd name="T115" fmla="*/ 234 h 1366"/>
                  <a:gd name="T116" fmla="*/ 4608 w 6930"/>
                  <a:gd name="T117" fmla="*/ 232 h 1366"/>
                  <a:gd name="T118" fmla="*/ 4755 w 6930"/>
                  <a:gd name="T119" fmla="*/ 2 h 1366"/>
                  <a:gd name="T120" fmla="*/ 4757 w 6930"/>
                  <a:gd name="T121" fmla="*/ 123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6">
                    <a:moveTo>
                      <a:pt x="3615" y="1222"/>
                    </a:moveTo>
                    <a:lnTo>
                      <a:pt x="3615" y="1222"/>
                    </a:lnTo>
                    <a:lnTo>
                      <a:pt x="3615" y="1224"/>
                    </a:lnTo>
                    <a:lnTo>
                      <a:pt x="3615" y="1229"/>
                    </a:lnTo>
                    <a:lnTo>
                      <a:pt x="3615" y="1229"/>
                    </a:lnTo>
                    <a:lnTo>
                      <a:pt x="3615" y="1222"/>
                    </a:lnTo>
                    <a:moveTo>
                      <a:pt x="5736" y="1210"/>
                    </a:moveTo>
                    <a:lnTo>
                      <a:pt x="5734" y="1210"/>
                    </a:lnTo>
                    <a:lnTo>
                      <a:pt x="5734" y="1210"/>
                    </a:lnTo>
                    <a:lnTo>
                      <a:pt x="5734" y="1238"/>
                    </a:lnTo>
                    <a:lnTo>
                      <a:pt x="5736" y="1238"/>
                    </a:lnTo>
                    <a:lnTo>
                      <a:pt x="5736" y="1210"/>
                    </a:lnTo>
                    <a:moveTo>
                      <a:pt x="5762" y="1129"/>
                    </a:moveTo>
                    <a:lnTo>
                      <a:pt x="5760" y="1129"/>
                    </a:lnTo>
                    <a:lnTo>
                      <a:pt x="5760" y="1129"/>
                    </a:lnTo>
                    <a:lnTo>
                      <a:pt x="5760" y="1184"/>
                    </a:lnTo>
                    <a:lnTo>
                      <a:pt x="5760" y="1184"/>
                    </a:lnTo>
                    <a:lnTo>
                      <a:pt x="5760" y="1184"/>
                    </a:lnTo>
                    <a:lnTo>
                      <a:pt x="5762" y="1184"/>
                    </a:lnTo>
                    <a:lnTo>
                      <a:pt x="5762" y="1129"/>
                    </a:lnTo>
                    <a:moveTo>
                      <a:pt x="2766" y="1063"/>
                    </a:moveTo>
                    <a:lnTo>
                      <a:pt x="2764" y="1063"/>
                    </a:lnTo>
                    <a:lnTo>
                      <a:pt x="2764" y="1065"/>
                    </a:lnTo>
                    <a:lnTo>
                      <a:pt x="2764" y="1153"/>
                    </a:lnTo>
                    <a:lnTo>
                      <a:pt x="2766" y="1153"/>
                    </a:lnTo>
                    <a:lnTo>
                      <a:pt x="2766" y="1063"/>
                    </a:lnTo>
                    <a:moveTo>
                      <a:pt x="5836" y="1042"/>
                    </a:moveTo>
                    <a:lnTo>
                      <a:pt x="5833" y="1042"/>
                    </a:lnTo>
                    <a:lnTo>
                      <a:pt x="5833" y="1044"/>
                    </a:lnTo>
                    <a:lnTo>
                      <a:pt x="5833" y="1053"/>
                    </a:lnTo>
                    <a:lnTo>
                      <a:pt x="5836" y="1053"/>
                    </a:lnTo>
                    <a:lnTo>
                      <a:pt x="5836" y="1051"/>
                    </a:lnTo>
                    <a:lnTo>
                      <a:pt x="5836" y="1051"/>
                    </a:lnTo>
                    <a:lnTo>
                      <a:pt x="5836" y="1042"/>
                    </a:lnTo>
                    <a:moveTo>
                      <a:pt x="2783" y="1013"/>
                    </a:moveTo>
                    <a:lnTo>
                      <a:pt x="2781" y="1013"/>
                    </a:lnTo>
                    <a:lnTo>
                      <a:pt x="2781" y="1013"/>
                    </a:lnTo>
                    <a:lnTo>
                      <a:pt x="2781" y="1046"/>
                    </a:lnTo>
                    <a:lnTo>
                      <a:pt x="2783" y="1046"/>
                    </a:lnTo>
                    <a:lnTo>
                      <a:pt x="2783" y="1044"/>
                    </a:lnTo>
                    <a:lnTo>
                      <a:pt x="2783" y="1044"/>
                    </a:lnTo>
                    <a:lnTo>
                      <a:pt x="2783" y="1013"/>
                    </a:lnTo>
                    <a:moveTo>
                      <a:pt x="3677" y="994"/>
                    </a:moveTo>
                    <a:lnTo>
                      <a:pt x="3674" y="994"/>
                    </a:lnTo>
                    <a:lnTo>
                      <a:pt x="3674" y="997"/>
                    </a:lnTo>
                    <a:lnTo>
                      <a:pt x="3674" y="1162"/>
                    </a:lnTo>
                    <a:lnTo>
                      <a:pt x="3674" y="1162"/>
                    </a:lnTo>
                    <a:lnTo>
                      <a:pt x="3674" y="1160"/>
                    </a:lnTo>
                    <a:lnTo>
                      <a:pt x="3677" y="1160"/>
                    </a:lnTo>
                    <a:lnTo>
                      <a:pt x="3677" y="994"/>
                    </a:lnTo>
                    <a:moveTo>
                      <a:pt x="5854" y="990"/>
                    </a:moveTo>
                    <a:lnTo>
                      <a:pt x="5852" y="990"/>
                    </a:lnTo>
                    <a:lnTo>
                      <a:pt x="5852" y="992"/>
                    </a:lnTo>
                    <a:lnTo>
                      <a:pt x="5852" y="1025"/>
                    </a:lnTo>
                    <a:lnTo>
                      <a:pt x="5852" y="1025"/>
                    </a:lnTo>
                    <a:lnTo>
                      <a:pt x="5852" y="1023"/>
                    </a:lnTo>
                    <a:lnTo>
                      <a:pt x="5854" y="1023"/>
                    </a:lnTo>
                    <a:lnTo>
                      <a:pt x="5854" y="990"/>
                    </a:lnTo>
                    <a:moveTo>
                      <a:pt x="6245" y="935"/>
                    </a:moveTo>
                    <a:lnTo>
                      <a:pt x="6242" y="935"/>
                    </a:lnTo>
                    <a:lnTo>
                      <a:pt x="6242" y="937"/>
                    </a:lnTo>
                    <a:lnTo>
                      <a:pt x="6242" y="1113"/>
                    </a:lnTo>
                    <a:lnTo>
                      <a:pt x="6245" y="1113"/>
                    </a:lnTo>
                    <a:lnTo>
                      <a:pt x="6245" y="1110"/>
                    </a:lnTo>
                    <a:lnTo>
                      <a:pt x="6245" y="1110"/>
                    </a:lnTo>
                    <a:lnTo>
                      <a:pt x="6245" y="935"/>
                    </a:lnTo>
                    <a:moveTo>
                      <a:pt x="6294" y="878"/>
                    </a:moveTo>
                    <a:lnTo>
                      <a:pt x="6294" y="878"/>
                    </a:lnTo>
                    <a:lnTo>
                      <a:pt x="6292" y="878"/>
                    </a:lnTo>
                    <a:lnTo>
                      <a:pt x="6292" y="881"/>
                    </a:lnTo>
                    <a:lnTo>
                      <a:pt x="6292" y="888"/>
                    </a:lnTo>
                    <a:lnTo>
                      <a:pt x="6294" y="888"/>
                    </a:lnTo>
                    <a:lnTo>
                      <a:pt x="6294" y="885"/>
                    </a:lnTo>
                    <a:lnTo>
                      <a:pt x="6294" y="885"/>
                    </a:lnTo>
                    <a:lnTo>
                      <a:pt x="6294" y="878"/>
                    </a:lnTo>
                    <a:moveTo>
                      <a:pt x="6304" y="850"/>
                    </a:moveTo>
                    <a:lnTo>
                      <a:pt x="6301" y="850"/>
                    </a:lnTo>
                    <a:lnTo>
                      <a:pt x="6301" y="852"/>
                    </a:lnTo>
                    <a:lnTo>
                      <a:pt x="6301" y="871"/>
                    </a:lnTo>
                    <a:lnTo>
                      <a:pt x="6301" y="871"/>
                    </a:lnTo>
                    <a:lnTo>
                      <a:pt x="6301" y="869"/>
                    </a:lnTo>
                    <a:lnTo>
                      <a:pt x="6304" y="869"/>
                    </a:lnTo>
                    <a:lnTo>
                      <a:pt x="6304" y="850"/>
                    </a:lnTo>
                    <a:moveTo>
                      <a:pt x="3005" y="762"/>
                    </a:moveTo>
                    <a:lnTo>
                      <a:pt x="3003" y="762"/>
                    </a:lnTo>
                    <a:lnTo>
                      <a:pt x="3003" y="765"/>
                    </a:lnTo>
                    <a:lnTo>
                      <a:pt x="3003" y="892"/>
                    </a:lnTo>
                    <a:lnTo>
                      <a:pt x="3005" y="892"/>
                    </a:lnTo>
                    <a:lnTo>
                      <a:pt x="3005" y="762"/>
                    </a:lnTo>
                    <a:moveTo>
                      <a:pt x="5036" y="731"/>
                    </a:moveTo>
                    <a:lnTo>
                      <a:pt x="5036" y="731"/>
                    </a:lnTo>
                    <a:lnTo>
                      <a:pt x="5036" y="734"/>
                    </a:lnTo>
                    <a:lnTo>
                      <a:pt x="5036" y="885"/>
                    </a:lnTo>
                    <a:lnTo>
                      <a:pt x="5036" y="885"/>
                    </a:lnTo>
                    <a:lnTo>
                      <a:pt x="5036" y="731"/>
                    </a:lnTo>
                    <a:moveTo>
                      <a:pt x="3043" y="658"/>
                    </a:moveTo>
                    <a:lnTo>
                      <a:pt x="3043" y="658"/>
                    </a:lnTo>
                    <a:lnTo>
                      <a:pt x="3043" y="658"/>
                    </a:lnTo>
                    <a:lnTo>
                      <a:pt x="3043" y="727"/>
                    </a:lnTo>
                    <a:lnTo>
                      <a:pt x="3043" y="727"/>
                    </a:lnTo>
                    <a:lnTo>
                      <a:pt x="3043" y="724"/>
                    </a:lnTo>
                    <a:lnTo>
                      <a:pt x="3043" y="724"/>
                    </a:lnTo>
                    <a:lnTo>
                      <a:pt x="3043" y="658"/>
                    </a:lnTo>
                    <a:moveTo>
                      <a:pt x="2" y="618"/>
                    </a:moveTo>
                    <a:lnTo>
                      <a:pt x="0" y="618"/>
                    </a:lnTo>
                    <a:lnTo>
                      <a:pt x="0" y="618"/>
                    </a:lnTo>
                    <a:lnTo>
                      <a:pt x="0" y="1366"/>
                    </a:lnTo>
                    <a:lnTo>
                      <a:pt x="2" y="1366"/>
                    </a:lnTo>
                    <a:lnTo>
                      <a:pt x="2" y="618"/>
                    </a:lnTo>
                    <a:moveTo>
                      <a:pt x="5159" y="608"/>
                    </a:moveTo>
                    <a:lnTo>
                      <a:pt x="5157" y="608"/>
                    </a:lnTo>
                    <a:lnTo>
                      <a:pt x="5157" y="611"/>
                    </a:lnTo>
                    <a:lnTo>
                      <a:pt x="5157" y="644"/>
                    </a:lnTo>
                    <a:lnTo>
                      <a:pt x="5159" y="644"/>
                    </a:lnTo>
                    <a:lnTo>
                      <a:pt x="5159" y="608"/>
                    </a:lnTo>
                    <a:moveTo>
                      <a:pt x="6930" y="509"/>
                    </a:moveTo>
                    <a:lnTo>
                      <a:pt x="6928" y="509"/>
                    </a:lnTo>
                    <a:lnTo>
                      <a:pt x="6928" y="511"/>
                    </a:lnTo>
                    <a:lnTo>
                      <a:pt x="6928" y="1006"/>
                    </a:lnTo>
                    <a:lnTo>
                      <a:pt x="6930" y="1006"/>
                    </a:lnTo>
                    <a:lnTo>
                      <a:pt x="6930" y="509"/>
                    </a:lnTo>
                    <a:moveTo>
                      <a:pt x="3206" y="502"/>
                    </a:moveTo>
                    <a:lnTo>
                      <a:pt x="3204" y="502"/>
                    </a:lnTo>
                    <a:lnTo>
                      <a:pt x="3204" y="504"/>
                    </a:lnTo>
                    <a:lnTo>
                      <a:pt x="3204" y="566"/>
                    </a:lnTo>
                    <a:lnTo>
                      <a:pt x="3204" y="566"/>
                    </a:lnTo>
                    <a:lnTo>
                      <a:pt x="3204" y="563"/>
                    </a:lnTo>
                    <a:lnTo>
                      <a:pt x="3206" y="563"/>
                    </a:lnTo>
                    <a:lnTo>
                      <a:pt x="3206" y="502"/>
                    </a:lnTo>
                    <a:moveTo>
                      <a:pt x="3942" y="454"/>
                    </a:moveTo>
                    <a:lnTo>
                      <a:pt x="3939" y="454"/>
                    </a:lnTo>
                    <a:lnTo>
                      <a:pt x="3939" y="454"/>
                    </a:lnTo>
                    <a:lnTo>
                      <a:pt x="3939" y="457"/>
                    </a:lnTo>
                    <a:lnTo>
                      <a:pt x="3939" y="492"/>
                    </a:lnTo>
                    <a:lnTo>
                      <a:pt x="3859" y="644"/>
                    </a:lnTo>
                    <a:lnTo>
                      <a:pt x="3859" y="840"/>
                    </a:lnTo>
                    <a:lnTo>
                      <a:pt x="3861" y="840"/>
                    </a:lnTo>
                    <a:lnTo>
                      <a:pt x="3861" y="642"/>
                    </a:lnTo>
                    <a:lnTo>
                      <a:pt x="3942" y="490"/>
                    </a:lnTo>
                    <a:lnTo>
                      <a:pt x="3942" y="454"/>
                    </a:lnTo>
                    <a:moveTo>
                      <a:pt x="3235" y="433"/>
                    </a:moveTo>
                    <a:lnTo>
                      <a:pt x="3232" y="433"/>
                    </a:lnTo>
                    <a:lnTo>
                      <a:pt x="3232" y="436"/>
                    </a:lnTo>
                    <a:lnTo>
                      <a:pt x="3232" y="473"/>
                    </a:lnTo>
                    <a:lnTo>
                      <a:pt x="3232" y="473"/>
                    </a:lnTo>
                    <a:lnTo>
                      <a:pt x="3232" y="471"/>
                    </a:lnTo>
                    <a:lnTo>
                      <a:pt x="3235" y="471"/>
                    </a:lnTo>
                    <a:lnTo>
                      <a:pt x="3235" y="433"/>
                    </a:lnTo>
                    <a:moveTo>
                      <a:pt x="3949" y="391"/>
                    </a:moveTo>
                    <a:lnTo>
                      <a:pt x="3946" y="391"/>
                    </a:lnTo>
                    <a:lnTo>
                      <a:pt x="3946" y="391"/>
                    </a:lnTo>
                    <a:lnTo>
                      <a:pt x="3946" y="393"/>
                    </a:lnTo>
                    <a:lnTo>
                      <a:pt x="3946" y="450"/>
                    </a:lnTo>
                    <a:lnTo>
                      <a:pt x="3946" y="450"/>
                    </a:lnTo>
                    <a:lnTo>
                      <a:pt x="3946" y="447"/>
                    </a:lnTo>
                    <a:lnTo>
                      <a:pt x="3949" y="447"/>
                    </a:lnTo>
                    <a:lnTo>
                      <a:pt x="3949" y="391"/>
                    </a:lnTo>
                    <a:moveTo>
                      <a:pt x="1714" y="369"/>
                    </a:moveTo>
                    <a:lnTo>
                      <a:pt x="1714" y="369"/>
                    </a:lnTo>
                    <a:lnTo>
                      <a:pt x="1714" y="372"/>
                    </a:lnTo>
                    <a:lnTo>
                      <a:pt x="1714" y="1044"/>
                    </a:lnTo>
                    <a:lnTo>
                      <a:pt x="1714" y="1044"/>
                    </a:lnTo>
                    <a:lnTo>
                      <a:pt x="1714" y="369"/>
                    </a:lnTo>
                    <a:moveTo>
                      <a:pt x="3956" y="327"/>
                    </a:moveTo>
                    <a:lnTo>
                      <a:pt x="3953" y="327"/>
                    </a:lnTo>
                    <a:lnTo>
                      <a:pt x="3953" y="329"/>
                    </a:lnTo>
                    <a:lnTo>
                      <a:pt x="3953" y="383"/>
                    </a:lnTo>
                    <a:lnTo>
                      <a:pt x="3956" y="383"/>
                    </a:lnTo>
                    <a:lnTo>
                      <a:pt x="3956" y="381"/>
                    </a:lnTo>
                    <a:lnTo>
                      <a:pt x="3956" y="381"/>
                    </a:lnTo>
                    <a:lnTo>
                      <a:pt x="3956" y="327"/>
                    </a:lnTo>
                    <a:moveTo>
                      <a:pt x="4608" y="232"/>
                    </a:moveTo>
                    <a:lnTo>
                      <a:pt x="4606" y="232"/>
                    </a:lnTo>
                    <a:lnTo>
                      <a:pt x="4606" y="234"/>
                    </a:lnTo>
                    <a:lnTo>
                      <a:pt x="4552" y="436"/>
                    </a:lnTo>
                    <a:lnTo>
                      <a:pt x="4554" y="433"/>
                    </a:lnTo>
                    <a:lnTo>
                      <a:pt x="4608" y="232"/>
                    </a:lnTo>
                    <a:moveTo>
                      <a:pt x="4757" y="0"/>
                    </a:moveTo>
                    <a:lnTo>
                      <a:pt x="4755" y="0"/>
                    </a:lnTo>
                    <a:lnTo>
                      <a:pt x="4755" y="2"/>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7" name="Freeform 52"/>
              <p:cNvSpPr>
                <a:spLocks noEditPoints="1"/>
              </p:cNvSpPr>
              <p:nvPr/>
            </p:nvSpPr>
            <p:spPr bwMode="auto">
              <a:xfrm>
                <a:off x="56" y="1746"/>
                <a:ext cx="6931" cy="1368"/>
              </a:xfrm>
              <a:custGeom>
                <a:avLst/>
                <a:gdLst>
                  <a:gd name="T0" fmla="*/ 3613 w 6931"/>
                  <a:gd name="T1" fmla="*/ 1224 h 1368"/>
                  <a:gd name="T2" fmla="*/ 3616 w 6931"/>
                  <a:gd name="T3" fmla="*/ 1224 h 1368"/>
                  <a:gd name="T4" fmla="*/ 5734 w 6931"/>
                  <a:gd name="T5" fmla="*/ 1212 h 1368"/>
                  <a:gd name="T6" fmla="*/ 5737 w 6931"/>
                  <a:gd name="T7" fmla="*/ 1209 h 1368"/>
                  <a:gd name="T8" fmla="*/ 5760 w 6931"/>
                  <a:gd name="T9" fmla="*/ 1131 h 1368"/>
                  <a:gd name="T10" fmla="*/ 5760 w 6931"/>
                  <a:gd name="T11" fmla="*/ 1183 h 1368"/>
                  <a:gd name="T12" fmla="*/ 2764 w 6931"/>
                  <a:gd name="T13" fmla="*/ 1063 h 1368"/>
                  <a:gd name="T14" fmla="*/ 2764 w 6931"/>
                  <a:gd name="T15" fmla="*/ 1155 h 1368"/>
                  <a:gd name="T16" fmla="*/ 5836 w 6931"/>
                  <a:gd name="T17" fmla="*/ 1041 h 1368"/>
                  <a:gd name="T18" fmla="*/ 5834 w 6931"/>
                  <a:gd name="T19" fmla="*/ 1053 h 1368"/>
                  <a:gd name="T20" fmla="*/ 5836 w 6931"/>
                  <a:gd name="T21" fmla="*/ 1053 h 1368"/>
                  <a:gd name="T22" fmla="*/ 2781 w 6931"/>
                  <a:gd name="T23" fmla="*/ 1013 h 1368"/>
                  <a:gd name="T24" fmla="*/ 2781 w 6931"/>
                  <a:gd name="T25" fmla="*/ 1046 h 1368"/>
                  <a:gd name="T26" fmla="*/ 2783 w 6931"/>
                  <a:gd name="T27" fmla="*/ 1013 h 1368"/>
                  <a:gd name="T28" fmla="*/ 3675 w 6931"/>
                  <a:gd name="T29" fmla="*/ 996 h 1368"/>
                  <a:gd name="T30" fmla="*/ 3675 w 6931"/>
                  <a:gd name="T31" fmla="*/ 1162 h 1368"/>
                  <a:gd name="T32" fmla="*/ 5855 w 6931"/>
                  <a:gd name="T33" fmla="*/ 989 h 1368"/>
                  <a:gd name="T34" fmla="*/ 5852 w 6931"/>
                  <a:gd name="T35" fmla="*/ 1025 h 1368"/>
                  <a:gd name="T36" fmla="*/ 5855 w 6931"/>
                  <a:gd name="T37" fmla="*/ 1022 h 1368"/>
                  <a:gd name="T38" fmla="*/ 6243 w 6931"/>
                  <a:gd name="T39" fmla="*/ 937 h 1368"/>
                  <a:gd name="T40" fmla="*/ 6245 w 6931"/>
                  <a:gd name="T41" fmla="*/ 1112 h 1368"/>
                  <a:gd name="T42" fmla="*/ 6245 w 6931"/>
                  <a:gd name="T43" fmla="*/ 937 h 1368"/>
                  <a:gd name="T44" fmla="*/ 6292 w 6931"/>
                  <a:gd name="T45" fmla="*/ 878 h 1368"/>
                  <a:gd name="T46" fmla="*/ 6292 w 6931"/>
                  <a:gd name="T47" fmla="*/ 887 h 1368"/>
                  <a:gd name="T48" fmla="*/ 6295 w 6931"/>
                  <a:gd name="T49" fmla="*/ 878 h 1368"/>
                  <a:gd name="T50" fmla="*/ 6302 w 6931"/>
                  <a:gd name="T51" fmla="*/ 852 h 1368"/>
                  <a:gd name="T52" fmla="*/ 6302 w 6931"/>
                  <a:gd name="T53" fmla="*/ 868 h 1368"/>
                  <a:gd name="T54" fmla="*/ 3006 w 6931"/>
                  <a:gd name="T55" fmla="*/ 762 h 1368"/>
                  <a:gd name="T56" fmla="*/ 3003 w 6931"/>
                  <a:gd name="T57" fmla="*/ 894 h 1368"/>
                  <a:gd name="T58" fmla="*/ 5037 w 6931"/>
                  <a:gd name="T59" fmla="*/ 731 h 1368"/>
                  <a:gd name="T60" fmla="*/ 5034 w 6931"/>
                  <a:gd name="T61" fmla="*/ 887 h 1368"/>
                  <a:gd name="T62" fmla="*/ 3043 w 6931"/>
                  <a:gd name="T63" fmla="*/ 658 h 1368"/>
                  <a:gd name="T64" fmla="*/ 3041 w 6931"/>
                  <a:gd name="T65" fmla="*/ 726 h 1368"/>
                  <a:gd name="T66" fmla="*/ 3043 w 6931"/>
                  <a:gd name="T67" fmla="*/ 724 h 1368"/>
                  <a:gd name="T68" fmla="*/ 0 w 6931"/>
                  <a:gd name="T69" fmla="*/ 617 h 1368"/>
                  <a:gd name="T70" fmla="*/ 3 w 6931"/>
                  <a:gd name="T71" fmla="*/ 1368 h 1368"/>
                  <a:gd name="T72" fmla="*/ 5157 w 6931"/>
                  <a:gd name="T73" fmla="*/ 610 h 1368"/>
                  <a:gd name="T74" fmla="*/ 5157 w 6931"/>
                  <a:gd name="T75" fmla="*/ 646 h 1368"/>
                  <a:gd name="T76" fmla="*/ 6928 w 6931"/>
                  <a:gd name="T77" fmla="*/ 509 h 1368"/>
                  <a:gd name="T78" fmla="*/ 6931 w 6931"/>
                  <a:gd name="T79" fmla="*/ 1008 h 1368"/>
                  <a:gd name="T80" fmla="*/ 3204 w 6931"/>
                  <a:gd name="T81" fmla="*/ 501 h 1368"/>
                  <a:gd name="T82" fmla="*/ 3204 w 6931"/>
                  <a:gd name="T83" fmla="*/ 565 h 1368"/>
                  <a:gd name="T84" fmla="*/ 3204 w 6931"/>
                  <a:gd name="T85" fmla="*/ 501 h 1368"/>
                  <a:gd name="T86" fmla="*/ 3940 w 6931"/>
                  <a:gd name="T87" fmla="*/ 454 h 1368"/>
                  <a:gd name="T88" fmla="*/ 3859 w 6931"/>
                  <a:gd name="T89" fmla="*/ 644 h 1368"/>
                  <a:gd name="T90" fmla="*/ 3859 w 6931"/>
                  <a:gd name="T91" fmla="*/ 641 h 1368"/>
                  <a:gd name="T92" fmla="*/ 3235 w 6931"/>
                  <a:gd name="T93" fmla="*/ 435 h 1368"/>
                  <a:gd name="T94" fmla="*/ 3233 w 6931"/>
                  <a:gd name="T95" fmla="*/ 473 h 1368"/>
                  <a:gd name="T96" fmla="*/ 3235 w 6931"/>
                  <a:gd name="T97" fmla="*/ 471 h 1368"/>
                  <a:gd name="T98" fmla="*/ 3947 w 6931"/>
                  <a:gd name="T99" fmla="*/ 390 h 1368"/>
                  <a:gd name="T100" fmla="*/ 3947 w 6931"/>
                  <a:gd name="T101" fmla="*/ 449 h 1368"/>
                  <a:gd name="T102" fmla="*/ 3947 w 6931"/>
                  <a:gd name="T103" fmla="*/ 447 h 1368"/>
                  <a:gd name="T104" fmla="*/ 1712 w 6931"/>
                  <a:gd name="T105" fmla="*/ 369 h 1368"/>
                  <a:gd name="T106" fmla="*/ 1715 w 6931"/>
                  <a:gd name="T107" fmla="*/ 1046 h 1368"/>
                  <a:gd name="T108" fmla="*/ 3954 w 6931"/>
                  <a:gd name="T109" fmla="*/ 329 h 1368"/>
                  <a:gd name="T110" fmla="*/ 3954 w 6931"/>
                  <a:gd name="T111" fmla="*/ 383 h 1368"/>
                  <a:gd name="T112" fmla="*/ 3956 w 6931"/>
                  <a:gd name="T113" fmla="*/ 329 h 1368"/>
                  <a:gd name="T114" fmla="*/ 4606 w 6931"/>
                  <a:gd name="T115" fmla="*/ 234 h 1368"/>
                  <a:gd name="T116" fmla="*/ 4609 w 6931"/>
                  <a:gd name="T117" fmla="*/ 232 h 1368"/>
                  <a:gd name="T118" fmla="*/ 4755 w 6931"/>
                  <a:gd name="T119" fmla="*/ 2 h 1368"/>
                  <a:gd name="T120" fmla="*/ 4758 w 6931"/>
                  <a:gd name="T121" fmla="*/ 123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68">
                    <a:moveTo>
                      <a:pt x="3616" y="1224"/>
                    </a:moveTo>
                    <a:lnTo>
                      <a:pt x="3613" y="1224"/>
                    </a:lnTo>
                    <a:lnTo>
                      <a:pt x="3613" y="1224"/>
                    </a:lnTo>
                    <a:lnTo>
                      <a:pt x="3613" y="1231"/>
                    </a:lnTo>
                    <a:lnTo>
                      <a:pt x="3616" y="1231"/>
                    </a:lnTo>
                    <a:lnTo>
                      <a:pt x="3616" y="1224"/>
                    </a:lnTo>
                    <a:close/>
                    <a:moveTo>
                      <a:pt x="5737" y="1209"/>
                    </a:moveTo>
                    <a:lnTo>
                      <a:pt x="5734" y="1209"/>
                    </a:lnTo>
                    <a:lnTo>
                      <a:pt x="5734" y="1212"/>
                    </a:lnTo>
                    <a:lnTo>
                      <a:pt x="5734" y="1240"/>
                    </a:lnTo>
                    <a:lnTo>
                      <a:pt x="5737" y="1240"/>
                    </a:lnTo>
                    <a:lnTo>
                      <a:pt x="5737" y="1209"/>
                    </a:lnTo>
                    <a:close/>
                    <a:moveTo>
                      <a:pt x="5760" y="1129"/>
                    </a:moveTo>
                    <a:lnTo>
                      <a:pt x="5760" y="1129"/>
                    </a:lnTo>
                    <a:lnTo>
                      <a:pt x="5760" y="1131"/>
                    </a:lnTo>
                    <a:lnTo>
                      <a:pt x="5760" y="1186"/>
                    </a:lnTo>
                    <a:lnTo>
                      <a:pt x="5760" y="1186"/>
                    </a:lnTo>
                    <a:lnTo>
                      <a:pt x="5760" y="1183"/>
                    </a:lnTo>
                    <a:lnTo>
                      <a:pt x="5760" y="1183"/>
                    </a:lnTo>
                    <a:lnTo>
                      <a:pt x="5760" y="1129"/>
                    </a:lnTo>
                    <a:close/>
                    <a:moveTo>
                      <a:pt x="2764" y="1063"/>
                    </a:moveTo>
                    <a:lnTo>
                      <a:pt x="2764" y="1063"/>
                    </a:lnTo>
                    <a:lnTo>
                      <a:pt x="2764" y="1065"/>
                    </a:lnTo>
                    <a:lnTo>
                      <a:pt x="2764" y="1155"/>
                    </a:lnTo>
                    <a:lnTo>
                      <a:pt x="2764" y="1155"/>
                    </a:lnTo>
                    <a:lnTo>
                      <a:pt x="2764" y="1063"/>
                    </a:lnTo>
                    <a:close/>
                    <a:moveTo>
                      <a:pt x="5836" y="1041"/>
                    </a:moveTo>
                    <a:lnTo>
                      <a:pt x="5834" y="1041"/>
                    </a:lnTo>
                    <a:lnTo>
                      <a:pt x="5834" y="1044"/>
                    </a:lnTo>
                    <a:lnTo>
                      <a:pt x="5834" y="1053"/>
                    </a:lnTo>
                    <a:lnTo>
                      <a:pt x="5836" y="1053"/>
                    </a:lnTo>
                    <a:lnTo>
                      <a:pt x="5836" y="1053"/>
                    </a:lnTo>
                    <a:lnTo>
                      <a:pt x="5836" y="1053"/>
                    </a:lnTo>
                    <a:lnTo>
                      <a:pt x="5836" y="1041"/>
                    </a:lnTo>
                    <a:close/>
                    <a:moveTo>
                      <a:pt x="2783" y="1013"/>
                    </a:moveTo>
                    <a:lnTo>
                      <a:pt x="2781" y="1013"/>
                    </a:lnTo>
                    <a:lnTo>
                      <a:pt x="2781" y="1015"/>
                    </a:lnTo>
                    <a:lnTo>
                      <a:pt x="2781" y="1046"/>
                    </a:lnTo>
                    <a:lnTo>
                      <a:pt x="2781" y="1046"/>
                    </a:lnTo>
                    <a:lnTo>
                      <a:pt x="2781" y="1044"/>
                    </a:lnTo>
                    <a:lnTo>
                      <a:pt x="2783" y="1044"/>
                    </a:lnTo>
                    <a:lnTo>
                      <a:pt x="2783" y="1013"/>
                    </a:lnTo>
                    <a:close/>
                    <a:moveTo>
                      <a:pt x="3675" y="994"/>
                    </a:moveTo>
                    <a:lnTo>
                      <a:pt x="3675" y="994"/>
                    </a:lnTo>
                    <a:lnTo>
                      <a:pt x="3675" y="996"/>
                    </a:lnTo>
                    <a:lnTo>
                      <a:pt x="3675" y="1162"/>
                    </a:lnTo>
                    <a:lnTo>
                      <a:pt x="3675" y="1162"/>
                    </a:lnTo>
                    <a:lnTo>
                      <a:pt x="3675" y="1162"/>
                    </a:lnTo>
                    <a:lnTo>
                      <a:pt x="3675" y="1162"/>
                    </a:lnTo>
                    <a:lnTo>
                      <a:pt x="3675" y="994"/>
                    </a:lnTo>
                    <a:close/>
                    <a:moveTo>
                      <a:pt x="5855" y="989"/>
                    </a:moveTo>
                    <a:lnTo>
                      <a:pt x="5852" y="989"/>
                    </a:lnTo>
                    <a:lnTo>
                      <a:pt x="5852" y="992"/>
                    </a:lnTo>
                    <a:lnTo>
                      <a:pt x="5852" y="1025"/>
                    </a:lnTo>
                    <a:lnTo>
                      <a:pt x="5852" y="1025"/>
                    </a:lnTo>
                    <a:lnTo>
                      <a:pt x="5852" y="1022"/>
                    </a:lnTo>
                    <a:lnTo>
                      <a:pt x="5855" y="1022"/>
                    </a:lnTo>
                    <a:lnTo>
                      <a:pt x="5855" y="989"/>
                    </a:lnTo>
                    <a:close/>
                    <a:moveTo>
                      <a:pt x="6245" y="937"/>
                    </a:moveTo>
                    <a:lnTo>
                      <a:pt x="6243" y="937"/>
                    </a:lnTo>
                    <a:lnTo>
                      <a:pt x="6243" y="937"/>
                    </a:lnTo>
                    <a:lnTo>
                      <a:pt x="6243" y="1112"/>
                    </a:lnTo>
                    <a:lnTo>
                      <a:pt x="6245" y="1112"/>
                    </a:lnTo>
                    <a:lnTo>
                      <a:pt x="6245" y="1110"/>
                    </a:lnTo>
                    <a:lnTo>
                      <a:pt x="6245" y="1110"/>
                    </a:lnTo>
                    <a:lnTo>
                      <a:pt x="6245" y="937"/>
                    </a:lnTo>
                    <a:close/>
                    <a:moveTo>
                      <a:pt x="6295" y="878"/>
                    </a:moveTo>
                    <a:lnTo>
                      <a:pt x="6292" y="878"/>
                    </a:lnTo>
                    <a:lnTo>
                      <a:pt x="6292" y="878"/>
                    </a:lnTo>
                    <a:lnTo>
                      <a:pt x="6292" y="880"/>
                    </a:lnTo>
                    <a:lnTo>
                      <a:pt x="6292" y="887"/>
                    </a:lnTo>
                    <a:lnTo>
                      <a:pt x="6292" y="887"/>
                    </a:lnTo>
                    <a:lnTo>
                      <a:pt x="6292" y="885"/>
                    </a:lnTo>
                    <a:lnTo>
                      <a:pt x="6295" y="885"/>
                    </a:lnTo>
                    <a:lnTo>
                      <a:pt x="6295" y="878"/>
                    </a:lnTo>
                    <a:close/>
                    <a:moveTo>
                      <a:pt x="6302" y="849"/>
                    </a:moveTo>
                    <a:lnTo>
                      <a:pt x="6302" y="849"/>
                    </a:lnTo>
                    <a:lnTo>
                      <a:pt x="6302" y="852"/>
                    </a:lnTo>
                    <a:lnTo>
                      <a:pt x="6302" y="871"/>
                    </a:lnTo>
                    <a:lnTo>
                      <a:pt x="6302" y="871"/>
                    </a:lnTo>
                    <a:lnTo>
                      <a:pt x="6302" y="868"/>
                    </a:lnTo>
                    <a:lnTo>
                      <a:pt x="6302" y="868"/>
                    </a:lnTo>
                    <a:lnTo>
                      <a:pt x="6302" y="849"/>
                    </a:lnTo>
                    <a:close/>
                    <a:moveTo>
                      <a:pt x="3006" y="762"/>
                    </a:moveTo>
                    <a:lnTo>
                      <a:pt x="3003" y="762"/>
                    </a:lnTo>
                    <a:lnTo>
                      <a:pt x="3003" y="764"/>
                    </a:lnTo>
                    <a:lnTo>
                      <a:pt x="3003" y="894"/>
                    </a:lnTo>
                    <a:lnTo>
                      <a:pt x="3006" y="894"/>
                    </a:lnTo>
                    <a:lnTo>
                      <a:pt x="3006" y="762"/>
                    </a:lnTo>
                    <a:close/>
                    <a:moveTo>
                      <a:pt x="5037" y="731"/>
                    </a:moveTo>
                    <a:lnTo>
                      <a:pt x="5034" y="731"/>
                    </a:lnTo>
                    <a:lnTo>
                      <a:pt x="5034" y="733"/>
                    </a:lnTo>
                    <a:lnTo>
                      <a:pt x="5034" y="887"/>
                    </a:lnTo>
                    <a:lnTo>
                      <a:pt x="5037" y="887"/>
                    </a:lnTo>
                    <a:lnTo>
                      <a:pt x="5037" y="731"/>
                    </a:lnTo>
                    <a:close/>
                    <a:moveTo>
                      <a:pt x="3043" y="658"/>
                    </a:moveTo>
                    <a:lnTo>
                      <a:pt x="3041" y="658"/>
                    </a:lnTo>
                    <a:lnTo>
                      <a:pt x="3041" y="660"/>
                    </a:lnTo>
                    <a:lnTo>
                      <a:pt x="3041" y="726"/>
                    </a:lnTo>
                    <a:lnTo>
                      <a:pt x="3043" y="726"/>
                    </a:lnTo>
                    <a:lnTo>
                      <a:pt x="3043" y="724"/>
                    </a:lnTo>
                    <a:lnTo>
                      <a:pt x="3043" y="724"/>
                    </a:lnTo>
                    <a:lnTo>
                      <a:pt x="3043" y="658"/>
                    </a:lnTo>
                    <a:close/>
                    <a:moveTo>
                      <a:pt x="3" y="617"/>
                    </a:moveTo>
                    <a:lnTo>
                      <a:pt x="0" y="617"/>
                    </a:lnTo>
                    <a:lnTo>
                      <a:pt x="0" y="620"/>
                    </a:lnTo>
                    <a:lnTo>
                      <a:pt x="0" y="1368"/>
                    </a:lnTo>
                    <a:lnTo>
                      <a:pt x="3" y="1368"/>
                    </a:lnTo>
                    <a:lnTo>
                      <a:pt x="3" y="617"/>
                    </a:lnTo>
                    <a:close/>
                    <a:moveTo>
                      <a:pt x="5157" y="610"/>
                    </a:moveTo>
                    <a:lnTo>
                      <a:pt x="5157" y="610"/>
                    </a:lnTo>
                    <a:lnTo>
                      <a:pt x="5157" y="610"/>
                    </a:lnTo>
                    <a:lnTo>
                      <a:pt x="5157" y="646"/>
                    </a:lnTo>
                    <a:lnTo>
                      <a:pt x="5157" y="646"/>
                    </a:lnTo>
                    <a:lnTo>
                      <a:pt x="5157" y="610"/>
                    </a:lnTo>
                    <a:close/>
                    <a:moveTo>
                      <a:pt x="6931" y="509"/>
                    </a:moveTo>
                    <a:lnTo>
                      <a:pt x="6928" y="509"/>
                    </a:lnTo>
                    <a:lnTo>
                      <a:pt x="6928" y="511"/>
                    </a:lnTo>
                    <a:lnTo>
                      <a:pt x="6928" y="1008"/>
                    </a:lnTo>
                    <a:lnTo>
                      <a:pt x="6931" y="1008"/>
                    </a:lnTo>
                    <a:lnTo>
                      <a:pt x="6931" y="509"/>
                    </a:lnTo>
                    <a:close/>
                    <a:moveTo>
                      <a:pt x="3204" y="501"/>
                    </a:moveTo>
                    <a:lnTo>
                      <a:pt x="3204" y="501"/>
                    </a:lnTo>
                    <a:lnTo>
                      <a:pt x="3204" y="504"/>
                    </a:lnTo>
                    <a:lnTo>
                      <a:pt x="3204" y="565"/>
                    </a:lnTo>
                    <a:lnTo>
                      <a:pt x="3204" y="565"/>
                    </a:lnTo>
                    <a:lnTo>
                      <a:pt x="3204" y="563"/>
                    </a:lnTo>
                    <a:lnTo>
                      <a:pt x="3204" y="563"/>
                    </a:lnTo>
                    <a:lnTo>
                      <a:pt x="3204" y="501"/>
                    </a:lnTo>
                    <a:close/>
                    <a:moveTo>
                      <a:pt x="3942" y="454"/>
                    </a:moveTo>
                    <a:lnTo>
                      <a:pt x="3940" y="454"/>
                    </a:lnTo>
                    <a:lnTo>
                      <a:pt x="3940" y="454"/>
                    </a:lnTo>
                    <a:lnTo>
                      <a:pt x="3940" y="456"/>
                    </a:lnTo>
                    <a:lnTo>
                      <a:pt x="3940" y="492"/>
                    </a:lnTo>
                    <a:lnTo>
                      <a:pt x="3859" y="644"/>
                    </a:lnTo>
                    <a:lnTo>
                      <a:pt x="3859" y="842"/>
                    </a:lnTo>
                    <a:lnTo>
                      <a:pt x="3859" y="842"/>
                    </a:lnTo>
                    <a:lnTo>
                      <a:pt x="3859" y="641"/>
                    </a:lnTo>
                    <a:lnTo>
                      <a:pt x="3942" y="490"/>
                    </a:lnTo>
                    <a:lnTo>
                      <a:pt x="3942" y="454"/>
                    </a:lnTo>
                    <a:close/>
                    <a:moveTo>
                      <a:pt x="3235" y="435"/>
                    </a:moveTo>
                    <a:lnTo>
                      <a:pt x="3233" y="435"/>
                    </a:lnTo>
                    <a:lnTo>
                      <a:pt x="3233" y="435"/>
                    </a:lnTo>
                    <a:lnTo>
                      <a:pt x="3233" y="473"/>
                    </a:lnTo>
                    <a:lnTo>
                      <a:pt x="3233" y="473"/>
                    </a:lnTo>
                    <a:lnTo>
                      <a:pt x="3233" y="471"/>
                    </a:lnTo>
                    <a:lnTo>
                      <a:pt x="3235" y="471"/>
                    </a:lnTo>
                    <a:lnTo>
                      <a:pt x="3235" y="435"/>
                    </a:lnTo>
                    <a:close/>
                    <a:moveTo>
                      <a:pt x="3947" y="390"/>
                    </a:moveTo>
                    <a:lnTo>
                      <a:pt x="3947" y="390"/>
                    </a:lnTo>
                    <a:lnTo>
                      <a:pt x="3947" y="390"/>
                    </a:lnTo>
                    <a:lnTo>
                      <a:pt x="3947" y="393"/>
                    </a:lnTo>
                    <a:lnTo>
                      <a:pt x="3947" y="449"/>
                    </a:lnTo>
                    <a:lnTo>
                      <a:pt x="3947" y="449"/>
                    </a:lnTo>
                    <a:lnTo>
                      <a:pt x="3947" y="447"/>
                    </a:lnTo>
                    <a:lnTo>
                      <a:pt x="3947" y="447"/>
                    </a:lnTo>
                    <a:lnTo>
                      <a:pt x="3947" y="390"/>
                    </a:lnTo>
                    <a:close/>
                    <a:moveTo>
                      <a:pt x="1715" y="369"/>
                    </a:moveTo>
                    <a:lnTo>
                      <a:pt x="1712" y="369"/>
                    </a:lnTo>
                    <a:lnTo>
                      <a:pt x="1712" y="371"/>
                    </a:lnTo>
                    <a:lnTo>
                      <a:pt x="1712" y="1046"/>
                    </a:lnTo>
                    <a:lnTo>
                      <a:pt x="1715" y="1046"/>
                    </a:lnTo>
                    <a:lnTo>
                      <a:pt x="1715" y="369"/>
                    </a:lnTo>
                    <a:close/>
                    <a:moveTo>
                      <a:pt x="3956" y="329"/>
                    </a:moveTo>
                    <a:lnTo>
                      <a:pt x="3954" y="329"/>
                    </a:lnTo>
                    <a:lnTo>
                      <a:pt x="3954" y="329"/>
                    </a:lnTo>
                    <a:lnTo>
                      <a:pt x="3954" y="383"/>
                    </a:lnTo>
                    <a:lnTo>
                      <a:pt x="3954" y="383"/>
                    </a:lnTo>
                    <a:lnTo>
                      <a:pt x="3954" y="383"/>
                    </a:lnTo>
                    <a:lnTo>
                      <a:pt x="3956" y="383"/>
                    </a:lnTo>
                    <a:lnTo>
                      <a:pt x="3956" y="329"/>
                    </a:lnTo>
                    <a:close/>
                    <a:moveTo>
                      <a:pt x="4609" y="232"/>
                    </a:moveTo>
                    <a:lnTo>
                      <a:pt x="4606" y="232"/>
                    </a:lnTo>
                    <a:lnTo>
                      <a:pt x="4606" y="234"/>
                    </a:lnTo>
                    <a:lnTo>
                      <a:pt x="4552" y="435"/>
                    </a:lnTo>
                    <a:lnTo>
                      <a:pt x="4554" y="435"/>
                    </a:lnTo>
                    <a:lnTo>
                      <a:pt x="4609" y="232"/>
                    </a:lnTo>
                    <a:close/>
                    <a:moveTo>
                      <a:pt x="4758" y="0"/>
                    </a:moveTo>
                    <a:lnTo>
                      <a:pt x="4755" y="0"/>
                    </a:lnTo>
                    <a:lnTo>
                      <a:pt x="4755" y="2"/>
                    </a:lnTo>
                    <a:lnTo>
                      <a:pt x="4755" y="125"/>
                    </a:lnTo>
                    <a:lnTo>
                      <a:pt x="4758" y="125"/>
                    </a:lnTo>
                    <a:lnTo>
                      <a:pt x="4758" y="123"/>
                    </a:lnTo>
                    <a:lnTo>
                      <a:pt x="4758" y="123"/>
                    </a:lnTo>
                    <a:lnTo>
                      <a:pt x="4758" y="0"/>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8" name="Freeform 53"/>
              <p:cNvSpPr>
                <a:spLocks noEditPoints="1"/>
              </p:cNvSpPr>
              <p:nvPr/>
            </p:nvSpPr>
            <p:spPr bwMode="auto">
              <a:xfrm>
                <a:off x="56" y="1746"/>
                <a:ext cx="6931" cy="1368"/>
              </a:xfrm>
              <a:custGeom>
                <a:avLst/>
                <a:gdLst>
                  <a:gd name="T0" fmla="*/ 3613 w 6931"/>
                  <a:gd name="T1" fmla="*/ 1224 h 1368"/>
                  <a:gd name="T2" fmla="*/ 3616 w 6931"/>
                  <a:gd name="T3" fmla="*/ 1224 h 1368"/>
                  <a:gd name="T4" fmla="*/ 5734 w 6931"/>
                  <a:gd name="T5" fmla="*/ 1212 h 1368"/>
                  <a:gd name="T6" fmla="*/ 5737 w 6931"/>
                  <a:gd name="T7" fmla="*/ 1209 h 1368"/>
                  <a:gd name="T8" fmla="*/ 5760 w 6931"/>
                  <a:gd name="T9" fmla="*/ 1131 h 1368"/>
                  <a:gd name="T10" fmla="*/ 5760 w 6931"/>
                  <a:gd name="T11" fmla="*/ 1183 h 1368"/>
                  <a:gd name="T12" fmla="*/ 2764 w 6931"/>
                  <a:gd name="T13" fmla="*/ 1063 h 1368"/>
                  <a:gd name="T14" fmla="*/ 2764 w 6931"/>
                  <a:gd name="T15" fmla="*/ 1155 h 1368"/>
                  <a:gd name="T16" fmla="*/ 5836 w 6931"/>
                  <a:gd name="T17" fmla="*/ 1041 h 1368"/>
                  <a:gd name="T18" fmla="*/ 5834 w 6931"/>
                  <a:gd name="T19" fmla="*/ 1053 h 1368"/>
                  <a:gd name="T20" fmla="*/ 5836 w 6931"/>
                  <a:gd name="T21" fmla="*/ 1053 h 1368"/>
                  <a:gd name="T22" fmla="*/ 2781 w 6931"/>
                  <a:gd name="T23" fmla="*/ 1013 h 1368"/>
                  <a:gd name="T24" fmla="*/ 2781 w 6931"/>
                  <a:gd name="T25" fmla="*/ 1046 h 1368"/>
                  <a:gd name="T26" fmla="*/ 2783 w 6931"/>
                  <a:gd name="T27" fmla="*/ 1013 h 1368"/>
                  <a:gd name="T28" fmla="*/ 3675 w 6931"/>
                  <a:gd name="T29" fmla="*/ 996 h 1368"/>
                  <a:gd name="T30" fmla="*/ 3675 w 6931"/>
                  <a:gd name="T31" fmla="*/ 1162 h 1368"/>
                  <a:gd name="T32" fmla="*/ 5855 w 6931"/>
                  <a:gd name="T33" fmla="*/ 989 h 1368"/>
                  <a:gd name="T34" fmla="*/ 5852 w 6931"/>
                  <a:gd name="T35" fmla="*/ 1025 h 1368"/>
                  <a:gd name="T36" fmla="*/ 5855 w 6931"/>
                  <a:gd name="T37" fmla="*/ 1022 h 1368"/>
                  <a:gd name="T38" fmla="*/ 6243 w 6931"/>
                  <a:gd name="T39" fmla="*/ 937 h 1368"/>
                  <a:gd name="T40" fmla="*/ 6245 w 6931"/>
                  <a:gd name="T41" fmla="*/ 1112 h 1368"/>
                  <a:gd name="T42" fmla="*/ 6245 w 6931"/>
                  <a:gd name="T43" fmla="*/ 937 h 1368"/>
                  <a:gd name="T44" fmla="*/ 6292 w 6931"/>
                  <a:gd name="T45" fmla="*/ 878 h 1368"/>
                  <a:gd name="T46" fmla="*/ 6292 w 6931"/>
                  <a:gd name="T47" fmla="*/ 887 h 1368"/>
                  <a:gd name="T48" fmla="*/ 6295 w 6931"/>
                  <a:gd name="T49" fmla="*/ 878 h 1368"/>
                  <a:gd name="T50" fmla="*/ 6302 w 6931"/>
                  <a:gd name="T51" fmla="*/ 852 h 1368"/>
                  <a:gd name="T52" fmla="*/ 6302 w 6931"/>
                  <a:gd name="T53" fmla="*/ 868 h 1368"/>
                  <a:gd name="T54" fmla="*/ 3006 w 6931"/>
                  <a:gd name="T55" fmla="*/ 762 h 1368"/>
                  <a:gd name="T56" fmla="*/ 3003 w 6931"/>
                  <a:gd name="T57" fmla="*/ 894 h 1368"/>
                  <a:gd name="T58" fmla="*/ 5037 w 6931"/>
                  <a:gd name="T59" fmla="*/ 731 h 1368"/>
                  <a:gd name="T60" fmla="*/ 5034 w 6931"/>
                  <a:gd name="T61" fmla="*/ 887 h 1368"/>
                  <a:gd name="T62" fmla="*/ 3043 w 6931"/>
                  <a:gd name="T63" fmla="*/ 658 h 1368"/>
                  <a:gd name="T64" fmla="*/ 3041 w 6931"/>
                  <a:gd name="T65" fmla="*/ 726 h 1368"/>
                  <a:gd name="T66" fmla="*/ 3043 w 6931"/>
                  <a:gd name="T67" fmla="*/ 724 h 1368"/>
                  <a:gd name="T68" fmla="*/ 0 w 6931"/>
                  <a:gd name="T69" fmla="*/ 617 h 1368"/>
                  <a:gd name="T70" fmla="*/ 3 w 6931"/>
                  <a:gd name="T71" fmla="*/ 1368 h 1368"/>
                  <a:gd name="T72" fmla="*/ 5157 w 6931"/>
                  <a:gd name="T73" fmla="*/ 610 h 1368"/>
                  <a:gd name="T74" fmla="*/ 5157 w 6931"/>
                  <a:gd name="T75" fmla="*/ 646 h 1368"/>
                  <a:gd name="T76" fmla="*/ 6928 w 6931"/>
                  <a:gd name="T77" fmla="*/ 509 h 1368"/>
                  <a:gd name="T78" fmla="*/ 6931 w 6931"/>
                  <a:gd name="T79" fmla="*/ 1008 h 1368"/>
                  <a:gd name="T80" fmla="*/ 3204 w 6931"/>
                  <a:gd name="T81" fmla="*/ 501 h 1368"/>
                  <a:gd name="T82" fmla="*/ 3204 w 6931"/>
                  <a:gd name="T83" fmla="*/ 565 h 1368"/>
                  <a:gd name="T84" fmla="*/ 3204 w 6931"/>
                  <a:gd name="T85" fmla="*/ 501 h 1368"/>
                  <a:gd name="T86" fmla="*/ 3940 w 6931"/>
                  <a:gd name="T87" fmla="*/ 454 h 1368"/>
                  <a:gd name="T88" fmla="*/ 3859 w 6931"/>
                  <a:gd name="T89" fmla="*/ 644 h 1368"/>
                  <a:gd name="T90" fmla="*/ 3859 w 6931"/>
                  <a:gd name="T91" fmla="*/ 641 h 1368"/>
                  <a:gd name="T92" fmla="*/ 3235 w 6931"/>
                  <a:gd name="T93" fmla="*/ 435 h 1368"/>
                  <a:gd name="T94" fmla="*/ 3233 w 6931"/>
                  <a:gd name="T95" fmla="*/ 473 h 1368"/>
                  <a:gd name="T96" fmla="*/ 3235 w 6931"/>
                  <a:gd name="T97" fmla="*/ 471 h 1368"/>
                  <a:gd name="T98" fmla="*/ 3947 w 6931"/>
                  <a:gd name="T99" fmla="*/ 390 h 1368"/>
                  <a:gd name="T100" fmla="*/ 3947 w 6931"/>
                  <a:gd name="T101" fmla="*/ 449 h 1368"/>
                  <a:gd name="T102" fmla="*/ 3947 w 6931"/>
                  <a:gd name="T103" fmla="*/ 447 h 1368"/>
                  <a:gd name="T104" fmla="*/ 1712 w 6931"/>
                  <a:gd name="T105" fmla="*/ 369 h 1368"/>
                  <a:gd name="T106" fmla="*/ 1715 w 6931"/>
                  <a:gd name="T107" fmla="*/ 1046 h 1368"/>
                  <a:gd name="T108" fmla="*/ 3954 w 6931"/>
                  <a:gd name="T109" fmla="*/ 329 h 1368"/>
                  <a:gd name="T110" fmla="*/ 3954 w 6931"/>
                  <a:gd name="T111" fmla="*/ 383 h 1368"/>
                  <a:gd name="T112" fmla="*/ 3956 w 6931"/>
                  <a:gd name="T113" fmla="*/ 329 h 1368"/>
                  <a:gd name="T114" fmla="*/ 4606 w 6931"/>
                  <a:gd name="T115" fmla="*/ 234 h 1368"/>
                  <a:gd name="T116" fmla="*/ 4609 w 6931"/>
                  <a:gd name="T117" fmla="*/ 232 h 1368"/>
                  <a:gd name="T118" fmla="*/ 4755 w 6931"/>
                  <a:gd name="T119" fmla="*/ 2 h 1368"/>
                  <a:gd name="T120" fmla="*/ 4758 w 6931"/>
                  <a:gd name="T121" fmla="*/ 123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68">
                    <a:moveTo>
                      <a:pt x="3616" y="1224"/>
                    </a:moveTo>
                    <a:lnTo>
                      <a:pt x="3613" y="1224"/>
                    </a:lnTo>
                    <a:lnTo>
                      <a:pt x="3613" y="1224"/>
                    </a:lnTo>
                    <a:lnTo>
                      <a:pt x="3613" y="1231"/>
                    </a:lnTo>
                    <a:lnTo>
                      <a:pt x="3616" y="1231"/>
                    </a:lnTo>
                    <a:lnTo>
                      <a:pt x="3616" y="1224"/>
                    </a:lnTo>
                    <a:moveTo>
                      <a:pt x="5737" y="1209"/>
                    </a:moveTo>
                    <a:lnTo>
                      <a:pt x="5734" y="1209"/>
                    </a:lnTo>
                    <a:lnTo>
                      <a:pt x="5734" y="1212"/>
                    </a:lnTo>
                    <a:lnTo>
                      <a:pt x="5734" y="1240"/>
                    </a:lnTo>
                    <a:lnTo>
                      <a:pt x="5737" y="1240"/>
                    </a:lnTo>
                    <a:lnTo>
                      <a:pt x="5737" y="1209"/>
                    </a:lnTo>
                    <a:moveTo>
                      <a:pt x="5760" y="1129"/>
                    </a:moveTo>
                    <a:lnTo>
                      <a:pt x="5760" y="1129"/>
                    </a:lnTo>
                    <a:lnTo>
                      <a:pt x="5760" y="1131"/>
                    </a:lnTo>
                    <a:lnTo>
                      <a:pt x="5760" y="1186"/>
                    </a:lnTo>
                    <a:lnTo>
                      <a:pt x="5760" y="1186"/>
                    </a:lnTo>
                    <a:lnTo>
                      <a:pt x="5760" y="1183"/>
                    </a:lnTo>
                    <a:lnTo>
                      <a:pt x="5760" y="1183"/>
                    </a:lnTo>
                    <a:lnTo>
                      <a:pt x="5760" y="1129"/>
                    </a:lnTo>
                    <a:moveTo>
                      <a:pt x="2764" y="1063"/>
                    </a:moveTo>
                    <a:lnTo>
                      <a:pt x="2764" y="1063"/>
                    </a:lnTo>
                    <a:lnTo>
                      <a:pt x="2764" y="1065"/>
                    </a:lnTo>
                    <a:lnTo>
                      <a:pt x="2764" y="1155"/>
                    </a:lnTo>
                    <a:lnTo>
                      <a:pt x="2764" y="1155"/>
                    </a:lnTo>
                    <a:lnTo>
                      <a:pt x="2764" y="1063"/>
                    </a:lnTo>
                    <a:moveTo>
                      <a:pt x="5836" y="1041"/>
                    </a:moveTo>
                    <a:lnTo>
                      <a:pt x="5834" y="1041"/>
                    </a:lnTo>
                    <a:lnTo>
                      <a:pt x="5834" y="1044"/>
                    </a:lnTo>
                    <a:lnTo>
                      <a:pt x="5834" y="1053"/>
                    </a:lnTo>
                    <a:lnTo>
                      <a:pt x="5836" y="1053"/>
                    </a:lnTo>
                    <a:lnTo>
                      <a:pt x="5836" y="1053"/>
                    </a:lnTo>
                    <a:lnTo>
                      <a:pt x="5836" y="1053"/>
                    </a:lnTo>
                    <a:lnTo>
                      <a:pt x="5836" y="1041"/>
                    </a:lnTo>
                    <a:moveTo>
                      <a:pt x="2783" y="1013"/>
                    </a:moveTo>
                    <a:lnTo>
                      <a:pt x="2781" y="1013"/>
                    </a:lnTo>
                    <a:lnTo>
                      <a:pt x="2781" y="1015"/>
                    </a:lnTo>
                    <a:lnTo>
                      <a:pt x="2781" y="1046"/>
                    </a:lnTo>
                    <a:lnTo>
                      <a:pt x="2781" y="1046"/>
                    </a:lnTo>
                    <a:lnTo>
                      <a:pt x="2781" y="1044"/>
                    </a:lnTo>
                    <a:lnTo>
                      <a:pt x="2783" y="1044"/>
                    </a:lnTo>
                    <a:lnTo>
                      <a:pt x="2783" y="1013"/>
                    </a:lnTo>
                    <a:moveTo>
                      <a:pt x="3675" y="994"/>
                    </a:moveTo>
                    <a:lnTo>
                      <a:pt x="3675" y="994"/>
                    </a:lnTo>
                    <a:lnTo>
                      <a:pt x="3675" y="996"/>
                    </a:lnTo>
                    <a:lnTo>
                      <a:pt x="3675" y="1162"/>
                    </a:lnTo>
                    <a:lnTo>
                      <a:pt x="3675" y="1162"/>
                    </a:lnTo>
                    <a:lnTo>
                      <a:pt x="3675" y="1162"/>
                    </a:lnTo>
                    <a:lnTo>
                      <a:pt x="3675" y="1162"/>
                    </a:lnTo>
                    <a:lnTo>
                      <a:pt x="3675" y="994"/>
                    </a:lnTo>
                    <a:moveTo>
                      <a:pt x="5855" y="989"/>
                    </a:moveTo>
                    <a:lnTo>
                      <a:pt x="5852" y="989"/>
                    </a:lnTo>
                    <a:lnTo>
                      <a:pt x="5852" y="992"/>
                    </a:lnTo>
                    <a:lnTo>
                      <a:pt x="5852" y="1025"/>
                    </a:lnTo>
                    <a:lnTo>
                      <a:pt x="5852" y="1025"/>
                    </a:lnTo>
                    <a:lnTo>
                      <a:pt x="5852" y="1022"/>
                    </a:lnTo>
                    <a:lnTo>
                      <a:pt x="5855" y="1022"/>
                    </a:lnTo>
                    <a:lnTo>
                      <a:pt x="5855" y="989"/>
                    </a:lnTo>
                    <a:moveTo>
                      <a:pt x="6245" y="937"/>
                    </a:moveTo>
                    <a:lnTo>
                      <a:pt x="6243" y="937"/>
                    </a:lnTo>
                    <a:lnTo>
                      <a:pt x="6243" y="937"/>
                    </a:lnTo>
                    <a:lnTo>
                      <a:pt x="6243" y="1112"/>
                    </a:lnTo>
                    <a:lnTo>
                      <a:pt x="6245" y="1112"/>
                    </a:lnTo>
                    <a:lnTo>
                      <a:pt x="6245" y="1110"/>
                    </a:lnTo>
                    <a:lnTo>
                      <a:pt x="6245" y="1110"/>
                    </a:lnTo>
                    <a:lnTo>
                      <a:pt x="6245" y="937"/>
                    </a:lnTo>
                    <a:moveTo>
                      <a:pt x="6295" y="878"/>
                    </a:moveTo>
                    <a:lnTo>
                      <a:pt x="6292" y="878"/>
                    </a:lnTo>
                    <a:lnTo>
                      <a:pt x="6292" y="878"/>
                    </a:lnTo>
                    <a:lnTo>
                      <a:pt x="6292" y="880"/>
                    </a:lnTo>
                    <a:lnTo>
                      <a:pt x="6292" y="887"/>
                    </a:lnTo>
                    <a:lnTo>
                      <a:pt x="6292" y="887"/>
                    </a:lnTo>
                    <a:lnTo>
                      <a:pt x="6292" y="885"/>
                    </a:lnTo>
                    <a:lnTo>
                      <a:pt x="6295" y="885"/>
                    </a:lnTo>
                    <a:lnTo>
                      <a:pt x="6295" y="878"/>
                    </a:lnTo>
                    <a:moveTo>
                      <a:pt x="6302" y="849"/>
                    </a:moveTo>
                    <a:lnTo>
                      <a:pt x="6302" y="849"/>
                    </a:lnTo>
                    <a:lnTo>
                      <a:pt x="6302" y="852"/>
                    </a:lnTo>
                    <a:lnTo>
                      <a:pt x="6302" y="871"/>
                    </a:lnTo>
                    <a:lnTo>
                      <a:pt x="6302" y="871"/>
                    </a:lnTo>
                    <a:lnTo>
                      <a:pt x="6302" y="868"/>
                    </a:lnTo>
                    <a:lnTo>
                      <a:pt x="6302" y="868"/>
                    </a:lnTo>
                    <a:lnTo>
                      <a:pt x="6302" y="849"/>
                    </a:lnTo>
                    <a:moveTo>
                      <a:pt x="3006" y="762"/>
                    </a:moveTo>
                    <a:lnTo>
                      <a:pt x="3003" y="762"/>
                    </a:lnTo>
                    <a:lnTo>
                      <a:pt x="3003" y="764"/>
                    </a:lnTo>
                    <a:lnTo>
                      <a:pt x="3003" y="894"/>
                    </a:lnTo>
                    <a:lnTo>
                      <a:pt x="3006" y="894"/>
                    </a:lnTo>
                    <a:lnTo>
                      <a:pt x="3006" y="762"/>
                    </a:lnTo>
                    <a:moveTo>
                      <a:pt x="5037" y="731"/>
                    </a:moveTo>
                    <a:lnTo>
                      <a:pt x="5034" y="731"/>
                    </a:lnTo>
                    <a:lnTo>
                      <a:pt x="5034" y="733"/>
                    </a:lnTo>
                    <a:lnTo>
                      <a:pt x="5034" y="887"/>
                    </a:lnTo>
                    <a:lnTo>
                      <a:pt x="5037" y="887"/>
                    </a:lnTo>
                    <a:lnTo>
                      <a:pt x="5037" y="731"/>
                    </a:lnTo>
                    <a:moveTo>
                      <a:pt x="3043" y="658"/>
                    </a:moveTo>
                    <a:lnTo>
                      <a:pt x="3041" y="658"/>
                    </a:lnTo>
                    <a:lnTo>
                      <a:pt x="3041" y="660"/>
                    </a:lnTo>
                    <a:lnTo>
                      <a:pt x="3041" y="726"/>
                    </a:lnTo>
                    <a:lnTo>
                      <a:pt x="3043" y="726"/>
                    </a:lnTo>
                    <a:lnTo>
                      <a:pt x="3043" y="724"/>
                    </a:lnTo>
                    <a:lnTo>
                      <a:pt x="3043" y="724"/>
                    </a:lnTo>
                    <a:lnTo>
                      <a:pt x="3043" y="658"/>
                    </a:lnTo>
                    <a:moveTo>
                      <a:pt x="3" y="617"/>
                    </a:moveTo>
                    <a:lnTo>
                      <a:pt x="0" y="617"/>
                    </a:lnTo>
                    <a:lnTo>
                      <a:pt x="0" y="620"/>
                    </a:lnTo>
                    <a:lnTo>
                      <a:pt x="0" y="1368"/>
                    </a:lnTo>
                    <a:lnTo>
                      <a:pt x="3" y="1368"/>
                    </a:lnTo>
                    <a:lnTo>
                      <a:pt x="3" y="617"/>
                    </a:lnTo>
                    <a:moveTo>
                      <a:pt x="5157" y="610"/>
                    </a:moveTo>
                    <a:lnTo>
                      <a:pt x="5157" y="610"/>
                    </a:lnTo>
                    <a:lnTo>
                      <a:pt x="5157" y="610"/>
                    </a:lnTo>
                    <a:lnTo>
                      <a:pt x="5157" y="646"/>
                    </a:lnTo>
                    <a:lnTo>
                      <a:pt x="5157" y="646"/>
                    </a:lnTo>
                    <a:lnTo>
                      <a:pt x="5157" y="610"/>
                    </a:lnTo>
                    <a:moveTo>
                      <a:pt x="6931" y="509"/>
                    </a:moveTo>
                    <a:lnTo>
                      <a:pt x="6928" y="509"/>
                    </a:lnTo>
                    <a:lnTo>
                      <a:pt x="6928" y="511"/>
                    </a:lnTo>
                    <a:lnTo>
                      <a:pt x="6928" y="1008"/>
                    </a:lnTo>
                    <a:lnTo>
                      <a:pt x="6931" y="1008"/>
                    </a:lnTo>
                    <a:lnTo>
                      <a:pt x="6931" y="509"/>
                    </a:lnTo>
                    <a:moveTo>
                      <a:pt x="3204" y="501"/>
                    </a:moveTo>
                    <a:lnTo>
                      <a:pt x="3204" y="501"/>
                    </a:lnTo>
                    <a:lnTo>
                      <a:pt x="3204" y="504"/>
                    </a:lnTo>
                    <a:lnTo>
                      <a:pt x="3204" y="565"/>
                    </a:lnTo>
                    <a:lnTo>
                      <a:pt x="3204" y="565"/>
                    </a:lnTo>
                    <a:lnTo>
                      <a:pt x="3204" y="563"/>
                    </a:lnTo>
                    <a:lnTo>
                      <a:pt x="3204" y="563"/>
                    </a:lnTo>
                    <a:lnTo>
                      <a:pt x="3204" y="501"/>
                    </a:lnTo>
                    <a:moveTo>
                      <a:pt x="3942" y="454"/>
                    </a:moveTo>
                    <a:lnTo>
                      <a:pt x="3940" y="454"/>
                    </a:lnTo>
                    <a:lnTo>
                      <a:pt x="3940" y="454"/>
                    </a:lnTo>
                    <a:lnTo>
                      <a:pt x="3940" y="456"/>
                    </a:lnTo>
                    <a:lnTo>
                      <a:pt x="3940" y="492"/>
                    </a:lnTo>
                    <a:lnTo>
                      <a:pt x="3859" y="644"/>
                    </a:lnTo>
                    <a:lnTo>
                      <a:pt x="3859" y="842"/>
                    </a:lnTo>
                    <a:lnTo>
                      <a:pt x="3859" y="842"/>
                    </a:lnTo>
                    <a:lnTo>
                      <a:pt x="3859" y="641"/>
                    </a:lnTo>
                    <a:lnTo>
                      <a:pt x="3942" y="490"/>
                    </a:lnTo>
                    <a:lnTo>
                      <a:pt x="3942" y="454"/>
                    </a:lnTo>
                    <a:moveTo>
                      <a:pt x="3235" y="435"/>
                    </a:moveTo>
                    <a:lnTo>
                      <a:pt x="3233" y="435"/>
                    </a:lnTo>
                    <a:lnTo>
                      <a:pt x="3233" y="435"/>
                    </a:lnTo>
                    <a:lnTo>
                      <a:pt x="3233" y="473"/>
                    </a:lnTo>
                    <a:lnTo>
                      <a:pt x="3233" y="473"/>
                    </a:lnTo>
                    <a:lnTo>
                      <a:pt x="3233" y="471"/>
                    </a:lnTo>
                    <a:lnTo>
                      <a:pt x="3235" y="471"/>
                    </a:lnTo>
                    <a:lnTo>
                      <a:pt x="3235" y="435"/>
                    </a:lnTo>
                    <a:moveTo>
                      <a:pt x="3947" y="390"/>
                    </a:moveTo>
                    <a:lnTo>
                      <a:pt x="3947" y="390"/>
                    </a:lnTo>
                    <a:lnTo>
                      <a:pt x="3947" y="390"/>
                    </a:lnTo>
                    <a:lnTo>
                      <a:pt x="3947" y="393"/>
                    </a:lnTo>
                    <a:lnTo>
                      <a:pt x="3947" y="449"/>
                    </a:lnTo>
                    <a:lnTo>
                      <a:pt x="3947" y="449"/>
                    </a:lnTo>
                    <a:lnTo>
                      <a:pt x="3947" y="447"/>
                    </a:lnTo>
                    <a:lnTo>
                      <a:pt x="3947" y="447"/>
                    </a:lnTo>
                    <a:lnTo>
                      <a:pt x="3947" y="390"/>
                    </a:lnTo>
                    <a:moveTo>
                      <a:pt x="1715" y="369"/>
                    </a:moveTo>
                    <a:lnTo>
                      <a:pt x="1712" y="369"/>
                    </a:lnTo>
                    <a:lnTo>
                      <a:pt x="1712" y="371"/>
                    </a:lnTo>
                    <a:lnTo>
                      <a:pt x="1712" y="1046"/>
                    </a:lnTo>
                    <a:lnTo>
                      <a:pt x="1715" y="1046"/>
                    </a:lnTo>
                    <a:lnTo>
                      <a:pt x="1715" y="369"/>
                    </a:lnTo>
                    <a:moveTo>
                      <a:pt x="3956" y="329"/>
                    </a:moveTo>
                    <a:lnTo>
                      <a:pt x="3954" y="329"/>
                    </a:lnTo>
                    <a:lnTo>
                      <a:pt x="3954" y="329"/>
                    </a:lnTo>
                    <a:lnTo>
                      <a:pt x="3954" y="383"/>
                    </a:lnTo>
                    <a:lnTo>
                      <a:pt x="3954" y="383"/>
                    </a:lnTo>
                    <a:lnTo>
                      <a:pt x="3954" y="383"/>
                    </a:lnTo>
                    <a:lnTo>
                      <a:pt x="3956" y="383"/>
                    </a:lnTo>
                    <a:lnTo>
                      <a:pt x="3956" y="329"/>
                    </a:lnTo>
                    <a:moveTo>
                      <a:pt x="4609" y="232"/>
                    </a:moveTo>
                    <a:lnTo>
                      <a:pt x="4606" y="232"/>
                    </a:lnTo>
                    <a:lnTo>
                      <a:pt x="4606" y="234"/>
                    </a:lnTo>
                    <a:lnTo>
                      <a:pt x="4552" y="435"/>
                    </a:lnTo>
                    <a:lnTo>
                      <a:pt x="4554" y="435"/>
                    </a:lnTo>
                    <a:lnTo>
                      <a:pt x="4609" y="232"/>
                    </a:lnTo>
                    <a:moveTo>
                      <a:pt x="4758" y="0"/>
                    </a:moveTo>
                    <a:lnTo>
                      <a:pt x="4755" y="0"/>
                    </a:lnTo>
                    <a:lnTo>
                      <a:pt x="4755" y="2"/>
                    </a:lnTo>
                    <a:lnTo>
                      <a:pt x="4755" y="125"/>
                    </a:lnTo>
                    <a:lnTo>
                      <a:pt x="4758" y="125"/>
                    </a:lnTo>
                    <a:lnTo>
                      <a:pt x="4758" y="123"/>
                    </a:lnTo>
                    <a:lnTo>
                      <a:pt x="4758" y="123"/>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39" name="Freeform 54"/>
              <p:cNvSpPr>
                <a:spLocks noEditPoints="1"/>
              </p:cNvSpPr>
              <p:nvPr/>
            </p:nvSpPr>
            <p:spPr bwMode="auto">
              <a:xfrm>
                <a:off x="59" y="1746"/>
                <a:ext cx="6930" cy="1368"/>
              </a:xfrm>
              <a:custGeom>
                <a:avLst/>
                <a:gdLst>
                  <a:gd name="T0" fmla="*/ 3613 w 6930"/>
                  <a:gd name="T1" fmla="*/ 1224 h 1368"/>
                  <a:gd name="T2" fmla="*/ 3615 w 6930"/>
                  <a:gd name="T3" fmla="*/ 1221 h 1368"/>
                  <a:gd name="T4" fmla="*/ 5734 w 6930"/>
                  <a:gd name="T5" fmla="*/ 1209 h 1368"/>
                  <a:gd name="T6" fmla="*/ 5736 w 6930"/>
                  <a:gd name="T7" fmla="*/ 1207 h 1368"/>
                  <a:gd name="T8" fmla="*/ 5757 w 6930"/>
                  <a:gd name="T9" fmla="*/ 1129 h 1368"/>
                  <a:gd name="T10" fmla="*/ 5760 w 6930"/>
                  <a:gd name="T11" fmla="*/ 1181 h 1368"/>
                  <a:gd name="T12" fmla="*/ 2764 w 6930"/>
                  <a:gd name="T13" fmla="*/ 1060 h 1368"/>
                  <a:gd name="T14" fmla="*/ 2761 w 6930"/>
                  <a:gd name="T15" fmla="*/ 1155 h 1368"/>
                  <a:gd name="T16" fmla="*/ 5835 w 6930"/>
                  <a:gd name="T17" fmla="*/ 1039 h 1368"/>
                  <a:gd name="T18" fmla="*/ 5833 w 6930"/>
                  <a:gd name="T19" fmla="*/ 1053 h 1368"/>
                  <a:gd name="T20" fmla="*/ 5835 w 6930"/>
                  <a:gd name="T21" fmla="*/ 1051 h 1368"/>
                  <a:gd name="T22" fmla="*/ 2780 w 6930"/>
                  <a:gd name="T23" fmla="*/ 1010 h 1368"/>
                  <a:gd name="T24" fmla="*/ 2780 w 6930"/>
                  <a:gd name="T25" fmla="*/ 1044 h 1368"/>
                  <a:gd name="T26" fmla="*/ 2780 w 6930"/>
                  <a:gd name="T27" fmla="*/ 1010 h 1368"/>
                  <a:gd name="T28" fmla="*/ 3672 w 6930"/>
                  <a:gd name="T29" fmla="*/ 994 h 1368"/>
                  <a:gd name="T30" fmla="*/ 3674 w 6930"/>
                  <a:gd name="T31" fmla="*/ 1160 h 1368"/>
                  <a:gd name="T32" fmla="*/ 5854 w 6930"/>
                  <a:gd name="T33" fmla="*/ 989 h 1368"/>
                  <a:gd name="T34" fmla="*/ 5852 w 6930"/>
                  <a:gd name="T35" fmla="*/ 1022 h 1368"/>
                  <a:gd name="T36" fmla="*/ 5854 w 6930"/>
                  <a:gd name="T37" fmla="*/ 1022 h 1368"/>
                  <a:gd name="T38" fmla="*/ 6242 w 6930"/>
                  <a:gd name="T39" fmla="*/ 935 h 1368"/>
                  <a:gd name="T40" fmla="*/ 6244 w 6930"/>
                  <a:gd name="T41" fmla="*/ 1110 h 1368"/>
                  <a:gd name="T42" fmla="*/ 6244 w 6930"/>
                  <a:gd name="T43" fmla="*/ 935 h 1368"/>
                  <a:gd name="T44" fmla="*/ 6292 w 6930"/>
                  <a:gd name="T45" fmla="*/ 878 h 1368"/>
                  <a:gd name="T46" fmla="*/ 6292 w 6930"/>
                  <a:gd name="T47" fmla="*/ 885 h 1368"/>
                  <a:gd name="T48" fmla="*/ 6294 w 6930"/>
                  <a:gd name="T49" fmla="*/ 878 h 1368"/>
                  <a:gd name="T50" fmla="*/ 6299 w 6930"/>
                  <a:gd name="T51" fmla="*/ 849 h 1368"/>
                  <a:gd name="T52" fmla="*/ 6301 w 6930"/>
                  <a:gd name="T53" fmla="*/ 868 h 1368"/>
                  <a:gd name="T54" fmla="*/ 3005 w 6930"/>
                  <a:gd name="T55" fmla="*/ 762 h 1368"/>
                  <a:gd name="T56" fmla="*/ 3003 w 6930"/>
                  <a:gd name="T57" fmla="*/ 894 h 1368"/>
                  <a:gd name="T58" fmla="*/ 5036 w 6930"/>
                  <a:gd name="T59" fmla="*/ 731 h 1368"/>
                  <a:gd name="T60" fmla="*/ 5034 w 6930"/>
                  <a:gd name="T61" fmla="*/ 887 h 1368"/>
                  <a:gd name="T62" fmla="*/ 3043 w 6930"/>
                  <a:gd name="T63" fmla="*/ 655 h 1368"/>
                  <a:gd name="T64" fmla="*/ 3040 w 6930"/>
                  <a:gd name="T65" fmla="*/ 724 h 1368"/>
                  <a:gd name="T66" fmla="*/ 3043 w 6930"/>
                  <a:gd name="T67" fmla="*/ 722 h 1368"/>
                  <a:gd name="T68" fmla="*/ 0 w 6930"/>
                  <a:gd name="T69" fmla="*/ 615 h 1368"/>
                  <a:gd name="T70" fmla="*/ 0 w 6930"/>
                  <a:gd name="T71" fmla="*/ 1368 h 1368"/>
                  <a:gd name="T72" fmla="*/ 5154 w 6930"/>
                  <a:gd name="T73" fmla="*/ 608 h 1368"/>
                  <a:gd name="T74" fmla="*/ 5157 w 6930"/>
                  <a:gd name="T75" fmla="*/ 646 h 1368"/>
                  <a:gd name="T76" fmla="*/ 6928 w 6930"/>
                  <a:gd name="T77" fmla="*/ 506 h 1368"/>
                  <a:gd name="T78" fmla="*/ 6930 w 6930"/>
                  <a:gd name="T79" fmla="*/ 1008 h 1368"/>
                  <a:gd name="T80" fmla="*/ 3201 w 6930"/>
                  <a:gd name="T81" fmla="*/ 499 h 1368"/>
                  <a:gd name="T82" fmla="*/ 3204 w 6930"/>
                  <a:gd name="T83" fmla="*/ 563 h 1368"/>
                  <a:gd name="T84" fmla="*/ 3204 w 6930"/>
                  <a:gd name="T85" fmla="*/ 499 h 1368"/>
                  <a:gd name="T86" fmla="*/ 3939 w 6930"/>
                  <a:gd name="T87" fmla="*/ 452 h 1368"/>
                  <a:gd name="T88" fmla="*/ 3856 w 6930"/>
                  <a:gd name="T89" fmla="*/ 641 h 1368"/>
                  <a:gd name="T90" fmla="*/ 3859 w 6930"/>
                  <a:gd name="T91" fmla="*/ 641 h 1368"/>
                  <a:gd name="T92" fmla="*/ 3232 w 6930"/>
                  <a:gd name="T93" fmla="*/ 433 h 1368"/>
                  <a:gd name="T94" fmla="*/ 3232 w 6930"/>
                  <a:gd name="T95" fmla="*/ 471 h 1368"/>
                  <a:gd name="T96" fmla="*/ 3232 w 6930"/>
                  <a:gd name="T97" fmla="*/ 471 h 1368"/>
                  <a:gd name="T98" fmla="*/ 3946 w 6930"/>
                  <a:gd name="T99" fmla="*/ 390 h 1368"/>
                  <a:gd name="T100" fmla="*/ 3944 w 6930"/>
                  <a:gd name="T101" fmla="*/ 447 h 1368"/>
                  <a:gd name="T102" fmla="*/ 3946 w 6930"/>
                  <a:gd name="T103" fmla="*/ 445 h 1368"/>
                  <a:gd name="T104" fmla="*/ 1712 w 6930"/>
                  <a:gd name="T105" fmla="*/ 366 h 1368"/>
                  <a:gd name="T106" fmla="*/ 1714 w 6930"/>
                  <a:gd name="T107" fmla="*/ 1046 h 1368"/>
                  <a:gd name="T108" fmla="*/ 3953 w 6930"/>
                  <a:gd name="T109" fmla="*/ 326 h 1368"/>
                  <a:gd name="T110" fmla="*/ 3953 w 6930"/>
                  <a:gd name="T111" fmla="*/ 383 h 1368"/>
                  <a:gd name="T112" fmla="*/ 3953 w 6930"/>
                  <a:gd name="T113" fmla="*/ 326 h 1368"/>
                  <a:gd name="T114" fmla="*/ 4606 w 6930"/>
                  <a:gd name="T115" fmla="*/ 232 h 1368"/>
                  <a:gd name="T116" fmla="*/ 4608 w 6930"/>
                  <a:gd name="T117" fmla="*/ 232 h 1368"/>
                  <a:gd name="T118" fmla="*/ 4755 w 6930"/>
                  <a:gd name="T119" fmla="*/ 0 h 1368"/>
                  <a:gd name="T120" fmla="*/ 4755 w 6930"/>
                  <a:gd name="T121" fmla="*/ 12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8">
                    <a:moveTo>
                      <a:pt x="3615" y="1221"/>
                    </a:moveTo>
                    <a:lnTo>
                      <a:pt x="3613" y="1221"/>
                    </a:lnTo>
                    <a:lnTo>
                      <a:pt x="3613" y="1224"/>
                    </a:lnTo>
                    <a:lnTo>
                      <a:pt x="3613" y="1231"/>
                    </a:lnTo>
                    <a:lnTo>
                      <a:pt x="3615" y="1231"/>
                    </a:lnTo>
                    <a:lnTo>
                      <a:pt x="3615" y="1221"/>
                    </a:lnTo>
                    <a:close/>
                    <a:moveTo>
                      <a:pt x="5736" y="1207"/>
                    </a:moveTo>
                    <a:lnTo>
                      <a:pt x="5734" y="1207"/>
                    </a:lnTo>
                    <a:lnTo>
                      <a:pt x="5734" y="1209"/>
                    </a:lnTo>
                    <a:lnTo>
                      <a:pt x="5734" y="1240"/>
                    </a:lnTo>
                    <a:lnTo>
                      <a:pt x="5736" y="1240"/>
                    </a:lnTo>
                    <a:lnTo>
                      <a:pt x="5736" y="1207"/>
                    </a:lnTo>
                    <a:close/>
                    <a:moveTo>
                      <a:pt x="5760" y="1126"/>
                    </a:moveTo>
                    <a:lnTo>
                      <a:pt x="5757" y="1126"/>
                    </a:lnTo>
                    <a:lnTo>
                      <a:pt x="5757" y="1129"/>
                    </a:lnTo>
                    <a:lnTo>
                      <a:pt x="5757" y="1183"/>
                    </a:lnTo>
                    <a:lnTo>
                      <a:pt x="5760" y="1183"/>
                    </a:lnTo>
                    <a:lnTo>
                      <a:pt x="5760" y="1181"/>
                    </a:lnTo>
                    <a:lnTo>
                      <a:pt x="5760" y="1181"/>
                    </a:lnTo>
                    <a:lnTo>
                      <a:pt x="5760" y="1126"/>
                    </a:lnTo>
                    <a:close/>
                    <a:moveTo>
                      <a:pt x="2764" y="1060"/>
                    </a:moveTo>
                    <a:lnTo>
                      <a:pt x="2761" y="1060"/>
                    </a:lnTo>
                    <a:lnTo>
                      <a:pt x="2761" y="1063"/>
                    </a:lnTo>
                    <a:lnTo>
                      <a:pt x="2761" y="1155"/>
                    </a:lnTo>
                    <a:lnTo>
                      <a:pt x="2764" y="1155"/>
                    </a:lnTo>
                    <a:lnTo>
                      <a:pt x="2764" y="1060"/>
                    </a:lnTo>
                    <a:close/>
                    <a:moveTo>
                      <a:pt x="5835" y="1039"/>
                    </a:moveTo>
                    <a:lnTo>
                      <a:pt x="5833" y="1039"/>
                    </a:lnTo>
                    <a:lnTo>
                      <a:pt x="5833" y="1041"/>
                    </a:lnTo>
                    <a:lnTo>
                      <a:pt x="5833" y="1053"/>
                    </a:lnTo>
                    <a:lnTo>
                      <a:pt x="5835" y="1053"/>
                    </a:lnTo>
                    <a:lnTo>
                      <a:pt x="5835" y="1051"/>
                    </a:lnTo>
                    <a:lnTo>
                      <a:pt x="5835" y="1051"/>
                    </a:lnTo>
                    <a:lnTo>
                      <a:pt x="5835" y="1039"/>
                    </a:lnTo>
                    <a:close/>
                    <a:moveTo>
                      <a:pt x="2780" y="1010"/>
                    </a:moveTo>
                    <a:lnTo>
                      <a:pt x="2780" y="1010"/>
                    </a:lnTo>
                    <a:lnTo>
                      <a:pt x="2780" y="1013"/>
                    </a:lnTo>
                    <a:lnTo>
                      <a:pt x="2780" y="1044"/>
                    </a:lnTo>
                    <a:lnTo>
                      <a:pt x="2780" y="1044"/>
                    </a:lnTo>
                    <a:lnTo>
                      <a:pt x="2780" y="1044"/>
                    </a:lnTo>
                    <a:lnTo>
                      <a:pt x="2780" y="1044"/>
                    </a:lnTo>
                    <a:lnTo>
                      <a:pt x="2780" y="1010"/>
                    </a:lnTo>
                    <a:close/>
                    <a:moveTo>
                      <a:pt x="3674" y="992"/>
                    </a:moveTo>
                    <a:lnTo>
                      <a:pt x="3672" y="992"/>
                    </a:lnTo>
                    <a:lnTo>
                      <a:pt x="3672" y="994"/>
                    </a:lnTo>
                    <a:lnTo>
                      <a:pt x="3672" y="1162"/>
                    </a:lnTo>
                    <a:lnTo>
                      <a:pt x="3674" y="1162"/>
                    </a:lnTo>
                    <a:lnTo>
                      <a:pt x="3674" y="1160"/>
                    </a:lnTo>
                    <a:lnTo>
                      <a:pt x="3674" y="1160"/>
                    </a:lnTo>
                    <a:lnTo>
                      <a:pt x="3674" y="992"/>
                    </a:lnTo>
                    <a:close/>
                    <a:moveTo>
                      <a:pt x="5854" y="989"/>
                    </a:moveTo>
                    <a:lnTo>
                      <a:pt x="5852" y="989"/>
                    </a:lnTo>
                    <a:lnTo>
                      <a:pt x="5852" y="989"/>
                    </a:lnTo>
                    <a:lnTo>
                      <a:pt x="5852" y="1022"/>
                    </a:lnTo>
                    <a:lnTo>
                      <a:pt x="5852" y="1022"/>
                    </a:lnTo>
                    <a:lnTo>
                      <a:pt x="5852" y="1022"/>
                    </a:lnTo>
                    <a:lnTo>
                      <a:pt x="5854" y="1022"/>
                    </a:lnTo>
                    <a:lnTo>
                      <a:pt x="5854" y="989"/>
                    </a:lnTo>
                    <a:close/>
                    <a:moveTo>
                      <a:pt x="6244" y="935"/>
                    </a:moveTo>
                    <a:lnTo>
                      <a:pt x="6242" y="935"/>
                    </a:lnTo>
                    <a:lnTo>
                      <a:pt x="6242" y="937"/>
                    </a:lnTo>
                    <a:lnTo>
                      <a:pt x="6242" y="1110"/>
                    </a:lnTo>
                    <a:lnTo>
                      <a:pt x="6244" y="1110"/>
                    </a:lnTo>
                    <a:lnTo>
                      <a:pt x="6244" y="1108"/>
                    </a:lnTo>
                    <a:lnTo>
                      <a:pt x="6244" y="1108"/>
                    </a:lnTo>
                    <a:lnTo>
                      <a:pt x="6244" y="935"/>
                    </a:lnTo>
                    <a:close/>
                    <a:moveTo>
                      <a:pt x="6294" y="878"/>
                    </a:moveTo>
                    <a:lnTo>
                      <a:pt x="6292" y="878"/>
                    </a:lnTo>
                    <a:lnTo>
                      <a:pt x="6292" y="878"/>
                    </a:lnTo>
                    <a:lnTo>
                      <a:pt x="6292" y="878"/>
                    </a:lnTo>
                    <a:lnTo>
                      <a:pt x="6292" y="885"/>
                    </a:lnTo>
                    <a:lnTo>
                      <a:pt x="6292" y="885"/>
                    </a:lnTo>
                    <a:lnTo>
                      <a:pt x="6292" y="885"/>
                    </a:lnTo>
                    <a:lnTo>
                      <a:pt x="6294" y="885"/>
                    </a:lnTo>
                    <a:lnTo>
                      <a:pt x="6294" y="878"/>
                    </a:lnTo>
                    <a:close/>
                    <a:moveTo>
                      <a:pt x="6301" y="849"/>
                    </a:moveTo>
                    <a:lnTo>
                      <a:pt x="6299" y="849"/>
                    </a:lnTo>
                    <a:lnTo>
                      <a:pt x="6299" y="849"/>
                    </a:lnTo>
                    <a:lnTo>
                      <a:pt x="6299" y="868"/>
                    </a:lnTo>
                    <a:lnTo>
                      <a:pt x="6301" y="868"/>
                    </a:lnTo>
                    <a:lnTo>
                      <a:pt x="6301" y="868"/>
                    </a:lnTo>
                    <a:lnTo>
                      <a:pt x="6301" y="868"/>
                    </a:lnTo>
                    <a:lnTo>
                      <a:pt x="6301" y="849"/>
                    </a:lnTo>
                    <a:close/>
                    <a:moveTo>
                      <a:pt x="3005" y="762"/>
                    </a:moveTo>
                    <a:lnTo>
                      <a:pt x="3003" y="762"/>
                    </a:lnTo>
                    <a:lnTo>
                      <a:pt x="3003" y="762"/>
                    </a:lnTo>
                    <a:lnTo>
                      <a:pt x="3003" y="894"/>
                    </a:lnTo>
                    <a:lnTo>
                      <a:pt x="3005" y="894"/>
                    </a:lnTo>
                    <a:lnTo>
                      <a:pt x="3005" y="762"/>
                    </a:lnTo>
                    <a:close/>
                    <a:moveTo>
                      <a:pt x="5036" y="731"/>
                    </a:moveTo>
                    <a:lnTo>
                      <a:pt x="5034" y="731"/>
                    </a:lnTo>
                    <a:lnTo>
                      <a:pt x="5034" y="731"/>
                    </a:lnTo>
                    <a:lnTo>
                      <a:pt x="5034" y="887"/>
                    </a:lnTo>
                    <a:lnTo>
                      <a:pt x="5036" y="887"/>
                    </a:lnTo>
                    <a:lnTo>
                      <a:pt x="5036" y="731"/>
                    </a:lnTo>
                    <a:close/>
                    <a:moveTo>
                      <a:pt x="3043" y="655"/>
                    </a:moveTo>
                    <a:lnTo>
                      <a:pt x="3040" y="655"/>
                    </a:lnTo>
                    <a:lnTo>
                      <a:pt x="3040" y="658"/>
                    </a:lnTo>
                    <a:lnTo>
                      <a:pt x="3040" y="724"/>
                    </a:lnTo>
                    <a:lnTo>
                      <a:pt x="3040" y="724"/>
                    </a:lnTo>
                    <a:lnTo>
                      <a:pt x="3040" y="722"/>
                    </a:lnTo>
                    <a:lnTo>
                      <a:pt x="3043" y="722"/>
                    </a:lnTo>
                    <a:lnTo>
                      <a:pt x="3043" y="655"/>
                    </a:lnTo>
                    <a:close/>
                    <a:moveTo>
                      <a:pt x="0" y="615"/>
                    </a:moveTo>
                    <a:lnTo>
                      <a:pt x="0" y="615"/>
                    </a:lnTo>
                    <a:lnTo>
                      <a:pt x="0" y="617"/>
                    </a:lnTo>
                    <a:lnTo>
                      <a:pt x="0" y="1368"/>
                    </a:lnTo>
                    <a:lnTo>
                      <a:pt x="0" y="1368"/>
                    </a:lnTo>
                    <a:lnTo>
                      <a:pt x="0" y="615"/>
                    </a:lnTo>
                    <a:close/>
                    <a:moveTo>
                      <a:pt x="5157" y="608"/>
                    </a:moveTo>
                    <a:lnTo>
                      <a:pt x="5154" y="608"/>
                    </a:lnTo>
                    <a:lnTo>
                      <a:pt x="5154" y="610"/>
                    </a:lnTo>
                    <a:lnTo>
                      <a:pt x="5154" y="646"/>
                    </a:lnTo>
                    <a:lnTo>
                      <a:pt x="5157" y="646"/>
                    </a:lnTo>
                    <a:lnTo>
                      <a:pt x="5157" y="608"/>
                    </a:lnTo>
                    <a:close/>
                    <a:moveTo>
                      <a:pt x="6930" y="506"/>
                    </a:moveTo>
                    <a:lnTo>
                      <a:pt x="6928" y="506"/>
                    </a:lnTo>
                    <a:lnTo>
                      <a:pt x="6928" y="509"/>
                    </a:lnTo>
                    <a:lnTo>
                      <a:pt x="6928" y="1008"/>
                    </a:lnTo>
                    <a:lnTo>
                      <a:pt x="6930" y="1008"/>
                    </a:lnTo>
                    <a:lnTo>
                      <a:pt x="6930" y="506"/>
                    </a:lnTo>
                    <a:close/>
                    <a:moveTo>
                      <a:pt x="3204" y="499"/>
                    </a:moveTo>
                    <a:lnTo>
                      <a:pt x="3201" y="499"/>
                    </a:lnTo>
                    <a:lnTo>
                      <a:pt x="3201" y="501"/>
                    </a:lnTo>
                    <a:lnTo>
                      <a:pt x="3201" y="563"/>
                    </a:lnTo>
                    <a:lnTo>
                      <a:pt x="3204" y="563"/>
                    </a:lnTo>
                    <a:lnTo>
                      <a:pt x="3204" y="563"/>
                    </a:lnTo>
                    <a:lnTo>
                      <a:pt x="3204" y="563"/>
                    </a:lnTo>
                    <a:lnTo>
                      <a:pt x="3204" y="499"/>
                    </a:lnTo>
                    <a:close/>
                    <a:moveTo>
                      <a:pt x="3941" y="452"/>
                    </a:moveTo>
                    <a:lnTo>
                      <a:pt x="3939" y="452"/>
                    </a:lnTo>
                    <a:lnTo>
                      <a:pt x="3939" y="452"/>
                    </a:lnTo>
                    <a:lnTo>
                      <a:pt x="3939" y="454"/>
                    </a:lnTo>
                    <a:lnTo>
                      <a:pt x="3939" y="490"/>
                    </a:lnTo>
                    <a:lnTo>
                      <a:pt x="3856" y="641"/>
                    </a:lnTo>
                    <a:lnTo>
                      <a:pt x="3856" y="842"/>
                    </a:lnTo>
                    <a:lnTo>
                      <a:pt x="3859" y="842"/>
                    </a:lnTo>
                    <a:lnTo>
                      <a:pt x="3859" y="641"/>
                    </a:lnTo>
                    <a:lnTo>
                      <a:pt x="3941" y="487"/>
                    </a:lnTo>
                    <a:lnTo>
                      <a:pt x="3941" y="452"/>
                    </a:lnTo>
                    <a:close/>
                    <a:moveTo>
                      <a:pt x="3232" y="433"/>
                    </a:moveTo>
                    <a:lnTo>
                      <a:pt x="3232" y="433"/>
                    </a:lnTo>
                    <a:lnTo>
                      <a:pt x="3232" y="435"/>
                    </a:lnTo>
                    <a:lnTo>
                      <a:pt x="3232" y="471"/>
                    </a:lnTo>
                    <a:lnTo>
                      <a:pt x="3232" y="471"/>
                    </a:lnTo>
                    <a:lnTo>
                      <a:pt x="3232" y="471"/>
                    </a:lnTo>
                    <a:lnTo>
                      <a:pt x="3232" y="471"/>
                    </a:lnTo>
                    <a:lnTo>
                      <a:pt x="3232" y="433"/>
                    </a:lnTo>
                    <a:close/>
                    <a:moveTo>
                      <a:pt x="3946" y="390"/>
                    </a:moveTo>
                    <a:lnTo>
                      <a:pt x="3946" y="390"/>
                    </a:lnTo>
                    <a:lnTo>
                      <a:pt x="3944" y="390"/>
                    </a:lnTo>
                    <a:lnTo>
                      <a:pt x="3944" y="390"/>
                    </a:lnTo>
                    <a:lnTo>
                      <a:pt x="3944" y="447"/>
                    </a:lnTo>
                    <a:lnTo>
                      <a:pt x="3946" y="447"/>
                    </a:lnTo>
                    <a:lnTo>
                      <a:pt x="3946" y="445"/>
                    </a:lnTo>
                    <a:lnTo>
                      <a:pt x="3946" y="445"/>
                    </a:lnTo>
                    <a:lnTo>
                      <a:pt x="3946" y="390"/>
                    </a:lnTo>
                    <a:close/>
                    <a:moveTo>
                      <a:pt x="1714" y="366"/>
                    </a:moveTo>
                    <a:lnTo>
                      <a:pt x="1712" y="366"/>
                    </a:lnTo>
                    <a:lnTo>
                      <a:pt x="1712" y="369"/>
                    </a:lnTo>
                    <a:lnTo>
                      <a:pt x="1712" y="1046"/>
                    </a:lnTo>
                    <a:lnTo>
                      <a:pt x="1714" y="1046"/>
                    </a:lnTo>
                    <a:lnTo>
                      <a:pt x="1714" y="366"/>
                    </a:lnTo>
                    <a:close/>
                    <a:moveTo>
                      <a:pt x="3953" y="326"/>
                    </a:moveTo>
                    <a:lnTo>
                      <a:pt x="3953" y="326"/>
                    </a:lnTo>
                    <a:lnTo>
                      <a:pt x="3953" y="329"/>
                    </a:lnTo>
                    <a:lnTo>
                      <a:pt x="3953" y="383"/>
                    </a:lnTo>
                    <a:lnTo>
                      <a:pt x="3953" y="383"/>
                    </a:lnTo>
                    <a:lnTo>
                      <a:pt x="3953" y="381"/>
                    </a:lnTo>
                    <a:lnTo>
                      <a:pt x="3953" y="381"/>
                    </a:lnTo>
                    <a:lnTo>
                      <a:pt x="3953" y="326"/>
                    </a:lnTo>
                    <a:close/>
                    <a:moveTo>
                      <a:pt x="4608" y="232"/>
                    </a:moveTo>
                    <a:lnTo>
                      <a:pt x="4606" y="232"/>
                    </a:lnTo>
                    <a:lnTo>
                      <a:pt x="4606" y="232"/>
                    </a:lnTo>
                    <a:lnTo>
                      <a:pt x="4551" y="435"/>
                    </a:lnTo>
                    <a:lnTo>
                      <a:pt x="4551" y="435"/>
                    </a:lnTo>
                    <a:lnTo>
                      <a:pt x="4608" y="232"/>
                    </a:lnTo>
                    <a:close/>
                    <a:moveTo>
                      <a:pt x="4757" y="0"/>
                    </a:moveTo>
                    <a:lnTo>
                      <a:pt x="4755" y="0"/>
                    </a:lnTo>
                    <a:lnTo>
                      <a:pt x="4755" y="0"/>
                    </a:lnTo>
                    <a:lnTo>
                      <a:pt x="4755" y="123"/>
                    </a:lnTo>
                    <a:lnTo>
                      <a:pt x="4755" y="123"/>
                    </a:lnTo>
                    <a:lnTo>
                      <a:pt x="4755" y="120"/>
                    </a:lnTo>
                    <a:lnTo>
                      <a:pt x="4757" y="120"/>
                    </a:lnTo>
                    <a:lnTo>
                      <a:pt x="4757" y="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0" name="Freeform 55"/>
              <p:cNvSpPr>
                <a:spLocks noEditPoints="1"/>
              </p:cNvSpPr>
              <p:nvPr/>
            </p:nvSpPr>
            <p:spPr bwMode="auto">
              <a:xfrm>
                <a:off x="59" y="1746"/>
                <a:ext cx="6930" cy="1368"/>
              </a:xfrm>
              <a:custGeom>
                <a:avLst/>
                <a:gdLst>
                  <a:gd name="T0" fmla="*/ 3613 w 6930"/>
                  <a:gd name="T1" fmla="*/ 1224 h 1368"/>
                  <a:gd name="T2" fmla="*/ 3615 w 6930"/>
                  <a:gd name="T3" fmla="*/ 1221 h 1368"/>
                  <a:gd name="T4" fmla="*/ 5734 w 6930"/>
                  <a:gd name="T5" fmla="*/ 1209 h 1368"/>
                  <a:gd name="T6" fmla="*/ 5736 w 6930"/>
                  <a:gd name="T7" fmla="*/ 1207 h 1368"/>
                  <a:gd name="T8" fmla="*/ 5757 w 6930"/>
                  <a:gd name="T9" fmla="*/ 1129 h 1368"/>
                  <a:gd name="T10" fmla="*/ 5760 w 6930"/>
                  <a:gd name="T11" fmla="*/ 1181 h 1368"/>
                  <a:gd name="T12" fmla="*/ 2764 w 6930"/>
                  <a:gd name="T13" fmla="*/ 1060 h 1368"/>
                  <a:gd name="T14" fmla="*/ 2761 w 6930"/>
                  <a:gd name="T15" fmla="*/ 1155 h 1368"/>
                  <a:gd name="T16" fmla="*/ 5835 w 6930"/>
                  <a:gd name="T17" fmla="*/ 1039 h 1368"/>
                  <a:gd name="T18" fmla="*/ 5833 w 6930"/>
                  <a:gd name="T19" fmla="*/ 1053 h 1368"/>
                  <a:gd name="T20" fmla="*/ 5835 w 6930"/>
                  <a:gd name="T21" fmla="*/ 1051 h 1368"/>
                  <a:gd name="T22" fmla="*/ 2780 w 6930"/>
                  <a:gd name="T23" fmla="*/ 1010 h 1368"/>
                  <a:gd name="T24" fmla="*/ 2780 w 6930"/>
                  <a:gd name="T25" fmla="*/ 1044 h 1368"/>
                  <a:gd name="T26" fmla="*/ 2780 w 6930"/>
                  <a:gd name="T27" fmla="*/ 1010 h 1368"/>
                  <a:gd name="T28" fmla="*/ 3672 w 6930"/>
                  <a:gd name="T29" fmla="*/ 994 h 1368"/>
                  <a:gd name="T30" fmla="*/ 3674 w 6930"/>
                  <a:gd name="T31" fmla="*/ 1160 h 1368"/>
                  <a:gd name="T32" fmla="*/ 5854 w 6930"/>
                  <a:gd name="T33" fmla="*/ 989 h 1368"/>
                  <a:gd name="T34" fmla="*/ 5852 w 6930"/>
                  <a:gd name="T35" fmla="*/ 1022 h 1368"/>
                  <a:gd name="T36" fmla="*/ 5854 w 6930"/>
                  <a:gd name="T37" fmla="*/ 1022 h 1368"/>
                  <a:gd name="T38" fmla="*/ 6242 w 6930"/>
                  <a:gd name="T39" fmla="*/ 935 h 1368"/>
                  <a:gd name="T40" fmla="*/ 6244 w 6930"/>
                  <a:gd name="T41" fmla="*/ 1110 h 1368"/>
                  <a:gd name="T42" fmla="*/ 6244 w 6930"/>
                  <a:gd name="T43" fmla="*/ 935 h 1368"/>
                  <a:gd name="T44" fmla="*/ 6292 w 6930"/>
                  <a:gd name="T45" fmla="*/ 878 h 1368"/>
                  <a:gd name="T46" fmla="*/ 6292 w 6930"/>
                  <a:gd name="T47" fmla="*/ 885 h 1368"/>
                  <a:gd name="T48" fmla="*/ 6294 w 6930"/>
                  <a:gd name="T49" fmla="*/ 878 h 1368"/>
                  <a:gd name="T50" fmla="*/ 6299 w 6930"/>
                  <a:gd name="T51" fmla="*/ 849 h 1368"/>
                  <a:gd name="T52" fmla="*/ 6301 w 6930"/>
                  <a:gd name="T53" fmla="*/ 868 h 1368"/>
                  <a:gd name="T54" fmla="*/ 3005 w 6930"/>
                  <a:gd name="T55" fmla="*/ 762 h 1368"/>
                  <a:gd name="T56" fmla="*/ 3003 w 6930"/>
                  <a:gd name="T57" fmla="*/ 894 h 1368"/>
                  <a:gd name="T58" fmla="*/ 5036 w 6930"/>
                  <a:gd name="T59" fmla="*/ 731 h 1368"/>
                  <a:gd name="T60" fmla="*/ 5034 w 6930"/>
                  <a:gd name="T61" fmla="*/ 887 h 1368"/>
                  <a:gd name="T62" fmla="*/ 3043 w 6930"/>
                  <a:gd name="T63" fmla="*/ 655 h 1368"/>
                  <a:gd name="T64" fmla="*/ 3040 w 6930"/>
                  <a:gd name="T65" fmla="*/ 724 h 1368"/>
                  <a:gd name="T66" fmla="*/ 3043 w 6930"/>
                  <a:gd name="T67" fmla="*/ 722 h 1368"/>
                  <a:gd name="T68" fmla="*/ 0 w 6930"/>
                  <a:gd name="T69" fmla="*/ 615 h 1368"/>
                  <a:gd name="T70" fmla="*/ 0 w 6930"/>
                  <a:gd name="T71" fmla="*/ 1368 h 1368"/>
                  <a:gd name="T72" fmla="*/ 5154 w 6930"/>
                  <a:gd name="T73" fmla="*/ 608 h 1368"/>
                  <a:gd name="T74" fmla="*/ 5157 w 6930"/>
                  <a:gd name="T75" fmla="*/ 646 h 1368"/>
                  <a:gd name="T76" fmla="*/ 6928 w 6930"/>
                  <a:gd name="T77" fmla="*/ 506 h 1368"/>
                  <a:gd name="T78" fmla="*/ 6930 w 6930"/>
                  <a:gd name="T79" fmla="*/ 1008 h 1368"/>
                  <a:gd name="T80" fmla="*/ 3201 w 6930"/>
                  <a:gd name="T81" fmla="*/ 499 h 1368"/>
                  <a:gd name="T82" fmla="*/ 3204 w 6930"/>
                  <a:gd name="T83" fmla="*/ 563 h 1368"/>
                  <a:gd name="T84" fmla="*/ 3204 w 6930"/>
                  <a:gd name="T85" fmla="*/ 499 h 1368"/>
                  <a:gd name="T86" fmla="*/ 3939 w 6930"/>
                  <a:gd name="T87" fmla="*/ 452 h 1368"/>
                  <a:gd name="T88" fmla="*/ 3856 w 6930"/>
                  <a:gd name="T89" fmla="*/ 641 h 1368"/>
                  <a:gd name="T90" fmla="*/ 3859 w 6930"/>
                  <a:gd name="T91" fmla="*/ 641 h 1368"/>
                  <a:gd name="T92" fmla="*/ 3232 w 6930"/>
                  <a:gd name="T93" fmla="*/ 433 h 1368"/>
                  <a:gd name="T94" fmla="*/ 3232 w 6930"/>
                  <a:gd name="T95" fmla="*/ 471 h 1368"/>
                  <a:gd name="T96" fmla="*/ 3232 w 6930"/>
                  <a:gd name="T97" fmla="*/ 471 h 1368"/>
                  <a:gd name="T98" fmla="*/ 3946 w 6930"/>
                  <a:gd name="T99" fmla="*/ 390 h 1368"/>
                  <a:gd name="T100" fmla="*/ 3944 w 6930"/>
                  <a:gd name="T101" fmla="*/ 447 h 1368"/>
                  <a:gd name="T102" fmla="*/ 3946 w 6930"/>
                  <a:gd name="T103" fmla="*/ 445 h 1368"/>
                  <a:gd name="T104" fmla="*/ 1712 w 6930"/>
                  <a:gd name="T105" fmla="*/ 366 h 1368"/>
                  <a:gd name="T106" fmla="*/ 1714 w 6930"/>
                  <a:gd name="T107" fmla="*/ 1046 h 1368"/>
                  <a:gd name="T108" fmla="*/ 3953 w 6930"/>
                  <a:gd name="T109" fmla="*/ 326 h 1368"/>
                  <a:gd name="T110" fmla="*/ 3953 w 6930"/>
                  <a:gd name="T111" fmla="*/ 383 h 1368"/>
                  <a:gd name="T112" fmla="*/ 3953 w 6930"/>
                  <a:gd name="T113" fmla="*/ 326 h 1368"/>
                  <a:gd name="T114" fmla="*/ 4606 w 6930"/>
                  <a:gd name="T115" fmla="*/ 232 h 1368"/>
                  <a:gd name="T116" fmla="*/ 4608 w 6930"/>
                  <a:gd name="T117" fmla="*/ 232 h 1368"/>
                  <a:gd name="T118" fmla="*/ 4755 w 6930"/>
                  <a:gd name="T119" fmla="*/ 0 h 1368"/>
                  <a:gd name="T120" fmla="*/ 4755 w 6930"/>
                  <a:gd name="T121" fmla="*/ 12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8">
                    <a:moveTo>
                      <a:pt x="3615" y="1221"/>
                    </a:moveTo>
                    <a:lnTo>
                      <a:pt x="3613" y="1221"/>
                    </a:lnTo>
                    <a:lnTo>
                      <a:pt x="3613" y="1224"/>
                    </a:lnTo>
                    <a:lnTo>
                      <a:pt x="3613" y="1231"/>
                    </a:lnTo>
                    <a:lnTo>
                      <a:pt x="3615" y="1231"/>
                    </a:lnTo>
                    <a:lnTo>
                      <a:pt x="3615" y="1221"/>
                    </a:lnTo>
                    <a:moveTo>
                      <a:pt x="5736" y="1207"/>
                    </a:moveTo>
                    <a:lnTo>
                      <a:pt x="5734" y="1207"/>
                    </a:lnTo>
                    <a:lnTo>
                      <a:pt x="5734" y="1209"/>
                    </a:lnTo>
                    <a:lnTo>
                      <a:pt x="5734" y="1240"/>
                    </a:lnTo>
                    <a:lnTo>
                      <a:pt x="5736" y="1240"/>
                    </a:lnTo>
                    <a:lnTo>
                      <a:pt x="5736" y="1207"/>
                    </a:lnTo>
                    <a:moveTo>
                      <a:pt x="5760" y="1126"/>
                    </a:moveTo>
                    <a:lnTo>
                      <a:pt x="5757" y="1126"/>
                    </a:lnTo>
                    <a:lnTo>
                      <a:pt x="5757" y="1129"/>
                    </a:lnTo>
                    <a:lnTo>
                      <a:pt x="5757" y="1183"/>
                    </a:lnTo>
                    <a:lnTo>
                      <a:pt x="5760" y="1183"/>
                    </a:lnTo>
                    <a:lnTo>
                      <a:pt x="5760" y="1181"/>
                    </a:lnTo>
                    <a:lnTo>
                      <a:pt x="5760" y="1181"/>
                    </a:lnTo>
                    <a:lnTo>
                      <a:pt x="5760" y="1126"/>
                    </a:lnTo>
                    <a:moveTo>
                      <a:pt x="2764" y="1060"/>
                    </a:moveTo>
                    <a:lnTo>
                      <a:pt x="2761" y="1060"/>
                    </a:lnTo>
                    <a:lnTo>
                      <a:pt x="2761" y="1063"/>
                    </a:lnTo>
                    <a:lnTo>
                      <a:pt x="2761" y="1155"/>
                    </a:lnTo>
                    <a:lnTo>
                      <a:pt x="2764" y="1155"/>
                    </a:lnTo>
                    <a:lnTo>
                      <a:pt x="2764" y="1060"/>
                    </a:lnTo>
                    <a:moveTo>
                      <a:pt x="5835" y="1039"/>
                    </a:moveTo>
                    <a:lnTo>
                      <a:pt x="5833" y="1039"/>
                    </a:lnTo>
                    <a:lnTo>
                      <a:pt x="5833" y="1041"/>
                    </a:lnTo>
                    <a:lnTo>
                      <a:pt x="5833" y="1053"/>
                    </a:lnTo>
                    <a:lnTo>
                      <a:pt x="5835" y="1053"/>
                    </a:lnTo>
                    <a:lnTo>
                      <a:pt x="5835" y="1051"/>
                    </a:lnTo>
                    <a:lnTo>
                      <a:pt x="5835" y="1051"/>
                    </a:lnTo>
                    <a:lnTo>
                      <a:pt x="5835" y="1039"/>
                    </a:lnTo>
                    <a:moveTo>
                      <a:pt x="2780" y="1010"/>
                    </a:moveTo>
                    <a:lnTo>
                      <a:pt x="2780" y="1010"/>
                    </a:lnTo>
                    <a:lnTo>
                      <a:pt x="2780" y="1013"/>
                    </a:lnTo>
                    <a:lnTo>
                      <a:pt x="2780" y="1044"/>
                    </a:lnTo>
                    <a:lnTo>
                      <a:pt x="2780" y="1044"/>
                    </a:lnTo>
                    <a:lnTo>
                      <a:pt x="2780" y="1044"/>
                    </a:lnTo>
                    <a:lnTo>
                      <a:pt x="2780" y="1044"/>
                    </a:lnTo>
                    <a:lnTo>
                      <a:pt x="2780" y="1010"/>
                    </a:lnTo>
                    <a:moveTo>
                      <a:pt x="3674" y="992"/>
                    </a:moveTo>
                    <a:lnTo>
                      <a:pt x="3672" y="992"/>
                    </a:lnTo>
                    <a:lnTo>
                      <a:pt x="3672" y="994"/>
                    </a:lnTo>
                    <a:lnTo>
                      <a:pt x="3672" y="1162"/>
                    </a:lnTo>
                    <a:lnTo>
                      <a:pt x="3674" y="1162"/>
                    </a:lnTo>
                    <a:lnTo>
                      <a:pt x="3674" y="1160"/>
                    </a:lnTo>
                    <a:lnTo>
                      <a:pt x="3674" y="1160"/>
                    </a:lnTo>
                    <a:lnTo>
                      <a:pt x="3674" y="992"/>
                    </a:lnTo>
                    <a:moveTo>
                      <a:pt x="5854" y="989"/>
                    </a:moveTo>
                    <a:lnTo>
                      <a:pt x="5852" y="989"/>
                    </a:lnTo>
                    <a:lnTo>
                      <a:pt x="5852" y="989"/>
                    </a:lnTo>
                    <a:lnTo>
                      <a:pt x="5852" y="1022"/>
                    </a:lnTo>
                    <a:lnTo>
                      <a:pt x="5852" y="1022"/>
                    </a:lnTo>
                    <a:lnTo>
                      <a:pt x="5852" y="1022"/>
                    </a:lnTo>
                    <a:lnTo>
                      <a:pt x="5854" y="1022"/>
                    </a:lnTo>
                    <a:lnTo>
                      <a:pt x="5854" y="989"/>
                    </a:lnTo>
                    <a:moveTo>
                      <a:pt x="6244" y="935"/>
                    </a:moveTo>
                    <a:lnTo>
                      <a:pt x="6242" y="935"/>
                    </a:lnTo>
                    <a:lnTo>
                      <a:pt x="6242" y="937"/>
                    </a:lnTo>
                    <a:lnTo>
                      <a:pt x="6242" y="1110"/>
                    </a:lnTo>
                    <a:lnTo>
                      <a:pt x="6244" y="1110"/>
                    </a:lnTo>
                    <a:lnTo>
                      <a:pt x="6244" y="1108"/>
                    </a:lnTo>
                    <a:lnTo>
                      <a:pt x="6244" y="1108"/>
                    </a:lnTo>
                    <a:lnTo>
                      <a:pt x="6244" y="935"/>
                    </a:lnTo>
                    <a:moveTo>
                      <a:pt x="6294" y="878"/>
                    </a:moveTo>
                    <a:lnTo>
                      <a:pt x="6292" y="878"/>
                    </a:lnTo>
                    <a:lnTo>
                      <a:pt x="6292" y="878"/>
                    </a:lnTo>
                    <a:lnTo>
                      <a:pt x="6292" y="878"/>
                    </a:lnTo>
                    <a:lnTo>
                      <a:pt x="6292" y="885"/>
                    </a:lnTo>
                    <a:lnTo>
                      <a:pt x="6292" y="885"/>
                    </a:lnTo>
                    <a:lnTo>
                      <a:pt x="6292" y="885"/>
                    </a:lnTo>
                    <a:lnTo>
                      <a:pt x="6294" y="885"/>
                    </a:lnTo>
                    <a:lnTo>
                      <a:pt x="6294" y="878"/>
                    </a:lnTo>
                    <a:moveTo>
                      <a:pt x="6301" y="849"/>
                    </a:moveTo>
                    <a:lnTo>
                      <a:pt x="6299" y="849"/>
                    </a:lnTo>
                    <a:lnTo>
                      <a:pt x="6299" y="849"/>
                    </a:lnTo>
                    <a:lnTo>
                      <a:pt x="6299" y="868"/>
                    </a:lnTo>
                    <a:lnTo>
                      <a:pt x="6301" y="868"/>
                    </a:lnTo>
                    <a:lnTo>
                      <a:pt x="6301" y="868"/>
                    </a:lnTo>
                    <a:lnTo>
                      <a:pt x="6301" y="868"/>
                    </a:lnTo>
                    <a:lnTo>
                      <a:pt x="6301" y="849"/>
                    </a:lnTo>
                    <a:moveTo>
                      <a:pt x="3005" y="762"/>
                    </a:moveTo>
                    <a:lnTo>
                      <a:pt x="3003" y="762"/>
                    </a:lnTo>
                    <a:lnTo>
                      <a:pt x="3003" y="762"/>
                    </a:lnTo>
                    <a:lnTo>
                      <a:pt x="3003" y="894"/>
                    </a:lnTo>
                    <a:lnTo>
                      <a:pt x="3005" y="894"/>
                    </a:lnTo>
                    <a:lnTo>
                      <a:pt x="3005" y="762"/>
                    </a:lnTo>
                    <a:moveTo>
                      <a:pt x="5036" y="731"/>
                    </a:moveTo>
                    <a:lnTo>
                      <a:pt x="5034" y="731"/>
                    </a:lnTo>
                    <a:lnTo>
                      <a:pt x="5034" y="731"/>
                    </a:lnTo>
                    <a:lnTo>
                      <a:pt x="5034" y="887"/>
                    </a:lnTo>
                    <a:lnTo>
                      <a:pt x="5036" y="887"/>
                    </a:lnTo>
                    <a:lnTo>
                      <a:pt x="5036" y="731"/>
                    </a:lnTo>
                    <a:moveTo>
                      <a:pt x="3043" y="655"/>
                    </a:moveTo>
                    <a:lnTo>
                      <a:pt x="3040" y="655"/>
                    </a:lnTo>
                    <a:lnTo>
                      <a:pt x="3040" y="658"/>
                    </a:lnTo>
                    <a:lnTo>
                      <a:pt x="3040" y="724"/>
                    </a:lnTo>
                    <a:lnTo>
                      <a:pt x="3040" y="724"/>
                    </a:lnTo>
                    <a:lnTo>
                      <a:pt x="3040" y="722"/>
                    </a:lnTo>
                    <a:lnTo>
                      <a:pt x="3043" y="722"/>
                    </a:lnTo>
                    <a:lnTo>
                      <a:pt x="3043" y="655"/>
                    </a:lnTo>
                    <a:moveTo>
                      <a:pt x="0" y="615"/>
                    </a:moveTo>
                    <a:lnTo>
                      <a:pt x="0" y="615"/>
                    </a:lnTo>
                    <a:lnTo>
                      <a:pt x="0" y="617"/>
                    </a:lnTo>
                    <a:lnTo>
                      <a:pt x="0" y="1368"/>
                    </a:lnTo>
                    <a:lnTo>
                      <a:pt x="0" y="1368"/>
                    </a:lnTo>
                    <a:lnTo>
                      <a:pt x="0" y="615"/>
                    </a:lnTo>
                    <a:moveTo>
                      <a:pt x="5157" y="608"/>
                    </a:moveTo>
                    <a:lnTo>
                      <a:pt x="5154" y="608"/>
                    </a:lnTo>
                    <a:lnTo>
                      <a:pt x="5154" y="610"/>
                    </a:lnTo>
                    <a:lnTo>
                      <a:pt x="5154" y="646"/>
                    </a:lnTo>
                    <a:lnTo>
                      <a:pt x="5157" y="646"/>
                    </a:lnTo>
                    <a:lnTo>
                      <a:pt x="5157" y="608"/>
                    </a:lnTo>
                    <a:moveTo>
                      <a:pt x="6930" y="506"/>
                    </a:moveTo>
                    <a:lnTo>
                      <a:pt x="6928" y="506"/>
                    </a:lnTo>
                    <a:lnTo>
                      <a:pt x="6928" y="509"/>
                    </a:lnTo>
                    <a:lnTo>
                      <a:pt x="6928" y="1008"/>
                    </a:lnTo>
                    <a:lnTo>
                      <a:pt x="6930" y="1008"/>
                    </a:lnTo>
                    <a:lnTo>
                      <a:pt x="6930" y="506"/>
                    </a:lnTo>
                    <a:moveTo>
                      <a:pt x="3204" y="499"/>
                    </a:moveTo>
                    <a:lnTo>
                      <a:pt x="3201" y="499"/>
                    </a:lnTo>
                    <a:lnTo>
                      <a:pt x="3201" y="501"/>
                    </a:lnTo>
                    <a:lnTo>
                      <a:pt x="3201" y="563"/>
                    </a:lnTo>
                    <a:lnTo>
                      <a:pt x="3204" y="563"/>
                    </a:lnTo>
                    <a:lnTo>
                      <a:pt x="3204" y="563"/>
                    </a:lnTo>
                    <a:lnTo>
                      <a:pt x="3204" y="563"/>
                    </a:lnTo>
                    <a:lnTo>
                      <a:pt x="3204" y="499"/>
                    </a:lnTo>
                    <a:moveTo>
                      <a:pt x="3941" y="452"/>
                    </a:moveTo>
                    <a:lnTo>
                      <a:pt x="3939" y="452"/>
                    </a:lnTo>
                    <a:lnTo>
                      <a:pt x="3939" y="452"/>
                    </a:lnTo>
                    <a:lnTo>
                      <a:pt x="3939" y="454"/>
                    </a:lnTo>
                    <a:lnTo>
                      <a:pt x="3939" y="490"/>
                    </a:lnTo>
                    <a:lnTo>
                      <a:pt x="3856" y="641"/>
                    </a:lnTo>
                    <a:lnTo>
                      <a:pt x="3856" y="842"/>
                    </a:lnTo>
                    <a:lnTo>
                      <a:pt x="3859" y="842"/>
                    </a:lnTo>
                    <a:lnTo>
                      <a:pt x="3859" y="641"/>
                    </a:lnTo>
                    <a:lnTo>
                      <a:pt x="3941" y="487"/>
                    </a:lnTo>
                    <a:lnTo>
                      <a:pt x="3941" y="452"/>
                    </a:lnTo>
                    <a:moveTo>
                      <a:pt x="3232" y="433"/>
                    </a:moveTo>
                    <a:lnTo>
                      <a:pt x="3232" y="433"/>
                    </a:lnTo>
                    <a:lnTo>
                      <a:pt x="3232" y="435"/>
                    </a:lnTo>
                    <a:lnTo>
                      <a:pt x="3232" y="471"/>
                    </a:lnTo>
                    <a:lnTo>
                      <a:pt x="3232" y="471"/>
                    </a:lnTo>
                    <a:lnTo>
                      <a:pt x="3232" y="471"/>
                    </a:lnTo>
                    <a:lnTo>
                      <a:pt x="3232" y="471"/>
                    </a:lnTo>
                    <a:lnTo>
                      <a:pt x="3232" y="433"/>
                    </a:lnTo>
                    <a:moveTo>
                      <a:pt x="3946" y="390"/>
                    </a:moveTo>
                    <a:lnTo>
                      <a:pt x="3946" y="390"/>
                    </a:lnTo>
                    <a:lnTo>
                      <a:pt x="3944" y="390"/>
                    </a:lnTo>
                    <a:lnTo>
                      <a:pt x="3944" y="390"/>
                    </a:lnTo>
                    <a:lnTo>
                      <a:pt x="3944" y="447"/>
                    </a:lnTo>
                    <a:lnTo>
                      <a:pt x="3946" y="447"/>
                    </a:lnTo>
                    <a:lnTo>
                      <a:pt x="3946" y="445"/>
                    </a:lnTo>
                    <a:lnTo>
                      <a:pt x="3946" y="445"/>
                    </a:lnTo>
                    <a:lnTo>
                      <a:pt x="3946" y="390"/>
                    </a:lnTo>
                    <a:moveTo>
                      <a:pt x="1714" y="366"/>
                    </a:moveTo>
                    <a:lnTo>
                      <a:pt x="1712" y="366"/>
                    </a:lnTo>
                    <a:lnTo>
                      <a:pt x="1712" y="369"/>
                    </a:lnTo>
                    <a:lnTo>
                      <a:pt x="1712" y="1046"/>
                    </a:lnTo>
                    <a:lnTo>
                      <a:pt x="1714" y="1046"/>
                    </a:lnTo>
                    <a:lnTo>
                      <a:pt x="1714" y="366"/>
                    </a:lnTo>
                    <a:moveTo>
                      <a:pt x="3953" y="326"/>
                    </a:moveTo>
                    <a:lnTo>
                      <a:pt x="3953" y="326"/>
                    </a:lnTo>
                    <a:lnTo>
                      <a:pt x="3953" y="329"/>
                    </a:lnTo>
                    <a:lnTo>
                      <a:pt x="3953" y="383"/>
                    </a:lnTo>
                    <a:lnTo>
                      <a:pt x="3953" y="383"/>
                    </a:lnTo>
                    <a:lnTo>
                      <a:pt x="3953" y="381"/>
                    </a:lnTo>
                    <a:lnTo>
                      <a:pt x="3953" y="381"/>
                    </a:lnTo>
                    <a:lnTo>
                      <a:pt x="3953" y="326"/>
                    </a:lnTo>
                    <a:moveTo>
                      <a:pt x="4608" y="232"/>
                    </a:moveTo>
                    <a:lnTo>
                      <a:pt x="4606" y="232"/>
                    </a:lnTo>
                    <a:lnTo>
                      <a:pt x="4606" y="232"/>
                    </a:lnTo>
                    <a:lnTo>
                      <a:pt x="4551" y="435"/>
                    </a:lnTo>
                    <a:lnTo>
                      <a:pt x="4551" y="435"/>
                    </a:lnTo>
                    <a:lnTo>
                      <a:pt x="4608" y="232"/>
                    </a:lnTo>
                    <a:moveTo>
                      <a:pt x="4757" y="0"/>
                    </a:moveTo>
                    <a:lnTo>
                      <a:pt x="4755" y="0"/>
                    </a:lnTo>
                    <a:lnTo>
                      <a:pt x="4755" y="0"/>
                    </a:lnTo>
                    <a:lnTo>
                      <a:pt x="4755" y="123"/>
                    </a:lnTo>
                    <a:lnTo>
                      <a:pt x="4755" y="123"/>
                    </a:lnTo>
                    <a:lnTo>
                      <a:pt x="4755" y="120"/>
                    </a:lnTo>
                    <a:lnTo>
                      <a:pt x="4757" y="120"/>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1" name="Freeform 56"/>
              <p:cNvSpPr>
                <a:spLocks noEditPoints="1"/>
              </p:cNvSpPr>
              <p:nvPr/>
            </p:nvSpPr>
            <p:spPr bwMode="auto">
              <a:xfrm>
                <a:off x="59" y="1743"/>
                <a:ext cx="6932" cy="1371"/>
              </a:xfrm>
              <a:custGeom>
                <a:avLst/>
                <a:gdLst>
                  <a:gd name="T0" fmla="*/ 3615 w 6932"/>
                  <a:gd name="T1" fmla="*/ 1224 h 1371"/>
                  <a:gd name="T2" fmla="*/ 3617 w 6932"/>
                  <a:gd name="T3" fmla="*/ 1222 h 1371"/>
                  <a:gd name="T4" fmla="*/ 5736 w 6932"/>
                  <a:gd name="T5" fmla="*/ 1210 h 1371"/>
                  <a:gd name="T6" fmla="*/ 5736 w 6932"/>
                  <a:gd name="T7" fmla="*/ 1208 h 1371"/>
                  <a:gd name="T8" fmla="*/ 5760 w 6932"/>
                  <a:gd name="T9" fmla="*/ 1129 h 1371"/>
                  <a:gd name="T10" fmla="*/ 5762 w 6932"/>
                  <a:gd name="T11" fmla="*/ 1182 h 1371"/>
                  <a:gd name="T12" fmla="*/ 2766 w 6932"/>
                  <a:gd name="T13" fmla="*/ 1063 h 1371"/>
                  <a:gd name="T14" fmla="*/ 2764 w 6932"/>
                  <a:gd name="T15" fmla="*/ 1158 h 1371"/>
                  <a:gd name="T16" fmla="*/ 5838 w 6932"/>
                  <a:gd name="T17" fmla="*/ 1042 h 1371"/>
                  <a:gd name="T18" fmla="*/ 5835 w 6932"/>
                  <a:gd name="T19" fmla="*/ 1054 h 1371"/>
                  <a:gd name="T20" fmla="*/ 5838 w 6932"/>
                  <a:gd name="T21" fmla="*/ 1051 h 1371"/>
                  <a:gd name="T22" fmla="*/ 2780 w 6932"/>
                  <a:gd name="T23" fmla="*/ 1013 h 1371"/>
                  <a:gd name="T24" fmla="*/ 2783 w 6932"/>
                  <a:gd name="T25" fmla="*/ 1047 h 1371"/>
                  <a:gd name="T26" fmla="*/ 2783 w 6932"/>
                  <a:gd name="T27" fmla="*/ 1011 h 1371"/>
                  <a:gd name="T28" fmla="*/ 3674 w 6932"/>
                  <a:gd name="T29" fmla="*/ 995 h 1371"/>
                  <a:gd name="T30" fmla="*/ 3676 w 6932"/>
                  <a:gd name="T31" fmla="*/ 1160 h 1371"/>
                  <a:gd name="T32" fmla="*/ 5854 w 6932"/>
                  <a:gd name="T33" fmla="*/ 990 h 1371"/>
                  <a:gd name="T34" fmla="*/ 5854 w 6932"/>
                  <a:gd name="T35" fmla="*/ 1025 h 1371"/>
                  <a:gd name="T36" fmla="*/ 5854 w 6932"/>
                  <a:gd name="T37" fmla="*/ 1023 h 1371"/>
                  <a:gd name="T38" fmla="*/ 6244 w 6932"/>
                  <a:gd name="T39" fmla="*/ 935 h 1371"/>
                  <a:gd name="T40" fmla="*/ 6244 w 6932"/>
                  <a:gd name="T41" fmla="*/ 1111 h 1371"/>
                  <a:gd name="T42" fmla="*/ 6247 w 6932"/>
                  <a:gd name="T43" fmla="*/ 935 h 1371"/>
                  <a:gd name="T44" fmla="*/ 6294 w 6932"/>
                  <a:gd name="T45" fmla="*/ 879 h 1371"/>
                  <a:gd name="T46" fmla="*/ 6294 w 6932"/>
                  <a:gd name="T47" fmla="*/ 888 h 1371"/>
                  <a:gd name="T48" fmla="*/ 6296 w 6932"/>
                  <a:gd name="T49" fmla="*/ 879 h 1371"/>
                  <a:gd name="T50" fmla="*/ 6301 w 6932"/>
                  <a:gd name="T51" fmla="*/ 852 h 1371"/>
                  <a:gd name="T52" fmla="*/ 6303 w 6932"/>
                  <a:gd name="T53" fmla="*/ 869 h 1371"/>
                  <a:gd name="T54" fmla="*/ 3005 w 6932"/>
                  <a:gd name="T55" fmla="*/ 763 h 1371"/>
                  <a:gd name="T56" fmla="*/ 3005 w 6932"/>
                  <a:gd name="T57" fmla="*/ 897 h 1371"/>
                  <a:gd name="T58" fmla="*/ 5038 w 6932"/>
                  <a:gd name="T59" fmla="*/ 732 h 1371"/>
                  <a:gd name="T60" fmla="*/ 5036 w 6932"/>
                  <a:gd name="T61" fmla="*/ 890 h 1371"/>
                  <a:gd name="T62" fmla="*/ 3045 w 6932"/>
                  <a:gd name="T63" fmla="*/ 656 h 1371"/>
                  <a:gd name="T64" fmla="*/ 3043 w 6932"/>
                  <a:gd name="T65" fmla="*/ 725 h 1371"/>
                  <a:gd name="T66" fmla="*/ 3045 w 6932"/>
                  <a:gd name="T67" fmla="*/ 722 h 1371"/>
                  <a:gd name="T68" fmla="*/ 0 w 6932"/>
                  <a:gd name="T69" fmla="*/ 616 h 1371"/>
                  <a:gd name="T70" fmla="*/ 2 w 6932"/>
                  <a:gd name="T71" fmla="*/ 1371 h 1371"/>
                  <a:gd name="T72" fmla="*/ 5157 w 6932"/>
                  <a:gd name="T73" fmla="*/ 609 h 1371"/>
                  <a:gd name="T74" fmla="*/ 5159 w 6932"/>
                  <a:gd name="T75" fmla="*/ 649 h 1371"/>
                  <a:gd name="T76" fmla="*/ 6930 w 6932"/>
                  <a:gd name="T77" fmla="*/ 509 h 1371"/>
                  <a:gd name="T78" fmla="*/ 6932 w 6932"/>
                  <a:gd name="T79" fmla="*/ 1011 h 1371"/>
                  <a:gd name="T80" fmla="*/ 3204 w 6932"/>
                  <a:gd name="T81" fmla="*/ 500 h 1371"/>
                  <a:gd name="T82" fmla="*/ 3206 w 6932"/>
                  <a:gd name="T83" fmla="*/ 566 h 1371"/>
                  <a:gd name="T84" fmla="*/ 3206 w 6932"/>
                  <a:gd name="T85" fmla="*/ 500 h 1371"/>
                  <a:gd name="T86" fmla="*/ 3941 w 6932"/>
                  <a:gd name="T87" fmla="*/ 455 h 1371"/>
                  <a:gd name="T88" fmla="*/ 3859 w 6932"/>
                  <a:gd name="T89" fmla="*/ 644 h 1371"/>
                  <a:gd name="T90" fmla="*/ 3861 w 6932"/>
                  <a:gd name="T91" fmla="*/ 642 h 1371"/>
                  <a:gd name="T92" fmla="*/ 3234 w 6932"/>
                  <a:gd name="T93" fmla="*/ 433 h 1371"/>
                  <a:gd name="T94" fmla="*/ 3232 w 6932"/>
                  <a:gd name="T95" fmla="*/ 474 h 1371"/>
                  <a:gd name="T96" fmla="*/ 3234 w 6932"/>
                  <a:gd name="T97" fmla="*/ 471 h 1371"/>
                  <a:gd name="T98" fmla="*/ 3946 w 6932"/>
                  <a:gd name="T99" fmla="*/ 391 h 1371"/>
                  <a:gd name="T100" fmla="*/ 3946 w 6932"/>
                  <a:gd name="T101" fmla="*/ 448 h 1371"/>
                  <a:gd name="T102" fmla="*/ 3948 w 6932"/>
                  <a:gd name="T103" fmla="*/ 448 h 1371"/>
                  <a:gd name="T104" fmla="*/ 1714 w 6932"/>
                  <a:gd name="T105" fmla="*/ 367 h 1371"/>
                  <a:gd name="T106" fmla="*/ 1716 w 6932"/>
                  <a:gd name="T107" fmla="*/ 1049 h 1371"/>
                  <a:gd name="T108" fmla="*/ 3953 w 6932"/>
                  <a:gd name="T109" fmla="*/ 327 h 1371"/>
                  <a:gd name="T110" fmla="*/ 3955 w 6932"/>
                  <a:gd name="T111" fmla="*/ 384 h 1371"/>
                  <a:gd name="T112" fmla="*/ 3955 w 6932"/>
                  <a:gd name="T113" fmla="*/ 327 h 1371"/>
                  <a:gd name="T114" fmla="*/ 4608 w 6932"/>
                  <a:gd name="T115" fmla="*/ 235 h 1371"/>
                  <a:gd name="T116" fmla="*/ 4608 w 6932"/>
                  <a:gd name="T117" fmla="*/ 232 h 1371"/>
                  <a:gd name="T118" fmla="*/ 4757 w 6932"/>
                  <a:gd name="T119" fmla="*/ 3 h 1371"/>
                  <a:gd name="T120" fmla="*/ 4757 w 6932"/>
                  <a:gd name="T121" fmla="*/ 121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71">
                    <a:moveTo>
                      <a:pt x="3617" y="1222"/>
                    </a:moveTo>
                    <a:lnTo>
                      <a:pt x="3615" y="1222"/>
                    </a:lnTo>
                    <a:lnTo>
                      <a:pt x="3615" y="1224"/>
                    </a:lnTo>
                    <a:lnTo>
                      <a:pt x="3615" y="1234"/>
                    </a:lnTo>
                    <a:lnTo>
                      <a:pt x="3617" y="1234"/>
                    </a:lnTo>
                    <a:lnTo>
                      <a:pt x="3617" y="1222"/>
                    </a:lnTo>
                    <a:close/>
                    <a:moveTo>
                      <a:pt x="5736" y="1208"/>
                    </a:moveTo>
                    <a:lnTo>
                      <a:pt x="5736" y="1208"/>
                    </a:lnTo>
                    <a:lnTo>
                      <a:pt x="5736" y="1210"/>
                    </a:lnTo>
                    <a:lnTo>
                      <a:pt x="5736" y="1243"/>
                    </a:lnTo>
                    <a:lnTo>
                      <a:pt x="5736" y="1243"/>
                    </a:lnTo>
                    <a:lnTo>
                      <a:pt x="5736" y="1208"/>
                    </a:lnTo>
                    <a:close/>
                    <a:moveTo>
                      <a:pt x="5762" y="1127"/>
                    </a:moveTo>
                    <a:lnTo>
                      <a:pt x="5760" y="1127"/>
                    </a:lnTo>
                    <a:lnTo>
                      <a:pt x="5760" y="1129"/>
                    </a:lnTo>
                    <a:lnTo>
                      <a:pt x="5760" y="1184"/>
                    </a:lnTo>
                    <a:lnTo>
                      <a:pt x="5762" y="1184"/>
                    </a:lnTo>
                    <a:lnTo>
                      <a:pt x="5762" y="1182"/>
                    </a:lnTo>
                    <a:lnTo>
                      <a:pt x="5762" y="1182"/>
                    </a:lnTo>
                    <a:lnTo>
                      <a:pt x="5762" y="1127"/>
                    </a:lnTo>
                    <a:close/>
                    <a:moveTo>
                      <a:pt x="2766" y="1063"/>
                    </a:moveTo>
                    <a:lnTo>
                      <a:pt x="2764" y="1063"/>
                    </a:lnTo>
                    <a:lnTo>
                      <a:pt x="2764" y="1063"/>
                    </a:lnTo>
                    <a:lnTo>
                      <a:pt x="2764" y="1158"/>
                    </a:lnTo>
                    <a:lnTo>
                      <a:pt x="2766" y="1158"/>
                    </a:lnTo>
                    <a:lnTo>
                      <a:pt x="2766" y="1063"/>
                    </a:lnTo>
                    <a:close/>
                    <a:moveTo>
                      <a:pt x="5838" y="1042"/>
                    </a:moveTo>
                    <a:lnTo>
                      <a:pt x="5835" y="1042"/>
                    </a:lnTo>
                    <a:lnTo>
                      <a:pt x="5835" y="1042"/>
                    </a:lnTo>
                    <a:lnTo>
                      <a:pt x="5835" y="1054"/>
                    </a:lnTo>
                    <a:lnTo>
                      <a:pt x="5835" y="1054"/>
                    </a:lnTo>
                    <a:lnTo>
                      <a:pt x="5835" y="1051"/>
                    </a:lnTo>
                    <a:lnTo>
                      <a:pt x="5838" y="1051"/>
                    </a:lnTo>
                    <a:lnTo>
                      <a:pt x="5838" y="1042"/>
                    </a:lnTo>
                    <a:close/>
                    <a:moveTo>
                      <a:pt x="2783" y="1011"/>
                    </a:moveTo>
                    <a:lnTo>
                      <a:pt x="2780" y="1013"/>
                    </a:lnTo>
                    <a:lnTo>
                      <a:pt x="2780" y="1013"/>
                    </a:lnTo>
                    <a:lnTo>
                      <a:pt x="2780" y="1047"/>
                    </a:lnTo>
                    <a:lnTo>
                      <a:pt x="2783" y="1047"/>
                    </a:lnTo>
                    <a:lnTo>
                      <a:pt x="2783" y="1044"/>
                    </a:lnTo>
                    <a:lnTo>
                      <a:pt x="2783" y="1044"/>
                    </a:lnTo>
                    <a:lnTo>
                      <a:pt x="2783" y="1011"/>
                    </a:lnTo>
                    <a:close/>
                    <a:moveTo>
                      <a:pt x="3676" y="992"/>
                    </a:moveTo>
                    <a:lnTo>
                      <a:pt x="3674" y="992"/>
                    </a:lnTo>
                    <a:lnTo>
                      <a:pt x="3674" y="995"/>
                    </a:lnTo>
                    <a:lnTo>
                      <a:pt x="3674" y="1163"/>
                    </a:lnTo>
                    <a:lnTo>
                      <a:pt x="3676" y="1163"/>
                    </a:lnTo>
                    <a:lnTo>
                      <a:pt x="3676" y="1160"/>
                    </a:lnTo>
                    <a:lnTo>
                      <a:pt x="3676" y="1160"/>
                    </a:lnTo>
                    <a:lnTo>
                      <a:pt x="3676" y="992"/>
                    </a:lnTo>
                    <a:close/>
                    <a:moveTo>
                      <a:pt x="5854" y="990"/>
                    </a:moveTo>
                    <a:lnTo>
                      <a:pt x="5854" y="990"/>
                    </a:lnTo>
                    <a:lnTo>
                      <a:pt x="5854" y="992"/>
                    </a:lnTo>
                    <a:lnTo>
                      <a:pt x="5854" y="1025"/>
                    </a:lnTo>
                    <a:lnTo>
                      <a:pt x="5854" y="1025"/>
                    </a:lnTo>
                    <a:lnTo>
                      <a:pt x="5854" y="1023"/>
                    </a:lnTo>
                    <a:lnTo>
                      <a:pt x="5854" y="1023"/>
                    </a:lnTo>
                    <a:lnTo>
                      <a:pt x="5854" y="990"/>
                    </a:lnTo>
                    <a:close/>
                    <a:moveTo>
                      <a:pt x="6247" y="935"/>
                    </a:moveTo>
                    <a:lnTo>
                      <a:pt x="6244" y="935"/>
                    </a:lnTo>
                    <a:lnTo>
                      <a:pt x="6244" y="938"/>
                    </a:lnTo>
                    <a:lnTo>
                      <a:pt x="6244" y="1111"/>
                    </a:lnTo>
                    <a:lnTo>
                      <a:pt x="6244" y="1111"/>
                    </a:lnTo>
                    <a:lnTo>
                      <a:pt x="6244" y="1108"/>
                    </a:lnTo>
                    <a:lnTo>
                      <a:pt x="6247" y="1108"/>
                    </a:lnTo>
                    <a:lnTo>
                      <a:pt x="6247" y="935"/>
                    </a:lnTo>
                    <a:close/>
                    <a:moveTo>
                      <a:pt x="6296" y="879"/>
                    </a:moveTo>
                    <a:lnTo>
                      <a:pt x="6294" y="879"/>
                    </a:lnTo>
                    <a:lnTo>
                      <a:pt x="6294" y="879"/>
                    </a:lnTo>
                    <a:lnTo>
                      <a:pt x="6294" y="881"/>
                    </a:lnTo>
                    <a:lnTo>
                      <a:pt x="6294" y="888"/>
                    </a:lnTo>
                    <a:lnTo>
                      <a:pt x="6294" y="888"/>
                    </a:lnTo>
                    <a:lnTo>
                      <a:pt x="6294" y="886"/>
                    </a:lnTo>
                    <a:lnTo>
                      <a:pt x="6296" y="886"/>
                    </a:lnTo>
                    <a:lnTo>
                      <a:pt x="6296" y="879"/>
                    </a:lnTo>
                    <a:close/>
                    <a:moveTo>
                      <a:pt x="6303" y="850"/>
                    </a:moveTo>
                    <a:lnTo>
                      <a:pt x="6301" y="850"/>
                    </a:lnTo>
                    <a:lnTo>
                      <a:pt x="6301" y="852"/>
                    </a:lnTo>
                    <a:lnTo>
                      <a:pt x="6301" y="871"/>
                    </a:lnTo>
                    <a:lnTo>
                      <a:pt x="6303" y="871"/>
                    </a:lnTo>
                    <a:lnTo>
                      <a:pt x="6303" y="869"/>
                    </a:lnTo>
                    <a:lnTo>
                      <a:pt x="6303" y="869"/>
                    </a:lnTo>
                    <a:lnTo>
                      <a:pt x="6303" y="850"/>
                    </a:lnTo>
                    <a:close/>
                    <a:moveTo>
                      <a:pt x="3005" y="763"/>
                    </a:moveTo>
                    <a:lnTo>
                      <a:pt x="3005" y="763"/>
                    </a:lnTo>
                    <a:lnTo>
                      <a:pt x="3005" y="765"/>
                    </a:lnTo>
                    <a:lnTo>
                      <a:pt x="3005" y="897"/>
                    </a:lnTo>
                    <a:lnTo>
                      <a:pt x="3005" y="897"/>
                    </a:lnTo>
                    <a:lnTo>
                      <a:pt x="3005" y="763"/>
                    </a:lnTo>
                    <a:close/>
                    <a:moveTo>
                      <a:pt x="5038" y="732"/>
                    </a:moveTo>
                    <a:lnTo>
                      <a:pt x="5036" y="732"/>
                    </a:lnTo>
                    <a:lnTo>
                      <a:pt x="5036" y="734"/>
                    </a:lnTo>
                    <a:lnTo>
                      <a:pt x="5036" y="890"/>
                    </a:lnTo>
                    <a:lnTo>
                      <a:pt x="5038" y="890"/>
                    </a:lnTo>
                    <a:lnTo>
                      <a:pt x="5038" y="732"/>
                    </a:lnTo>
                    <a:close/>
                    <a:moveTo>
                      <a:pt x="3045" y="656"/>
                    </a:moveTo>
                    <a:lnTo>
                      <a:pt x="3043" y="656"/>
                    </a:lnTo>
                    <a:lnTo>
                      <a:pt x="3043" y="658"/>
                    </a:lnTo>
                    <a:lnTo>
                      <a:pt x="3043" y="725"/>
                    </a:lnTo>
                    <a:lnTo>
                      <a:pt x="3043" y="725"/>
                    </a:lnTo>
                    <a:lnTo>
                      <a:pt x="3043" y="722"/>
                    </a:lnTo>
                    <a:lnTo>
                      <a:pt x="3045" y="722"/>
                    </a:lnTo>
                    <a:lnTo>
                      <a:pt x="3045" y="656"/>
                    </a:lnTo>
                    <a:close/>
                    <a:moveTo>
                      <a:pt x="2" y="616"/>
                    </a:moveTo>
                    <a:lnTo>
                      <a:pt x="0" y="616"/>
                    </a:lnTo>
                    <a:lnTo>
                      <a:pt x="0" y="618"/>
                    </a:lnTo>
                    <a:lnTo>
                      <a:pt x="0" y="1371"/>
                    </a:lnTo>
                    <a:lnTo>
                      <a:pt x="2" y="1371"/>
                    </a:lnTo>
                    <a:lnTo>
                      <a:pt x="2" y="616"/>
                    </a:lnTo>
                    <a:close/>
                    <a:moveTo>
                      <a:pt x="5159" y="609"/>
                    </a:moveTo>
                    <a:lnTo>
                      <a:pt x="5157" y="609"/>
                    </a:lnTo>
                    <a:lnTo>
                      <a:pt x="5157" y="611"/>
                    </a:lnTo>
                    <a:lnTo>
                      <a:pt x="5157" y="649"/>
                    </a:lnTo>
                    <a:lnTo>
                      <a:pt x="5159" y="649"/>
                    </a:lnTo>
                    <a:lnTo>
                      <a:pt x="5159" y="609"/>
                    </a:lnTo>
                    <a:close/>
                    <a:moveTo>
                      <a:pt x="6932" y="509"/>
                    </a:moveTo>
                    <a:lnTo>
                      <a:pt x="6930" y="509"/>
                    </a:lnTo>
                    <a:lnTo>
                      <a:pt x="6930" y="509"/>
                    </a:lnTo>
                    <a:lnTo>
                      <a:pt x="6930" y="1011"/>
                    </a:lnTo>
                    <a:lnTo>
                      <a:pt x="6932" y="1011"/>
                    </a:lnTo>
                    <a:lnTo>
                      <a:pt x="6932" y="509"/>
                    </a:lnTo>
                    <a:close/>
                    <a:moveTo>
                      <a:pt x="3206" y="500"/>
                    </a:moveTo>
                    <a:lnTo>
                      <a:pt x="3204" y="500"/>
                    </a:lnTo>
                    <a:lnTo>
                      <a:pt x="3204" y="502"/>
                    </a:lnTo>
                    <a:lnTo>
                      <a:pt x="3204" y="566"/>
                    </a:lnTo>
                    <a:lnTo>
                      <a:pt x="3206" y="566"/>
                    </a:lnTo>
                    <a:lnTo>
                      <a:pt x="3206" y="564"/>
                    </a:lnTo>
                    <a:lnTo>
                      <a:pt x="3206" y="564"/>
                    </a:lnTo>
                    <a:lnTo>
                      <a:pt x="3206" y="500"/>
                    </a:lnTo>
                    <a:close/>
                    <a:moveTo>
                      <a:pt x="3941" y="455"/>
                    </a:moveTo>
                    <a:lnTo>
                      <a:pt x="3941" y="455"/>
                    </a:lnTo>
                    <a:lnTo>
                      <a:pt x="3941" y="455"/>
                    </a:lnTo>
                    <a:lnTo>
                      <a:pt x="3941" y="455"/>
                    </a:lnTo>
                    <a:lnTo>
                      <a:pt x="3941" y="490"/>
                    </a:lnTo>
                    <a:lnTo>
                      <a:pt x="3859" y="644"/>
                    </a:lnTo>
                    <a:lnTo>
                      <a:pt x="3859" y="845"/>
                    </a:lnTo>
                    <a:lnTo>
                      <a:pt x="3861" y="845"/>
                    </a:lnTo>
                    <a:lnTo>
                      <a:pt x="3861" y="642"/>
                    </a:lnTo>
                    <a:lnTo>
                      <a:pt x="3941" y="488"/>
                    </a:lnTo>
                    <a:lnTo>
                      <a:pt x="3941" y="455"/>
                    </a:lnTo>
                    <a:close/>
                    <a:moveTo>
                      <a:pt x="3234" y="433"/>
                    </a:moveTo>
                    <a:lnTo>
                      <a:pt x="3232" y="433"/>
                    </a:lnTo>
                    <a:lnTo>
                      <a:pt x="3232" y="436"/>
                    </a:lnTo>
                    <a:lnTo>
                      <a:pt x="3232" y="474"/>
                    </a:lnTo>
                    <a:lnTo>
                      <a:pt x="3234" y="474"/>
                    </a:lnTo>
                    <a:lnTo>
                      <a:pt x="3234" y="471"/>
                    </a:lnTo>
                    <a:lnTo>
                      <a:pt x="3234" y="471"/>
                    </a:lnTo>
                    <a:lnTo>
                      <a:pt x="3234" y="433"/>
                    </a:lnTo>
                    <a:close/>
                    <a:moveTo>
                      <a:pt x="3948" y="391"/>
                    </a:moveTo>
                    <a:lnTo>
                      <a:pt x="3946" y="391"/>
                    </a:lnTo>
                    <a:lnTo>
                      <a:pt x="3946" y="391"/>
                    </a:lnTo>
                    <a:lnTo>
                      <a:pt x="3946" y="393"/>
                    </a:lnTo>
                    <a:lnTo>
                      <a:pt x="3946" y="448"/>
                    </a:lnTo>
                    <a:lnTo>
                      <a:pt x="3948" y="448"/>
                    </a:lnTo>
                    <a:lnTo>
                      <a:pt x="3948" y="448"/>
                    </a:lnTo>
                    <a:lnTo>
                      <a:pt x="3948" y="448"/>
                    </a:lnTo>
                    <a:lnTo>
                      <a:pt x="3948" y="391"/>
                    </a:lnTo>
                    <a:close/>
                    <a:moveTo>
                      <a:pt x="1716" y="367"/>
                    </a:moveTo>
                    <a:lnTo>
                      <a:pt x="1714" y="367"/>
                    </a:lnTo>
                    <a:lnTo>
                      <a:pt x="1714" y="369"/>
                    </a:lnTo>
                    <a:lnTo>
                      <a:pt x="1714" y="1049"/>
                    </a:lnTo>
                    <a:lnTo>
                      <a:pt x="1716" y="1049"/>
                    </a:lnTo>
                    <a:lnTo>
                      <a:pt x="1716" y="367"/>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8" y="235"/>
                    </a:lnTo>
                    <a:lnTo>
                      <a:pt x="4551" y="438"/>
                    </a:lnTo>
                    <a:lnTo>
                      <a:pt x="4554" y="436"/>
                    </a:lnTo>
                    <a:lnTo>
                      <a:pt x="4608" y="232"/>
                    </a:lnTo>
                    <a:close/>
                    <a:moveTo>
                      <a:pt x="4759" y="0"/>
                    </a:moveTo>
                    <a:lnTo>
                      <a:pt x="4757" y="0"/>
                    </a:lnTo>
                    <a:lnTo>
                      <a:pt x="4757" y="3"/>
                    </a:lnTo>
                    <a:lnTo>
                      <a:pt x="4757" y="123"/>
                    </a:lnTo>
                    <a:lnTo>
                      <a:pt x="4757" y="123"/>
                    </a:lnTo>
                    <a:lnTo>
                      <a:pt x="4757" y="121"/>
                    </a:lnTo>
                    <a:lnTo>
                      <a:pt x="4759" y="121"/>
                    </a:lnTo>
                    <a:lnTo>
                      <a:pt x="4759"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2" name="Freeform 57"/>
              <p:cNvSpPr>
                <a:spLocks noEditPoints="1"/>
              </p:cNvSpPr>
              <p:nvPr/>
            </p:nvSpPr>
            <p:spPr bwMode="auto">
              <a:xfrm>
                <a:off x="59" y="1743"/>
                <a:ext cx="6932" cy="1371"/>
              </a:xfrm>
              <a:custGeom>
                <a:avLst/>
                <a:gdLst>
                  <a:gd name="T0" fmla="*/ 3615 w 6932"/>
                  <a:gd name="T1" fmla="*/ 1224 h 1371"/>
                  <a:gd name="T2" fmla="*/ 3617 w 6932"/>
                  <a:gd name="T3" fmla="*/ 1222 h 1371"/>
                  <a:gd name="T4" fmla="*/ 5736 w 6932"/>
                  <a:gd name="T5" fmla="*/ 1210 h 1371"/>
                  <a:gd name="T6" fmla="*/ 5736 w 6932"/>
                  <a:gd name="T7" fmla="*/ 1208 h 1371"/>
                  <a:gd name="T8" fmla="*/ 5760 w 6932"/>
                  <a:gd name="T9" fmla="*/ 1129 h 1371"/>
                  <a:gd name="T10" fmla="*/ 5762 w 6932"/>
                  <a:gd name="T11" fmla="*/ 1182 h 1371"/>
                  <a:gd name="T12" fmla="*/ 2766 w 6932"/>
                  <a:gd name="T13" fmla="*/ 1063 h 1371"/>
                  <a:gd name="T14" fmla="*/ 2764 w 6932"/>
                  <a:gd name="T15" fmla="*/ 1158 h 1371"/>
                  <a:gd name="T16" fmla="*/ 5838 w 6932"/>
                  <a:gd name="T17" fmla="*/ 1042 h 1371"/>
                  <a:gd name="T18" fmla="*/ 5835 w 6932"/>
                  <a:gd name="T19" fmla="*/ 1054 h 1371"/>
                  <a:gd name="T20" fmla="*/ 5838 w 6932"/>
                  <a:gd name="T21" fmla="*/ 1051 h 1371"/>
                  <a:gd name="T22" fmla="*/ 2780 w 6932"/>
                  <a:gd name="T23" fmla="*/ 1013 h 1371"/>
                  <a:gd name="T24" fmla="*/ 2783 w 6932"/>
                  <a:gd name="T25" fmla="*/ 1047 h 1371"/>
                  <a:gd name="T26" fmla="*/ 2783 w 6932"/>
                  <a:gd name="T27" fmla="*/ 1011 h 1371"/>
                  <a:gd name="T28" fmla="*/ 3674 w 6932"/>
                  <a:gd name="T29" fmla="*/ 995 h 1371"/>
                  <a:gd name="T30" fmla="*/ 3676 w 6932"/>
                  <a:gd name="T31" fmla="*/ 1160 h 1371"/>
                  <a:gd name="T32" fmla="*/ 5854 w 6932"/>
                  <a:gd name="T33" fmla="*/ 990 h 1371"/>
                  <a:gd name="T34" fmla="*/ 5854 w 6932"/>
                  <a:gd name="T35" fmla="*/ 1025 h 1371"/>
                  <a:gd name="T36" fmla="*/ 5854 w 6932"/>
                  <a:gd name="T37" fmla="*/ 1023 h 1371"/>
                  <a:gd name="T38" fmla="*/ 6244 w 6932"/>
                  <a:gd name="T39" fmla="*/ 935 h 1371"/>
                  <a:gd name="T40" fmla="*/ 6244 w 6932"/>
                  <a:gd name="T41" fmla="*/ 1111 h 1371"/>
                  <a:gd name="T42" fmla="*/ 6247 w 6932"/>
                  <a:gd name="T43" fmla="*/ 935 h 1371"/>
                  <a:gd name="T44" fmla="*/ 6294 w 6932"/>
                  <a:gd name="T45" fmla="*/ 879 h 1371"/>
                  <a:gd name="T46" fmla="*/ 6294 w 6932"/>
                  <a:gd name="T47" fmla="*/ 888 h 1371"/>
                  <a:gd name="T48" fmla="*/ 6296 w 6932"/>
                  <a:gd name="T49" fmla="*/ 879 h 1371"/>
                  <a:gd name="T50" fmla="*/ 6301 w 6932"/>
                  <a:gd name="T51" fmla="*/ 852 h 1371"/>
                  <a:gd name="T52" fmla="*/ 6303 w 6932"/>
                  <a:gd name="T53" fmla="*/ 869 h 1371"/>
                  <a:gd name="T54" fmla="*/ 3005 w 6932"/>
                  <a:gd name="T55" fmla="*/ 763 h 1371"/>
                  <a:gd name="T56" fmla="*/ 3005 w 6932"/>
                  <a:gd name="T57" fmla="*/ 897 h 1371"/>
                  <a:gd name="T58" fmla="*/ 5038 w 6932"/>
                  <a:gd name="T59" fmla="*/ 732 h 1371"/>
                  <a:gd name="T60" fmla="*/ 5036 w 6932"/>
                  <a:gd name="T61" fmla="*/ 890 h 1371"/>
                  <a:gd name="T62" fmla="*/ 3045 w 6932"/>
                  <a:gd name="T63" fmla="*/ 656 h 1371"/>
                  <a:gd name="T64" fmla="*/ 3043 w 6932"/>
                  <a:gd name="T65" fmla="*/ 725 h 1371"/>
                  <a:gd name="T66" fmla="*/ 3045 w 6932"/>
                  <a:gd name="T67" fmla="*/ 722 h 1371"/>
                  <a:gd name="T68" fmla="*/ 0 w 6932"/>
                  <a:gd name="T69" fmla="*/ 616 h 1371"/>
                  <a:gd name="T70" fmla="*/ 2 w 6932"/>
                  <a:gd name="T71" fmla="*/ 1371 h 1371"/>
                  <a:gd name="T72" fmla="*/ 5157 w 6932"/>
                  <a:gd name="T73" fmla="*/ 609 h 1371"/>
                  <a:gd name="T74" fmla="*/ 5159 w 6932"/>
                  <a:gd name="T75" fmla="*/ 649 h 1371"/>
                  <a:gd name="T76" fmla="*/ 6930 w 6932"/>
                  <a:gd name="T77" fmla="*/ 509 h 1371"/>
                  <a:gd name="T78" fmla="*/ 6932 w 6932"/>
                  <a:gd name="T79" fmla="*/ 1011 h 1371"/>
                  <a:gd name="T80" fmla="*/ 3204 w 6932"/>
                  <a:gd name="T81" fmla="*/ 500 h 1371"/>
                  <a:gd name="T82" fmla="*/ 3206 w 6932"/>
                  <a:gd name="T83" fmla="*/ 566 h 1371"/>
                  <a:gd name="T84" fmla="*/ 3206 w 6932"/>
                  <a:gd name="T85" fmla="*/ 500 h 1371"/>
                  <a:gd name="T86" fmla="*/ 3941 w 6932"/>
                  <a:gd name="T87" fmla="*/ 455 h 1371"/>
                  <a:gd name="T88" fmla="*/ 3859 w 6932"/>
                  <a:gd name="T89" fmla="*/ 644 h 1371"/>
                  <a:gd name="T90" fmla="*/ 3861 w 6932"/>
                  <a:gd name="T91" fmla="*/ 642 h 1371"/>
                  <a:gd name="T92" fmla="*/ 3234 w 6932"/>
                  <a:gd name="T93" fmla="*/ 433 h 1371"/>
                  <a:gd name="T94" fmla="*/ 3232 w 6932"/>
                  <a:gd name="T95" fmla="*/ 474 h 1371"/>
                  <a:gd name="T96" fmla="*/ 3234 w 6932"/>
                  <a:gd name="T97" fmla="*/ 471 h 1371"/>
                  <a:gd name="T98" fmla="*/ 3946 w 6932"/>
                  <a:gd name="T99" fmla="*/ 391 h 1371"/>
                  <a:gd name="T100" fmla="*/ 3946 w 6932"/>
                  <a:gd name="T101" fmla="*/ 448 h 1371"/>
                  <a:gd name="T102" fmla="*/ 3948 w 6932"/>
                  <a:gd name="T103" fmla="*/ 448 h 1371"/>
                  <a:gd name="T104" fmla="*/ 1714 w 6932"/>
                  <a:gd name="T105" fmla="*/ 367 h 1371"/>
                  <a:gd name="T106" fmla="*/ 1716 w 6932"/>
                  <a:gd name="T107" fmla="*/ 1049 h 1371"/>
                  <a:gd name="T108" fmla="*/ 3953 w 6932"/>
                  <a:gd name="T109" fmla="*/ 327 h 1371"/>
                  <a:gd name="T110" fmla="*/ 3955 w 6932"/>
                  <a:gd name="T111" fmla="*/ 384 h 1371"/>
                  <a:gd name="T112" fmla="*/ 3955 w 6932"/>
                  <a:gd name="T113" fmla="*/ 327 h 1371"/>
                  <a:gd name="T114" fmla="*/ 4608 w 6932"/>
                  <a:gd name="T115" fmla="*/ 235 h 1371"/>
                  <a:gd name="T116" fmla="*/ 4608 w 6932"/>
                  <a:gd name="T117" fmla="*/ 232 h 1371"/>
                  <a:gd name="T118" fmla="*/ 4757 w 6932"/>
                  <a:gd name="T119" fmla="*/ 3 h 1371"/>
                  <a:gd name="T120" fmla="*/ 4757 w 6932"/>
                  <a:gd name="T121" fmla="*/ 121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71">
                    <a:moveTo>
                      <a:pt x="3617" y="1222"/>
                    </a:moveTo>
                    <a:lnTo>
                      <a:pt x="3615" y="1222"/>
                    </a:lnTo>
                    <a:lnTo>
                      <a:pt x="3615" y="1224"/>
                    </a:lnTo>
                    <a:lnTo>
                      <a:pt x="3615" y="1234"/>
                    </a:lnTo>
                    <a:lnTo>
                      <a:pt x="3617" y="1234"/>
                    </a:lnTo>
                    <a:lnTo>
                      <a:pt x="3617" y="1222"/>
                    </a:lnTo>
                    <a:moveTo>
                      <a:pt x="5736" y="1208"/>
                    </a:moveTo>
                    <a:lnTo>
                      <a:pt x="5736" y="1208"/>
                    </a:lnTo>
                    <a:lnTo>
                      <a:pt x="5736" y="1210"/>
                    </a:lnTo>
                    <a:lnTo>
                      <a:pt x="5736" y="1243"/>
                    </a:lnTo>
                    <a:lnTo>
                      <a:pt x="5736" y="1243"/>
                    </a:lnTo>
                    <a:lnTo>
                      <a:pt x="5736" y="1208"/>
                    </a:lnTo>
                    <a:moveTo>
                      <a:pt x="5762" y="1127"/>
                    </a:moveTo>
                    <a:lnTo>
                      <a:pt x="5760" y="1127"/>
                    </a:lnTo>
                    <a:lnTo>
                      <a:pt x="5760" y="1129"/>
                    </a:lnTo>
                    <a:lnTo>
                      <a:pt x="5760" y="1184"/>
                    </a:lnTo>
                    <a:lnTo>
                      <a:pt x="5762" y="1184"/>
                    </a:lnTo>
                    <a:lnTo>
                      <a:pt x="5762" y="1182"/>
                    </a:lnTo>
                    <a:lnTo>
                      <a:pt x="5762" y="1182"/>
                    </a:lnTo>
                    <a:lnTo>
                      <a:pt x="5762" y="1127"/>
                    </a:lnTo>
                    <a:moveTo>
                      <a:pt x="2766" y="1063"/>
                    </a:moveTo>
                    <a:lnTo>
                      <a:pt x="2764" y="1063"/>
                    </a:lnTo>
                    <a:lnTo>
                      <a:pt x="2764" y="1063"/>
                    </a:lnTo>
                    <a:lnTo>
                      <a:pt x="2764" y="1158"/>
                    </a:lnTo>
                    <a:lnTo>
                      <a:pt x="2766" y="1158"/>
                    </a:lnTo>
                    <a:lnTo>
                      <a:pt x="2766" y="1063"/>
                    </a:lnTo>
                    <a:moveTo>
                      <a:pt x="5838" y="1042"/>
                    </a:moveTo>
                    <a:lnTo>
                      <a:pt x="5835" y="1042"/>
                    </a:lnTo>
                    <a:lnTo>
                      <a:pt x="5835" y="1042"/>
                    </a:lnTo>
                    <a:lnTo>
                      <a:pt x="5835" y="1054"/>
                    </a:lnTo>
                    <a:lnTo>
                      <a:pt x="5835" y="1054"/>
                    </a:lnTo>
                    <a:lnTo>
                      <a:pt x="5835" y="1051"/>
                    </a:lnTo>
                    <a:lnTo>
                      <a:pt x="5838" y="1051"/>
                    </a:lnTo>
                    <a:lnTo>
                      <a:pt x="5838" y="1042"/>
                    </a:lnTo>
                    <a:moveTo>
                      <a:pt x="2783" y="1011"/>
                    </a:moveTo>
                    <a:lnTo>
                      <a:pt x="2780" y="1013"/>
                    </a:lnTo>
                    <a:lnTo>
                      <a:pt x="2780" y="1013"/>
                    </a:lnTo>
                    <a:lnTo>
                      <a:pt x="2780" y="1047"/>
                    </a:lnTo>
                    <a:lnTo>
                      <a:pt x="2783" y="1047"/>
                    </a:lnTo>
                    <a:lnTo>
                      <a:pt x="2783" y="1044"/>
                    </a:lnTo>
                    <a:lnTo>
                      <a:pt x="2783" y="1044"/>
                    </a:lnTo>
                    <a:lnTo>
                      <a:pt x="2783" y="1011"/>
                    </a:lnTo>
                    <a:moveTo>
                      <a:pt x="3676" y="992"/>
                    </a:moveTo>
                    <a:lnTo>
                      <a:pt x="3674" y="992"/>
                    </a:lnTo>
                    <a:lnTo>
                      <a:pt x="3674" y="995"/>
                    </a:lnTo>
                    <a:lnTo>
                      <a:pt x="3674" y="1163"/>
                    </a:lnTo>
                    <a:lnTo>
                      <a:pt x="3676" y="1163"/>
                    </a:lnTo>
                    <a:lnTo>
                      <a:pt x="3676" y="1160"/>
                    </a:lnTo>
                    <a:lnTo>
                      <a:pt x="3676" y="1160"/>
                    </a:lnTo>
                    <a:lnTo>
                      <a:pt x="3676" y="992"/>
                    </a:lnTo>
                    <a:moveTo>
                      <a:pt x="5854" y="990"/>
                    </a:moveTo>
                    <a:lnTo>
                      <a:pt x="5854" y="990"/>
                    </a:lnTo>
                    <a:lnTo>
                      <a:pt x="5854" y="992"/>
                    </a:lnTo>
                    <a:lnTo>
                      <a:pt x="5854" y="1025"/>
                    </a:lnTo>
                    <a:lnTo>
                      <a:pt x="5854" y="1025"/>
                    </a:lnTo>
                    <a:lnTo>
                      <a:pt x="5854" y="1023"/>
                    </a:lnTo>
                    <a:lnTo>
                      <a:pt x="5854" y="1023"/>
                    </a:lnTo>
                    <a:lnTo>
                      <a:pt x="5854" y="990"/>
                    </a:lnTo>
                    <a:moveTo>
                      <a:pt x="6247" y="935"/>
                    </a:moveTo>
                    <a:lnTo>
                      <a:pt x="6244" y="935"/>
                    </a:lnTo>
                    <a:lnTo>
                      <a:pt x="6244" y="938"/>
                    </a:lnTo>
                    <a:lnTo>
                      <a:pt x="6244" y="1111"/>
                    </a:lnTo>
                    <a:lnTo>
                      <a:pt x="6244" y="1111"/>
                    </a:lnTo>
                    <a:lnTo>
                      <a:pt x="6244" y="1108"/>
                    </a:lnTo>
                    <a:lnTo>
                      <a:pt x="6247" y="1108"/>
                    </a:lnTo>
                    <a:lnTo>
                      <a:pt x="6247" y="935"/>
                    </a:lnTo>
                    <a:moveTo>
                      <a:pt x="6296" y="879"/>
                    </a:moveTo>
                    <a:lnTo>
                      <a:pt x="6294" y="879"/>
                    </a:lnTo>
                    <a:lnTo>
                      <a:pt x="6294" y="879"/>
                    </a:lnTo>
                    <a:lnTo>
                      <a:pt x="6294" y="881"/>
                    </a:lnTo>
                    <a:lnTo>
                      <a:pt x="6294" y="888"/>
                    </a:lnTo>
                    <a:lnTo>
                      <a:pt x="6294" y="888"/>
                    </a:lnTo>
                    <a:lnTo>
                      <a:pt x="6294" y="886"/>
                    </a:lnTo>
                    <a:lnTo>
                      <a:pt x="6296" y="886"/>
                    </a:lnTo>
                    <a:lnTo>
                      <a:pt x="6296" y="879"/>
                    </a:lnTo>
                    <a:moveTo>
                      <a:pt x="6303" y="850"/>
                    </a:moveTo>
                    <a:lnTo>
                      <a:pt x="6301" y="850"/>
                    </a:lnTo>
                    <a:lnTo>
                      <a:pt x="6301" y="852"/>
                    </a:lnTo>
                    <a:lnTo>
                      <a:pt x="6301" y="871"/>
                    </a:lnTo>
                    <a:lnTo>
                      <a:pt x="6303" y="871"/>
                    </a:lnTo>
                    <a:lnTo>
                      <a:pt x="6303" y="869"/>
                    </a:lnTo>
                    <a:lnTo>
                      <a:pt x="6303" y="869"/>
                    </a:lnTo>
                    <a:lnTo>
                      <a:pt x="6303" y="850"/>
                    </a:lnTo>
                    <a:moveTo>
                      <a:pt x="3005" y="763"/>
                    </a:moveTo>
                    <a:lnTo>
                      <a:pt x="3005" y="763"/>
                    </a:lnTo>
                    <a:lnTo>
                      <a:pt x="3005" y="765"/>
                    </a:lnTo>
                    <a:lnTo>
                      <a:pt x="3005" y="897"/>
                    </a:lnTo>
                    <a:lnTo>
                      <a:pt x="3005" y="897"/>
                    </a:lnTo>
                    <a:lnTo>
                      <a:pt x="3005" y="763"/>
                    </a:lnTo>
                    <a:moveTo>
                      <a:pt x="5038" y="732"/>
                    </a:moveTo>
                    <a:lnTo>
                      <a:pt x="5036" y="732"/>
                    </a:lnTo>
                    <a:lnTo>
                      <a:pt x="5036" y="734"/>
                    </a:lnTo>
                    <a:lnTo>
                      <a:pt x="5036" y="890"/>
                    </a:lnTo>
                    <a:lnTo>
                      <a:pt x="5038" y="890"/>
                    </a:lnTo>
                    <a:lnTo>
                      <a:pt x="5038" y="732"/>
                    </a:lnTo>
                    <a:moveTo>
                      <a:pt x="3045" y="656"/>
                    </a:moveTo>
                    <a:lnTo>
                      <a:pt x="3043" y="656"/>
                    </a:lnTo>
                    <a:lnTo>
                      <a:pt x="3043" y="658"/>
                    </a:lnTo>
                    <a:lnTo>
                      <a:pt x="3043" y="725"/>
                    </a:lnTo>
                    <a:lnTo>
                      <a:pt x="3043" y="725"/>
                    </a:lnTo>
                    <a:lnTo>
                      <a:pt x="3043" y="722"/>
                    </a:lnTo>
                    <a:lnTo>
                      <a:pt x="3045" y="722"/>
                    </a:lnTo>
                    <a:lnTo>
                      <a:pt x="3045" y="656"/>
                    </a:lnTo>
                    <a:moveTo>
                      <a:pt x="2" y="616"/>
                    </a:moveTo>
                    <a:lnTo>
                      <a:pt x="0" y="616"/>
                    </a:lnTo>
                    <a:lnTo>
                      <a:pt x="0" y="618"/>
                    </a:lnTo>
                    <a:lnTo>
                      <a:pt x="0" y="1371"/>
                    </a:lnTo>
                    <a:lnTo>
                      <a:pt x="2" y="1371"/>
                    </a:lnTo>
                    <a:lnTo>
                      <a:pt x="2" y="616"/>
                    </a:lnTo>
                    <a:moveTo>
                      <a:pt x="5159" y="609"/>
                    </a:moveTo>
                    <a:lnTo>
                      <a:pt x="5157" y="609"/>
                    </a:lnTo>
                    <a:lnTo>
                      <a:pt x="5157" y="611"/>
                    </a:lnTo>
                    <a:lnTo>
                      <a:pt x="5157" y="649"/>
                    </a:lnTo>
                    <a:lnTo>
                      <a:pt x="5159" y="649"/>
                    </a:lnTo>
                    <a:lnTo>
                      <a:pt x="5159" y="609"/>
                    </a:lnTo>
                    <a:moveTo>
                      <a:pt x="6932" y="509"/>
                    </a:moveTo>
                    <a:lnTo>
                      <a:pt x="6930" y="509"/>
                    </a:lnTo>
                    <a:lnTo>
                      <a:pt x="6930" y="509"/>
                    </a:lnTo>
                    <a:lnTo>
                      <a:pt x="6930" y="1011"/>
                    </a:lnTo>
                    <a:lnTo>
                      <a:pt x="6932" y="1011"/>
                    </a:lnTo>
                    <a:lnTo>
                      <a:pt x="6932" y="509"/>
                    </a:lnTo>
                    <a:moveTo>
                      <a:pt x="3206" y="500"/>
                    </a:moveTo>
                    <a:lnTo>
                      <a:pt x="3204" y="500"/>
                    </a:lnTo>
                    <a:lnTo>
                      <a:pt x="3204" y="502"/>
                    </a:lnTo>
                    <a:lnTo>
                      <a:pt x="3204" y="566"/>
                    </a:lnTo>
                    <a:lnTo>
                      <a:pt x="3206" y="566"/>
                    </a:lnTo>
                    <a:lnTo>
                      <a:pt x="3206" y="564"/>
                    </a:lnTo>
                    <a:lnTo>
                      <a:pt x="3206" y="564"/>
                    </a:lnTo>
                    <a:lnTo>
                      <a:pt x="3206" y="500"/>
                    </a:lnTo>
                    <a:moveTo>
                      <a:pt x="3941" y="455"/>
                    </a:moveTo>
                    <a:lnTo>
                      <a:pt x="3941" y="455"/>
                    </a:lnTo>
                    <a:lnTo>
                      <a:pt x="3941" y="455"/>
                    </a:lnTo>
                    <a:lnTo>
                      <a:pt x="3941" y="455"/>
                    </a:lnTo>
                    <a:lnTo>
                      <a:pt x="3941" y="490"/>
                    </a:lnTo>
                    <a:lnTo>
                      <a:pt x="3859" y="644"/>
                    </a:lnTo>
                    <a:lnTo>
                      <a:pt x="3859" y="845"/>
                    </a:lnTo>
                    <a:lnTo>
                      <a:pt x="3861" y="845"/>
                    </a:lnTo>
                    <a:lnTo>
                      <a:pt x="3861" y="642"/>
                    </a:lnTo>
                    <a:lnTo>
                      <a:pt x="3941" y="488"/>
                    </a:lnTo>
                    <a:lnTo>
                      <a:pt x="3941" y="455"/>
                    </a:lnTo>
                    <a:moveTo>
                      <a:pt x="3234" y="433"/>
                    </a:moveTo>
                    <a:lnTo>
                      <a:pt x="3232" y="433"/>
                    </a:lnTo>
                    <a:lnTo>
                      <a:pt x="3232" y="436"/>
                    </a:lnTo>
                    <a:lnTo>
                      <a:pt x="3232" y="474"/>
                    </a:lnTo>
                    <a:lnTo>
                      <a:pt x="3234" y="474"/>
                    </a:lnTo>
                    <a:lnTo>
                      <a:pt x="3234" y="471"/>
                    </a:lnTo>
                    <a:lnTo>
                      <a:pt x="3234" y="471"/>
                    </a:lnTo>
                    <a:lnTo>
                      <a:pt x="3234" y="433"/>
                    </a:lnTo>
                    <a:moveTo>
                      <a:pt x="3948" y="391"/>
                    </a:moveTo>
                    <a:lnTo>
                      <a:pt x="3946" y="391"/>
                    </a:lnTo>
                    <a:lnTo>
                      <a:pt x="3946" y="391"/>
                    </a:lnTo>
                    <a:lnTo>
                      <a:pt x="3946" y="393"/>
                    </a:lnTo>
                    <a:lnTo>
                      <a:pt x="3946" y="448"/>
                    </a:lnTo>
                    <a:lnTo>
                      <a:pt x="3948" y="448"/>
                    </a:lnTo>
                    <a:lnTo>
                      <a:pt x="3948" y="448"/>
                    </a:lnTo>
                    <a:lnTo>
                      <a:pt x="3948" y="448"/>
                    </a:lnTo>
                    <a:lnTo>
                      <a:pt x="3948" y="391"/>
                    </a:lnTo>
                    <a:moveTo>
                      <a:pt x="1716" y="367"/>
                    </a:moveTo>
                    <a:lnTo>
                      <a:pt x="1714" y="367"/>
                    </a:lnTo>
                    <a:lnTo>
                      <a:pt x="1714" y="369"/>
                    </a:lnTo>
                    <a:lnTo>
                      <a:pt x="1714" y="1049"/>
                    </a:lnTo>
                    <a:lnTo>
                      <a:pt x="1716" y="1049"/>
                    </a:lnTo>
                    <a:lnTo>
                      <a:pt x="1716" y="367"/>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8" y="235"/>
                    </a:lnTo>
                    <a:lnTo>
                      <a:pt x="4551" y="438"/>
                    </a:lnTo>
                    <a:lnTo>
                      <a:pt x="4554" y="436"/>
                    </a:lnTo>
                    <a:lnTo>
                      <a:pt x="4608" y="232"/>
                    </a:lnTo>
                    <a:moveTo>
                      <a:pt x="4759" y="0"/>
                    </a:moveTo>
                    <a:lnTo>
                      <a:pt x="4757" y="0"/>
                    </a:lnTo>
                    <a:lnTo>
                      <a:pt x="4757" y="3"/>
                    </a:lnTo>
                    <a:lnTo>
                      <a:pt x="4757" y="123"/>
                    </a:lnTo>
                    <a:lnTo>
                      <a:pt x="4757" y="123"/>
                    </a:lnTo>
                    <a:lnTo>
                      <a:pt x="4757" y="121"/>
                    </a:lnTo>
                    <a:lnTo>
                      <a:pt x="4759" y="121"/>
                    </a:lnTo>
                    <a:lnTo>
                      <a:pt x="47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3" name="Freeform 58"/>
              <p:cNvSpPr>
                <a:spLocks noEditPoints="1"/>
              </p:cNvSpPr>
              <p:nvPr/>
            </p:nvSpPr>
            <p:spPr bwMode="auto">
              <a:xfrm>
                <a:off x="61" y="1741"/>
                <a:ext cx="6930" cy="1373"/>
              </a:xfrm>
              <a:custGeom>
                <a:avLst/>
                <a:gdLst>
                  <a:gd name="T0" fmla="*/ 3615 w 6930"/>
                  <a:gd name="T1" fmla="*/ 1236 h 1373"/>
                  <a:gd name="T2" fmla="*/ 5734 w 6930"/>
                  <a:gd name="T3" fmla="*/ 1210 h 1373"/>
                  <a:gd name="T4" fmla="*/ 5736 w 6930"/>
                  <a:gd name="T5" fmla="*/ 1210 h 1373"/>
                  <a:gd name="T6" fmla="*/ 5760 w 6930"/>
                  <a:gd name="T7" fmla="*/ 1184 h 1373"/>
                  <a:gd name="T8" fmla="*/ 5762 w 6930"/>
                  <a:gd name="T9" fmla="*/ 1127 h 1373"/>
                  <a:gd name="T10" fmla="*/ 6228 w 6930"/>
                  <a:gd name="T11" fmla="*/ 1129 h 1373"/>
                  <a:gd name="T12" fmla="*/ 2764 w 6930"/>
                  <a:gd name="T13" fmla="*/ 1065 h 1373"/>
                  <a:gd name="T14" fmla="*/ 5836 w 6930"/>
                  <a:gd name="T15" fmla="*/ 1042 h 1373"/>
                  <a:gd name="T16" fmla="*/ 5836 w 6930"/>
                  <a:gd name="T17" fmla="*/ 1053 h 1373"/>
                  <a:gd name="T18" fmla="*/ 2783 w 6930"/>
                  <a:gd name="T19" fmla="*/ 1011 h 1373"/>
                  <a:gd name="T20" fmla="*/ 2783 w 6930"/>
                  <a:gd name="T21" fmla="*/ 1046 h 1373"/>
                  <a:gd name="T22" fmla="*/ 3677 w 6930"/>
                  <a:gd name="T23" fmla="*/ 994 h 1373"/>
                  <a:gd name="T24" fmla="*/ 3677 w 6930"/>
                  <a:gd name="T25" fmla="*/ 1162 h 1373"/>
                  <a:gd name="T26" fmla="*/ 5855 w 6930"/>
                  <a:gd name="T27" fmla="*/ 989 h 1373"/>
                  <a:gd name="T28" fmla="*/ 5852 w 6930"/>
                  <a:gd name="T29" fmla="*/ 1025 h 1373"/>
                  <a:gd name="T30" fmla="*/ 6245 w 6930"/>
                  <a:gd name="T31" fmla="*/ 935 h 1373"/>
                  <a:gd name="T32" fmla="*/ 6245 w 6930"/>
                  <a:gd name="T33" fmla="*/ 1110 h 1373"/>
                  <a:gd name="T34" fmla="*/ 6294 w 6930"/>
                  <a:gd name="T35" fmla="*/ 878 h 1373"/>
                  <a:gd name="T36" fmla="*/ 6294 w 6930"/>
                  <a:gd name="T37" fmla="*/ 888 h 1373"/>
                  <a:gd name="T38" fmla="*/ 6294 w 6930"/>
                  <a:gd name="T39" fmla="*/ 878 h 1373"/>
                  <a:gd name="T40" fmla="*/ 6301 w 6930"/>
                  <a:gd name="T41" fmla="*/ 871 h 1373"/>
                  <a:gd name="T42" fmla="*/ 6304 w 6930"/>
                  <a:gd name="T43" fmla="*/ 850 h 1373"/>
                  <a:gd name="T44" fmla="*/ 3003 w 6930"/>
                  <a:gd name="T45" fmla="*/ 899 h 1373"/>
                  <a:gd name="T46" fmla="*/ 5036 w 6930"/>
                  <a:gd name="T47" fmla="*/ 731 h 1373"/>
                  <a:gd name="T48" fmla="*/ 5039 w 6930"/>
                  <a:gd name="T49" fmla="*/ 731 h 1373"/>
                  <a:gd name="T50" fmla="*/ 3043 w 6930"/>
                  <a:gd name="T51" fmla="*/ 724 h 1373"/>
                  <a:gd name="T52" fmla="*/ 3043 w 6930"/>
                  <a:gd name="T53" fmla="*/ 656 h 1373"/>
                  <a:gd name="T54" fmla="*/ 0 w 6930"/>
                  <a:gd name="T55" fmla="*/ 1373 h 1373"/>
                  <a:gd name="T56" fmla="*/ 5157 w 6930"/>
                  <a:gd name="T57" fmla="*/ 608 h 1373"/>
                  <a:gd name="T58" fmla="*/ 5159 w 6930"/>
                  <a:gd name="T59" fmla="*/ 608 h 1373"/>
                  <a:gd name="T60" fmla="*/ 6930 w 6930"/>
                  <a:gd name="T61" fmla="*/ 1013 h 1373"/>
                  <a:gd name="T62" fmla="*/ 4098 w 6930"/>
                  <a:gd name="T63" fmla="*/ 502 h 1373"/>
                  <a:gd name="T64" fmla="*/ 3206 w 6930"/>
                  <a:gd name="T65" fmla="*/ 502 h 1373"/>
                  <a:gd name="T66" fmla="*/ 3204 w 6930"/>
                  <a:gd name="T67" fmla="*/ 566 h 1373"/>
                  <a:gd name="T68" fmla="*/ 3942 w 6930"/>
                  <a:gd name="T69" fmla="*/ 454 h 1373"/>
                  <a:gd name="T70" fmla="*/ 3939 w 6930"/>
                  <a:gd name="T71" fmla="*/ 490 h 1373"/>
                  <a:gd name="T72" fmla="*/ 3861 w 6930"/>
                  <a:gd name="T73" fmla="*/ 641 h 1373"/>
                  <a:gd name="T74" fmla="*/ 3232 w 6930"/>
                  <a:gd name="T75" fmla="*/ 433 h 1373"/>
                  <a:gd name="T76" fmla="*/ 3232 w 6930"/>
                  <a:gd name="T77" fmla="*/ 471 h 1373"/>
                  <a:gd name="T78" fmla="*/ 3946 w 6930"/>
                  <a:gd name="T79" fmla="*/ 390 h 1373"/>
                  <a:gd name="T80" fmla="*/ 3949 w 6930"/>
                  <a:gd name="T81" fmla="*/ 450 h 1373"/>
                  <a:gd name="T82" fmla="*/ 1714 w 6930"/>
                  <a:gd name="T83" fmla="*/ 369 h 1373"/>
                  <a:gd name="T84" fmla="*/ 1714 w 6930"/>
                  <a:gd name="T85" fmla="*/ 1051 h 1373"/>
                  <a:gd name="T86" fmla="*/ 3953 w 6930"/>
                  <a:gd name="T87" fmla="*/ 329 h 1373"/>
                  <a:gd name="T88" fmla="*/ 3956 w 6930"/>
                  <a:gd name="T89" fmla="*/ 381 h 1373"/>
                  <a:gd name="T90" fmla="*/ 4606 w 6930"/>
                  <a:gd name="T91" fmla="*/ 234 h 1373"/>
                  <a:gd name="T92" fmla="*/ 4757 w 6930"/>
                  <a:gd name="T93" fmla="*/ 0 h 1373"/>
                  <a:gd name="T94" fmla="*/ 4757 w 6930"/>
                  <a:gd name="T95" fmla="*/ 123 h 1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30" h="1373">
                    <a:moveTo>
                      <a:pt x="3618" y="1221"/>
                    </a:moveTo>
                    <a:lnTo>
                      <a:pt x="3615" y="1221"/>
                    </a:lnTo>
                    <a:lnTo>
                      <a:pt x="3615" y="1224"/>
                    </a:lnTo>
                    <a:lnTo>
                      <a:pt x="3615" y="1236"/>
                    </a:lnTo>
                    <a:lnTo>
                      <a:pt x="3618" y="1236"/>
                    </a:lnTo>
                    <a:lnTo>
                      <a:pt x="3618" y="1221"/>
                    </a:lnTo>
                    <a:close/>
                    <a:moveTo>
                      <a:pt x="5736" y="1210"/>
                    </a:moveTo>
                    <a:lnTo>
                      <a:pt x="5734" y="1210"/>
                    </a:lnTo>
                    <a:lnTo>
                      <a:pt x="5734" y="1210"/>
                    </a:lnTo>
                    <a:lnTo>
                      <a:pt x="5734" y="1245"/>
                    </a:lnTo>
                    <a:lnTo>
                      <a:pt x="5736" y="1245"/>
                    </a:lnTo>
                    <a:lnTo>
                      <a:pt x="5736" y="1210"/>
                    </a:lnTo>
                    <a:close/>
                    <a:moveTo>
                      <a:pt x="5762" y="1127"/>
                    </a:moveTo>
                    <a:lnTo>
                      <a:pt x="5760" y="1127"/>
                    </a:lnTo>
                    <a:lnTo>
                      <a:pt x="5760" y="1129"/>
                    </a:lnTo>
                    <a:lnTo>
                      <a:pt x="5760" y="1184"/>
                    </a:lnTo>
                    <a:lnTo>
                      <a:pt x="5760" y="1184"/>
                    </a:lnTo>
                    <a:lnTo>
                      <a:pt x="5760" y="1184"/>
                    </a:lnTo>
                    <a:lnTo>
                      <a:pt x="5762" y="1184"/>
                    </a:lnTo>
                    <a:lnTo>
                      <a:pt x="5762" y="1127"/>
                    </a:lnTo>
                    <a:close/>
                    <a:moveTo>
                      <a:pt x="6228" y="1127"/>
                    </a:moveTo>
                    <a:lnTo>
                      <a:pt x="6226" y="1127"/>
                    </a:lnTo>
                    <a:lnTo>
                      <a:pt x="6226" y="1129"/>
                    </a:lnTo>
                    <a:lnTo>
                      <a:pt x="6228" y="1129"/>
                    </a:lnTo>
                    <a:lnTo>
                      <a:pt x="6228" y="1127"/>
                    </a:lnTo>
                    <a:close/>
                    <a:moveTo>
                      <a:pt x="2767" y="1063"/>
                    </a:moveTo>
                    <a:lnTo>
                      <a:pt x="2764" y="1063"/>
                    </a:lnTo>
                    <a:lnTo>
                      <a:pt x="2764" y="1065"/>
                    </a:lnTo>
                    <a:lnTo>
                      <a:pt x="2764" y="1160"/>
                    </a:lnTo>
                    <a:lnTo>
                      <a:pt x="2767" y="1160"/>
                    </a:lnTo>
                    <a:lnTo>
                      <a:pt x="2767" y="1063"/>
                    </a:lnTo>
                    <a:close/>
                    <a:moveTo>
                      <a:pt x="5836" y="1042"/>
                    </a:moveTo>
                    <a:lnTo>
                      <a:pt x="5836" y="1042"/>
                    </a:lnTo>
                    <a:lnTo>
                      <a:pt x="5836" y="1044"/>
                    </a:lnTo>
                    <a:lnTo>
                      <a:pt x="5836" y="1053"/>
                    </a:lnTo>
                    <a:lnTo>
                      <a:pt x="5836" y="1053"/>
                    </a:lnTo>
                    <a:lnTo>
                      <a:pt x="5836" y="1051"/>
                    </a:lnTo>
                    <a:lnTo>
                      <a:pt x="5836" y="1051"/>
                    </a:lnTo>
                    <a:lnTo>
                      <a:pt x="5836" y="1042"/>
                    </a:lnTo>
                    <a:close/>
                    <a:moveTo>
                      <a:pt x="2783" y="1011"/>
                    </a:moveTo>
                    <a:lnTo>
                      <a:pt x="2781" y="1013"/>
                    </a:lnTo>
                    <a:lnTo>
                      <a:pt x="2781" y="1013"/>
                    </a:lnTo>
                    <a:lnTo>
                      <a:pt x="2781" y="1046"/>
                    </a:lnTo>
                    <a:lnTo>
                      <a:pt x="2783" y="1046"/>
                    </a:lnTo>
                    <a:lnTo>
                      <a:pt x="2783" y="1044"/>
                    </a:lnTo>
                    <a:lnTo>
                      <a:pt x="2783" y="1044"/>
                    </a:lnTo>
                    <a:lnTo>
                      <a:pt x="2783" y="1011"/>
                    </a:lnTo>
                    <a:close/>
                    <a:moveTo>
                      <a:pt x="3677" y="994"/>
                    </a:moveTo>
                    <a:lnTo>
                      <a:pt x="3674" y="994"/>
                    </a:lnTo>
                    <a:lnTo>
                      <a:pt x="3674" y="994"/>
                    </a:lnTo>
                    <a:lnTo>
                      <a:pt x="3674" y="1162"/>
                    </a:lnTo>
                    <a:lnTo>
                      <a:pt x="3677" y="1162"/>
                    </a:lnTo>
                    <a:lnTo>
                      <a:pt x="3677" y="1160"/>
                    </a:lnTo>
                    <a:lnTo>
                      <a:pt x="3677" y="1160"/>
                    </a:lnTo>
                    <a:lnTo>
                      <a:pt x="3677" y="994"/>
                    </a:lnTo>
                    <a:close/>
                    <a:moveTo>
                      <a:pt x="5855" y="989"/>
                    </a:moveTo>
                    <a:lnTo>
                      <a:pt x="5852" y="989"/>
                    </a:lnTo>
                    <a:lnTo>
                      <a:pt x="5852" y="992"/>
                    </a:lnTo>
                    <a:lnTo>
                      <a:pt x="5852" y="1025"/>
                    </a:lnTo>
                    <a:lnTo>
                      <a:pt x="5852" y="1025"/>
                    </a:lnTo>
                    <a:lnTo>
                      <a:pt x="5852" y="1023"/>
                    </a:lnTo>
                    <a:lnTo>
                      <a:pt x="5855" y="1023"/>
                    </a:lnTo>
                    <a:lnTo>
                      <a:pt x="5855" y="989"/>
                    </a:lnTo>
                    <a:close/>
                    <a:moveTo>
                      <a:pt x="6245" y="935"/>
                    </a:moveTo>
                    <a:lnTo>
                      <a:pt x="6245" y="935"/>
                    </a:lnTo>
                    <a:lnTo>
                      <a:pt x="6245" y="937"/>
                    </a:lnTo>
                    <a:lnTo>
                      <a:pt x="6245" y="1110"/>
                    </a:lnTo>
                    <a:lnTo>
                      <a:pt x="6245" y="1110"/>
                    </a:lnTo>
                    <a:lnTo>
                      <a:pt x="6245" y="1110"/>
                    </a:lnTo>
                    <a:lnTo>
                      <a:pt x="6245" y="1110"/>
                    </a:lnTo>
                    <a:lnTo>
                      <a:pt x="6245" y="935"/>
                    </a:lnTo>
                    <a:close/>
                    <a:moveTo>
                      <a:pt x="6294" y="878"/>
                    </a:moveTo>
                    <a:lnTo>
                      <a:pt x="6294" y="878"/>
                    </a:lnTo>
                    <a:lnTo>
                      <a:pt x="6294" y="878"/>
                    </a:lnTo>
                    <a:lnTo>
                      <a:pt x="6294" y="881"/>
                    </a:lnTo>
                    <a:lnTo>
                      <a:pt x="6294" y="888"/>
                    </a:lnTo>
                    <a:lnTo>
                      <a:pt x="6294" y="888"/>
                    </a:lnTo>
                    <a:lnTo>
                      <a:pt x="6294" y="885"/>
                    </a:lnTo>
                    <a:lnTo>
                      <a:pt x="6294" y="885"/>
                    </a:lnTo>
                    <a:lnTo>
                      <a:pt x="6294" y="878"/>
                    </a:lnTo>
                    <a:close/>
                    <a:moveTo>
                      <a:pt x="6304" y="850"/>
                    </a:moveTo>
                    <a:lnTo>
                      <a:pt x="6301" y="850"/>
                    </a:lnTo>
                    <a:lnTo>
                      <a:pt x="6301" y="852"/>
                    </a:lnTo>
                    <a:lnTo>
                      <a:pt x="6301" y="871"/>
                    </a:lnTo>
                    <a:lnTo>
                      <a:pt x="6304" y="871"/>
                    </a:lnTo>
                    <a:lnTo>
                      <a:pt x="6304" y="869"/>
                    </a:lnTo>
                    <a:lnTo>
                      <a:pt x="6304" y="869"/>
                    </a:lnTo>
                    <a:lnTo>
                      <a:pt x="6304" y="850"/>
                    </a:lnTo>
                    <a:close/>
                    <a:moveTo>
                      <a:pt x="3005" y="762"/>
                    </a:moveTo>
                    <a:lnTo>
                      <a:pt x="3003" y="762"/>
                    </a:lnTo>
                    <a:lnTo>
                      <a:pt x="3003" y="765"/>
                    </a:lnTo>
                    <a:lnTo>
                      <a:pt x="3003" y="899"/>
                    </a:lnTo>
                    <a:lnTo>
                      <a:pt x="3005" y="899"/>
                    </a:lnTo>
                    <a:lnTo>
                      <a:pt x="3005" y="762"/>
                    </a:lnTo>
                    <a:close/>
                    <a:moveTo>
                      <a:pt x="5039" y="731"/>
                    </a:moveTo>
                    <a:lnTo>
                      <a:pt x="5036" y="731"/>
                    </a:lnTo>
                    <a:lnTo>
                      <a:pt x="5036" y="734"/>
                    </a:lnTo>
                    <a:lnTo>
                      <a:pt x="5036" y="892"/>
                    </a:lnTo>
                    <a:lnTo>
                      <a:pt x="5039" y="892"/>
                    </a:lnTo>
                    <a:lnTo>
                      <a:pt x="5039" y="731"/>
                    </a:lnTo>
                    <a:close/>
                    <a:moveTo>
                      <a:pt x="3043" y="656"/>
                    </a:moveTo>
                    <a:lnTo>
                      <a:pt x="3043" y="656"/>
                    </a:lnTo>
                    <a:lnTo>
                      <a:pt x="3043" y="658"/>
                    </a:lnTo>
                    <a:lnTo>
                      <a:pt x="3043" y="724"/>
                    </a:lnTo>
                    <a:lnTo>
                      <a:pt x="3043" y="724"/>
                    </a:lnTo>
                    <a:lnTo>
                      <a:pt x="3043" y="724"/>
                    </a:lnTo>
                    <a:lnTo>
                      <a:pt x="3043" y="724"/>
                    </a:lnTo>
                    <a:lnTo>
                      <a:pt x="3043" y="656"/>
                    </a:lnTo>
                    <a:close/>
                    <a:moveTo>
                      <a:pt x="2" y="615"/>
                    </a:moveTo>
                    <a:lnTo>
                      <a:pt x="0" y="615"/>
                    </a:lnTo>
                    <a:lnTo>
                      <a:pt x="0" y="618"/>
                    </a:lnTo>
                    <a:lnTo>
                      <a:pt x="0" y="1373"/>
                    </a:lnTo>
                    <a:lnTo>
                      <a:pt x="2" y="1373"/>
                    </a:lnTo>
                    <a:lnTo>
                      <a:pt x="2" y="615"/>
                    </a:lnTo>
                    <a:close/>
                    <a:moveTo>
                      <a:pt x="5159" y="608"/>
                    </a:moveTo>
                    <a:lnTo>
                      <a:pt x="5157" y="608"/>
                    </a:lnTo>
                    <a:lnTo>
                      <a:pt x="5157" y="611"/>
                    </a:lnTo>
                    <a:lnTo>
                      <a:pt x="5157" y="651"/>
                    </a:lnTo>
                    <a:lnTo>
                      <a:pt x="5159" y="651"/>
                    </a:lnTo>
                    <a:lnTo>
                      <a:pt x="5159" y="608"/>
                    </a:lnTo>
                    <a:close/>
                    <a:moveTo>
                      <a:pt x="6930" y="509"/>
                    </a:moveTo>
                    <a:lnTo>
                      <a:pt x="6930" y="509"/>
                    </a:lnTo>
                    <a:lnTo>
                      <a:pt x="6930" y="511"/>
                    </a:lnTo>
                    <a:lnTo>
                      <a:pt x="6930" y="1013"/>
                    </a:lnTo>
                    <a:lnTo>
                      <a:pt x="6930" y="1013"/>
                    </a:lnTo>
                    <a:lnTo>
                      <a:pt x="6930" y="509"/>
                    </a:lnTo>
                    <a:close/>
                    <a:moveTo>
                      <a:pt x="4100" y="502"/>
                    </a:moveTo>
                    <a:lnTo>
                      <a:pt x="4098" y="502"/>
                    </a:lnTo>
                    <a:lnTo>
                      <a:pt x="4098" y="504"/>
                    </a:lnTo>
                    <a:lnTo>
                      <a:pt x="4098" y="504"/>
                    </a:lnTo>
                    <a:lnTo>
                      <a:pt x="4100" y="502"/>
                    </a:lnTo>
                    <a:close/>
                    <a:moveTo>
                      <a:pt x="3206" y="502"/>
                    </a:moveTo>
                    <a:lnTo>
                      <a:pt x="3204" y="502"/>
                    </a:lnTo>
                    <a:lnTo>
                      <a:pt x="3204" y="502"/>
                    </a:lnTo>
                    <a:lnTo>
                      <a:pt x="3204" y="566"/>
                    </a:lnTo>
                    <a:lnTo>
                      <a:pt x="3204" y="566"/>
                    </a:lnTo>
                    <a:lnTo>
                      <a:pt x="3204" y="563"/>
                    </a:lnTo>
                    <a:lnTo>
                      <a:pt x="3206" y="563"/>
                    </a:lnTo>
                    <a:lnTo>
                      <a:pt x="3206" y="502"/>
                    </a:lnTo>
                    <a:close/>
                    <a:moveTo>
                      <a:pt x="3942" y="454"/>
                    </a:moveTo>
                    <a:lnTo>
                      <a:pt x="3942" y="454"/>
                    </a:lnTo>
                    <a:lnTo>
                      <a:pt x="3939" y="454"/>
                    </a:lnTo>
                    <a:lnTo>
                      <a:pt x="3939" y="457"/>
                    </a:lnTo>
                    <a:lnTo>
                      <a:pt x="3939" y="490"/>
                    </a:lnTo>
                    <a:lnTo>
                      <a:pt x="3859" y="644"/>
                    </a:lnTo>
                    <a:lnTo>
                      <a:pt x="3859" y="847"/>
                    </a:lnTo>
                    <a:lnTo>
                      <a:pt x="3861" y="847"/>
                    </a:lnTo>
                    <a:lnTo>
                      <a:pt x="3861" y="641"/>
                    </a:lnTo>
                    <a:lnTo>
                      <a:pt x="3942" y="490"/>
                    </a:lnTo>
                    <a:lnTo>
                      <a:pt x="3942" y="454"/>
                    </a:lnTo>
                    <a:close/>
                    <a:moveTo>
                      <a:pt x="3235" y="433"/>
                    </a:moveTo>
                    <a:lnTo>
                      <a:pt x="3232" y="433"/>
                    </a:lnTo>
                    <a:lnTo>
                      <a:pt x="3232" y="435"/>
                    </a:lnTo>
                    <a:lnTo>
                      <a:pt x="3232" y="473"/>
                    </a:lnTo>
                    <a:lnTo>
                      <a:pt x="3232" y="473"/>
                    </a:lnTo>
                    <a:lnTo>
                      <a:pt x="3232" y="471"/>
                    </a:lnTo>
                    <a:lnTo>
                      <a:pt x="3235" y="471"/>
                    </a:lnTo>
                    <a:lnTo>
                      <a:pt x="3235" y="433"/>
                    </a:lnTo>
                    <a:close/>
                    <a:moveTo>
                      <a:pt x="3949" y="390"/>
                    </a:moveTo>
                    <a:lnTo>
                      <a:pt x="3946" y="390"/>
                    </a:lnTo>
                    <a:lnTo>
                      <a:pt x="3946" y="390"/>
                    </a:lnTo>
                    <a:lnTo>
                      <a:pt x="3946" y="393"/>
                    </a:lnTo>
                    <a:lnTo>
                      <a:pt x="3946" y="450"/>
                    </a:lnTo>
                    <a:lnTo>
                      <a:pt x="3949" y="450"/>
                    </a:lnTo>
                    <a:lnTo>
                      <a:pt x="3949" y="447"/>
                    </a:lnTo>
                    <a:lnTo>
                      <a:pt x="3949" y="447"/>
                    </a:lnTo>
                    <a:lnTo>
                      <a:pt x="3949" y="390"/>
                    </a:lnTo>
                    <a:close/>
                    <a:moveTo>
                      <a:pt x="1714" y="369"/>
                    </a:moveTo>
                    <a:lnTo>
                      <a:pt x="1714" y="369"/>
                    </a:lnTo>
                    <a:lnTo>
                      <a:pt x="1714" y="369"/>
                    </a:lnTo>
                    <a:lnTo>
                      <a:pt x="1714" y="1051"/>
                    </a:lnTo>
                    <a:lnTo>
                      <a:pt x="1714" y="1051"/>
                    </a:lnTo>
                    <a:lnTo>
                      <a:pt x="1714" y="369"/>
                    </a:lnTo>
                    <a:close/>
                    <a:moveTo>
                      <a:pt x="3956" y="327"/>
                    </a:moveTo>
                    <a:lnTo>
                      <a:pt x="3953" y="327"/>
                    </a:lnTo>
                    <a:lnTo>
                      <a:pt x="3953" y="329"/>
                    </a:lnTo>
                    <a:lnTo>
                      <a:pt x="3953" y="383"/>
                    </a:lnTo>
                    <a:lnTo>
                      <a:pt x="3956" y="383"/>
                    </a:lnTo>
                    <a:lnTo>
                      <a:pt x="3956" y="381"/>
                    </a:lnTo>
                    <a:lnTo>
                      <a:pt x="3956" y="381"/>
                    </a:lnTo>
                    <a:lnTo>
                      <a:pt x="3956" y="327"/>
                    </a:lnTo>
                    <a:close/>
                    <a:moveTo>
                      <a:pt x="4608" y="232"/>
                    </a:moveTo>
                    <a:lnTo>
                      <a:pt x="4608" y="232"/>
                    </a:lnTo>
                    <a:lnTo>
                      <a:pt x="4606" y="234"/>
                    </a:lnTo>
                    <a:lnTo>
                      <a:pt x="4552" y="438"/>
                    </a:lnTo>
                    <a:lnTo>
                      <a:pt x="4554" y="438"/>
                    </a:lnTo>
                    <a:lnTo>
                      <a:pt x="4608" y="232"/>
                    </a:lnTo>
                    <a:close/>
                    <a:moveTo>
                      <a:pt x="4757" y="0"/>
                    </a:moveTo>
                    <a:lnTo>
                      <a:pt x="4757" y="0"/>
                    </a:lnTo>
                    <a:lnTo>
                      <a:pt x="4757" y="2"/>
                    </a:lnTo>
                    <a:lnTo>
                      <a:pt x="4757" y="123"/>
                    </a:lnTo>
                    <a:lnTo>
                      <a:pt x="4757" y="123"/>
                    </a:lnTo>
                    <a:lnTo>
                      <a:pt x="4757" y="123"/>
                    </a:lnTo>
                    <a:lnTo>
                      <a:pt x="4757" y="123"/>
                    </a:lnTo>
                    <a:lnTo>
                      <a:pt x="4757" y="0"/>
                    </a:lnTo>
                    <a:close/>
                  </a:path>
                </a:pathLst>
              </a:custGeom>
              <a:solidFill>
                <a:srgbClr val="F4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4" name="Freeform 59"/>
              <p:cNvSpPr>
                <a:spLocks noEditPoints="1"/>
              </p:cNvSpPr>
              <p:nvPr/>
            </p:nvSpPr>
            <p:spPr bwMode="auto">
              <a:xfrm>
                <a:off x="61" y="1741"/>
                <a:ext cx="6930" cy="1373"/>
              </a:xfrm>
              <a:custGeom>
                <a:avLst/>
                <a:gdLst>
                  <a:gd name="T0" fmla="*/ 3615 w 6930"/>
                  <a:gd name="T1" fmla="*/ 1236 h 1373"/>
                  <a:gd name="T2" fmla="*/ 5734 w 6930"/>
                  <a:gd name="T3" fmla="*/ 1210 h 1373"/>
                  <a:gd name="T4" fmla="*/ 5736 w 6930"/>
                  <a:gd name="T5" fmla="*/ 1210 h 1373"/>
                  <a:gd name="T6" fmla="*/ 5760 w 6930"/>
                  <a:gd name="T7" fmla="*/ 1184 h 1373"/>
                  <a:gd name="T8" fmla="*/ 5762 w 6930"/>
                  <a:gd name="T9" fmla="*/ 1127 h 1373"/>
                  <a:gd name="T10" fmla="*/ 6228 w 6930"/>
                  <a:gd name="T11" fmla="*/ 1129 h 1373"/>
                  <a:gd name="T12" fmla="*/ 2764 w 6930"/>
                  <a:gd name="T13" fmla="*/ 1065 h 1373"/>
                  <a:gd name="T14" fmla="*/ 5836 w 6930"/>
                  <a:gd name="T15" fmla="*/ 1042 h 1373"/>
                  <a:gd name="T16" fmla="*/ 5836 w 6930"/>
                  <a:gd name="T17" fmla="*/ 1053 h 1373"/>
                  <a:gd name="T18" fmla="*/ 2783 w 6930"/>
                  <a:gd name="T19" fmla="*/ 1011 h 1373"/>
                  <a:gd name="T20" fmla="*/ 2783 w 6930"/>
                  <a:gd name="T21" fmla="*/ 1046 h 1373"/>
                  <a:gd name="T22" fmla="*/ 3677 w 6930"/>
                  <a:gd name="T23" fmla="*/ 994 h 1373"/>
                  <a:gd name="T24" fmla="*/ 3677 w 6930"/>
                  <a:gd name="T25" fmla="*/ 1162 h 1373"/>
                  <a:gd name="T26" fmla="*/ 5855 w 6930"/>
                  <a:gd name="T27" fmla="*/ 989 h 1373"/>
                  <a:gd name="T28" fmla="*/ 5852 w 6930"/>
                  <a:gd name="T29" fmla="*/ 1025 h 1373"/>
                  <a:gd name="T30" fmla="*/ 6245 w 6930"/>
                  <a:gd name="T31" fmla="*/ 935 h 1373"/>
                  <a:gd name="T32" fmla="*/ 6245 w 6930"/>
                  <a:gd name="T33" fmla="*/ 1110 h 1373"/>
                  <a:gd name="T34" fmla="*/ 6294 w 6930"/>
                  <a:gd name="T35" fmla="*/ 878 h 1373"/>
                  <a:gd name="T36" fmla="*/ 6294 w 6930"/>
                  <a:gd name="T37" fmla="*/ 888 h 1373"/>
                  <a:gd name="T38" fmla="*/ 6294 w 6930"/>
                  <a:gd name="T39" fmla="*/ 878 h 1373"/>
                  <a:gd name="T40" fmla="*/ 6301 w 6930"/>
                  <a:gd name="T41" fmla="*/ 871 h 1373"/>
                  <a:gd name="T42" fmla="*/ 6304 w 6930"/>
                  <a:gd name="T43" fmla="*/ 850 h 1373"/>
                  <a:gd name="T44" fmla="*/ 3003 w 6930"/>
                  <a:gd name="T45" fmla="*/ 899 h 1373"/>
                  <a:gd name="T46" fmla="*/ 5036 w 6930"/>
                  <a:gd name="T47" fmla="*/ 731 h 1373"/>
                  <a:gd name="T48" fmla="*/ 5039 w 6930"/>
                  <a:gd name="T49" fmla="*/ 731 h 1373"/>
                  <a:gd name="T50" fmla="*/ 3043 w 6930"/>
                  <a:gd name="T51" fmla="*/ 724 h 1373"/>
                  <a:gd name="T52" fmla="*/ 3043 w 6930"/>
                  <a:gd name="T53" fmla="*/ 656 h 1373"/>
                  <a:gd name="T54" fmla="*/ 0 w 6930"/>
                  <a:gd name="T55" fmla="*/ 1373 h 1373"/>
                  <a:gd name="T56" fmla="*/ 5157 w 6930"/>
                  <a:gd name="T57" fmla="*/ 608 h 1373"/>
                  <a:gd name="T58" fmla="*/ 5159 w 6930"/>
                  <a:gd name="T59" fmla="*/ 608 h 1373"/>
                  <a:gd name="T60" fmla="*/ 6930 w 6930"/>
                  <a:gd name="T61" fmla="*/ 1013 h 1373"/>
                  <a:gd name="T62" fmla="*/ 4098 w 6930"/>
                  <a:gd name="T63" fmla="*/ 502 h 1373"/>
                  <a:gd name="T64" fmla="*/ 3206 w 6930"/>
                  <a:gd name="T65" fmla="*/ 502 h 1373"/>
                  <a:gd name="T66" fmla="*/ 3204 w 6930"/>
                  <a:gd name="T67" fmla="*/ 566 h 1373"/>
                  <a:gd name="T68" fmla="*/ 3942 w 6930"/>
                  <a:gd name="T69" fmla="*/ 454 h 1373"/>
                  <a:gd name="T70" fmla="*/ 3939 w 6930"/>
                  <a:gd name="T71" fmla="*/ 490 h 1373"/>
                  <a:gd name="T72" fmla="*/ 3861 w 6930"/>
                  <a:gd name="T73" fmla="*/ 641 h 1373"/>
                  <a:gd name="T74" fmla="*/ 3232 w 6930"/>
                  <a:gd name="T75" fmla="*/ 433 h 1373"/>
                  <a:gd name="T76" fmla="*/ 3232 w 6930"/>
                  <a:gd name="T77" fmla="*/ 471 h 1373"/>
                  <a:gd name="T78" fmla="*/ 3946 w 6930"/>
                  <a:gd name="T79" fmla="*/ 390 h 1373"/>
                  <a:gd name="T80" fmla="*/ 3949 w 6930"/>
                  <a:gd name="T81" fmla="*/ 450 h 1373"/>
                  <a:gd name="T82" fmla="*/ 1714 w 6930"/>
                  <a:gd name="T83" fmla="*/ 369 h 1373"/>
                  <a:gd name="T84" fmla="*/ 1714 w 6930"/>
                  <a:gd name="T85" fmla="*/ 1051 h 1373"/>
                  <a:gd name="T86" fmla="*/ 3953 w 6930"/>
                  <a:gd name="T87" fmla="*/ 329 h 1373"/>
                  <a:gd name="T88" fmla="*/ 3956 w 6930"/>
                  <a:gd name="T89" fmla="*/ 381 h 1373"/>
                  <a:gd name="T90" fmla="*/ 4606 w 6930"/>
                  <a:gd name="T91" fmla="*/ 234 h 1373"/>
                  <a:gd name="T92" fmla="*/ 4757 w 6930"/>
                  <a:gd name="T93" fmla="*/ 0 h 1373"/>
                  <a:gd name="T94" fmla="*/ 4757 w 6930"/>
                  <a:gd name="T95" fmla="*/ 123 h 1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30" h="1373">
                    <a:moveTo>
                      <a:pt x="3618" y="1221"/>
                    </a:moveTo>
                    <a:lnTo>
                      <a:pt x="3615" y="1221"/>
                    </a:lnTo>
                    <a:lnTo>
                      <a:pt x="3615" y="1224"/>
                    </a:lnTo>
                    <a:lnTo>
                      <a:pt x="3615" y="1236"/>
                    </a:lnTo>
                    <a:lnTo>
                      <a:pt x="3618" y="1236"/>
                    </a:lnTo>
                    <a:lnTo>
                      <a:pt x="3618" y="1221"/>
                    </a:lnTo>
                    <a:moveTo>
                      <a:pt x="5736" y="1210"/>
                    </a:moveTo>
                    <a:lnTo>
                      <a:pt x="5734" y="1210"/>
                    </a:lnTo>
                    <a:lnTo>
                      <a:pt x="5734" y="1210"/>
                    </a:lnTo>
                    <a:lnTo>
                      <a:pt x="5734" y="1245"/>
                    </a:lnTo>
                    <a:lnTo>
                      <a:pt x="5736" y="1245"/>
                    </a:lnTo>
                    <a:lnTo>
                      <a:pt x="5736" y="1210"/>
                    </a:lnTo>
                    <a:moveTo>
                      <a:pt x="5762" y="1127"/>
                    </a:moveTo>
                    <a:lnTo>
                      <a:pt x="5760" y="1127"/>
                    </a:lnTo>
                    <a:lnTo>
                      <a:pt x="5760" y="1129"/>
                    </a:lnTo>
                    <a:lnTo>
                      <a:pt x="5760" y="1184"/>
                    </a:lnTo>
                    <a:lnTo>
                      <a:pt x="5760" y="1184"/>
                    </a:lnTo>
                    <a:lnTo>
                      <a:pt x="5760" y="1184"/>
                    </a:lnTo>
                    <a:lnTo>
                      <a:pt x="5762" y="1184"/>
                    </a:lnTo>
                    <a:lnTo>
                      <a:pt x="5762" y="1127"/>
                    </a:lnTo>
                    <a:moveTo>
                      <a:pt x="6228" y="1127"/>
                    </a:moveTo>
                    <a:lnTo>
                      <a:pt x="6226" y="1127"/>
                    </a:lnTo>
                    <a:lnTo>
                      <a:pt x="6226" y="1129"/>
                    </a:lnTo>
                    <a:lnTo>
                      <a:pt x="6228" y="1129"/>
                    </a:lnTo>
                    <a:lnTo>
                      <a:pt x="6228" y="1127"/>
                    </a:lnTo>
                    <a:moveTo>
                      <a:pt x="2767" y="1063"/>
                    </a:moveTo>
                    <a:lnTo>
                      <a:pt x="2764" y="1063"/>
                    </a:lnTo>
                    <a:lnTo>
                      <a:pt x="2764" y="1065"/>
                    </a:lnTo>
                    <a:lnTo>
                      <a:pt x="2764" y="1160"/>
                    </a:lnTo>
                    <a:lnTo>
                      <a:pt x="2767" y="1160"/>
                    </a:lnTo>
                    <a:lnTo>
                      <a:pt x="2767" y="1063"/>
                    </a:lnTo>
                    <a:moveTo>
                      <a:pt x="5836" y="1042"/>
                    </a:moveTo>
                    <a:lnTo>
                      <a:pt x="5836" y="1042"/>
                    </a:lnTo>
                    <a:lnTo>
                      <a:pt x="5836" y="1044"/>
                    </a:lnTo>
                    <a:lnTo>
                      <a:pt x="5836" y="1053"/>
                    </a:lnTo>
                    <a:lnTo>
                      <a:pt x="5836" y="1053"/>
                    </a:lnTo>
                    <a:lnTo>
                      <a:pt x="5836" y="1051"/>
                    </a:lnTo>
                    <a:lnTo>
                      <a:pt x="5836" y="1051"/>
                    </a:lnTo>
                    <a:lnTo>
                      <a:pt x="5836" y="1042"/>
                    </a:lnTo>
                    <a:moveTo>
                      <a:pt x="2783" y="1011"/>
                    </a:moveTo>
                    <a:lnTo>
                      <a:pt x="2781" y="1013"/>
                    </a:lnTo>
                    <a:lnTo>
                      <a:pt x="2781" y="1013"/>
                    </a:lnTo>
                    <a:lnTo>
                      <a:pt x="2781" y="1046"/>
                    </a:lnTo>
                    <a:lnTo>
                      <a:pt x="2783" y="1046"/>
                    </a:lnTo>
                    <a:lnTo>
                      <a:pt x="2783" y="1044"/>
                    </a:lnTo>
                    <a:lnTo>
                      <a:pt x="2783" y="1044"/>
                    </a:lnTo>
                    <a:lnTo>
                      <a:pt x="2783" y="1011"/>
                    </a:lnTo>
                    <a:moveTo>
                      <a:pt x="3677" y="994"/>
                    </a:moveTo>
                    <a:lnTo>
                      <a:pt x="3674" y="994"/>
                    </a:lnTo>
                    <a:lnTo>
                      <a:pt x="3674" y="994"/>
                    </a:lnTo>
                    <a:lnTo>
                      <a:pt x="3674" y="1162"/>
                    </a:lnTo>
                    <a:lnTo>
                      <a:pt x="3677" y="1162"/>
                    </a:lnTo>
                    <a:lnTo>
                      <a:pt x="3677" y="1160"/>
                    </a:lnTo>
                    <a:lnTo>
                      <a:pt x="3677" y="1160"/>
                    </a:lnTo>
                    <a:lnTo>
                      <a:pt x="3677" y="994"/>
                    </a:lnTo>
                    <a:moveTo>
                      <a:pt x="5855" y="989"/>
                    </a:moveTo>
                    <a:lnTo>
                      <a:pt x="5852" y="989"/>
                    </a:lnTo>
                    <a:lnTo>
                      <a:pt x="5852" y="992"/>
                    </a:lnTo>
                    <a:lnTo>
                      <a:pt x="5852" y="1025"/>
                    </a:lnTo>
                    <a:lnTo>
                      <a:pt x="5852" y="1025"/>
                    </a:lnTo>
                    <a:lnTo>
                      <a:pt x="5852" y="1023"/>
                    </a:lnTo>
                    <a:lnTo>
                      <a:pt x="5855" y="1023"/>
                    </a:lnTo>
                    <a:lnTo>
                      <a:pt x="5855" y="989"/>
                    </a:lnTo>
                    <a:moveTo>
                      <a:pt x="6245" y="935"/>
                    </a:moveTo>
                    <a:lnTo>
                      <a:pt x="6245" y="935"/>
                    </a:lnTo>
                    <a:lnTo>
                      <a:pt x="6245" y="937"/>
                    </a:lnTo>
                    <a:lnTo>
                      <a:pt x="6245" y="1110"/>
                    </a:lnTo>
                    <a:lnTo>
                      <a:pt x="6245" y="1110"/>
                    </a:lnTo>
                    <a:lnTo>
                      <a:pt x="6245" y="1110"/>
                    </a:lnTo>
                    <a:lnTo>
                      <a:pt x="6245" y="1110"/>
                    </a:lnTo>
                    <a:lnTo>
                      <a:pt x="6245" y="935"/>
                    </a:lnTo>
                    <a:moveTo>
                      <a:pt x="6294" y="878"/>
                    </a:moveTo>
                    <a:lnTo>
                      <a:pt x="6294" y="878"/>
                    </a:lnTo>
                    <a:lnTo>
                      <a:pt x="6294" y="878"/>
                    </a:lnTo>
                    <a:lnTo>
                      <a:pt x="6294" y="881"/>
                    </a:lnTo>
                    <a:lnTo>
                      <a:pt x="6294" y="888"/>
                    </a:lnTo>
                    <a:lnTo>
                      <a:pt x="6294" y="888"/>
                    </a:lnTo>
                    <a:lnTo>
                      <a:pt x="6294" y="885"/>
                    </a:lnTo>
                    <a:lnTo>
                      <a:pt x="6294" y="885"/>
                    </a:lnTo>
                    <a:lnTo>
                      <a:pt x="6294" y="878"/>
                    </a:lnTo>
                    <a:moveTo>
                      <a:pt x="6304" y="850"/>
                    </a:moveTo>
                    <a:lnTo>
                      <a:pt x="6301" y="850"/>
                    </a:lnTo>
                    <a:lnTo>
                      <a:pt x="6301" y="852"/>
                    </a:lnTo>
                    <a:lnTo>
                      <a:pt x="6301" y="871"/>
                    </a:lnTo>
                    <a:lnTo>
                      <a:pt x="6304" y="871"/>
                    </a:lnTo>
                    <a:lnTo>
                      <a:pt x="6304" y="869"/>
                    </a:lnTo>
                    <a:lnTo>
                      <a:pt x="6304" y="869"/>
                    </a:lnTo>
                    <a:lnTo>
                      <a:pt x="6304" y="850"/>
                    </a:lnTo>
                    <a:moveTo>
                      <a:pt x="3005" y="762"/>
                    </a:moveTo>
                    <a:lnTo>
                      <a:pt x="3003" y="762"/>
                    </a:lnTo>
                    <a:lnTo>
                      <a:pt x="3003" y="765"/>
                    </a:lnTo>
                    <a:lnTo>
                      <a:pt x="3003" y="899"/>
                    </a:lnTo>
                    <a:lnTo>
                      <a:pt x="3005" y="899"/>
                    </a:lnTo>
                    <a:lnTo>
                      <a:pt x="3005" y="762"/>
                    </a:lnTo>
                    <a:moveTo>
                      <a:pt x="5039" y="731"/>
                    </a:moveTo>
                    <a:lnTo>
                      <a:pt x="5036" y="731"/>
                    </a:lnTo>
                    <a:lnTo>
                      <a:pt x="5036" y="734"/>
                    </a:lnTo>
                    <a:lnTo>
                      <a:pt x="5036" y="892"/>
                    </a:lnTo>
                    <a:lnTo>
                      <a:pt x="5039" y="892"/>
                    </a:lnTo>
                    <a:lnTo>
                      <a:pt x="5039" y="731"/>
                    </a:lnTo>
                    <a:moveTo>
                      <a:pt x="3043" y="656"/>
                    </a:moveTo>
                    <a:lnTo>
                      <a:pt x="3043" y="656"/>
                    </a:lnTo>
                    <a:lnTo>
                      <a:pt x="3043" y="658"/>
                    </a:lnTo>
                    <a:lnTo>
                      <a:pt x="3043" y="724"/>
                    </a:lnTo>
                    <a:lnTo>
                      <a:pt x="3043" y="724"/>
                    </a:lnTo>
                    <a:lnTo>
                      <a:pt x="3043" y="724"/>
                    </a:lnTo>
                    <a:lnTo>
                      <a:pt x="3043" y="724"/>
                    </a:lnTo>
                    <a:lnTo>
                      <a:pt x="3043" y="656"/>
                    </a:lnTo>
                    <a:moveTo>
                      <a:pt x="2" y="615"/>
                    </a:moveTo>
                    <a:lnTo>
                      <a:pt x="0" y="615"/>
                    </a:lnTo>
                    <a:lnTo>
                      <a:pt x="0" y="618"/>
                    </a:lnTo>
                    <a:lnTo>
                      <a:pt x="0" y="1373"/>
                    </a:lnTo>
                    <a:lnTo>
                      <a:pt x="2" y="1373"/>
                    </a:lnTo>
                    <a:lnTo>
                      <a:pt x="2" y="615"/>
                    </a:lnTo>
                    <a:moveTo>
                      <a:pt x="5159" y="608"/>
                    </a:moveTo>
                    <a:lnTo>
                      <a:pt x="5157" y="608"/>
                    </a:lnTo>
                    <a:lnTo>
                      <a:pt x="5157" y="611"/>
                    </a:lnTo>
                    <a:lnTo>
                      <a:pt x="5157" y="651"/>
                    </a:lnTo>
                    <a:lnTo>
                      <a:pt x="5159" y="651"/>
                    </a:lnTo>
                    <a:lnTo>
                      <a:pt x="5159" y="608"/>
                    </a:lnTo>
                    <a:moveTo>
                      <a:pt x="6930" y="509"/>
                    </a:moveTo>
                    <a:lnTo>
                      <a:pt x="6930" y="509"/>
                    </a:lnTo>
                    <a:lnTo>
                      <a:pt x="6930" y="511"/>
                    </a:lnTo>
                    <a:lnTo>
                      <a:pt x="6930" y="1013"/>
                    </a:lnTo>
                    <a:lnTo>
                      <a:pt x="6930" y="1013"/>
                    </a:lnTo>
                    <a:lnTo>
                      <a:pt x="6930" y="509"/>
                    </a:lnTo>
                    <a:moveTo>
                      <a:pt x="4100" y="502"/>
                    </a:moveTo>
                    <a:lnTo>
                      <a:pt x="4098" y="502"/>
                    </a:lnTo>
                    <a:lnTo>
                      <a:pt x="4098" y="504"/>
                    </a:lnTo>
                    <a:lnTo>
                      <a:pt x="4098" y="504"/>
                    </a:lnTo>
                    <a:lnTo>
                      <a:pt x="4100" y="502"/>
                    </a:lnTo>
                    <a:moveTo>
                      <a:pt x="3206" y="502"/>
                    </a:moveTo>
                    <a:lnTo>
                      <a:pt x="3204" y="502"/>
                    </a:lnTo>
                    <a:lnTo>
                      <a:pt x="3204" y="502"/>
                    </a:lnTo>
                    <a:lnTo>
                      <a:pt x="3204" y="566"/>
                    </a:lnTo>
                    <a:lnTo>
                      <a:pt x="3204" y="566"/>
                    </a:lnTo>
                    <a:lnTo>
                      <a:pt x="3204" y="563"/>
                    </a:lnTo>
                    <a:lnTo>
                      <a:pt x="3206" y="563"/>
                    </a:lnTo>
                    <a:lnTo>
                      <a:pt x="3206" y="502"/>
                    </a:lnTo>
                    <a:moveTo>
                      <a:pt x="3942" y="454"/>
                    </a:moveTo>
                    <a:lnTo>
                      <a:pt x="3942" y="454"/>
                    </a:lnTo>
                    <a:lnTo>
                      <a:pt x="3939" y="454"/>
                    </a:lnTo>
                    <a:lnTo>
                      <a:pt x="3939" y="457"/>
                    </a:lnTo>
                    <a:lnTo>
                      <a:pt x="3939" y="490"/>
                    </a:lnTo>
                    <a:lnTo>
                      <a:pt x="3859" y="644"/>
                    </a:lnTo>
                    <a:lnTo>
                      <a:pt x="3859" y="847"/>
                    </a:lnTo>
                    <a:lnTo>
                      <a:pt x="3861" y="847"/>
                    </a:lnTo>
                    <a:lnTo>
                      <a:pt x="3861" y="641"/>
                    </a:lnTo>
                    <a:lnTo>
                      <a:pt x="3942" y="490"/>
                    </a:lnTo>
                    <a:lnTo>
                      <a:pt x="3942" y="454"/>
                    </a:lnTo>
                    <a:moveTo>
                      <a:pt x="3235" y="433"/>
                    </a:moveTo>
                    <a:lnTo>
                      <a:pt x="3232" y="433"/>
                    </a:lnTo>
                    <a:lnTo>
                      <a:pt x="3232" y="435"/>
                    </a:lnTo>
                    <a:lnTo>
                      <a:pt x="3232" y="473"/>
                    </a:lnTo>
                    <a:lnTo>
                      <a:pt x="3232" y="473"/>
                    </a:lnTo>
                    <a:lnTo>
                      <a:pt x="3232" y="471"/>
                    </a:lnTo>
                    <a:lnTo>
                      <a:pt x="3235" y="471"/>
                    </a:lnTo>
                    <a:lnTo>
                      <a:pt x="3235" y="433"/>
                    </a:lnTo>
                    <a:moveTo>
                      <a:pt x="3949" y="390"/>
                    </a:moveTo>
                    <a:lnTo>
                      <a:pt x="3946" y="390"/>
                    </a:lnTo>
                    <a:lnTo>
                      <a:pt x="3946" y="390"/>
                    </a:lnTo>
                    <a:lnTo>
                      <a:pt x="3946" y="393"/>
                    </a:lnTo>
                    <a:lnTo>
                      <a:pt x="3946" y="450"/>
                    </a:lnTo>
                    <a:lnTo>
                      <a:pt x="3949" y="450"/>
                    </a:lnTo>
                    <a:lnTo>
                      <a:pt x="3949" y="447"/>
                    </a:lnTo>
                    <a:lnTo>
                      <a:pt x="3949" y="447"/>
                    </a:lnTo>
                    <a:lnTo>
                      <a:pt x="3949" y="390"/>
                    </a:lnTo>
                    <a:moveTo>
                      <a:pt x="1714" y="369"/>
                    </a:moveTo>
                    <a:lnTo>
                      <a:pt x="1714" y="369"/>
                    </a:lnTo>
                    <a:lnTo>
                      <a:pt x="1714" y="369"/>
                    </a:lnTo>
                    <a:lnTo>
                      <a:pt x="1714" y="1051"/>
                    </a:lnTo>
                    <a:lnTo>
                      <a:pt x="1714" y="1051"/>
                    </a:lnTo>
                    <a:lnTo>
                      <a:pt x="1714" y="369"/>
                    </a:lnTo>
                    <a:moveTo>
                      <a:pt x="3956" y="327"/>
                    </a:moveTo>
                    <a:lnTo>
                      <a:pt x="3953" y="327"/>
                    </a:lnTo>
                    <a:lnTo>
                      <a:pt x="3953" y="329"/>
                    </a:lnTo>
                    <a:lnTo>
                      <a:pt x="3953" y="383"/>
                    </a:lnTo>
                    <a:lnTo>
                      <a:pt x="3956" y="383"/>
                    </a:lnTo>
                    <a:lnTo>
                      <a:pt x="3956" y="381"/>
                    </a:lnTo>
                    <a:lnTo>
                      <a:pt x="3956" y="381"/>
                    </a:lnTo>
                    <a:lnTo>
                      <a:pt x="3956" y="327"/>
                    </a:lnTo>
                    <a:moveTo>
                      <a:pt x="4608" y="232"/>
                    </a:moveTo>
                    <a:lnTo>
                      <a:pt x="4608" y="232"/>
                    </a:lnTo>
                    <a:lnTo>
                      <a:pt x="4606" y="234"/>
                    </a:lnTo>
                    <a:lnTo>
                      <a:pt x="4552" y="438"/>
                    </a:lnTo>
                    <a:lnTo>
                      <a:pt x="4554" y="438"/>
                    </a:lnTo>
                    <a:lnTo>
                      <a:pt x="4608" y="232"/>
                    </a:lnTo>
                    <a:moveTo>
                      <a:pt x="4757" y="0"/>
                    </a:moveTo>
                    <a:lnTo>
                      <a:pt x="4757" y="0"/>
                    </a:lnTo>
                    <a:lnTo>
                      <a:pt x="4757" y="2"/>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5" name="Freeform 60"/>
              <p:cNvSpPr>
                <a:spLocks noEditPoints="1"/>
              </p:cNvSpPr>
              <p:nvPr/>
            </p:nvSpPr>
            <p:spPr bwMode="auto">
              <a:xfrm>
                <a:off x="63" y="1738"/>
                <a:ext cx="6931" cy="1376"/>
              </a:xfrm>
              <a:custGeom>
                <a:avLst/>
                <a:gdLst>
                  <a:gd name="T0" fmla="*/ 3616 w 6931"/>
                  <a:gd name="T1" fmla="*/ 1239 h 1376"/>
                  <a:gd name="T2" fmla="*/ 5734 w 6931"/>
                  <a:gd name="T3" fmla="*/ 1210 h 1376"/>
                  <a:gd name="T4" fmla="*/ 5737 w 6931"/>
                  <a:gd name="T5" fmla="*/ 1210 h 1376"/>
                  <a:gd name="T6" fmla="*/ 5760 w 6931"/>
                  <a:gd name="T7" fmla="*/ 1187 h 1376"/>
                  <a:gd name="T8" fmla="*/ 5760 w 6931"/>
                  <a:gd name="T9" fmla="*/ 1130 h 1376"/>
                  <a:gd name="T10" fmla="*/ 6226 w 6931"/>
                  <a:gd name="T11" fmla="*/ 1130 h 1376"/>
                  <a:gd name="T12" fmla="*/ 2765 w 6931"/>
                  <a:gd name="T13" fmla="*/ 1063 h 1376"/>
                  <a:gd name="T14" fmla="*/ 2765 w 6931"/>
                  <a:gd name="T15" fmla="*/ 1163 h 1376"/>
                  <a:gd name="T16" fmla="*/ 5836 w 6931"/>
                  <a:gd name="T17" fmla="*/ 1042 h 1376"/>
                  <a:gd name="T18" fmla="*/ 5836 w 6931"/>
                  <a:gd name="T19" fmla="*/ 1054 h 1376"/>
                  <a:gd name="T20" fmla="*/ 2783 w 6931"/>
                  <a:gd name="T21" fmla="*/ 1014 h 1376"/>
                  <a:gd name="T22" fmla="*/ 2783 w 6931"/>
                  <a:gd name="T23" fmla="*/ 1047 h 1376"/>
                  <a:gd name="T24" fmla="*/ 3675 w 6931"/>
                  <a:gd name="T25" fmla="*/ 995 h 1376"/>
                  <a:gd name="T26" fmla="*/ 3675 w 6931"/>
                  <a:gd name="T27" fmla="*/ 1163 h 1376"/>
                  <a:gd name="T28" fmla="*/ 5855 w 6931"/>
                  <a:gd name="T29" fmla="*/ 990 h 1376"/>
                  <a:gd name="T30" fmla="*/ 5853 w 6931"/>
                  <a:gd name="T31" fmla="*/ 1026 h 1376"/>
                  <a:gd name="T32" fmla="*/ 6245 w 6931"/>
                  <a:gd name="T33" fmla="*/ 936 h 1376"/>
                  <a:gd name="T34" fmla="*/ 6245 w 6931"/>
                  <a:gd name="T35" fmla="*/ 1113 h 1376"/>
                  <a:gd name="T36" fmla="*/ 6295 w 6931"/>
                  <a:gd name="T37" fmla="*/ 879 h 1376"/>
                  <a:gd name="T38" fmla="*/ 6292 w 6931"/>
                  <a:gd name="T39" fmla="*/ 888 h 1376"/>
                  <a:gd name="T40" fmla="*/ 6295 w 6931"/>
                  <a:gd name="T41" fmla="*/ 879 h 1376"/>
                  <a:gd name="T42" fmla="*/ 6302 w 6931"/>
                  <a:gd name="T43" fmla="*/ 872 h 1376"/>
                  <a:gd name="T44" fmla="*/ 6304 w 6931"/>
                  <a:gd name="T45" fmla="*/ 850 h 1376"/>
                  <a:gd name="T46" fmla="*/ 3003 w 6931"/>
                  <a:gd name="T47" fmla="*/ 902 h 1376"/>
                  <a:gd name="T48" fmla="*/ 5037 w 6931"/>
                  <a:gd name="T49" fmla="*/ 732 h 1376"/>
                  <a:gd name="T50" fmla="*/ 5037 w 6931"/>
                  <a:gd name="T51" fmla="*/ 732 h 1376"/>
                  <a:gd name="T52" fmla="*/ 3041 w 6931"/>
                  <a:gd name="T53" fmla="*/ 727 h 1376"/>
                  <a:gd name="T54" fmla="*/ 3044 w 6931"/>
                  <a:gd name="T55" fmla="*/ 659 h 1376"/>
                  <a:gd name="T56" fmla="*/ 0 w 6931"/>
                  <a:gd name="T57" fmla="*/ 1376 h 1376"/>
                  <a:gd name="T58" fmla="*/ 5157 w 6931"/>
                  <a:gd name="T59" fmla="*/ 611 h 1376"/>
                  <a:gd name="T60" fmla="*/ 5157 w 6931"/>
                  <a:gd name="T61" fmla="*/ 611 h 1376"/>
                  <a:gd name="T62" fmla="*/ 6928 w 6931"/>
                  <a:gd name="T63" fmla="*/ 1016 h 1376"/>
                  <a:gd name="T64" fmla="*/ 4098 w 6931"/>
                  <a:gd name="T65" fmla="*/ 505 h 1376"/>
                  <a:gd name="T66" fmla="*/ 4098 w 6931"/>
                  <a:gd name="T67" fmla="*/ 505 h 1376"/>
                  <a:gd name="T68" fmla="*/ 3204 w 6931"/>
                  <a:gd name="T69" fmla="*/ 566 h 1376"/>
                  <a:gd name="T70" fmla="*/ 3204 w 6931"/>
                  <a:gd name="T71" fmla="*/ 502 h 1376"/>
                  <a:gd name="T72" fmla="*/ 3940 w 6931"/>
                  <a:gd name="T73" fmla="*/ 457 h 1376"/>
                  <a:gd name="T74" fmla="*/ 3859 w 6931"/>
                  <a:gd name="T75" fmla="*/ 850 h 1376"/>
                  <a:gd name="T76" fmla="*/ 3235 w 6931"/>
                  <a:gd name="T77" fmla="*/ 434 h 1376"/>
                  <a:gd name="T78" fmla="*/ 3233 w 6931"/>
                  <a:gd name="T79" fmla="*/ 474 h 1376"/>
                  <a:gd name="T80" fmla="*/ 3947 w 6931"/>
                  <a:gd name="T81" fmla="*/ 391 h 1376"/>
                  <a:gd name="T82" fmla="*/ 3947 w 6931"/>
                  <a:gd name="T83" fmla="*/ 450 h 1376"/>
                  <a:gd name="T84" fmla="*/ 3947 w 6931"/>
                  <a:gd name="T85" fmla="*/ 391 h 1376"/>
                  <a:gd name="T86" fmla="*/ 1712 w 6931"/>
                  <a:gd name="T87" fmla="*/ 1054 h 1376"/>
                  <a:gd name="T88" fmla="*/ 3954 w 6931"/>
                  <a:gd name="T89" fmla="*/ 327 h 1376"/>
                  <a:gd name="T90" fmla="*/ 3956 w 6931"/>
                  <a:gd name="T91" fmla="*/ 382 h 1376"/>
                  <a:gd name="T92" fmla="*/ 4606 w 6931"/>
                  <a:gd name="T93" fmla="*/ 232 h 1376"/>
                  <a:gd name="T94" fmla="*/ 4609 w 6931"/>
                  <a:gd name="T95" fmla="*/ 232 h 1376"/>
                  <a:gd name="T96" fmla="*/ 4755 w 6931"/>
                  <a:gd name="T97" fmla="*/ 126 h 1376"/>
                  <a:gd name="T98" fmla="*/ 4758 w 6931"/>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1" h="1376">
                    <a:moveTo>
                      <a:pt x="3616" y="1222"/>
                    </a:moveTo>
                    <a:lnTo>
                      <a:pt x="3616" y="1222"/>
                    </a:lnTo>
                    <a:lnTo>
                      <a:pt x="3616" y="1224"/>
                    </a:lnTo>
                    <a:lnTo>
                      <a:pt x="3616" y="1239"/>
                    </a:lnTo>
                    <a:lnTo>
                      <a:pt x="3616" y="1239"/>
                    </a:lnTo>
                    <a:lnTo>
                      <a:pt x="3616" y="1222"/>
                    </a:lnTo>
                    <a:close/>
                    <a:moveTo>
                      <a:pt x="5737" y="1210"/>
                    </a:moveTo>
                    <a:lnTo>
                      <a:pt x="5734" y="1210"/>
                    </a:lnTo>
                    <a:lnTo>
                      <a:pt x="5734" y="1213"/>
                    </a:lnTo>
                    <a:lnTo>
                      <a:pt x="5734" y="1248"/>
                    </a:lnTo>
                    <a:lnTo>
                      <a:pt x="5737" y="1248"/>
                    </a:lnTo>
                    <a:lnTo>
                      <a:pt x="5737" y="1210"/>
                    </a:lnTo>
                    <a:close/>
                    <a:moveTo>
                      <a:pt x="5760" y="1130"/>
                    </a:moveTo>
                    <a:lnTo>
                      <a:pt x="5760" y="1130"/>
                    </a:lnTo>
                    <a:lnTo>
                      <a:pt x="5760" y="1130"/>
                    </a:lnTo>
                    <a:lnTo>
                      <a:pt x="5760" y="1187"/>
                    </a:lnTo>
                    <a:lnTo>
                      <a:pt x="5760" y="1187"/>
                    </a:lnTo>
                    <a:lnTo>
                      <a:pt x="5760" y="1184"/>
                    </a:lnTo>
                    <a:lnTo>
                      <a:pt x="5760" y="1184"/>
                    </a:lnTo>
                    <a:lnTo>
                      <a:pt x="5760" y="1130"/>
                    </a:lnTo>
                    <a:close/>
                    <a:moveTo>
                      <a:pt x="6229" y="1130"/>
                    </a:moveTo>
                    <a:lnTo>
                      <a:pt x="6226" y="1130"/>
                    </a:lnTo>
                    <a:lnTo>
                      <a:pt x="6226" y="1130"/>
                    </a:lnTo>
                    <a:lnTo>
                      <a:pt x="6226" y="1130"/>
                    </a:lnTo>
                    <a:lnTo>
                      <a:pt x="6226" y="1132"/>
                    </a:lnTo>
                    <a:lnTo>
                      <a:pt x="6229" y="1132"/>
                    </a:lnTo>
                    <a:lnTo>
                      <a:pt x="6229" y="1130"/>
                    </a:lnTo>
                    <a:close/>
                    <a:moveTo>
                      <a:pt x="2765" y="1063"/>
                    </a:moveTo>
                    <a:lnTo>
                      <a:pt x="2765" y="1063"/>
                    </a:lnTo>
                    <a:lnTo>
                      <a:pt x="2765" y="1063"/>
                    </a:lnTo>
                    <a:lnTo>
                      <a:pt x="2765" y="1066"/>
                    </a:lnTo>
                    <a:lnTo>
                      <a:pt x="2765" y="1163"/>
                    </a:lnTo>
                    <a:lnTo>
                      <a:pt x="2765" y="1163"/>
                    </a:lnTo>
                    <a:lnTo>
                      <a:pt x="2765" y="1063"/>
                    </a:lnTo>
                    <a:close/>
                    <a:moveTo>
                      <a:pt x="5836" y="1042"/>
                    </a:moveTo>
                    <a:lnTo>
                      <a:pt x="5836" y="1042"/>
                    </a:lnTo>
                    <a:lnTo>
                      <a:pt x="5834" y="1042"/>
                    </a:lnTo>
                    <a:lnTo>
                      <a:pt x="5834" y="1045"/>
                    </a:lnTo>
                    <a:lnTo>
                      <a:pt x="5834" y="1054"/>
                    </a:lnTo>
                    <a:lnTo>
                      <a:pt x="5836" y="1054"/>
                    </a:lnTo>
                    <a:lnTo>
                      <a:pt x="5836" y="1054"/>
                    </a:lnTo>
                    <a:lnTo>
                      <a:pt x="5836" y="1054"/>
                    </a:lnTo>
                    <a:lnTo>
                      <a:pt x="5836" y="1042"/>
                    </a:lnTo>
                    <a:close/>
                    <a:moveTo>
                      <a:pt x="2783" y="1014"/>
                    </a:moveTo>
                    <a:lnTo>
                      <a:pt x="2781" y="1014"/>
                    </a:lnTo>
                    <a:lnTo>
                      <a:pt x="2781" y="1014"/>
                    </a:lnTo>
                    <a:lnTo>
                      <a:pt x="2781" y="1047"/>
                    </a:lnTo>
                    <a:lnTo>
                      <a:pt x="2783" y="1047"/>
                    </a:lnTo>
                    <a:lnTo>
                      <a:pt x="2783" y="1045"/>
                    </a:lnTo>
                    <a:lnTo>
                      <a:pt x="2783" y="1045"/>
                    </a:lnTo>
                    <a:lnTo>
                      <a:pt x="2783" y="1014"/>
                    </a:lnTo>
                    <a:close/>
                    <a:moveTo>
                      <a:pt x="3675" y="995"/>
                    </a:moveTo>
                    <a:lnTo>
                      <a:pt x="3675" y="995"/>
                    </a:lnTo>
                    <a:lnTo>
                      <a:pt x="3675" y="997"/>
                    </a:lnTo>
                    <a:lnTo>
                      <a:pt x="3675" y="1163"/>
                    </a:lnTo>
                    <a:lnTo>
                      <a:pt x="3675" y="1163"/>
                    </a:lnTo>
                    <a:lnTo>
                      <a:pt x="3675" y="1163"/>
                    </a:lnTo>
                    <a:lnTo>
                      <a:pt x="3675" y="1163"/>
                    </a:lnTo>
                    <a:lnTo>
                      <a:pt x="3675" y="995"/>
                    </a:lnTo>
                    <a:close/>
                    <a:moveTo>
                      <a:pt x="5855" y="990"/>
                    </a:moveTo>
                    <a:lnTo>
                      <a:pt x="5853" y="990"/>
                    </a:lnTo>
                    <a:lnTo>
                      <a:pt x="5853" y="992"/>
                    </a:lnTo>
                    <a:lnTo>
                      <a:pt x="5853" y="1026"/>
                    </a:lnTo>
                    <a:lnTo>
                      <a:pt x="5853" y="1026"/>
                    </a:lnTo>
                    <a:lnTo>
                      <a:pt x="5853" y="1023"/>
                    </a:lnTo>
                    <a:lnTo>
                      <a:pt x="5855" y="1023"/>
                    </a:lnTo>
                    <a:lnTo>
                      <a:pt x="5855" y="990"/>
                    </a:lnTo>
                    <a:close/>
                    <a:moveTo>
                      <a:pt x="6245" y="936"/>
                    </a:moveTo>
                    <a:lnTo>
                      <a:pt x="6243" y="936"/>
                    </a:lnTo>
                    <a:lnTo>
                      <a:pt x="6243" y="938"/>
                    </a:lnTo>
                    <a:lnTo>
                      <a:pt x="6243" y="1113"/>
                    </a:lnTo>
                    <a:lnTo>
                      <a:pt x="6245" y="1113"/>
                    </a:lnTo>
                    <a:lnTo>
                      <a:pt x="6245" y="1111"/>
                    </a:lnTo>
                    <a:lnTo>
                      <a:pt x="6245" y="1111"/>
                    </a:lnTo>
                    <a:lnTo>
                      <a:pt x="6245" y="936"/>
                    </a:lnTo>
                    <a:close/>
                    <a:moveTo>
                      <a:pt x="6295" y="879"/>
                    </a:moveTo>
                    <a:lnTo>
                      <a:pt x="6295" y="879"/>
                    </a:lnTo>
                    <a:lnTo>
                      <a:pt x="6292" y="879"/>
                    </a:lnTo>
                    <a:lnTo>
                      <a:pt x="6292" y="881"/>
                    </a:lnTo>
                    <a:lnTo>
                      <a:pt x="6292" y="888"/>
                    </a:lnTo>
                    <a:lnTo>
                      <a:pt x="6295" y="888"/>
                    </a:lnTo>
                    <a:lnTo>
                      <a:pt x="6295" y="886"/>
                    </a:lnTo>
                    <a:lnTo>
                      <a:pt x="6295" y="886"/>
                    </a:lnTo>
                    <a:lnTo>
                      <a:pt x="6295" y="879"/>
                    </a:lnTo>
                    <a:close/>
                    <a:moveTo>
                      <a:pt x="6304" y="850"/>
                    </a:moveTo>
                    <a:lnTo>
                      <a:pt x="6302" y="850"/>
                    </a:lnTo>
                    <a:lnTo>
                      <a:pt x="6302" y="853"/>
                    </a:lnTo>
                    <a:lnTo>
                      <a:pt x="6302" y="872"/>
                    </a:lnTo>
                    <a:lnTo>
                      <a:pt x="6302" y="872"/>
                    </a:lnTo>
                    <a:lnTo>
                      <a:pt x="6302" y="869"/>
                    </a:lnTo>
                    <a:lnTo>
                      <a:pt x="6304" y="869"/>
                    </a:lnTo>
                    <a:lnTo>
                      <a:pt x="6304" y="850"/>
                    </a:lnTo>
                    <a:close/>
                    <a:moveTo>
                      <a:pt x="3006" y="763"/>
                    </a:moveTo>
                    <a:lnTo>
                      <a:pt x="3003" y="763"/>
                    </a:lnTo>
                    <a:lnTo>
                      <a:pt x="3003" y="765"/>
                    </a:lnTo>
                    <a:lnTo>
                      <a:pt x="3003" y="902"/>
                    </a:lnTo>
                    <a:lnTo>
                      <a:pt x="3006" y="902"/>
                    </a:lnTo>
                    <a:lnTo>
                      <a:pt x="3006" y="763"/>
                    </a:lnTo>
                    <a:close/>
                    <a:moveTo>
                      <a:pt x="5037" y="732"/>
                    </a:moveTo>
                    <a:lnTo>
                      <a:pt x="5037" y="732"/>
                    </a:lnTo>
                    <a:lnTo>
                      <a:pt x="5037" y="734"/>
                    </a:lnTo>
                    <a:lnTo>
                      <a:pt x="5037" y="895"/>
                    </a:lnTo>
                    <a:lnTo>
                      <a:pt x="5037" y="895"/>
                    </a:lnTo>
                    <a:lnTo>
                      <a:pt x="5037" y="732"/>
                    </a:lnTo>
                    <a:close/>
                    <a:moveTo>
                      <a:pt x="3044" y="659"/>
                    </a:moveTo>
                    <a:lnTo>
                      <a:pt x="3041" y="659"/>
                    </a:lnTo>
                    <a:lnTo>
                      <a:pt x="3041" y="659"/>
                    </a:lnTo>
                    <a:lnTo>
                      <a:pt x="3041" y="727"/>
                    </a:lnTo>
                    <a:lnTo>
                      <a:pt x="3044" y="727"/>
                    </a:lnTo>
                    <a:lnTo>
                      <a:pt x="3044" y="725"/>
                    </a:lnTo>
                    <a:lnTo>
                      <a:pt x="3044" y="725"/>
                    </a:lnTo>
                    <a:lnTo>
                      <a:pt x="3044" y="659"/>
                    </a:lnTo>
                    <a:close/>
                    <a:moveTo>
                      <a:pt x="3" y="618"/>
                    </a:moveTo>
                    <a:lnTo>
                      <a:pt x="0" y="618"/>
                    </a:lnTo>
                    <a:lnTo>
                      <a:pt x="0" y="618"/>
                    </a:lnTo>
                    <a:lnTo>
                      <a:pt x="0" y="1376"/>
                    </a:lnTo>
                    <a:lnTo>
                      <a:pt x="3" y="1376"/>
                    </a:lnTo>
                    <a:lnTo>
                      <a:pt x="3" y="618"/>
                    </a:lnTo>
                    <a:close/>
                    <a:moveTo>
                      <a:pt x="5157" y="611"/>
                    </a:moveTo>
                    <a:lnTo>
                      <a:pt x="5157" y="611"/>
                    </a:lnTo>
                    <a:lnTo>
                      <a:pt x="5157" y="611"/>
                    </a:lnTo>
                    <a:lnTo>
                      <a:pt x="5157" y="654"/>
                    </a:lnTo>
                    <a:lnTo>
                      <a:pt x="5157" y="654"/>
                    </a:lnTo>
                    <a:lnTo>
                      <a:pt x="5157" y="611"/>
                    </a:lnTo>
                    <a:close/>
                    <a:moveTo>
                      <a:pt x="6931" y="509"/>
                    </a:moveTo>
                    <a:lnTo>
                      <a:pt x="6928" y="509"/>
                    </a:lnTo>
                    <a:lnTo>
                      <a:pt x="6928" y="512"/>
                    </a:lnTo>
                    <a:lnTo>
                      <a:pt x="6928" y="1016"/>
                    </a:lnTo>
                    <a:lnTo>
                      <a:pt x="6931" y="1016"/>
                    </a:lnTo>
                    <a:lnTo>
                      <a:pt x="6931" y="509"/>
                    </a:lnTo>
                    <a:close/>
                    <a:moveTo>
                      <a:pt x="4098" y="505"/>
                    </a:moveTo>
                    <a:lnTo>
                      <a:pt x="4098" y="505"/>
                    </a:lnTo>
                    <a:lnTo>
                      <a:pt x="4098" y="505"/>
                    </a:lnTo>
                    <a:lnTo>
                      <a:pt x="4096" y="507"/>
                    </a:lnTo>
                    <a:lnTo>
                      <a:pt x="4096" y="507"/>
                    </a:lnTo>
                    <a:lnTo>
                      <a:pt x="4098" y="505"/>
                    </a:lnTo>
                    <a:close/>
                    <a:moveTo>
                      <a:pt x="3204" y="502"/>
                    </a:moveTo>
                    <a:lnTo>
                      <a:pt x="3204" y="502"/>
                    </a:lnTo>
                    <a:lnTo>
                      <a:pt x="3204" y="505"/>
                    </a:lnTo>
                    <a:lnTo>
                      <a:pt x="3204" y="566"/>
                    </a:lnTo>
                    <a:lnTo>
                      <a:pt x="3204" y="566"/>
                    </a:lnTo>
                    <a:lnTo>
                      <a:pt x="3204" y="564"/>
                    </a:lnTo>
                    <a:lnTo>
                      <a:pt x="3204" y="564"/>
                    </a:lnTo>
                    <a:lnTo>
                      <a:pt x="3204" y="502"/>
                    </a:lnTo>
                    <a:close/>
                    <a:moveTo>
                      <a:pt x="3942" y="455"/>
                    </a:moveTo>
                    <a:lnTo>
                      <a:pt x="3940" y="455"/>
                    </a:lnTo>
                    <a:lnTo>
                      <a:pt x="3940" y="455"/>
                    </a:lnTo>
                    <a:lnTo>
                      <a:pt x="3940" y="457"/>
                    </a:lnTo>
                    <a:lnTo>
                      <a:pt x="3940" y="493"/>
                    </a:lnTo>
                    <a:lnTo>
                      <a:pt x="3859" y="644"/>
                    </a:lnTo>
                    <a:lnTo>
                      <a:pt x="3859" y="850"/>
                    </a:lnTo>
                    <a:lnTo>
                      <a:pt x="3859" y="850"/>
                    </a:lnTo>
                    <a:lnTo>
                      <a:pt x="3859" y="642"/>
                    </a:lnTo>
                    <a:lnTo>
                      <a:pt x="3942" y="491"/>
                    </a:lnTo>
                    <a:lnTo>
                      <a:pt x="3942" y="455"/>
                    </a:lnTo>
                    <a:close/>
                    <a:moveTo>
                      <a:pt x="3235" y="434"/>
                    </a:moveTo>
                    <a:lnTo>
                      <a:pt x="3233" y="434"/>
                    </a:lnTo>
                    <a:lnTo>
                      <a:pt x="3233" y="436"/>
                    </a:lnTo>
                    <a:lnTo>
                      <a:pt x="3233" y="474"/>
                    </a:lnTo>
                    <a:lnTo>
                      <a:pt x="3233" y="474"/>
                    </a:lnTo>
                    <a:lnTo>
                      <a:pt x="3233" y="472"/>
                    </a:lnTo>
                    <a:lnTo>
                      <a:pt x="3235" y="472"/>
                    </a:lnTo>
                    <a:lnTo>
                      <a:pt x="3235" y="434"/>
                    </a:lnTo>
                    <a:close/>
                    <a:moveTo>
                      <a:pt x="3947" y="391"/>
                    </a:moveTo>
                    <a:lnTo>
                      <a:pt x="3947" y="391"/>
                    </a:lnTo>
                    <a:lnTo>
                      <a:pt x="3947" y="391"/>
                    </a:lnTo>
                    <a:lnTo>
                      <a:pt x="3947" y="393"/>
                    </a:lnTo>
                    <a:lnTo>
                      <a:pt x="3947" y="450"/>
                    </a:lnTo>
                    <a:lnTo>
                      <a:pt x="3947" y="450"/>
                    </a:lnTo>
                    <a:lnTo>
                      <a:pt x="3947" y="448"/>
                    </a:lnTo>
                    <a:lnTo>
                      <a:pt x="3947" y="448"/>
                    </a:lnTo>
                    <a:lnTo>
                      <a:pt x="3947" y="391"/>
                    </a:lnTo>
                    <a:close/>
                    <a:moveTo>
                      <a:pt x="1715" y="370"/>
                    </a:moveTo>
                    <a:lnTo>
                      <a:pt x="1712" y="370"/>
                    </a:lnTo>
                    <a:lnTo>
                      <a:pt x="1712" y="372"/>
                    </a:lnTo>
                    <a:lnTo>
                      <a:pt x="1712" y="1054"/>
                    </a:lnTo>
                    <a:lnTo>
                      <a:pt x="1715" y="1054"/>
                    </a:lnTo>
                    <a:lnTo>
                      <a:pt x="1715" y="370"/>
                    </a:lnTo>
                    <a:close/>
                    <a:moveTo>
                      <a:pt x="3956" y="327"/>
                    </a:moveTo>
                    <a:lnTo>
                      <a:pt x="3954" y="327"/>
                    </a:lnTo>
                    <a:lnTo>
                      <a:pt x="3954" y="330"/>
                    </a:lnTo>
                    <a:lnTo>
                      <a:pt x="3954" y="384"/>
                    </a:lnTo>
                    <a:lnTo>
                      <a:pt x="3956" y="384"/>
                    </a:lnTo>
                    <a:lnTo>
                      <a:pt x="3956" y="382"/>
                    </a:lnTo>
                    <a:lnTo>
                      <a:pt x="3956" y="382"/>
                    </a:lnTo>
                    <a:lnTo>
                      <a:pt x="3956" y="327"/>
                    </a:lnTo>
                    <a:close/>
                    <a:moveTo>
                      <a:pt x="4609" y="232"/>
                    </a:moveTo>
                    <a:lnTo>
                      <a:pt x="4606" y="232"/>
                    </a:lnTo>
                    <a:lnTo>
                      <a:pt x="4606" y="235"/>
                    </a:lnTo>
                    <a:lnTo>
                      <a:pt x="4552" y="441"/>
                    </a:lnTo>
                    <a:lnTo>
                      <a:pt x="4552" y="438"/>
                    </a:lnTo>
                    <a:lnTo>
                      <a:pt x="4609" y="232"/>
                    </a:lnTo>
                    <a:close/>
                    <a:moveTo>
                      <a:pt x="4758" y="0"/>
                    </a:moveTo>
                    <a:lnTo>
                      <a:pt x="4755" y="0"/>
                    </a:lnTo>
                    <a:lnTo>
                      <a:pt x="4755" y="3"/>
                    </a:lnTo>
                    <a:lnTo>
                      <a:pt x="4755" y="126"/>
                    </a:lnTo>
                    <a:lnTo>
                      <a:pt x="4758" y="126"/>
                    </a:lnTo>
                    <a:lnTo>
                      <a:pt x="4758" y="124"/>
                    </a:lnTo>
                    <a:lnTo>
                      <a:pt x="4758" y="124"/>
                    </a:lnTo>
                    <a:lnTo>
                      <a:pt x="4758"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6" name="Freeform 61"/>
              <p:cNvSpPr>
                <a:spLocks noEditPoints="1"/>
              </p:cNvSpPr>
              <p:nvPr/>
            </p:nvSpPr>
            <p:spPr bwMode="auto">
              <a:xfrm>
                <a:off x="63" y="1738"/>
                <a:ext cx="6931" cy="1376"/>
              </a:xfrm>
              <a:custGeom>
                <a:avLst/>
                <a:gdLst>
                  <a:gd name="T0" fmla="*/ 3616 w 6931"/>
                  <a:gd name="T1" fmla="*/ 1239 h 1376"/>
                  <a:gd name="T2" fmla="*/ 5734 w 6931"/>
                  <a:gd name="T3" fmla="*/ 1210 h 1376"/>
                  <a:gd name="T4" fmla="*/ 5737 w 6931"/>
                  <a:gd name="T5" fmla="*/ 1210 h 1376"/>
                  <a:gd name="T6" fmla="*/ 5760 w 6931"/>
                  <a:gd name="T7" fmla="*/ 1187 h 1376"/>
                  <a:gd name="T8" fmla="*/ 5760 w 6931"/>
                  <a:gd name="T9" fmla="*/ 1130 h 1376"/>
                  <a:gd name="T10" fmla="*/ 6226 w 6931"/>
                  <a:gd name="T11" fmla="*/ 1130 h 1376"/>
                  <a:gd name="T12" fmla="*/ 2765 w 6931"/>
                  <a:gd name="T13" fmla="*/ 1063 h 1376"/>
                  <a:gd name="T14" fmla="*/ 2765 w 6931"/>
                  <a:gd name="T15" fmla="*/ 1163 h 1376"/>
                  <a:gd name="T16" fmla="*/ 5836 w 6931"/>
                  <a:gd name="T17" fmla="*/ 1042 h 1376"/>
                  <a:gd name="T18" fmla="*/ 5836 w 6931"/>
                  <a:gd name="T19" fmla="*/ 1054 h 1376"/>
                  <a:gd name="T20" fmla="*/ 2783 w 6931"/>
                  <a:gd name="T21" fmla="*/ 1014 h 1376"/>
                  <a:gd name="T22" fmla="*/ 2783 w 6931"/>
                  <a:gd name="T23" fmla="*/ 1047 h 1376"/>
                  <a:gd name="T24" fmla="*/ 3675 w 6931"/>
                  <a:gd name="T25" fmla="*/ 995 h 1376"/>
                  <a:gd name="T26" fmla="*/ 3675 w 6931"/>
                  <a:gd name="T27" fmla="*/ 1163 h 1376"/>
                  <a:gd name="T28" fmla="*/ 5855 w 6931"/>
                  <a:gd name="T29" fmla="*/ 990 h 1376"/>
                  <a:gd name="T30" fmla="*/ 5853 w 6931"/>
                  <a:gd name="T31" fmla="*/ 1026 h 1376"/>
                  <a:gd name="T32" fmla="*/ 6245 w 6931"/>
                  <a:gd name="T33" fmla="*/ 936 h 1376"/>
                  <a:gd name="T34" fmla="*/ 6245 w 6931"/>
                  <a:gd name="T35" fmla="*/ 1113 h 1376"/>
                  <a:gd name="T36" fmla="*/ 6295 w 6931"/>
                  <a:gd name="T37" fmla="*/ 879 h 1376"/>
                  <a:gd name="T38" fmla="*/ 6292 w 6931"/>
                  <a:gd name="T39" fmla="*/ 888 h 1376"/>
                  <a:gd name="T40" fmla="*/ 6295 w 6931"/>
                  <a:gd name="T41" fmla="*/ 879 h 1376"/>
                  <a:gd name="T42" fmla="*/ 6302 w 6931"/>
                  <a:gd name="T43" fmla="*/ 872 h 1376"/>
                  <a:gd name="T44" fmla="*/ 6304 w 6931"/>
                  <a:gd name="T45" fmla="*/ 850 h 1376"/>
                  <a:gd name="T46" fmla="*/ 3003 w 6931"/>
                  <a:gd name="T47" fmla="*/ 902 h 1376"/>
                  <a:gd name="T48" fmla="*/ 5037 w 6931"/>
                  <a:gd name="T49" fmla="*/ 732 h 1376"/>
                  <a:gd name="T50" fmla="*/ 5037 w 6931"/>
                  <a:gd name="T51" fmla="*/ 732 h 1376"/>
                  <a:gd name="T52" fmla="*/ 3041 w 6931"/>
                  <a:gd name="T53" fmla="*/ 727 h 1376"/>
                  <a:gd name="T54" fmla="*/ 3044 w 6931"/>
                  <a:gd name="T55" fmla="*/ 659 h 1376"/>
                  <a:gd name="T56" fmla="*/ 0 w 6931"/>
                  <a:gd name="T57" fmla="*/ 1376 h 1376"/>
                  <a:gd name="T58" fmla="*/ 5157 w 6931"/>
                  <a:gd name="T59" fmla="*/ 611 h 1376"/>
                  <a:gd name="T60" fmla="*/ 5157 w 6931"/>
                  <a:gd name="T61" fmla="*/ 611 h 1376"/>
                  <a:gd name="T62" fmla="*/ 6928 w 6931"/>
                  <a:gd name="T63" fmla="*/ 1016 h 1376"/>
                  <a:gd name="T64" fmla="*/ 4098 w 6931"/>
                  <a:gd name="T65" fmla="*/ 505 h 1376"/>
                  <a:gd name="T66" fmla="*/ 4098 w 6931"/>
                  <a:gd name="T67" fmla="*/ 505 h 1376"/>
                  <a:gd name="T68" fmla="*/ 3204 w 6931"/>
                  <a:gd name="T69" fmla="*/ 566 h 1376"/>
                  <a:gd name="T70" fmla="*/ 3204 w 6931"/>
                  <a:gd name="T71" fmla="*/ 502 h 1376"/>
                  <a:gd name="T72" fmla="*/ 3940 w 6931"/>
                  <a:gd name="T73" fmla="*/ 457 h 1376"/>
                  <a:gd name="T74" fmla="*/ 3859 w 6931"/>
                  <a:gd name="T75" fmla="*/ 850 h 1376"/>
                  <a:gd name="T76" fmla="*/ 3235 w 6931"/>
                  <a:gd name="T77" fmla="*/ 434 h 1376"/>
                  <a:gd name="T78" fmla="*/ 3233 w 6931"/>
                  <a:gd name="T79" fmla="*/ 474 h 1376"/>
                  <a:gd name="T80" fmla="*/ 3947 w 6931"/>
                  <a:gd name="T81" fmla="*/ 391 h 1376"/>
                  <a:gd name="T82" fmla="*/ 3947 w 6931"/>
                  <a:gd name="T83" fmla="*/ 450 h 1376"/>
                  <a:gd name="T84" fmla="*/ 3947 w 6931"/>
                  <a:gd name="T85" fmla="*/ 391 h 1376"/>
                  <a:gd name="T86" fmla="*/ 1712 w 6931"/>
                  <a:gd name="T87" fmla="*/ 1054 h 1376"/>
                  <a:gd name="T88" fmla="*/ 3954 w 6931"/>
                  <a:gd name="T89" fmla="*/ 327 h 1376"/>
                  <a:gd name="T90" fmla="*/ 3956 w 6931"/>
                  <a:gd name="T91" fmla="*/ 382 h 1376"/>
                  <a:gd name="T92" fmla="*/ 4606 w 6931"/>
                  <a:gd name="T93" fmla="*/ 232 h 1376"/>
                  <a:gd name="T94" fmla="*/ 4609 w 6931"/>
                  <a:gd name="T95" fmla="*/ 232 h 1376"/>
                  <a:gd name="T96" fmla="*/ 4755 w 6931"/>
                  <a:gd name="T97" fmla="*/ 126 h 1376"/>
                  <a:gd name="T98" fmla="*/ 4758 w 6931"/>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1" h="1376">
                    <a:moveTo>
                      <a:pt x="3616" y="1222"/>
                    </a:moveTo>
                    <a:lnTo>
                      <a:pt x="3616" y="1222"/>
                    </a:lnTo>
                    <a:lnTo>
                      <a:pt x="3616" y="1224"/>
                    </a:lnTo>
                    <a:lnTo>
                      <a:pt x="3616" y="1239"/>
                    </a:lnTo>
                    <a:lnTo>
                      <a:pt x="3616" y="1239"/>
                    </a:lnTo>
                    <a:lnTo>
                      <a:pt x="3616" y="1222"/>
                    </a:lnTo>
                    <a:moveTo>
                      <a:pt x="5737" y="1210"/>
                    </a:moveTo>
                    <a:lnTo>
                      <a:pt x="5734" y="1210"/>
                    </a:lnTo>
                    <a:lnTo>
                      <a:pt x="5734" y="1213"/>
                    </a:lnTo>
                    <a:lnTo>
                      <a:pt x="5734" y="1248"/>
                    </a:lnTo>
                    <a:lnTo>
                      <a:pt x="5737" y="1248"/>
                    </a:lnTo>
                    <a:lnTo>
                      <a:pt x="5737" y="1210"/>
                    </a:lnTo>
                    <a:moveTo>
                      <a:pt x="5760" y="1130"/>
                    </a:moveTo>
                    <a:lnTo>
                      <a:pt x="5760" y="1130"/>
                    </a:lnTo>
                    <a:lnTo>
                      <a:pt x="5760" y="1130"/>
                    </a:lnTo>
                    <a:lnTo>
                      <a:pt x="5760" y="1187"/>
                    </a:lnTo>
                    <a:lnTo>
                      <a:pt x="5760" y="1187"/>
                    </a:lnTo>
                    <a:lnTo>
                      <a:pt x="5760" y="1184"/>
                    </a:lnTo>
                    <a:lnTo>
                      <a:pt x="5760" y="1184"/>
                    </a:lnTo>
                    <a:lnTo>
                      <a:pt x="5760" y="1130"/>
                    </a:lnTo>
                    <a:moveTo>
                      <a:pt x="6229" y="1130"/>
                    </a:moveTo>
                    <a:lnTo>
                      <a:pt x="6226" y="1130"/>
                    </a:lnTo>
                    <a:lnTo>
                      <a:pt x="6226" y="1130"/>
                    </a:lnTo>
                    <a:lnTo>
                      <a:pt x="6226" y="1130"/>
                    </a:lnTo>
                    <a:lnTo>
                      <a:pt x="6226" y="1132"/>
                    </a:lnTo>
                    <a:lnTo>
                      <a:pt x="6229" y="1132"/>
                    </a:lnTo>
                    <a:lnTo>
                      <a:pt x="6229" y="1130"/>
                    </a:lnTo>
                    <a:moveTo>
                      <a:pt x="2765" y="1063"/>
                    </a:moveTo>
                    <a:lnTo>
                      <a:pt x="2765" y="1063"/>
                    </a:lnTo>
                    <a:lnTo>
                      <a:pt x="2765" y="1063"/>
                    </a:lnTo>
                    <a:lnTo>
                      <a:pt x="2765" y="1066"/>
                    </a:lnTo>
                    <a:lnTo>
                      <a:pt x="2765" y="1163"/>
                    </a:lnTo>
                    <a:lnTo>
                      <a:pt x="2765" y="1163"/>
                    </a:lnTo>
                    <a:lnTo>
                      <a:pt x="2765" y="1063"/>
                    </a:lnTo>
                    <a:moveTo>
                      <a:pt x="5836" y="1042"/>
                    </a:moveTo>
                    <a:lnTo>
                      <a:pt x="5836" y="1042"/>
                    </a:lnTo>
                    <a:lnTo>
                      <a:pt x="5834" y="1042"/>
                    </a:lnTo>
                    <a:lnTo>
                      <a:pt x="5834" y="1045"/>
                    </a:lnTo>
                    <a:lnTo>
                      <a:pt x="5834" y="1054"/>
                    </a:lnTo>
                    <a:lnTo>
                      <a:pt x="5836" y="1054"/>
                    </a:lnTo>
                    <a:lnTo>
                      <a:pt x="5836" y="1054"/>
                    </a:lnTo>
                    <a:lnTo>
                      <a:pt x="5836" y="1054"/>
                    </a:lnTo>
                    <a:lnTo>
                      <a:pt x="5836" y="1042"/>
                    </a:lnTo>
                    <a:moveTo>
                      <a:pt x="2783" y="1014"/>
                    </a:moveTo>
                    <a:lnTo>
                      <a:pt x="2781" y="1014"/>
                    </a:lnTo>
                    <a:lnTo>
                      <a:pt x="2781" y="1014"/>
                    </a:lnTo>
                    <a:lnTo>
                      <a:pt x="2781" y="1047"/>
                    </a:lnTo>
                    <a:lnTo>
                      <a:pt x="2783" y="1047"/>
                    </a:lnTo>
                    <a:lnTo>
                      <a:pt x="2783" y="1045"/>
                    </a:lnTo>
                    <a:lnTo>
                      <a:pt x="2783" y="1045"/>
                    </a:lnTo>
                    <a:lnTo>
                      <a:pt x="2783" y="1014"/>
                    </a:lnTo>
                    <a:moveTo>
                      <a:pt x="3675" y="995"/>
                    </a:moveTo>
                    <a:lnTo>
                      <a:pt x="3675" y="995"/>
                    </a:lnTo>
                    <a:lnTo>
                      <a:pt x="3675" y="997"/>
                    </a:lnTo>
                    <a:lnTo>
                      <a:pt x="3675" y="1163"/>
                    </a:lnTo>
                    <a:lnTo>
                      <a:pt x="3675" y="1163"/>
                    </a:lnTo>
                    <a:lnTo>
                      <a:pt x="3675" y="1163"/>
                    </a:lnTo>
                    <a:lnTo>
                      <a:pt x="3675" y="1163"/>
                    </a:lnTo>
                    <a:lnTo>
                      <a:pt x="3675" y="995"/>
                    </a:lnTo>
                    <a:moveTo>
                      <a:pt x="5855" y="990"/>
                    </a:moveTo>
                    <a:lnTo>
                      <a:pt x="5853" y="990"/>
                    </a:lnTo>
                    <a:lnTo>
                      <a:pt x="5853" y="992"/>
                    </a:lnTo>
                    <a:lnTo>
                      <a:pt x="5853" y="1026"/>
                    </a:lnTo>
                    <a:lnTo>
                      <a:pt x="5853" y="1026"/>
                    </a:lnTo>
                    <a:lnTo>
                      <a:pt x="5853" y="1023"/>
                    </a:lnTo>
                    <a:lnTo>
                      <a:pt x="5855" y="1023"/>
                    </a:lnTo>
                    <a:lnTo>
                      <a:pt x="5855" y="990"/>
                    </a:lnTo>
                    <a:moveTo>
                      <a:pt x="6245" y="936"/>
                    </a:moveTo>
                    <a:lnTo>
                      <a:pt x="6243" y="936"/>
                    </a:lnTo>
                    <a:lnTo>
                      <a:pt x="6243" y="938"/>
                    </a:lnTo>
                    <a:lnTo>
                      <a:pt x="6243" y="1113"/>
                    </a:lnTo>
                    <a:lnTo>
                      <a:pt x="6245" y="1113"/>
                    </a:lnTo>
                    <a:lnTo>
                      <a:pt x="6245" y="1111"/>
                    </a:lnTo>
                    <a:lnTo>
                      <a:pt x="6245" y="1111"/>
                    </a:lnTo>
                    <a:lnTo>
                      <a:pt x="6245" y="936"/>
                    </a:lnTo>
                    <a:moveTo>
                      <a:pt x="6295" y="879"/>
                    </a:moveTo>
                    <a:lnTo>
                      <a:pt x="6295" y="879"/>
                    </a:lnTo>
                    <a:lnTo>
                      <a:pt x="6292" y="879"/>
                    </a:lnTo>
                    <a:lnTo>
                      <a:pt x="6292" y="881"/>
                    </a:lnTo>
                    <a:lnTo>
                      <a:pt x="6292" y="888"/>
                    </a:lnTo>
                    <a:lnTo>
                      <a:pt x="6295" y="888"/>
                    </a:lnTo>
                    <a:lnTo>
                      <a:pt x="6295" y="886"/>
                    </a:lnTo>
                    <a:lnTo>
                      <a:pt x="6295" y="886"/>
                    </a:lnTo>
                    <a:lnTo>
                      <a:pt x="6295" y="879"/>
                    </a:lnTo>
                    <a:moveTo>
                      <a:pt x="6304" y="850"/>
                    </a:moveTo>
                    <a:lnTo>
                      <a:pt x="6302" y="850"/>
                    </a:lnTo>
                    <a:lnTo>
                      <a:pt x="6302" y="853"/>
                    </a:lnTo>
                    <a:lnTo>
                      <a:pt x="6302" y="872"/>
                    </a:lnTo>
                    <a:lnTo>
                      <a:pt x="6302" y="872"/>
                    </a:lnTo>
                    <a:lnTo>
                      <a:pt x="6302" y="869"/>
                    </a:lnTo>
                    <a:lnTo>
                      <a:pt x="6304" y="869"/>
                    </a:lnTo>
                    <a:lnTo>
                      <a:pt x="6304" y="850"/>
                    </a:lnTo>
                    <a:moveTo>
                      <a:pt x="3006" y="763"/>
                    </a:moveTo>
                    <a:lnTo>
                      <a:pt x="3003" y="763"/>
                    </a:lnTo>
                    <a:lnTo>
                      <a:pt x="3003" y="765"/>
                    </a:lnTo>
                    <a:lnTo>
                      <a:pt x="3003" y="902"/>
                    </a:lnTo>
                    <a:lnTo>
                      <a:pt x="3006" y="902"/>
                    </a:lnTo>
                    <a:lnTo>
                      <a:pt x="3006" y="763"/>
                    </a:lnTo>
                    <a:moveTo>
                      <a:pt x="5037" y="732"/>
                    </a:moveTo>
                    <a:lnTo>
                      <a:pt x="5037" y="732"/>
                    </a:lnTo>
                    <a:lnTo>
                      <a:pt x="5037" y="734"/>
                    </a:lnTo>
                    <a:lnTo>
                      <a:pt x="5037" y="895"/>
                    </a:lnTo>
                    <a:lnTo>
                      <a:pt x="5037" y="895"/>
                    </a:lnTo>
                    <a:lnTo>
                      <a:pt x="5037" y="732"/>
                    </a:lnTo>
                    <a:moveTo>
                      <a:pt x="3044" y="659"/>
                    </a:moveTo>
                    <a:lnTo>
                      <a:pt x="3041" y="659"/>
                    </a:lnTo>
                    <a:lnTo>
                      <a:pt x="3041" y="659"/>
                    </a:lnTo>
                    <a:lnTo>
                      <a:pt x="3041" y="727"/>
                    </a:lnTo>
                    <a:lnTo>
                      <a:pt x="3044" y="727"/>
                    </a:lnTo>
                    <a:lnTo>
                      <a:pt x="3044" y="725"/>
                    </a:lnTo>
                    <a:lnTo>
                      <a:pt x="3044" y="725"/>
                    </a:lnTo>
                    <a:lnTo>
                      <a:pt x="3044" y="659"/>
                    </a:lnTo>
                    <a:moveTo>
                      <a:pt x="3" y="618"/>
                    </a:moveTo>
                    <a:lnTo>
                      <a:pt x="0" y="618"/>
                    </a:lnTo>
                    <a:lnTo>
                      <a:pt x="0" y="618"/>
                    </a:lnTo>
                    <a:lnTo>
                      <a:pt x="0" y="1376"/>
                    </a:lnTo>
                    <a:lnTo>
                      <a:pt x="3" y="1376"/>
                    </a:lnTo>
                    <a:lnTo>
                      <a:pt x="3" y="618"/>
                    </a:lnTo>
                    <a:moveTo>
                      <a:pt x="5157" y="611"/>
                    </a:moveTo>
                    <a:lnTo>
                      <a:pt x="5157" y="611"/>
                    </a:lnTo>
                    <a:lnTo>
                      <a:pt x="5157" y="611"/>
                    </a:lnTo>
                    <a:lnTo>
                      <a:pt x="5157" y="654"/>
                    </a:lnTo>
                    <a:lnTo>
                      <a:pt x="5157" y="654"/>
                    </a:lnTo>
                    <a:lnTo>
                      <a:pt x="5157" y="611"/>
                    </a:lnTo>
                    <a:moveTo>
                      <a:pt x="6931" y="509"/>
                    </a:moveTo>
                    <a:lnTo>
                      <a:pt x="6928" y="509"/>
                    </a:lnTo>
                    <a:lnTo>
                      <a:pt x="6928" y="512"/>
                    </a:lnTo>
                    <a:lnTo>
                      <a:pt x="6928" y="1016"/>
                    </a:lnTo>
                    <a:lnTo>
                      <a:pt x="6931" y="1016"/>
                    </a:lnTo>
                    <a:lnTo>
                      <a:pt x="6931" y="509"/>
                    </a:lnTo>
                    <a:moveTo>
                      <a:pt x="4098" y="505"/>
                    </a:moveTo>
                    <a:lnTo>
                      <a:pt x="4098" y="505"/>
                    </a:lnTo>
                    <a:lnTo>
                      <a:pt x="4098" y="505"/>
                    </a:lnTo>
                    <a:lnTo>
                      <a:pt x="4096" y="507"/>
                    </a:lnTo>
                    <a:lnTo>
                      <a:pt x="4096" y="507"/>
                    </a:lnTo>
                    <a:lnTo>
                      <a:pt x="4098" y="505"/>
                    </a:lnTo>
                    <a:moveTo>
                      <a:pt x="3204" y="502"/>
                    </a:moveTo>
                    <a:lnTo>
                      <a:pt x="3204" y="502"/>
                    </a:lnTo>
                    <a:lnTo>
                      <a:pt x="3204" y="505"/>
                    </a:lnTo>
                    <a:lnTo>
                      <a:pt x="3204" y="566"/>
                    </a:lnTo>
                    <a:lnTo>
                      <a:pt x="3204" y="566"/>
                    </a:lnTo>
                    <a:lnTo>
                      <a:pt x="3204" y="564"/>
                    </a:lnTo>
                    <a:lnTo>
                      <a:pt x="3204" y="564"/>
                    </a:lnTo>
                    <a:lnTo>
                      <a:pt x="3204" y="502"/>
                    </a:lnTo>
                    <a:moveTo>
                      <a:pt x="3942" y="455"/>
                    </a:moveTo>
                    <a:lnTo>
                      <a:pt x="3940" y="455"/>
                    </a:lnTo>
                    <a:lnTo>
                      <a:pt x="3940" y="455"/>
                    </a:lnTo>
                    <a:lnTo>
                      <a:pt x="3940" y="457"/>
                    </a:lnTo>
                    <a:lnTo>
                      <a:pt x="3940" y="493"/>
                    </a:lnTo>
                    <a:lnTo>
                      <a:pt x="3859" y="644"/>
                    </a:lnTo>
                    <a:lnTo>
                      <a:pt x="3859" y="850"/>
                    </a:lnTo>
                    <a:lnTo>
                      <a:pt x="3859" y="850"/>
                    </a:lnTo>
                    <a:lnTo>
                      <a:pt x="3859" y="642"/>
                    </a:lnTo>
                    <a:lnTo>
                      <a:pt x="3942" y="491"/>
                    </a:lnTo>
                    <a:lnTo>
                      <a:pt x="3942" y="455"/>
                    </a:lnTo>
                    <a:moveTo>
                      <a:pt x="3235" y="434"/>
                    </a:moveTo>
                    <a:lnTo>
                      <a:pt x="3233" y="434"/>
                    </a:lnTo>
                    <a:lnTo>
                      <a:pt x="3233" y="436"/>
                    </a:lnTo>
                    <a:lnTo>
                      <a:pt x="3233" y="474"/>
                    </a:lnTo>
                    <a:lnTo>
                      <a:pt x="3233" y="474"/>
                    </a:lnTo>
                    <a:lnTo>
                      <a:pt x="3233" y="472"/>
                    </a:lnTo>
                    <a:lnTo>
                      <a:pt x="3235" y="472"/>
                    </a:lnTo>
                    <a:lnTo>
                      <a:pt x="3235" y="434"/>
                    </a:lnTo>
                    <a:moveTo>
                      <a:pt x="3947" y="391"/>
                    </a:moveTo>
                    <a:lnTo>
                      <a:pt x="3947" y="391"/>
                    </a:lnTo>
                    <a:lnTo>
                      <a:pt x="3947" y="391"/>
                    </a:lnTo>
                    <a:lnTo>
                      <a:pt x="3947" y="393"/>
                    </a:lnTo>
                    <a:lnTo>
                      <a:pt x="3947" y="450"/>
                    </a:lnTo>
                    <a:lnTo>
                      <a:pt x="3947" y="450"/>
                    </a:lnTo>
                    <a:lnTo>
                      <a:pt x="3947" y="448"/>
                    </a:lnTo>
                    <a:lnTo>
                      <a:pt x="3947" y="448"/>
                    </a:lnTo>
                    <a:lnTo>
                      <a:pt x="3947" y="391"/>
                    </a:lnTo>
                    <a:moveTo>
                      <a:pt x="1715" y="370"/>
                    </a:moveTo>
                    <a:lnTo>
                      <a:pt x="1712" y="370"/>
                    </a:lnTo>
                    <a:lnTo>
                      <a:pt x="1712" y="372"/>
                    </a:lnTo>
                    <a:lnTo>
                      <a:pt x="1712" y="1054"/>
                    </a:lnTo>
                    <a:lnTo>
                      <a:pt x="1715" y="1054"/>
                    </a:lnTo>
                    <a:lnTo>
                      <a:pt x="1715" y="370"/>
                    </a:lnTo>
                    <a:moveTo>
                      <a:pt x="3956" y="327"/>
                    </a:moveTo>
                    <a:lnTo>
                      <a:pt x="3954" y="327"/>
                    </a:lnTo>
                    <a:lnTo>
                      <a:pt x="3954" y="330"/>
                    </a:lnTo>
                    <a:lnTo>
                      <a:pt x="3954" y="384"/>
                    </a:lnTo>
                    <a:lnTo>
                      <a:pt x="3956" y="384"/>
                    </a:lnTo>
                    <a:lnTo>
                      <a:pt x="3956" y="382"/>
                    </a:lnTo>
                    <a:lnTo>
                      <a:pt x="3956" y="382"/>
                    </a:lnTo>
                    <a:lnTo>
                      <a:pt x="3956" y="327"/>
                    </a:lnTo>
                    <a:moveTo>
                      <a:pt x="4609" y="232"/>
                    </a:moveTo>
                    <a:lnTo>
                      <a:pt x="4606" y="232"/>
                    </a:lnTo>
                    <a:lnTo>
                      <a:pt x="4606" y="235"/>
                    </a:lnTo>
                    <a:lnTo>
                      <a:pt x="4552" y="441"/>
                    </a:lnTo>
                    <a:lnTo>
                      <a:pt x="4552" y="438"/>
                    </a:lnTo>
                    <a:lnTo>
                      <a:pt x="4609" y="232"/>
                    </a:lnTo>
                    <a:moveTo>
                      <a:pt x="4758" y="0"/>
                    </a:moveTo>
                    <a:lnTo>
                      <a:pt x="4755" y="0"/>
                    </a:lnTo>
                    <a:lnTo>
                      <a:pt x="4755" y="3"/>
                    </a:lnTo>
                    <a:lnTo>
                      <a:pt x="4755" y="126"/>
                    </a:lnTo>
                    <a:lnTo>
                      <a:pt x="4758" y="126"/>
                    </a:lnTo>
                    <a:lnTo>
                      <a:pt x="4758" y="124"/>
                    </a:lnTo>
                    <a:lnTo>
                      <a:pt x="4758" y="124"/>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7" name="Freeform 62"/>
              <p:cNvSpPr>
                <a:spLocks noEditPoints="1"/>
              </p:cNvSpPr>
              <p:nvPr/>
            </p:nvSpPr>
            <p:spPr bwMode="auto">
              <a:xfrm>
                <a:off x="66" y="1738"/>
                <a:ext cx="6930" cy="1376"/>
              </a:xfrm>
              <a:custGeom>
                <a:avLst/>
                <a:gdLst>
                  <a:gd name="T0" fmla="*/ 3613 w 6930"/>
                  <a:gd name="T1" fmla="*/ 1239 h 1376"/>
                  <a:gd name="T2" fmla="*/ 5734 w 6930"/>
                  <a:gd name="T3" fmla="*/ 1208 h 1376"/>
                  <a:gd name="T4" fmla="*/ 5736 w 6930"/>
                  <a:gd name="T5" fmla="*/ 1208 h 1376"/>
                  <a:gd name="T6" fmla="*/ 5757 w 6930"/>
                  <a:gd name="T7" fmla="*/ 1184 h 1376"/>
                  <a:gd name="T8" fmla="*/ 5760 w 6930"/>
                  <a:gd name="T9" fmla="*/ 1127 h 1376"/>
                  <a:gd name="T10" fmla="*/ 6226 w 6930"/>
                  <a:gd name="T11" fmla="*/ 1130 h 1376"/>
                  <a:gd name="T12" fmla="*/ 2764 w 6930"/>
                  <a:gd name="T13" fmla="*/ 1061 h 1376"/>
                  <a:gd name="T14" fmla="*/ 2762 w 6930"/>
                  <a:gd name="T15" fmla="*/ 1163 h 1376"/>
                  <a:gd name="T16" fmla="*/ 5835 w 6930"/>
                  <a:gd name="T17" fmla="*/ 1040 h 1376"/>
                  <a:gd name="T18" fmla="*/ 5835 w 6930"/>
                  <a:gd name="T19" fmla="*/ 1054 h 1376"/>
                  <a:gd name="T20" fmla="*/ 2783 w 6930"/>
                  <a:gd name="T21" fmla="*/ 1011 h 1376"/>
                  <a:gd name="T22" fmla="*/ 2780 w 6930"/>
                  <a:gd name="T23" fmla="*/ 1045 h 1376"/>
                  <a:gd name="T24" fmla="*/ 3674 w 6930"/>
                  <a:gd name="T25" fmla="*/ 992 h 1376"/>
                  <a:gd name="T26" fmla="*/ 3674 w 6930"/>
                  <a:gd name="T27" fmla="*/ 1163 h 1376"/>
                  <a:gd name="T28" fmla="*/ 5854 w 6930"/>
                  <a:gd name="T29" fmla="*/ 988 h 1376"/>
                  <a:gd name="T30" fmla="*/ 5852 w 6930"/>
                  <a:gd name="T31" fmla="*/ 1023 h 1376"/>
                  <a:gd name="T32" fmla="*/ 6244 w 6930"/>
                  <a:gd name="T33" fmla="*/ 936 h 1376"/>
                  <a:gd name="T34" fmla="*/ 6244 w 6930"/>
                  <a:gd name="T35" fmla="*/ 1111 h 1376"/>
                  <a:gd name="T36" fmla="*/ 6294 w 6930"/>
                  <a:gd name="T37" fmla="*/ 876 h 1376"/>
                  <a:gd name="T38" fmla="*/ 6292 w 6930"/>
                  <a:gd name="T39" fmla="*/ 886 h 1376"/>
                  <a:gd name="T40" fmla="*/ 6294 w 6930"/>
                  <a:gd name="T41" fmla="*/ 876 h 1376"/>
                  <a:gd name="T42" fmla="*/ 6301 w 6930"/>
                  <a:gd name="T43" fmla="*/ 869 h 1376"/>
                  <a:gd name="T44" fmla="*/ 6301 w 6930"/>
                  <a:gd name="T45" fmla="*/ 850 h 1376"/>
                  <a:gd name="T46" fmla="*/ 3003 w 6930"/>
                  <a:gd name="T47" fmla="*/ 902 h 1376"/>
                  <a:gd name="T48" fmla="*/ 5034 w 6930"/>
                  <a:gd name="T49" fmla="*/ 732 h 1376"/>
                  <a:gd name="T50" fmla="*/ 5036 w 6930"/>
                  <a:gd name="T51" fmla="*/ 732 h 1376"/>
                  <a:gd name="T52" fmla="*/ 3041 w 6930"/>
                  <a:gd name="T53" fmla="*/ 725 h 1376"/>
                  <a:gd name="T54" fmla="*/ 3043 w 6930"/>
                  <a:gd name="T55" fmla="*/ 656 h 1376"/>
                  <a:gd name="T56" fmla="*/ 0 w 6930"/>
                  <a:gd name="T57" fmla="*/ 1376 h 1376"/>
                  <a:gd name="T58" fmla="*/ 5154 w 6930"/>
                  <a:gd name="T59" fmla="*/ 609 h 1376"/>
                  <a:gd name="T60" fmla="*/ 5157 w 6930"/>
                  <a:gd name="T61" fmla="*/ 609 h 1376"/>
                  <a:gd name="T62" fmla="*/ 6928 w 6930"/>
                  <a:gd name="T63" fmla="*/ 1016 h 1376"/>
                  <a:gd name="T64" fmla="*/ 4097 w 6930"/>
                  <a:gd name="T65" fmla="*/ 502 h 1376"/>
                  <a:gd name="T66" fmla="*/ 4097 w 6930"/>
                  <a:gd name="T67" fmla="*/ 502 h 1376"/>
                  <a:gd name="T68" fmla="*/ 3201 w 6930"/>
                  <a:gd name="T69" fmla="*/ 564 h 1376"/>
                  <a:gd name="T70" fmla="*/ 3204 w 6930"/>
                  <a:gd name="T71" fmla="*/ 500 h 1376"/>
                  <a:gd name="T72" fmla="*/ 3939 w 6930"/>
                  <a:gd name="T73" fmla="*/ 455 h 1376"/>
                  <a:gd name="T74" fmla="*/ 3859 w 6930"/>
                  <a:gd name="T75" fmla="*/ 850 h 1376"/>
                  <a:gd name="T76" fmla="*/ 3232 w 6930"/>
                  <a:gd name="T77" fmla="*/ 434 h 1376"/>
                  <a:gd name="T78" fmla="*/ 3232 w 6930"/>
                  <a:gd name="T79" fmla="*/ 472 h 1376"/>
                  <a:gd name="T80" fmla="*/ 3946 w 6930"/>
                  <a:gd name="T81" fmla="*/ 391 h 1376"/>
                  <a:gd name="T82" fmla="*/ 3944 w 6930"/>
                  <a:gd name="T83" fmla="*/ 448 h 1376"/>
                  <a:gd name="T84" fmla="*/ 3946 w 6930"/>
                  <a:gd name="T85" fmla="*/ 391 h 1376"/>
                  <a:gd name="T86" fmla="*/ 1712 w 6930"/>
                  <a:gd name="T87" fmla="*/ 1054 h 1376"/>
                  <a:gd name="T88" fmla="*/ 3953 w 6930"/>
                  <a:gd name="T89" fmla="*/ 327 h 1376"/>
                  <a:gd name="T90" fmla="*/ 3953 w 6930"/>
                  <a:gd name="T91" fmla="*/ 382 h 1376"/>
                  <a:gd name="T92" fmla="*/ 4606 w 6930"/>
                  <a:gd name="T93" fmla="*/ 230 h 1376"/>
                  <a:gd name="T94" fmla="*/ 4608 w 6930"/>
                  <a:gd name="T95" fmla="*/ 230 h 1376"/>
                  <a:gd name="T96" fmla="*/ 4755 w 6930"/>
                  <a:gd name="T97" fmla="*/ 124 h 1376"/>
                  <a:gd name="T98" fmla="*/ 4757 w 6930"/>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76">
                    <a:moveTo>
                      <a:pt x="3615" y="1222"/>
                    </a:moveTo>
                    <a:lnTo>
                      <a:pt x="3613" y="1222"/>
                    </a:lnTo>
                    <a:lnTo>
                      <a:pt x="3613" y="1222"/>
                    </a:lnTo>
                    <a:lnTo>
                      <a:pt x="3613" y="1239"/>
                    </a:lnTo>
                    <a:lnTo>
                      <a:pt x="3615" y="1239"/>
                    </a:lnTo>
                    <a:lnTo>
                      <a:pt x="3615" y="1222"/>
                    </a:lnTo>
                    <a:close/>
                    <a:moveTo>
                      <a:pt x="5736" y="1208"/>
                    </a:moveTo>
                    <a:lnTo>
                      <a:pt x="5734" y="1208"/>
                    </a:lnTo>
                    <a:lnTo>
                      <a:pt x="5734" y="1210"/>
                    </a:lnTo>
                    <a:lnTo>
                      <a:pt x="5734" y="1248"/>
                    </a:lnTo>
                    <a:lnTo>
                      <a:pt x="5736" y="1248"/>
                    </a:lnTo>
                    <a:lnTo>
                      <a:pt x="5736" y="1208"/>
                    </a:lnTo>
                    <a:close/>
                    <a:moveTo>
                      <a:pt x="5760" y="1127"/>
                    </a:moveTo>
                    <a:lnTo>
                      <a:pt x="5757" y="1127"/>
                    </a:lnTo>
                    <a:lnTo>
                      <a:pt x="5757" y="1130"/>
                    </a:lnTo>
                    <a:lnTo>
                      <a:pt x="5757" y="1184"/>
                    </a:lnTo>
                    <a:lnTo>
                      <a:pt x="5760" y="1184"/>
                    </a:lnTo>
                    <a:lnTo>
                      <a:pt x="5760" y="1182"/>
                    </a:lnTo>
                    <a:lnTo>
                      <a:pt x="5760" y="1182"/>
                    </a:lnTo>
                    <a:lnTo>
                      <a:pt x="5760" y="1127"/>
                    </a:lnTo>
                    <a:close/>
                    <a:moveTo>
                      <a:pt x="6228" y="1127"/>
                    </a:moveTo>
                    <a:lnTo>
                      <a:pt x="6226" y="1127"/>
                    </a:lnTo>
                    <a:lnTo>
                      <a:pt x="6226" y="1127"/>
                    </a:lnTo>
                    <a:lnTo>
                      <a:pt x="6226" y="1130"/>
                    </a:lnTo>
                    <a:lnTo>
                      <a:pt x="6226" y="1132"/>
                    </a:lnTo>
                    <a:lnTo>
                      <a:pt x="6228" y="1132"/>
                    </a:lnTo>
                    <a:lnTo>
                      <a:pt x="6228" y="1127"/>
                    </a:lnTo>
                    <a:close/>
                    <a:moveTo>
                      <a:pt x="2764" y="1061"/>
                    </a:moveTo>
                    <a:lnTo>
                      <a:pt x="2764" y="1061"/>
                    </a:lnTo>
                    <a:lnTo>
                      <a:pt x="2762" y="1061"/>
                    </a:lnTo>
                    <a:lnTo>
                      <a:pt x="2762" y="1063"/>
                    </a:lnTo>
                    <a:lnTo>
                      <a:pt x="2762" y="1163"/>
                    </a:lnTo>
                    <a:lnTo>
                      <a:pt x="2764" y="1163"/>
                    </a:lnTo>
                    <a:lnTo>
                      <a:pt x="2764" y="1061"/>
                    </a:lnTo>
                    <a:close/>
                    <a:moveTo>
                      <a:pt x="5835" y="1040"/>
                    </a:moveTo>
                    <a:lnTo>
                      <a:pt x="5835" y="1040"/>
                    </a:lnTo>
                    <a:lnTo>
                      <a:pt x="5833" y="1040"/>
                    </a:lnTo>
                    <a:lnTo>
                      <a:pt x="5833" y="1042"/>
                    </a:lnTo>
                    <a:lnTo>
                      <a:pt x="5833" y="1054"/>
                    </a:lnTo>
                    <a:lnTo>
                      <a:pt x="5835" y="1054"/>
                    </a:lnTo>
                    <a:lnTo>
                      <a:pt x="5835" y="1052"/>
                    </a:lnTo>
                    <a:lnTo>
                      <a:pt x="5835" y="1052"/>
                    </a:lnTo>
                    <a:lnTo>
                      <a:pt x="5835" y="1040"/>
                    </a:lnTo>
                    <a:close/>
                    <a:moveTo>
                      <a:pt x="2783" y="1011"/>
                    </a:moveTo>
                    <a:lnTo>
                      <a:pt x="2780" y="1011"/>
                    </a:lnTo>
                    <a:lnTo>
                      <a:pt x="2780" y="1014"/>
                    </a:lnTo>
                    <a:lnTo>
                      <a:pt x="2780" y="1045"/>
                    </a:lnTo>
                    <a:lnTo>
                      <a:pt x="2780" y="1045"/>
                    </a:lnTo>
                    <a:lnTo>
                      <a:pt x="2780" y="1042"/>
                    </a:lnTo>
                    <a:lnTo>
                      <a:pt x="2783" y="1042"/>
                    </a:lnTo>
                    <a:lnTo>
                      <a:pt x="2783" y="1011"/>
                    </a:lnTo>
                    <a:close/>
                    <a:moveTo>
                      <a:pt x="3674" y="992"/>
                    </a:moveTo>
                    <a:lnTo>
                      <a:pt x="3672" y="992"/>
                    </a:lnTo>
                    <a:lnTo>
                      <a:pt x="3672" y="995"/>
                    </a:lnTo>
                    <a:lnTo>
                      <a:pt x="3672" y="1163"/>
                    </a:lnTo>
                    <a:lnTo>
                      <a:pt x="3674" y="1163"/>
                    </a:lnTo>
                    <a:lnTo>
                      <a:pt x="3674" y="1161"/>
                    </a:lnTo>
                    <a:lnTo>
                      <a:pt x="3674" y="1161"/>
                    </a:lnTo>
                    <a:lnTo>
                      <a:pt x="3674" y="992"/>
                    </a:lnTo>
                    <a:close/>
                    <a:moveTo>
                      <a:pt x="5854" y="988"/>
                    </a:moveTo>
                    <a:lnTo>
                      <a:pt x="5852" y="988"/>
                    </a:lnTo>
                    <a:lnTo>
                      <a:pt x="5852" y="990"/>
                    </a:lnTo>
                    <a:lnTo>
                      <a:pt x="5852" y="1023"/>
                    </a:lnTo>
                    <a:lnTo>
                      <a:pt x="5852" y="1023"/>
                    </a:lnTo>
                    <a:lnTo>
                      <a:pt x="5852" y="1021"/>
                    </a:lnTo>
                    <a:lnTo>
                      <a:pt x="5854" y="1021"/>
                    </a:lnTo>
                    <a:lnTo>
                      <a:pt x="5854" y="988"/>
                    </a:lnTo>
                    <a:close/>
                    <a:moveTo>
                      <a:pt x="6244" y="936"/>
                    </a:moveTo>
                    <a:lnTo>
                      <a:pt x="6242" y="936"/>
                    </a:lnTo>
                    <a:lnTo>
                      <a:pt x="6242" y="936"/>
                    </a:lnTo>
                    <a:lnTo>
                      <a:pt x="6242" y="1111"/>
                    </a:lnTo>
                    <a:lnTo>
                      <a:pt x="6244" y="1111"/>
                    </a:lnTo>
                    <a:lnTo>
                      <a:pt x="6244" y="1108"/>
                    </a:lnTo>
                    <a:lnTo>
                      <a:pt x="6244" y="1108"/>
                    </a:lnTo>
                    <a:lnTo>
                      <a:pt x="6244" y="936"/>
                    </a:lnTo>
                    <a:close/>
                    <a:moveTo>
                      <a:pt x="6294" y="876"/>
                    </a:moveTo>
                    <a:lnTo>
                      <a:pt x="6292" y="876"/>
                    </a:lnTo>
                    <a:lnTo>
                      <a:pt x="6292" y="876"/>
                    </a:lnTo>
                    <a:lnTo>
                      <a:pt x="6292" y="879"/>
                    </a:lnTo>
                    <a:lnTo>
                      <a:pt x="6292" y="886"/>
                    </a:lnTo>
                    <a:lnTo>
                      <a:pt x="6292" y="886"/>
                    </a:lnTo>
                    <a:lnTo>
                      <a:pt x="6292" y="884"/>
                    </a:lnTo>
                    <a:lnTo>
                      <a:pt x="6294" y="884"/>
                    </a:lnTo>
                    <a:lnTo>
                      <a:pt x="6294" y="876"/>
                    </a:lnTo>
                    <a:close/>
                    <a:moveTo>
                      <a:pt x="6301" y="850"/>
                    </a:moveTo>
                    <a:lnTo>
                      <a:pt x="6301" y="850"/>
                    </a:lnTo>
                    <a:lnTo>
                      <a:pt x="6301" y="850"/>
                    </a:lnTo>
                    <a:lnTo>
                      <a:pt x="6301" y="869"/>
                    </a:lnTo>
                    <a:lnTo>
                      <a:pt x="6301" y="869"/>
                    </a:lnTo>
                    <a:lnTo>
                      <a:pt x="6301" y="869"/>
                    </a:lnTo>
                    <a:lnTo>
                      <a:pt x="6301" y="869"/>
                    </a:lnTo>
                    <a:lnTo>
                      <a:pt x="6301" y="850"/>
                    </a:lnTo>
                    <a:close/>
                    <a:moveTo>
                      <a:pt x="3005" y="763"/>
                    </a:moveTo>
                    <a:lnTo>
                      <a:pt x="3003" y="763"/>
                    </a:lnTo>
                    <a:lnTo>
                      <a:pt x="3003" y="763"/>
                    </a:lnTo>
                    <a:lnTo>
                      <a:pt x="3003" y="902"/>
                    </a:lnTo>
                    <a:lnTo>
                      <a:pt x="3005" y="902"/>
                    </a:lnTo>
                    <a:lnTo>
                      <a:pt x="3005" y="763"/>
                    </a:lnTo>
                    <a:close/>
                    <a:moveTo>
                      <a:pt x="5036" y="732"/>
                    </a:moveTo>
                    <a:lnTo>
                      <a:pt x="5034" y="732"/>
                    </a:lnTo>
                    <a:lnTo>
                      <a:pt x="5034" y="732"/>
                    </a:lnTo>
                    <a:lnTo>
                      <a:pt x="5034" y="895"/>
                    </a:lnTo>
                    <a:lnTo>
                      <a:pt x="5036" y="895"/>
                    </a:lnTo>
                    <a:lnTo>
                      <a:pt x="5036" y="732"/>
                    </a:lnTo>
                    <a:close/>
                    <a:moveTo>
                      <a:pt x="3043" y="656"/>
                    </a:moveTo>
                    <a:lnTo>
                      <a:pt x="3041" y="656"/>
                    </a:lnTo>
                    <a:lnTo>
                      <a:pt x="3041" y="659"/>
                    </a:lnTo>
                    <a:lnTo>
                      <a:pt x="3041" y="725"/>
                    </a:lnTo>
                    <a:lnTo>
                      <a:pt x="3041" y="725"/>
                    </a:lnTo>
                    <a:lnTo>
                      <a:pt x="3041" y="723"/>
                    </a:lnTo>
                    <a:lnTo>
                      <a:pt x="3043" y="723"/>
                    </a:lnTo>
                    <a:lnTo>
                      <a:pt x="3043" y="656"/>
                    </a:lnTo>
                    <a:close/>
                    <a:moveTo>
                      <a:pt x="2" y="616"/>
                    </a:moveTo>
                    <a:lnTo>
                      <a:pt x="0" y="616"/>
                    </a:lnTo>
                    <a:lnTo>
                      <a:pt x="0" y="618"/>
                    </a:lnTo>
                    <a:lnTo>
                      <a:pt x="0" y="1376"/>
                    </a:lnTo>
                    <a:lnTo>
                      <a:pt x="2" y="1376"/>
                    </a:lnTo>
                    <a:lnTo>
                      <a:pt x="2" y="616"/>
                    </a:lnTo>
                    <a:close/>
                    <a:moveTo>
                      <a:pt x="5157" y="609"/>
                    </a:moveTo>
                    <a:lnTo>
                      <a:pt x="5154" y="609"/>
                    </a:lnTo>
                    <a:lnTo>
                      <a:pt x="5154" y="611"/>
                    </a:lnTo>
                    <a:lnTo>
                      <a:pt x="5154" y="654"/>
                    </a:lnTo>
                    <a:lnTo>
                      <a:pt x="5157" y="654"/>
                    </a:lnTo>
                    <a:lnTo>
                      <a:pt x="5157" y="609"/>
                    </a:lnTo>
                    <a:close/>
                    <a:moveTo>
                      <a:pt x="6930" y="507"/>
                    </a:moveTo>
                    <a:lnTo>
                      <a:pt x="6928" y="507"/>
                    </a:lnTo>
                    <a:lnTo>
                      <a:pt x="6928" y="509"/>
                    </a:lnTo>
                    <a:lnTo>
                      <a:pt x="6928" y="1016"/>
                    </a:lnTo>
                    <a:lnTo>
                      <a:pt x="6930" y="1016"/>
                    </a:lnTo>
                    <a:lnTo>
                      <a:pt x="6930" y="507"/>
                    </a:lnTo>
                    <a:close/>
                    <a:moveTo>
                      <a:pt x="4097" y="502"/>
                    </a:moveTo>
                    <a:lnTo>
                      <a:pt x="4097" y="502"/>
                    </a:lnTo>
                    <a:lnTo>
                      <a:pt x="4095" y="505"/>
                    </a:lnTo>
                    <a:lnTo>
                      <a:pt x="4093" y="507"/>
                    </a:lnTo>
                    <a:lnTo>
                      <a:pt x="4093" y="509"/>
                    </a:lnTo>
                    <a:lnTo>
                      <a:pt x="4097" y="502"/>
                    </a:lnTo>
                    <a:close/>
                    <a:moveTo>
                      <a:pt x="3204" y="500"/>
                    </a:moveTo>
                    <a:lnTo>
                      <a:pt x="3201" y="500"/>
                    </a:lnTo>
                    <a:lnTo>
                      <a:pt x="3201" y="502"/>
                    </a:lnTo>
                    <a:lnTo>
                      <a:pt x="3201" y="564"/>
                    </a:lnTo>
                    <a:lnTo>
                      <a:pt x="3204" y="564"/>
                    </a:lnTo>
                    <a:lnTo>
                      <a:pt x="3204" y="562"/>
                    </a:lnTo>
                    <a:lnTo>
                      <a:pt x="3204" y="562"/>
                    </a:lnTo>
                    <a:lnTo>
                      <a:pt x="3204" y="500"/>
                    </a:lnTo>
                    <a:close/>
                    <a:moveTo>
                      <a:pt x="3941" y="453"/>
                    </a:moveTo>
                    <a:lnTo>
                      <a:pt x="3939" y="453"/>
                    </a:lnTo>
                    <a:lnTo>
                      <a:pt x="3939" y="453"/>
                    </a:lnTo>
                    <a:lnTo>
                      <a:pt x="3939" y="455"/>
                    </a:lnTo>
                    <a:lnTo>
                      <a:pt x="3939" y="491"/>
                    </a:lnTo>
                    <a:lnTo>
                      <a:pt x="3856" y="642"/>
                    </a:lnTo>
                    <a:lnTo>
                      <a:pt x="3856" y="850"/>
                    </a:lnTo>
                    <a:lnTo>
                      <a:pt x="3859" y="850"/>
                    </a:lnTo>
                    <a:lnTo>
                      <a:pt x="3859" y="640"/>
                    </a:lnTo>
                    <a:lnTo>
                      <a:pt x="3941" y="488"/>
                    </a:lnTo>
                    <a:lnTo>
                      <a:pt x="3941" y="453"/>
                    </a:lnTo>
                    <a:close/>
                    <a:moveTo>
                      <a:pt x="3232" y="434"/>
                    </a:moveTo>
                    <a:lnTo>
                      <a:pt x="3232" y="434"/>
                    </a:lnTo>
                    <a:lnTo>
                      <a:pt x="3232" y="434"/>
                    </a:lnTo>
                    <a:lnTo>
                      <a:pt x="3232" y="472"/>
                    </a:lnTo>
                    <a:lnTo>
                      <a:pt x="3232" y="472"/>
                    </a:lnTo>
                    <a:lnTo>
                      <a:pt x="3232" y="472"/>
                    </a:lnTo>
                    <a:lnTo>
                      <a:pt x="3232" y="472"/>
                    </a:lnTo>
                    <a:lnTo>
                      <a:pt x="3232" y="434"/>
                    </a:lnTo>
                    <a:close/>
                    <a:moveTo>
                      <a:pt x="3946" y="391"/>
                    </a:moveTo>
                    <a:lnTo>
                      <a:pt x="3946" y="391"/>
                    </a:lnTo>
                    <a:lnTo>
                      <a:pt x="3944" y="391"/>
                    </a:lnTo>
                    <a:lnTo>
                      <a:pt x="3944" y="391"/>
                    </a:lnTo>
                    <a:lnTo>
                      <a:pt x="3944" y="448"/>
                    </a:lnTo>
                    <a:lnTo>
                      <a:pt x="3946" y="448"/>
                    </a:lnTo>
                    <a:lnTo>
                      <a:pt x="3946" y="446"/>
                    </a:lnTo>
                    <a:lnTo>
                      <a:pt x="3946" y="446"/>
                    </a:lnTo>
                    <a:lnTo>
                      <a:pt x="3946" y="391"/>
                    </a:lnTo>
                    <a:close/>
                    <a:moveTo>
                      <a:pt x="1714" y="367"/>
                    </a:moveTo>
                    <a:lnTo>
                      <a:pt x="1712" y="367"/>
                    </a:lnTo>
                    <a:lnTo>
                      <a:pt x="1712" y="370"/>
                    </a:lnTo>
                    <a:lnTo>
                      <a:pt x="1712" y="1054"/>
                    </a:lnTo>
                    <a:lnTo>
                      <a:pt x="1714" y="1054"/>
                    </a:lnTo>
                    <a:lnTo>
                      <a:pt x="1714" y="367"/>
                    </a:lnTo>
                    <a:close/>
                    <a:moveTo>
                      <a:pt x="3956" y="327"/>
                    </a:moveTo>
                    <a:lnTo>
                      <a:pt x="3953" y="327"/>
                    </a:lnTo>
                    <a:lnTo>
                      <a:pt x="3953" y="327"/>
                    </a:lnTo>
                    <a:lnTo>
                      <a:pt x="3953" y="382"/>
                    </a:lnTo>
                    <a:lnTo>
                      <a:pt x="3953" y="382"/>
                    </a:lnTo>
                    <a:lnTo>
                      <a:pt x="3953" y="382"/>
                    </a:lnTo>
                    <a:lnTo>
                      <a:pt x="3956" y="382"/>
                    </a:lnTo>
                    <a:lnTo>
                      <a:pt x="3956" y="327"/>
                    </a:lnTo>
                    <a:close/>
                    <a:moveTo>
                      <a:pt x="4608" y="230"/>
                    </a:moveTo>
                    <a:lnTo>
                      <a:pt x="4606" y="230"/>
                    </a:lnTo>
                    <a:lnTo>
                      <a:pt x="4606" y="232"/>
                    </a:lnTo>
                    <a:lnTo>
                      <a:pt x="4549" y="438"/>
                    </a:lnTo>
                    <a:lnTo>
                      <a:pt x="4551" y="438"/>
                    </a:lnTo>
                    <a:lnTo>
                      <a:pt x="4608" y="230"/>
                    </a:lnTo>
                    <a:close/>
                    <a:moveTo>
                      <a:pt x="4757" y="0"/>
                    </a:moveTo>
                    <a:lnTo>
                      <a:pt x="4755" y="0"/>
                    </a:lnTo>
                    <a:lnTo>
                      <a:pt x="4755" y="0"/>
                    </a:lnTo>
                    <a:lnTo>
                      <a:pt x="4755" y="124"/>
                    </a:lnTo>
                    <a:lnTo>
                      <a:pt x="4757" y="124"/>
                    </a:lnTo>
                    <a:lnTo>
                      <a:pt x="4757" y="121"/>
                    </a:lnTo>
                    <a:lnTo>
                      <a:pt x="4757" y="121"/>
                    </a:lnTo>
                    <a:lnTo>
                      <a:pt x="4757" y="0"/>
                    </a:lnTo>
                    <a:close/>
                  </a:path>
                </a:pathLst>
              </a:custGeom>
              <a:solidFill>
                <a:srgbClr val="F1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8" name="Freeform 63"/>
              <p:cNvSpPr>
                <a:spLocks noEditPoints="1"/>
              </p:cNvSpPr>
              <p:nvPr/>
            </p:nvSpPr>
            <p:spPr bwMode="auto">
              <a:xfrm>
                <a:off x="66" y="1738"/>
                <a:ext cx="6930" cy="1376"/>
              </a:xfrm>
              <a:custGeom>
                <a:avLst/>
                <a:gdLst>
                  <a:gd name="T0" fmla="*/ 3613 w 6930"/>
                  <a:gd name="T1" fmla="*/ 1239 h 1376"/>
                  <a:gd name="T2" fmla="*/ 5734 w 6930"/>
                  <a:gd name="T3" fmla="*/ 1208 h 1376"/>
                  <a:gd name="T4" fmla="*/ 5736 w 6930"/>
                  <a:gd name="T5" fmla="*/ 1208 h 1376"/>
                  <a:gd name="T6" fmla="*/ 5757 w 6930"/>
                  <a:gd name="T7" fmla="*/ 1184 h 1376"/>
                  <a:gd name="T8" fmla="*/ 5760 w 6930"/>
                  <a:gd name="T9" fmla="*/ 1127 h 1376"/>
                  <a:gd name="T10" fmla="*/ 6226 w 6930"/>
                  <a:gd name="T11" fmla="*/ 1130 h 1376"/>
                  <a:gd name="T12" fmla="*/ 2764 w 6930"/>
                  <a:gd name="T13" fmla="*/ 1061 h 1376"/>
                  <a:gd name="T14" fmla="*/ 2762 w 6930"/>
                  <a:gd name="T15" fmla="*/ 1163 h 1376"/>
                  <a:gd name="T16" fmla="*/ 5835 w 6930"/>
                  <a:gd name="T17" fmla="*/ 1040 h 1376"/>
                  <a:gd name="T18" fmla="*/ 5835 w 6930"/>
                  <a:gd name="T19" fmla="*/ 1054 h 1376"/>
                  <a:gd name="T20" fmla="*/ 2783 w 6930"/>
                  <a:gd name="T21" fmla="*/ 1011 h 1376"/>
                  <a:gd name="T22" fmla="*/ 2780 w 6930"/>
                  <a:gd name="T23" fmla="*/ 1045 h 1376"/>
                  <a:gd name="T24" fmla="*/ 3674 w 6930"/>
                  <a:gd name="T25" fmla="*/ 992 h 1376"/>
                  <a:gd name="T26" fmla="*/ 3674 w 6930"/>
                  <a:gd name="T27" fmla="*/ 1163 h 1376"/>
                  <a:gd name="T28" fmla="*/ 5854 w 6930"/>
                  <a:gd name="T29" fmla="*/ 988 h 1376"/>
                  <a:gd name="T30" fmla="*/ 5852 w 6930"/>
                  <a:gd name="T31" fmla="*/ 1023 h 1376"/>
                  <a:gd name="T32" fmla="*/ 6244 w 6930"/>
                  <a:gd name="T33" fmla="*/ 936 h 1376"/>
                  <a:gd name="T34" fmla="*/ 6244 w 6930"/>
                  <a:gd name="T35" fmla="*/ 1111 h 1376"/>
                  <a:gd name="T36" fmla="*/ 6294 w 6930"/>
                  <a:gd name="T37" fmla="*/ 876 h 1376"/>
                  <a:gd name="T38" fmla="*/ 6292 w 6930"/>
                  <a:gd name="T39" fmla="*/ 886 h 1376"/>
                  <a:gd name="T40" fmla="*/ 6294 w 6930"/>
                  <a:gd name="T41" fmla="*/ 876 h 1376"/>
                  <a:gd name="T42" fmla="*/ 6301 w 6930"/>
                  <a:gd name="T43" fmla="*/ 869 h 1376"/>
                  <a:gd name="T44" fmla="*/ 6301 w 6930"/>
                  <a:gd name="T45" fmla="*/ 850 h 1376"/>
                  <a:gd name="T46" fmla="*/ 3003 w 6930"/>
                  <a:gd name="T47" fmla="*/ 902 h 1376"/>
                  <a:gd name="T48" fmla="*/ 5034 w 6930"/>
                  <a:gd name="T49" fmla="*/ 732 h 1376"/>
                  <a:gd name="T50" fmla="*/ 5036 w 6930"/>
                  <a:gd name="T51" fmla="*/ 732 h 1376"/>
                  <a:gd name="T52" fmla="*/ 3041 w 6930"/>
                  <a:gd name="T53" fmla="*/ 725 h 1376"/>
                  <a:gd name="T54" fmla="*/ 3043 w 6930"/>
                  <a:gd name="T55" fmla="*/ 656 h 1376"/>
                  <a:gd name="T56" fmla="*/ 0 w 6930"/>
                  <a:gd name="T57" fmla="*/ 1376 h 1376"/>
                  <a:gd name="T58" fmla="*/ 5154 w 6930"/>
                  <a:gd name="T59" fmla="*/ 609 h 1376"/>
                  <a:gd name="T60" fmla="*/ 5157 w 6930"/>
                  <a:gd name="T61" fmla="*/ 609 h 1376"/>
                  <a:gd name="T62" fmla="*/ 6928 w 6930"/>
                  <a:gd name="T63" fmla="*/ 1016 h 1376"/>
                  <a:gd name="T64" fmla="*/ 4097 w 6930"/>
                  <a:gd name="T65" fmla="*/ 502 h 1376"/>
                  <a:gd name="T66" fmla="*/ 4097 w 6930"/>
                  <a:gd name="T67" fmla="*/ 502 h 1376"/>
                  <a:gd name="T68" fmla="*/ 3201 w 6930"/>
                  <a:gd name="T69" fmla="*/ 564 h 1376"/>
                  <a:gd name="T70" fmla="*/ 3204 w 6930"/>
                  <a:gd name="T71" fmla="*/ 500 h 1376"/>
                  <a:gd name="T72" fmla="*/ 3939 w 6930"/>
                  <a:gd name="T73" fmla="*/ 455 h 1376"/>
                  <a:gd name="T74" fmla="*/ 3859 w 6930"/>
                  <a:gd name="T75" fmla="*/ 850 h 1376"/>
                  <a:gd name="T76" fmla="*/ 3232 w 6930"/>
                  <a:gd name="T77" fmla="*/ 434 h 1376"/>
                  <a:gd name="T78" fmla="*/ 3232 w 6930"/>
                  <a:gd name="T79" fmla="*/ 472 h 1376"/>
                  <a:gd name="T80" fmla="*/ 3946 w 6930"/>
                  <a:gd name="T81" fmla="*/ 391 h 1376"/>
                  <a:gd name="T82" fmla="*/ 3944 w 6930"/>
                  <a:gd name="T83" fmla="*/ 448 h 1376"/>
                  <a:gd name="T84" fmla="*/ 3946 w 6930"/>
                  <a:gd name="T85" fmla="*/ 391 h 1376"/>
                  <a:gd name="T86" fmla="*/ 1712 w 6930"/>
                  <a:gd name="T87" fmla="*/ 1054 h 1376"/>
                  <a:gd name="T88" fmla="*/ 3953 w 6930"/>
                  <a:gd name="T89" fmla="*/ 327 h 1376"/>
                  <a:gd name="T90" fmla="*/ 3953 w 6930"/>
                  <a:gd name="T91" fmla="*/ 382 h 1376"/>
                  <a:gd name="T92" fmla="*/ 4606 w 6930"/>
                  <a:gd name="T93" fmla="*/ 230 h 1376"/>
                  <a:gd name="T94" fmla="*/ 4608 w 6930"/>
                  <a:gd name="T95" fmla="*/ 230 h 1376"/>
                  <a:gd name="T96" fmla="*/ 4755 w 6930"/>
                  <a:gd name="T97" fmla="*/ 124 h 1376"/>
                  <a:gd name="T98" fmla="*/ 4757 w 6930"/>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76">
                    <a:moveTo>
                      <a:pt x="3615" y="1222"/>
                    </a:moveTo>
                    <a:lnTo>
                      <a:pt x="3613" y="1222"/>
                    </a:lnTo>
                    <a:lnTo>
                      <a:pt x="3613" y="1222"/>
                    </a:lnTo>
                    <a:lnTo>
                      <a:pt x="3613" y="1239"/>
                    </a:lnTo>
                    <a:lnTo>
                      <a:pt x="3615" y="1239"/>
                    </a:lnTo>
                    <a:lnTo>
                      <a:pt x="3615" y="1222"/>
                    </a:lnTo>
                    <a:moveTo>
                      <a:pt x="5736" y="1208"/>
                    </a:moveTo>
                    <a:lnTo>
                      <a:pt x="5734" y="1208"/>
                    </a:lnTo>
                    <a:lnTo>
                      <a:pt x="5734" y="1210"/>
                    </a:lnTo>
                    <a:lnTo>
                      <a:pt x="5734" y="1248"/>
                    </a:lnTo>
                    <a:lnTo>
                      <a:pt x="5736" y="1248"/>
                    </a:lnTo>
                    <a:lnTo>
                      <a:pt x="5736" y="1208"/>
                    </a:lnTo>
                    <a:moveTo>
                      <a:pt x="5760" y="1127"/>
                    </a:moveTo>
                    <a:lnTo>
                      <a:pt x="5757" y="1127"/>
                    </a:lnTo>
                    <a:lnTo>
                      <a:pt x="5757" y="1130"/>
                    </a:lnTo>
                    <a:lnTo>
                      <a:pt x="5757" y="1184"/>
                    </a:lnTo>
                    <a:lnTo>
                      <a:pt x="5760" y="1184"/>
                    </a:lnTo>
                    <a:lnTo>
                      <a:pt x="5760" y="1182"/>
                    </a:lnTo>
                    <a:lnTo>
                      <a:pt x="5760" y="1182"/>
                    </a:lnTo>
                    <a:lnTo>
                      <a:pt x="5760" y="1127"/>
                    </a:lnTo>
                    <a:moveTo>
                      <a:pt x="6228" y="1127"/>
                    </a:moveTo>
                    <a:lnTo>
                      <a:pt x="6226" y="1127"/>
                    </a:lnTo>
                    <a:lnTo>
                      <a:pt x="6226" y="1127"/>
                    </a:lnTo>
                    <a:lnTo>
                      <a:pt x="6226" y="1130"/>
                    </a:lnTo>
                    <a:lnTo>
                      <a:pt x="6226" y="1132"/>
                    </a:lnTo>
                    <a:lnTo>
                      <a:pt x="6228" y="1132"/>
                    </a:lnTo>
                    <a:lnTo>
                      <a:pt x="6228" y="1127"/>
                    </a:lnTo>
                    <a:moveTo>
                      <a:pt x="2764" y="1061"/>
                    </a:moveTo>
                    <a:lnTo>
                      <a:pt x="2764" y="1061"/>
                    </a:lnTo>
                    <a:lnTo>
                      <a:pt x="2762" y="1061"/>
                    </a:lnTo>
                    <a:lnTo>
                      <a:pt x="2762" y="1063"/>
                    </a:lnTo>
                    <a:lnTo>
                      <a:pt x="2762" y="1163"/>
                    </a:lnTo>
                    <a:lnTo>
                      <a:pt x="2764" y="1163"/>
                    </a:lnTo>
                    <a:lnTo>
                      <a:pt x="2764" y="1061"/>
                    </a:lnTo>
                    <a:moveTo>
                      <a:pt x="5835" y="1040"/>
                    </a:moveTo>
                    <a:lnTo>
                      <a:pt x="5835" y="1040"/>
                    </a:lnTo>
                    <a:lnTo>
                      <a:pt x="5833" y="1040"/>
                    </a:lnTo>
                    <a:lnTo>
                      <a:pt x="5833" y="1042"/>
                    </a:lnTo>
                    <a:lnTo>
                      <a:pt x="5833" y="1054"/>
                    </a:lnTo>
                    <a:lnTo>
                      <a:pt x="5835" y="1054"/>
                    </a:lnTo>
                    <a:lnTo>
                      <a:pt x="5835" y="1052"/>
                    </a:lnTo>
                    <a:lnTo>
                      <a:pt x="5835" y="1052"/>
                    </a:lnTo>
                    <a:lnTo>
                      <a:pt x="5835" y="1040"/>
                    </a:lnTo>
                    <a:moveTo>
                      <a:pt x="2783" y="1011"/>
                    </a:moveTo>
                    <a:lnTo>
                      <a:pt x="2780" y="1011"/>
                    </a:lnTo>
                    <a:lnTo>
                      <a:pt x="2780" y="1014"/>
                    </a:lnTo>
                    <a:lnTo>
                      <a:pt x="2780" y="1045"/>
                    </a:lnTo>
                    <a:lnTo>
                      <a:pt x="2780" y="1045"/>
                    </a:lnTo>
                    <a:lnTo>
                      <a:pt x="2780" y="1042"/>
                    </a:lnTo>
                    <a:lnTo>
                      <a:pt x="2783" y="1042"/>
                    </a:lnTo>
                    <a:lnTo>
                      <a:pt x="2783" y="1011"/>
                    </a:lnTo>
                    <a:moveTo>
                      <a:pt x="3674" y="992"/>
                    </a:moveTo>
                    <a:lnTo>
                      <a:pt x="3672" y="992"/>
                    </a:lnTo>
                    <a:lnTo>
                      <a:pt x="3672" y="995"/>
                    </a:lnTo>
                    <a:lnTo>
                      <a:pt x="3672" y="1163"/>
                    </a:lnTo>
                    <a:lnTo>
                      <a:pt x="3674" y="1163"/>
                    </a:lnTo>
                    <a:lnTo>
                      <a:pt x="3674" y="1161"/>
                    </a:lnTo>
                    <a:lnTo>
                      <a:pt x="3674" y="1161"/>
                    </a:lnTo>
                    <a:lnTo>
                      <a:pt x="3674" y="992"/>
                    </a:lnTo>
                    <a:moveTo>
                      <a:pt x="5854" y="988"/>
                    </a:moveTo>
                    <a:lnTo>
                      <a:pt x="5852" y="988"/>
                    </a:lnTo>
                    <a:lnTo>
                      <a:pt x="5852" y="990"/>
                    </a:lnTo>
                    <a:lnTo>
                      <a:pt x="5852" y="1023"/>
                    </a:lnTo>
                    <a:lnTo>
                      <a:pt x="5852" y="1023"/>
                    </a:lnTo>
                    <a:lnTo>
                      <a:pt x="5852" y="1021"/>
                    </a:lnTo>
                    <a:lnTo>
                      <a:pt x="5854" y="1021"/>
                    </a:lnTo>
                    <a:lnTo>
                      <a:pt x="5854" y="988"/>
                    </a:lnTo>
                    <a:moveTo>
                      <a:pt x="6244" y="936"/>
                    </a:moveTo>
                    <a:lnTo>
                      <a:pt x="6242" y="936"/>
                    </a:lnTo>
                    <a:lnTo>
                      <a:pt x="6242" y="936"/>
                    </a:lnTo>
                    <a:lnTo>
                      <a:pt x="6242" y="1111"/>
                    </a:lnTo>
                    <a:lnTo>
                      <a:pt x="6244" y="1111"/>
                    </a:lnTo>
                    <a:lnTo>
                      <a:pt x="6244" y="1108"/>
                    </a:lnTo>
                    <a:lnTo>
                      <a:pt x="6244" y="1108"/>
                    </a:lnTo>
                    <a:lnTo>
                      <a:pt x="6244" y="936"/>
                    </a:lnTo>
                    <a:moveTo>
                      <a:pt x="6294" y="876"/>
                    </a:moveTo>
                    <a:lnTo>
                      <a:pt x="6292" y="876"/>
                    </a:lnTo>
                    <a:lnTo>
                      <a:pt x="6292" y="876"/>
                    </a:lnTo>
                    <a:lnTo>
                      <a:pt x="6292" y="879"/>
                    </a:lnTo>
                    <a:lnTo>
                      <a:pt x="6292" y="886"/>
                    </a:lnTo>
                    <a:lnTo>
                      <a:pt x="6292" y="886"/>
                    </a:lnTo>
                    <a:lnTo>
                      <a:pt x="6292" y="884"/>
                    </a:lnTo>
                    <a:lnTo>
                      <a:pt x="6294" y="884"/>
                    </a:lnTo>
                    <a:lnTo>
                      <a:pt x="6294" y="876"/>
                    </a:lnTo>
                    <a:moveTo>
                      <a:pt x="6301" y="850"/>
                    </a:moveTo>
                    <a:lnTo>
                      <a:pt x="6301" y="850"/>
                    </a:lnTo>
                    <a:lnTo>
                      <a:pt x="6301" y="850"/>
                    </a:lnTo>
                    <a:lnTo>
                      <a:pt x="6301" y="869"/>
                    </a:lnTo>
                    <a:lnTo>
                      <a:pt x="6301" y="869"/>
                    </a:lnTo>
                    <a:lnTo>
                      <a:pt x="6301" y="869"/>
                    </a:lnTo>
                    <a:lnTo>
                      <a:pt x="6301" y="869"/>
                    </a:lnTo>
                    <a:lnTo>
                      <a:pt x="6301" y="850"/>
                    </a:lnTo>
                    <a:moveTo>
                      <a:pt x="3005" y="763"/>
                    </a:moveTo>
                    <a:lnTo>
                      <a:pt x="3003" y="763"/>
                    </a:lnTo>
                    <a:lnTo>
                      <a:pt x="3003" y="763"/>
                    </a:lnTo>
                    <a:lnTo>
                      <a:pt x="3003" y="902"/>
                    </a:lnTo>
                    <a:lnTo>
                      <a:pt x="3005" y="902"/>
                    </a:lnTo>
                    <a:lnTo>
                      <a:pt x="3005" y="763"/>
                    </a:lnTo>
                    <a:moveTo>
                      <a:pt x="5036" y="732"/>
                    </a:moveTo>
                    <a:lnTo>
                      <a:pt x="5034" y="732"/>
                    </a:lnTo>
                    <a:lnTo>
                      <a:pt x="5034" y="732"/>
                    </a:lnTo>
                    <a:lnTo>
                      <a:pt x="5034" y="895"/>
                    </a:lnTo>
                    <a:lnTo>
                      <a:pt x="5036" y="895"/>
                    </a:lnTo>
                    <a:lnTo>
                      <a:pt x="5036" y="732"/>
                    </a:lnTo>
                    <a:moveTo>
                      <a:pt x="3043" y="656"/>
                    </a:moveTo>
                    <a:lnTo>
                      <a:pt x="3041" y="656"/>
                    </a:lnTo>
                    <a:lnTo>
                      <a:pt x="3041" y="659"/>
                    </a:lnTo>
                    <a:lnTo>
                      <a:pt x="3041" y="725"/>
                    </a:lnTo>
                    <a:lnTo>
                      <a:pt x="3041" y="725"/>
                    </a:lnTo>
                    <a:lnTo>
                      <a:pt x="3041" y="723"/>
                    </a:lnTo>
                    <a:lnTo>
                      <a:pt x="3043" y="723"/>
                    </a:lnTo>
                    <a:lnTo>
                      <a:pt x="3043" y="656"/>
                    </a:lnTo>
                    <a:moveTo>
                      <a:pt x="2" y="616"/>
                    </a:moveTo>
                    <a:lnTo>
                      <a:pt x="0" y="616"/>
                    </a:lnTo>
                    <a:lnTo>
                      <a:pt x="0" y="618"/>
                    </a:lnTo>
                    <a:lnTo>
                      <a:pt x="0" y="1376"/>
                    </a:lnTo>
                    <a:lnTo>
                      <a:pt x="2" y="1376"/>
                    </a:lnTo>
                    <a:lnTo>
                      <a:pt x="2" y="616"/>
                    </a:lnTo>
                    <a:moveTo>
                      <a:pt x="5157" y="609"/>
                    </a:moveTo>
                    <a:lnTo>
                      <a:pt x="5154" y="609"/>
                    </a:lnTo>
                    <a:lnTo>
                      <a:pt x="5154" y="611"/>
                    </a:lnTo>
                    <a:lnTo>
                      <a:pt x="5154" y="654"/>
                    </a:lnTo>
                    <a:lnTo>
                      <a:pt x="5157" y="654"/>
                    </a:lnTo>
                    <a:lnTo>
                      <a:pt x="5157" y="609"/>
                    </a:lnTo>
                    <a:moveTo>
                      <a:pt x="6930" y="507"/>
                    </a:moveTo>
                    <a:lnTo>
                      <a:pt x="6928" y="507"/>
                    </a:lnTo>
                    <a:lnTo>
                      <a:pt x="6928" y="509"/>
                    </a:lnTo>
                    <a:lnTo>
                      <a:pt x="6928" y="1016"/>
                    </a:lnTo>
                    <a:lnTo>
                      <a:pt x="6930" y="1016"/>
                    </a:lnTo>
                    <a:lnTo>
                      <a:pt x="6930" y="507"/>
                    </a:lnTo>
                    <a:moveTo>
                      <a:pt x="4097" y="502"/>
                    </a:moveTo>
                    <a:lnTo>
                      <a:pt x="4097" y="502"/>
                    </a:lnTo>
                    <a:lnTo>
                      <a:pt x="4095" y="505"/>
                    </a:lnTo>
                    <a:lnTo>
                      <a:pt x="4093" y="507"/>
                    </a:lnTo>
                    <a:lnTo>
                      <a:pt x="4093" y="509"/>
                    </a:lnTo>
                    <a:lnTo>
                      <a:pt x="4097" y="502"/>
                    </a:lnTo>
                    <a:moveTo>
                      <a:pt x="3204" y="500"/>
                    </a:moveTo>
                    <a:lnTo>
                      <a:pt x="3201" y="500"/>
                    </a:lnTo>
                    <a:lnTo>
                      <a:pt x="3201" y="502"/>
                    </a:lnTo>
                    <a:lnTo>
                      <a:pt x="3201" y="564"/>
                    </a:lnTo>
                    <a:lnTo>
                      <a:pt x="3204" y="564"/>
                    </a:lnTo>
                    <a:lnTo>
                      <a:pt x="3204" y="562"/>
                    </a:lnTo>
                    <a:lnTo>
                      <a:pt x="3204" y="562"/>
                    </a:lnTo>
                    <a:lnTo>
                      <a:pt x="3204" y="500"/>
                    </a:lnTo>
                    <a:moveTo>
                      <a:pt x="3941" y="453"/>
                    </a:moveTo>
                    <a:lnTo>
                      <a:pt x="3939" y="453"/>
                    </a:lnTo>
                    <a:lnTo>
                      <a:pt x="3939" y="453"/>
                    </a:lnTo>
                    <a:lnTo>
                      <a:pt x="3939" y="455"/>
                    </a:lnTo>
                    <a:lnTo>
                      <a:pt x="3939" y="491"/>
                    </a:lnTo>
                    <a:lnTo>
                      <a:pt x="3856" y="642"/>
                    </a:lnTo>
                    <a:lnTo>
                      <a:pt x="3856" y="850"/>
                    </a:lnTo>
                    <a:lnTo>
                      <a:pt x="3859" y="850"/>
                    </a:lnTo>
                    <a:lnTo>
                      <a:pt x="3859" y="640"/>
                    </a:lnTo>
                    <a:lnTo>
                      <a:pt x="3941" y="488"/>
                    </a:lnTo>
                    <a:lnTo>
                      <a:pt x="3941" y="453"/>
                    </a:lnTo>
                    <a:moveTo>
                      <a:pt x="3232" y="434"/>
                    </a:moveTo>
                    <a:lnTo>
                      <a:pt x="3232" y="434"/>
                    </a:lnTo>
                    <a:lnTo>
                      <a:pt x="3232" y="434"/>
                    </a:lnTo>
                    <a:lnTo>
                      <a:pt x="3232" y="472"/>
                    </a:lnTo>
                    <a:lnTo>
                      <a:pt x="3232" y="472"/>
                    </a:lnTo>
                    <a:lnTo>
                      <a:pt x="3232" y="472"/>
                    </a:lnTo>
                    <a:lnTo>
                      <a:pt x="3232" y="472"/>
                    </a:lnTo>
                    <a:lnTo>
                      <a:pt x="3232" y="434"/>
                    </a:lnTo>
                    <a:moveTo>
                      <a:pt x="3946" y="391"/>
                    </a:moveTo>
                    <a:lnTo>
                      <a:pt x="3946" y="391"/>
                    </a:lnTo>
                    <a:lnTo>
                      <a:pt x="3944" y="391"/>
                    </a:lnTo>
                    <a:lnTo>
                      <a:pt x="3944" y="391"/>
                    </a:lnTo>
                    <a:lnTo>
                      <a:pt x="3944" y="448"/>
                    </a:lnTo>
                    <a:lnTo>
                      <a:pt x="3946" y="448"/>
                    </a:lnTo>
                    <a:lnTo>
                      <a:pt x="3946" y="446"/>
                    </a:lnTo>
                    <a:lnTo>
                      <a:pt x="3946" y="446"/>
                    </a:lnTo>
                    <a:lnTo>
                      <a:pt x="3946" y="391"/>
                    </a:lnTo>
                    <a:moveTo>
                      <a:pt x="1714" y="367"/>
                    </a:moveTo>
                    <a:lnTo>
                      <a:pt x="1712" y="367"/>
                    </a:lnTo>
                    <a:lnTo>
                      <a:pt x="1712" y="370"/>
                    </a:lnTo>
                    <a:lnTo>
                      <a:pt x="1712" y="1054"/>
                    </a:lnTo>
                    <a:lnTo>
                      <a:pt x="1714" y="1054"/>
                    </a:lnTo>
                    <a:lnTo>
                      <a:pt x="1714" y="367"/>
                    </a:lnTo>
                    <a:moveTo>
                      <a:pt x="3956" y="327"/>
                    </a:moveTo>
                    <a:lnTo>
                      <a:pt x="3953" y="327"/>
                    </a:lnTo>
                    <a:lnTo>
                      <a:pt x="3953" y="327"/>
                    </a:lnTo>
                    <a:lnTo>
                      <a:pt x="3953" y="382"/>
                    </a:lnTo>
                    <a:lnTo>
                      <a:pt x="3953" y="382"/>
                    </a:lnTo>
                    <a:lnTo>
                      <a:pt x="3953" y="382"/>
                    </a:lnTo>
                    <a:lnTo>
                      <a:pt x="3956" y="382"/>
                    </a:lnTo>
                    <a:lnTo>
                      <a:pt x="3956" y="327"/>
                    </a:lnTo>
                    <a:moveTo>
                      <a:pt x="4608" y="230"/>
                    </a:moveTo>
                    <a:lnTo>
                      <a:pt x="4606" y="230"/>
                    </a:lnTo>
                    <a:lnTo>
                      <a:pt x="4606" y="232"/>
                    </a:lnTo>
                    <a:lnTo>
                      <a:pt x="4549" y="438"/>
                    </a:lnTo>
                    <a:lnTo>
                      <a:pt x="4551" y="438"/>
                    </a:lnTo>
                    <a:lnTo>
                      <a:pt x="4608" y="230"/>
                    </a:lnTo>
                    <a:moveTo>
                      <a:pt x="4757" y="0"/>
                    </a:moveTo>
                    <a:lnTo>
                      <a:pt x="4755" y="0"/>
                    </a:lnTo>
                    <a:lnTo>
                      <a:pt x="4755" y="0"/>
                    </a:lnTo>
                    <a:lnTo>
                      <a:pt x="4755" y="124"/>
                    </a:lnTo>
                    <a:lnTo>
                      <a:pt x="4757" y="124"/>
                    </a:lnTo>
                    <a:lnTo>
                      <a:pt x="4757" y="121"/>
                    </a:lnTo>
                    <a:lnTo>
                      <a:pt x="4757" y="121"/>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49" name="Freeform 64"/>
              <p:cNvSpPr>
                <a:spLocks noEditPoints="1"/>
              </p:cNvSpPr>
              <p:nvPr/>
            </p:nvSpPr>
            <p:spPr bwMode="auto">
              <a:xfrm>
                <a:off x="68" y="1736"/>
                <a:ext cx="6930" cy="1378"/>
              </a:xfrm>
              <a:custGeom>
                <a:avLst/>
                <a:gdLst>
                  <a:gd name="T0" fmla="*/ 3613 w 6930"/>
                  <a:gd name="T1" fmla="*/ 1241 h 1378"/>
                  <a:gd name="T2" fmla="*/ 5734 w 6930"/>
                  <a:gd name="T3" fmla="*/ 1208 h 1378"/>
                  <a:gd name="T4" fmla="*/ 5736 w 6930"/>
                  <a:gd name="T5" fmla="*/ 1208 h 1378"/>
                  <a:gd name="T6" fmla="*/ 5758 w 6930"/>
                  <a:gd name="T7" fmla="*/ 1184 h 1378"/>
                  <a:gd name="T8" fmla="*/ 5760 w 6930"/>
                  <a:gd name="T9" fmla="*/ 1127 h 1378"/>
                  <a:gd name="T10" fmla="*/ 6226 w 6930"/>
                  <a:gd name="T11" fmla="*/ 1129 h 1378"/>
                  <a:gd name="T12" fmla="*/ 2764 w 6930"/>
                  <a:gd name="T13" fmla="*/ 1061 h 1378"/>
                  <a:gd name="T14" fmla="*/ 2762 w 6930"/>
                  <a:gd name="T15" fmla="*/ 1165 h 1378"/>
                  <a:gd name="T16" fmla="*/ 5836 w 6930"/>
                  <a:gd name="T17" fmla="*/ 1042 h 1378"/>
                  <a:gd name="T18" fmla="*/ 5836 w 6930"/>
                  <a:gd name="T19" fmla="*/ 1054 h 1378"/>
                  <a:gd name="T20" fmla="*/ 2781 w 6930"/>
                  <a:gd name="T21" fmla="*/ 1013 h 1378"/>
                  <a:gd name="T22" fmla="*/ 2781 w 6930"/>
                  <a:gd name="T23" fmla="*/ 1044 h 1378"/>
                  <a:gd name="T24" fmla="*/ 3672 w 6930"/>
                  <a:gd name="T25" fmla="*/ 994 h 1378"/>
                  <a:gd name="T26" fmla="*/ 3675 w 6930"/>
                  <a:gd name="T27" fmla="*/ 1160 h 1378"/>
                  <a:gd name="T28" fmla="*/ 5852 w 6930"/>
                  <a:gd name="T29" fmla="*/ 990 h 1378"/>
                  <a:gd name="T30" fmla="*/ 5852 w 6930"/>
                  <a:gd name="T31" fmla="*/ 1023 h 1378"/>
                  <a:gd name="T32" fmla="*/ 6242 w 6930"/>
                  <a:gd name="T33" fmla="*/ 938 h 1378"/>
                  <a:gd name="T34" fmla="*/ 6245 w 6930"/>
                  <a:gd name="T35" fmla="*/ 1108 h 1378"/>
                  <a:gd name="T36" fmla="*/ 6292 w 6930"/>
                  <a:gd name="T37" fmla="*/ 878 h 1378"/>
                  <a:gd name="T38" fmla="*/ 6292 w 6930"/>
                  <a:gd name="T39" fmla="*/ 886 h 1378"/>
                  <a:gd name="T40" fmla="*/ 6299 w 6930"/>
                  <a:gd name="T41" fmla="*/ 850 h 1378"/>
                  <a:gd name="T42" fmla="*/ 6302 w 6930"/>
                  <a:gd name="T43" fmla="*/ 869 h 1378"/>
                  <a:gd name="T44" fmla="*/ 3003 w 6930"/>
                  <a:gd name="T45" fmla="*/ 762 h 1378"/>
                  <a:gd name="T46" fmla="*/ 3005 w 6930"/>
                  <a:gd name="T47" fmla="*/ 762 h 1378"/>
                  <a:gd name="T48" fmla="*/ 5034 w 6930"/>
                  <a:gd name="T49" fmla="*/ 897 h 1378"/>
                  <a:gd name="T50" fmla="*/ 3041 w 6930"/>
                  <a:gd name="T51" fmla="*/ 656 h 1378"/>
                  <a:gd name="T52" fmla="*/ 3041 w 6930"/>
                  <a:gd name="T53" fmla="*/ 722 h 1378"/>
                  <a:gd name="T54" fmla="*/ 0 w 6930"/>
                  <a:gd name="T55" fmla="*/ 616 h 1378"/>
                  <a:gd name="T56" fmla="*/ 0 w 6930"/>
                  <a:gd name="T57" fmla="*/ 616 h 1378"/>
                  <a:gd name="T58" fmla="*/ 5155 w 6930"/>
                  <a:gd name="T59" fmla="*/ 656 h 1378"/>
                  <a:gd name="T60" fmla="*/ 3185 w 6930"/>
                  <a:gd name="T61" fmla="*/ 580 h 1378"/>
                  <a:gd name="T62" fmla="*/ 3187 w 6930"/>
                  <a:gd name="T63" fmla="*/ 580 h 1378"/>
                  <a:gd name="T64" fmla="*/ 6928 w 6930"/>
                  <a:gd name="T65" fmla="*/ 1018 h 1378"/>
                  <a:gd name="T66" fmla="*/ 4098 w 6930"/>
                  <a:gd name="T67" fmla="*/ 502 h 1378"/>
                  <a:gd name="T68" fmla="*/ 4098 w 6930"/>
                  <a:gd name="T69" fmla="*/ 502 h 1378"/>
                  <a:gd name="T70" fmla="*/ 3202 w 6930"/>
                  <a:gd name="T71" fmla="*/ 564 h 1378"/>
                  <a:gd name="T72" fmla="*/ 3204 w 6930"/>
                  <a:gd name="T73" fmla="*/ 500 h 1378"/>
                  <a:gd name="T74" fmla="*/ 3939 w 6930"/>
                  <a:gd name="T75" fmla="*/ 455 h 1378"/>
                  <a:gd name="T76" fmla="*/ 3859 w 6930"/>
                  <a:gd name="T77" fmla="*/ 852 h 1378"/>
                  <a:gd name="T78" fmla="*/ 3232 w 6930"/>
                  <a:gd name="T79" fmla="*/ 433 h 1378"/>
                  <a:gd name="T80" fmla="*/ 3232 w 6930"/>
                  <a:gd name="T81" fmla="*/ 474 h 1378"/>
                  <a:gd name="T82" fmla="*/ 3946 w 6930"/>
                  <a:gd name="T83" fmla="*/ 391 h 1378"/>
                  <a:gd name="T84" fmla="*/ 3944 w 6930"/>
                  <a:gd name="T85" fmla="*/ 448 h 1378"/>
                  <a:gd name="T86" fmla="*/ 3946 w 6930"/>
                  <a:gd name="T87" fmla="*/ 391 h 1378"/>
                  <a:gd name="T88" fmla="*/ 1712 w 6930"/>
                  <a:gd name="T89" fmla="*/ 1056 h 1378"/>
                  <a:gd name="T90" fmla="*/ 3954 w 6930"/>
                  <a:gd name="T91" fmla="*/ 327 h 1378"/>
                  <a:gd name="T92" fmla="*/ 3954 w 6930"/>
                  <a:gd name="T93" fmla="*/ 381 h 1378"/>
                  <a:gd name="T94" fmla="*/ 4606 w 6930"/>
                  <a:gd name="T95" fmla="*/ 232 h 1378"/>
                  <a:gd name="T96" fmla="*/ 4609 w 6930"/>
                  <a:gd name="T97" fmla="*/ 232 h 1378"/>
                  <a:gd name="T98" fmla="*/ 4755 w 6930"/>
                  <a:gd name="T99" fmla="*/ 123 h 1378"/>
                  <a:gd name="T100" fmla="*/ 4758 w 6930"/>
                  <a:gd name="T101" fmla="*/ 0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30" h="1378">
                    <a:moveTo>
                      <a:pt x="3615" y="1222"/>
                    </a:moveTo>
                    <a:lnTo>
                      <a:pt x="3613" y="1222"/>
                    </a:lnTo>
                    <a:lnTo>
                      <a:pt x="3613" y="1224"/>
                    </a:lnTo>
                    <a:lnTo>
                      <a:pt x="3613" y="1241"/>
                    </a:lnTo>
                    <a:lnTo>
                      <a:pt x="3615" y="1241"/>
                    </a:lnTo>
                    <a:lnTo>
                      <a:pt x="3615" y="1222"/>
                    </a:lnTo>
                    <a:close/>
                    <a:moveTo>
                      <a:pt x="5736" y="1208"/>
                    </a:moveTo>
                    <a:lnTo>
                      <a:pt x="5734" y="1208"/>
                    </a:lnTo>
                    <a:lnTo>
                      <a:pt x="5734" y="1210"/>
                    </a:lnTo>
                    <a:lnTo>
                      <a:pt x="5734" y="1250"/>
                    </a:lnTo>
                    <a:lnTo>
                      <a:pt x="5736" y="1250"/>
                    </a:lnTo>
                    <a:lnTo>
                      <a:pt x="5736" y="1208"/>
                    </a:lnTo>
                    <a:close/>
                    <a:moveTo>
                      <a:pt x="5760" y="1127"/>
                    </a:moveTo>
                    <a:lnTo>
                      <a:pt x="5758" y="1127"/>
                    </a:lnTo>
                    <a:lnTo>
                      <a:pt x="5758" y="1129"/>
                    </a:lnTo>
                    <a:lnTo>
                      <a:pt x="5758" y="1184"/>
                    </a:lnTo>
                    <a:lnTo>
                      <a:pt x="5760" y="1184"/>
                    </a:lnTo>
                    <a:lnTo>
                      <a:pt x="5760" y="1181"/>
                    </a:lnTo>
                    <a:lnTo>
                      <a:pt x="5760" y="1181"/>
                    </a:lnTo>
                    <a:lnTo>
                      <a:pt x="5760" y="1127"/>
                    </a:lnTo>
                    <a:close/>
                    <a:moveTo>
                      <a:pt x="6226" y="1127"/>
                    </a:moveTo>
                    <a:lnTo>
                      <a:pt x="6226" y="1127"/>
                    </a:lnTo>
                    <a:lnTo>
                      <a:pt x="6226" y="1127"/>
                    </a:lnTo>
                    <a:lnTo>
                      <a:pt x="6226" y="1129"/>
                    </a:lnTo>
                    <a:lnTo>
                      <a:pt x="6226" y="1134"/>
                    </a:lnTo>
                    <a:lnTo>
                      <a:pt x="6226" y="1134"/>
                    </a:lnTo>
                    <a:lnTo>
                      <a:pt x="6226" y="1127"/>
                    </a:lnTo>
                    <a:close/>
                    <a:moveTo>
                      <a:pt x="2764" y="1061"/>
                    </a:moveTo>
                    <a:lnTo>
                      <a:pt x="2764" y="1061"/>
                    </a:lnTo>
                    <a:lnTo>
                      <a:pt x="2762" y="1061"/>
                    </a:lnTo>
                    <a:lnTo>
                      <a:pt x="2762" y="1063"/>
                    </a:lnTo>
                    <a:lnTo>
                      <a:pt x="2762" y="1165"/>
                    </a:lnTo>
                    <a:lnTo>
                      <a:pt x="2764" y="1165"/>
                    </a:lnTo>
                    <a:lnTo>
                      <a:pt x="2764" y="1061"/>
                    </a:lnTo>
                    <a:close/>
                    <a:moveTo>
                      <a:pt x="5836" y="1042"/>
                    </a:moveTo>
                    <a:lnTo>
                      <a:pt x="5836" y="1042"/>
                    </a:lnTo>
                    <a:lnTo>
                      <a:pt x="5833" y="1042"/>
                    </a:lnTo>
                    <a:lnTo>
                      <a:pt x="5833" y="1042"/>
                    </a:lnTo>
                    <a:lnTo>
                      <a:pt x="5833" y="1054"/>
                    </a:lnTo>
                    <a:lnTo>
                      <a:pt x="5836" y="1054"/>
                    </a:lnTo>
                    <a:lnTo>
                      <a:pt x="5836" y="1042"/>
                    </a:lnTo>
                    <a:close/>
                    <a:moveTo>
                      <a:pt x="2781" y="1011"/>
                    </a:moveTo>
                    <a:lnTo>
                      <a:pt x="2781" y="1011"/>
                    </a:lnTo>
                    <a:lnTo>
                      <a:pt x="2781" y="1013"/>
                    </a:lnTo>
                    <a:lnTo>
                      <a:pt x="2781" y="1044"/>
                    </a:lnTo>
                    <a:lnTo>
                      <a:pt x="2781" y="1044"/>
                    </a:lnTo>
                    <a:lnTo>
                      <a:pt x="2781" y="1044"/>
                    </a:lnTo>
                    <a:lnTo>
                      <a:pt x="2781" y="1044"/>
                    </a:lnTo>
                    <a:lnTo>
                      <a:pt x="2781" y="1011"/>
                    </a:lnTo>
                    <a:close/>
                    <a:moveTo>
                      <a:pt x="3675" y="992"/>
                    </a:moveTo>
                    <a:lnTo>
                      <a:pt x="3672" y="992"/>
                    </a:lnTo>
                    <a:lnTo>
                      <a:pt x="3672" y="994"/>
                    </a:lnTo>
                    <a:lnTo>
                      <a:pt x="3672" y="1163"/>
                    </a:lnTo>
                    <a:lnTo>
                      <a:pt x="3675" y="1163"/>
                    </a:lnTo>
                    <a:lnTo>
                      <a:pt x="3675" y="1160"/>
                    </a:lnTo>
                    <a:lnTo>
                      <a:pt x="3675" y="1160"/>
                    </a:lnTo>
                    <a:lnTo>
                      <a:pt x="3675" y="992"/>
                    </a:lnTo>
                    <a:close/>
                    <a:moveTo>
                      <a:pt x="5852" y="990"/>
                    </a:moveTo>
                    <a:lnTo>
                      <a:pt x="5852" y="990"/>
                    </a:lnTo>
                    <a:lnTo>
                      <a:pt x="5852" y="990"/>
                    </a:lnTo>
                    <a:lnTo>
                      <a:pt x="5852" y="1023"/>
                    </a:lnTo>
                    <a:lnTo>
                      <a:pt x="5852" y="1023"/>
                    </a:lnTo>
                    <a:lnTo>
                      <a:pt x="5852" y="1023"/>
                    </a:lnTo>
                    <a:lnTo>
                      <a:pt x="5852" y="1023"/>
                    </a:lnTo>
                    <a:lnTo>
                      <a:pt x="5852" y="990"/>
                    </a:lnTo>
                    <a:close/>
                    <a:moveTo>
                      <a:pt x="6245" y="935"/>
                    </a:moveTo>
                    <a:lnTo>
                      <a:pt x="6242" y="935"/>
                    </a:lnTo>
                    <a:lnTo>
                      <a:pt x="6242" y="938"/>
                    </a:lnTo>
                    <a:lnTo>
                      <a:pt x="6242" y="1110"/>
                    </a:lnTo>
                    <a:lnTo>
                      <a:pt x="6242" y="1110"/>
                    </a:lnTo>
                    <a:lnTo>
                      <a:pt x="6242" y="1108"/>
                    </a:lnTo>
                    <a:lnTo>
                      <a:pt x="6245" y="1108"/>
                    </a:lnTo>
                    <a:lnTo>
                      <a:pt x="6245" y="935"/>
                    </a:lnTo>
                    <a:close/>
                    <a:moveTo>
                      <a:pt x="6294" y="878"/>
                    </a:moveTo>
                    <a:lnTo>
                      <a:pt x="6292" y="878"/>
                    </a:lnTo>
                    <a:lnTo>
                      <a:pt x="6292" y="878"/>
                    </a:lnTo>
                    <a:lnTo>
                      <a:pt x="6292" y="878"/>
                    </a:lnTo>
                    <a:lnTo>
                      <a:pt x="6292" y="886"/>
                    </a:lnTo>
                    <a:lnTo>
                      <a:pt x="6292" y="886"/>
                    </a:lnTo>
                    <a:lnTo>
                      <a:pt x="6292" y="886"/>
                    </a:lnTo>
                    <a:lnTo>
                      <a:pt x="6294" y="886"/>
                    </a:lnTo>
                    <a:lnTo>
                      <a:pt x="6294" y="878"/>
                    </a:lnTo>
                    <a:close/>
                    <a:moveTo>
                      <a:pt x="6302" y="850"/>
                    </a:moveTo>
                    <a:lnTo>
                      <a:pt x="6299" y="850"/>
                    </a:lnTo>
                    <a:lnTo>
                      <a:pt x="6299" y="852"/>
                    </a:lnTo>
                    <a:lnTo>
                      <a:pt x="6299" y="871"/>
                    </a:lnTo>
                    <a:lnTo>
                      <a:pt x="6302" y="871"/>
                    </a:lnTo>
                    <a:lnTo>
                      <a:pt x="6302" y="869"/>
                    </a:lnTo>
                    <a:lnTo>
                      <a:pt x="6302" y="869"/>
                    </a:lnTo>
                    <a:lnTo>
                      <a:pt x="6302" y="850"/>
                    </a:lnTo>
                    <a:close/>
                    <a:moveTo>
                      <a:pt x="3005" y="762"/>
                    </a:moveTo>
                    <a:lnTo>
                      <a:pt x="3003" y="762"/>
                    </a:lnTo>
                    <a:lnTo>
                      <a:pt x="3003" y="765"/>
                    </a:lnTo>
                    <a:lnTo>
                      <a:pt x="3003" y="904"/>
                    </a:lnTo>
                    <a:lnTo>
                      <a:pt x="3005" y="904"/>
                    </a:lnTo>
                    <a:lnTo>
                      <a:pt x="3005" y="762"/>
                    </a:lnTo>
                    <a:close/>
                    <a:moveTo>
                      <a:pt x="5037" y="732"/>
                    </a:moveTo>
                    <a:lnTo>
                      <a:pt x="5034" y="732"/>
                    </a:lnTo>
                    <a:lnTo>
                      <a:pt x="5034" y="734"/>
                    </a:lnTo>
                    <a:lnTo>
                      <a:pt x="5034" y="897"/>
                    </a:lnTo>
                    <a:lnTo>
                      <a:pt x="5037" y="897"/>
                    </a:lnTo>
                    <a:lnTo>
                      <a:pt x="5037" y="732"/>
                    </a:lnTo>
                    <a:close/>
                    <a:moveTo>
                      <a:pt x="3043" y="656"/>
                    </a:moveTo>
                    <a:lnTo>
                      <a:pt x="3041" y="656"/>
                    </a:lnTo>
                    <a:lnTo>
                      <a:pt x="3041" y="658"/>
                    </a:lnTo>
                    <a:lnTo>
                      <a:pt x="3041" y="725"/>
                    </a:lnTo>
                    <a:lnTo>
                      <a:pt x="3041" y="725"/>
                    </a:lnTo>
                    <a:lnTo>
                      <a:pt x="3041" y="722"/>
                    </a:lnTo>
                    <a:lnTo>
                      <a:pt x="3043" y="722"/>
                    </a:lnTo>
                    <a:lnTo>
                      <a:pt x="3043" y="656"/>
                    </a:lnTo>
                    <a:close/>
                    <a:moveTo>
                      <a:pt x="0" y="616"/>
                    </a:moveTo>
                    <a:lnTo>
                      <a:pt x="0" y="616"/>
                    </a:lnTo>
                    <a:lnTo>
                      <a:pt x="0" y="618"/>
                    </a:lnTo>
                    <a:lnTo>
                      <a:pt x="0" y="1378"/>
                    </a:lnTo>
                    <a:lnTo>
                      <a:pt x="0" y="1378"/>
                    </a:lnTo>
                    <a:lnTo>
                      <a:pt x="0" y="616"/>
                    </a:lnTo>
                    <a:close/>
                    <a:moveTo>
                      <a:pt x="5157" y="609"/>
                    </a:moveTo>
                    <a:lnTo>
                      <a:pt x="5155" y="609"/>
                    </a:lnTo>
                    <a:lnTo>
                      <a:pt x="5155" y="611"/>
                    </a:lnTo>
                    <a:lnTo>
                      <a:pt x="5155" y="656"/>
                    </a:lnTo>
                    <a:lnTo>
                      <a:pt x="5157" y="656"/>
                    </a:lnTo>
                    <a:lnTo>
                      <a:pt x="5157" y="609"/>
                    </a:lnTo>
                    <a:close/>
                    <a:moveTo>
                      <a:pt x="3187" y="580"/>
                    </a:moveTo>
                    <a:lnTo>
                      <a:pt x="3185" y="580"/>
                    </a:lnTo>
                    <a:lnTo>
                      <a:pt x="3185" y="580"/>
                    </a:lnTo>
                    <a:lnTo>
                      <a:pt x="3185" y="582"/>
                    </a:lnTo>
                    <a:lnTo>
                      <a:pt x="3187" y="582"/>
                    </a:lnTo>
                    <a:lnTo>
                      <a:pt x="3187" y="580"/>
                    </a:lnTo>
                    <a:close/>
                    <a:moveTo>
                      <a:pt x="6930" y="509"/>
                    </a:moveTo>
                    <a:lnTo>
                      <a:pt x="6928" y="509"/>
                    </a:lnTo>
                    <a:lnTo>
                      <a:pt x="6928" y="509"/>
                    </a:lnTo>
                    <a:lnTo>
                      <a:pt x="6928" y="1018"/>
                    </a:lnTo>
                    <a:lnTo>
                      <a:pt x="6930" y="1018"/>
                    </a:lnTo>
                    <a:lnTo>
                      <a:pt x="6930" y="509"/>
                    </a:lnTo>
                    <a:close/>
                    <a:moveTo>
                      <a:pt x="4098" y="502"/>
                    </a:moveTo>
                    <a:lnTo>
                      <a:pt x="4098" y="502"/>
                    </a:lnTo>
                    <a:lnTo>
                      <a:pt x="4095" y="504"/>
                    </a:lnTo>
                    <a:lnTo>
                      <a:pt x="4091" y="511"/>
                    </a:lnTo>
                    <a:lnTo>
                      <a:pt x="4091" y="511"/>
                    </a:lnTo>
                    <a:lnTo>
                      <a:pt x="4098" y="502"/>
                    </a:lnTo>
                    <a:close/>
                    <a:moveTo>
                      <a:pt x="3204" y="500"/>
                    </a:moveTo>
                    <a:lnTo>
                      <a:pt x="3202" y="500"/>
                    </a:lnTo>
                    <a:lnTo>
                      <a:pt x="3202" y="502"/>
                    </a:lnTo>
                    <a:lnTo>
                      <a:pt x="3202" y="564"/>
                    </a:lnTo>
                    <a:lnTo>
                      <a:pt x="3204" y="564"/>
                    </a:lnTo>
                    <a:lnTo>
                      <a:pt x="3204" y="564"/>
                    </a:lnTo>
                    <a:lnTo>
                      <a:pt x="3204" y="564"/>
                    </a:lnTo>
                    <a:lnTo>
                      <a:pt x="3204" y="500"/>
                    </a:lnTo>
                    <a:close/>
                    <a:moveTo>
                      <a:pt x="3942" y="455"/>
                    </a:moveTo>
                    <a:lnTo>
                      <a:pt x="3939" y="455"/>
                    </a:lnTo>
                    <a:lnTo>
                      <a:pt x="3939" y="455"/>
                    </a:lnTo>
                    <a:lnTo>
                      <a:pt x="3939" y="455"/>
                    </a:lnTo>
                    <a:lnTo>
                      <a:pt x="3939" y="490"/>
                    </a:lnTo>
                    <a:lnTo>
                      <a:pt x="3857" y="642"/>
                    </a:lnTo>
                    <a:lnTo>
                      <a:pt x="3857" y="852"/>
                    </a:lnTo>
                    <a:lnTo>
                      <a:pt x="3859" y="852"/>
                    </a:lnTo>
                    <a:lnTo>
                      <a:pt x="3859" y="642"/>
                    </a:lnTo>
                    <a:lnTo>
                      <a:pt x="3942" y="488"/>
                    </a:lnTo>
                    <a:lnTo>
                      <a:pt x="3942" y="455"/>
                    </a:lnTo>
                    <a:close/>
                    <a:moveTo>
                      <a:pt x="3232" y="433"/>
                    </a:moveTo>
                    <a:lnTo>
                      <a:pt x="3230" y="433"/>
                    </a:lnTo>
                    <a:lnTo>
                      <a:pt x="3230" y="436"/>
                    </a:lnTo>
                    <a:lnTo>
                      <a:pt x="3230" y="474"/>
                    </a:lnTo>
                    <a:lnTo>
                      <a:pt x="3232" y="474"/>
                    </a:lnTo>
                    <a:lnTo>
                      <a:pt x="3232" y="471"/>
                    </a:lnTo>
                    <a:lnTo>
                      <a:pt x="3232" y="471"/>
                    </a:lnTo>
                    <a:lnTo>
                      <a:pt x="3232" y="433"/>
                    </a:lnTo>
                    <a:close/>
                    <a:moveTo>
                      <a:pt x="3946" y="391"/>
                    </a:moveTo>
                    <a:lnTo>
                      <a:pt x="3944" y="391"/>
                    </a:lnTo>
                    <a:lnTo>
                      <a:pt x="3944" y="391"/>
                    </a:lnTo>
                    <a:lnTo>
                      <a:pt x="3944" y="393"/>
                    </a:lnTo>
                    <a:lnTo>
                      <a:pt x="3944" y="448"/>
                    </a:lnTo>
                    <a:lnTo>
                      <a:pt x="3946" y="448"/>
                    </a:lnTo>
                    <a:lnTo>
                      <a:pt x="3946" y="445"/>
                    </a:lnTo>
                    <a:lnTo>
                      <a:pt x="3946" y="445"/>
                    </a:lnTo>
                    <a:lnTo>
                      <a:pt x="3946" y="391"/>
                    </a:lnTo>
                    <a:close/>
                    <a:moveTo>
                      <a:pt x="1714" y="367"/>
                    </a:moveTo>
                    <a:lnTo>
                      <a:pt x="1712" y="367"/>
                    </a:lnTo>
                    <a:lnTo>
                      <a:pt x="1712" y="369"/>
                    </a:lnTo>
                    <a:lnTo>
                      <a:pt x="1712" y="1056"/>
                    </a:lnTo>
                    <a:lnTo>
                      <a:pt x="1714" y="1056"/>
                    </a:lnTo>
                    <a:lnTo>
                      <a:pt x="1714" y="367"/>
                    </a:lnTo>
                    <a:close/>
                    <a:moveTo>
                      <a:pt x="3954" y="327"/>
                    </a:moveTo>
                    <a:lnTo>
                      <a:pt x="3954" y="327"/>
                    </a:lnTo>
                    <a:lnTo>
                      <a:pt x="3954" y="329"/>
                    </a:lnTo>
                    <a:lnTo>
                      <a:pt x="3954" y="384"/>
                    </a:lnTo>
                    <a:lnTo>
                      <a:pt x="3954" y="384"/>
                    </a:lnTo>
                    <a:lnTo>
                      <a:pt x="3954" y="381"/>
                    </a:lnTo>
                    <a:lnTo>
                      <a:pt x="3954" y="381"/>
                    </a:lnTo>
                    <a:lnTo>
                      <a:pt x="3954" y="327"/>
                    </a:lnTo>
                    <a:close/>
                    <a:moveTo>
                      <a:pt x="4609" y="232"/>
                    </a:moveTo>
                    <a:lnTo>
                      <a:pt x="4606" y="232"/>
                    </a:lnTo>
                    <a:lnTo>
                      <a:pt x="4606" y="232"/>
                    </a:lnTo>
                    <a:lnTo>
                      <a:pt x="4549" y="440"/>
                    </a:lnTo>
                    <a:lnTo>
                      <a:pt x="4552" y="438"/>
                    </a:lnTo>
                    <a:lnTo>
                      <a:pt x="4609" y="232"/>
                    </a:lnTo>
                    <a:close/>
                    <a:moveTo>
                      <a:pt x="4758" y="0"/>
                    </a:moveTo>
                    <a:lnTo>
                      <a:pt x="4755" y="0"/>
                    </a:lnTo>
                    <a:lnTo>
                      <a:pt x="4755" y="2"/>
                    </a:lnTo>
                    <a:lnTo>
                      <a:pt x="4755" y="123"/>
                    </a:lnTo>
                    <a:lnTo>
                      <a:pt x="4755" y="123"/>
                    </a:lnTo>
                    <a:lnTo>
                      <a:pt x="4755" y="121"/>
                    </a:lnTo>
                    <a:lnTo>
                      <a:pt x="4758" y="121"/>
                    </a:lnTo>
                    <a:lnTo>
                      <a:pt x="4758" y="0"/>
                    </a:lnTo>
                    <a:close/>
                  </a:path>
                </a:pathLst>
              </a:cu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0" name="Freeform 65"/>
              <p:cNvSpPr>
                <a:spLocks noEditPoints="1"/>
              </p:cNvSpPr>
              <p:nvPr/>
            </p:nvSpPr>
            <p:spPr bwMode="auto">
              <a:xfrm>
                <a:off x="68" y="1736"/>
                <a:ext cx="6930" cy="1378"/>
              </a:xfrm>
              <a:custGeom>
                <a:avLst/>
                <a:gdLst>
                  <a:gd name="T0" fmla="*/ 3613 w 6930"/>
                  <a:gd name="T1" fmla="*/ 1241 h 1378"/>
                  <a:gd name="T2" fmla="*/ 5734 w 6930"/>
                  <a:gd name="T3" fmla="*/ 1208 h 1378"/>
                  <a:gd name="T4" fmla="*/ 5736 w 6930"/>
                  <a:gd name="T5" fmla="*/ 1208 h 1378"/>
                  <a:gd name="T6" fmla="*/ 5758 w 6930"/>
                  <a:gd name="T7" fmla="*/ 1184 h 1378"/>
                  <a:gd name="T8" fmla="*/ 5760 w 6930"/>
                  <a:gd name="T9" fmla="*/ 1127 h 1378"/>
                  <a:gd name="T10" fmla="*/ 6226 w 6930"/>
                  <a:gd name="T11" fmla="*/ 1129 h 1378"/>
                  <a:gd name="T12" fmla="*/ 2764 w 6930"/>
                  <a:gd name="T13" fmla="*/ 1061 h 1378"/>
                  <a:gd name="T14" fmla="*/ 2762 w 6930"/>
                  <a:gd name="T15" fmla="*/ 1165 h 1378"/>
                  <a:gd name="T16" fmla="*/ 5836 w 6930"/>
                  <a:gd name="T17" fmla="*/ 1042 h 1378"/>
                  <a:gd name="T18" fmla="*/ 5836 w 6930"/>
                  <a:gd name="T19" fmla="*/ 1054 h 1378"/>
                  <a:gd name="T20" fmla="*/ 2781 w 6930"/>
                  <a:gd name="T21" fmla="*/ 1013 h 1378"/>
                  <a:gd name="T22" fmla="*/ 2781 w 6930"/>
                  <a:gd name="T23" fmla="*/ 1044 h 1378"/>
                  <a:gd name="T24" fmla="*/ 3672 w 6930"/>
                  <a:gd name="T25" fmla="*/ 994 h 1378"/>
                  <a:gd name="T26" fmla="*/ 3675 w 6930"/>
                  <a:gd name="T27" fmla="*/ 1160 h 1378"/>
                  <a:gd name="T28" fmla="*/ 5852 w 6930"/>
                  <a:gd name="T29" fmla="*/ 990 h 1378"/>
                  <a:gd name="T30" fmla="*/ 5852 w 6930"/>
                  <a:gd name="T31" fmla="*/ 1023 h 1378"/>
                  <a:gd name="T32" fmla="*/ 6242 w 6930"/>
                  <a:gd name="T33" fmla="*/ 938 h 1378"/>
                  <a:gd name="T34" fmla="*/ 6245 w 6930"/>
                  <a:gd name="T35" fmla="*/ 1108 h 1378"/>
                  <a:gd name="T36" fmla="*/ 6292 w 6930"/>
                  <a:gd name="T37" fmla="*/ 878 h 1378"/>
                  <a:gd name="T38" fmla="*/ 6292 w 6930"/>
                  <a:gd name="T39" fmla="*/ 886 h 1378"/>
                  <a:gd name="T40" fmla="*/ 6299 w 6930"/>
                  <a:gd name="T41" fmla="*/ 850 h 1378"/>
                  <a:gd name="T42" fmla="*/ 6302 w 6930"/>
                  <a:gd name="T43" fmla="*/ 869 h 1378"/>
                  <a:gd name="T44" fmla="*/ 3003 w 6930"/>
                  <a:gd name="T45" fmla="*/ 762 h 1378"/>
                  <a:gd name="T46" fmla="*/ 3005 w 6930"/>
                  <a:gd name="T47" fmla="*/ 762 h 1378"/>
                  <a:gd name="T48" fmla="*/ 5034 w 6930"/>
                  <a:gd name="T49" fmla="*/ 897 h 1378"/>
                  <a:gd name="T50" fmla="*/ 3041 w 6930"/>
                  <a:gd name="T51" fmla="*/ 656 h 1378"/>
                  <a:gd name="T52" fmla="*/ 3041 w 6930"/>
                  <a:gd name="T53" fmla="*/ 722 h 1378"/>
                  <a:gd name="T54" fmla="*/ 0 w 6930"/>
                  <a:gd name="T55" fmla="*/ 616 h 1378"/>
                  <a:gd name="T56" fmla="*/ 0 w 6930"/>
                  <a:gd name="T57" fmla="*/ 616 h 1378"/>
                  <a:gd name="T58" fmla="*/ 5155 w 6930"/>
                  <a:gd name="T59" fmla="*/ 656 h 1378"/>
                  <a:gd name="T60" fmla="*/ 3185 w 6930"/>
                  <a:gd name="T61" fmla="*/ 580 h 1378"/>
                  <a:gd name="T62" fmla="*/ 3187 w 6930"/>
                  <a:gd name="T63" fmla="*/ 580 h 1378"/>
                  <a:gd name="T64" fmla="*/ 6928 w 6930"/>
                  <a:gd name="T65" fmla="*/ 1018 h 1378"/>
                  <a:gd name="T66" fmla="*/ 4098 w 6930"/>
                  <a:gd name="T67" fmla="*/ 502 h 1378"/>
                  <a:gd name="T68" fmla="*/ 4098 w 6930"/>
                  <a:gd name="T69" fmla="*/ 502 h 1378"/>
                  <a:gd name="T70" fmla="*/ 3202 w 6930"/>
                  <a:gd name="T71" fmla="*/ 564 h 1378"/>
                  <a:gd name="T72" fmla="*/ 3204 w 6930"/>
                  <a:gd name="T73" fmla="*/ 500 h 1378"/>
                  <a:gd name="T74" fmla="*/ 3939 w 6930"/>
                  <a:gd name="T75" fmla="*/ 455 h 1378"/>
                  <a:gd name="T76" fmla="*/ 3859 w 6930"/>
                  <a:gd name="T77" fmla="*/ 852 h 1378"/>
                  <a:gd name="T78" fmla="*/ 3232 w 6930"/>
                  <a:gd name="T79" fmla="*/ 433 h 1378"/>
                  <a:gd name="T80" fmla="*/ 3232 w 6930"/>
                  <a:gd name="T81" fmla="*/ 474 h 1378"/>
                  <a:gd name="T82" fmla="*/ 3946 w 6930"/>
                  <a:gd name="T83" fmla="*/ 391 h 1378"/>
                  <a:gd name="T84" fmla="*/ 3944 w 6930"/>
                  <a:gd name="T85" fmla="*/ 448 h 1378"/>
                  <a:gd name="T86" fmla="*/ 3946 w 6930"/>
                  <a:gd name="T87" fmla="*/ 391 h 1378"/>
                  <a:gd name="T88" fmla="*/ 1712 w 6930"/>
                  <a:gd name="T89" fmla="*/ 1056 h 1378"/>
                  <a:gd name="T90" fmla="*/ 3954 w 6930"/>
                  <a:gd name="T91" fmla="*/ 327 h 1378"/>
                  <a:gd name="T92" fmla="*/ 3954 w 6930"/>
                  <a:gd name="T93" fmla="*/ 381 h 1378"/>
                  <a:gd name="T94" fmla="*/ 4606 w 6930"/>
                  <a:gd name="T95" fmla="*/ 232 h 1378"/>
                  <a:gd name="T96" fmla="*/ 4609 w 6930"/>
                  <a:gd name="T97" fmla="*/ 232 h 1378"/>
                  <a:gd name="T98" fmla="*/ 4755 w 6930"/>
                  <a:gd name="T99" fmla="*/ 123 h 1378"/>
                  <a:gd name="T100" fmla="*/ 4758 w 6930"/>
                  <a:gd name="T101" fmla="*/ 0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30" h="1378">
                    <a:moveTo>
                      <a:pt x="3615" y="1222"/>
                    </a:moveTo>
                    <a:lnTo>
                      <a:pt x="3613" y="1222"/>
                    </a:lnTo>
                    <a:lnTo>
                      <a:pt x="3613" y="1224"/>
                    </a:lnTo>
                    <a:lnTo>
                      <a:pt x="3613" y="1241"/>
                    </a:lnTo>
                    <a:lnTo>
                      <a:pt x="3615" y="1241"/>
                    </a:lnTo>
                    <a:lnTo>
                      <a:pt x="3615" y="1222"/>
                    </a:lnTo>
                    <a:moveTo>
                      <a:pt x="5736" y="1208"/>
                    </a:moveTo>
                    <a:lnTo>
                      <a:pt x="5734" y="1208"/>
                    </a:lnTo>
                    <a:lnTo>
                      <a:pt x="5734" y="1210"/>
                    </a:lnTo>
                    <a:lnTo>
                      <a:pt x="5734" y="1250"/>
                    </a:lnTo>
                    <a:lnTo>
                      <a:pt x="5736" y="1250"/>
                    </a:lnTo>
                    <a:lnTo>
                      <a:pt x="5736" y="1208"/>
                    </a:lnTo>
                    <a:moveTo>
                      <a:pt x="5760" y="1127"/>
                    </a:moveTo>
                    <a:lnTo>
                      <a:pt x="5758" y="1127"/>
                    </a:lnTo>
                    <a:lnTo>
                      <a:pt x="5758" y="1129"/>
                    </a:lnTo>
                    <a:lnTo>
                      <a:pt x="5758" y="1184"/>
                    </a:lnTo>
                    <a:lnTo>
                      <a:pt x="5760" y="1184"/>
                    </a:lnTo>
                    <a:lnTo>
                      <a:pt x="5760" y="1181"/>
                    </a:lnTo>
                    <a:lnTo>
                      <a:pt x="5760" y="1181"/>
                    </a:lnTo>
                    <a:lnTo>
                      <a:pt x="5760" y="1127"/>
                    </a:lnTo>
                    <a:moveTo>
                      <a:pt x="6226" y="1127"/>
                    </a:moveTo>
                    <a:lnTo>
                      <a:pt x="6226" y="1127"/>
                    </a:lnTo>
                    <a:lnTo>
                      <a:pt x="6226" y="1127"/>
                    </a:lnTo>
                    <a:lnTo>
                      <a:pt x="6226" y="1129"/>
                    </a:lnTo>
                    <a:lnTo>
                      <a:pt x="6226" y="1134"/>
                    </a:lnTo>
                    <a:lnTo>
                      <a:pt x="6226" y="1134"/>
                    </a:lnTo>
                    <a:lnTo>
                      <a:pt x="6226" y="1127"/>
                    </a:lnTo>
                    <a:moveTo>
                      <a:pt x="2764" y="1061"/>
                    </a:moveTo>
                    <a:lnTo>
                      <a:pt x="2764" y="1061"/>
                    </a:lnTo>
                    <a:lnTo>
                      <a:pt x="2762" y="1061"/>
                    </a:lnTo>
                    <a:lnTo>
                      <a:pt x="2762" y="1063"/>
                    </a:lnTo>
                    <a:lnTo>
                      <a:pt x="2762" y="1165"/>
                    </a:lnTo>
                    <a:lnTo>
                      <a:pt x="2764" y="1165"/>
                    </a:lnTo>
                    <a:lnTo>
                      <a:pt x="2764" y="1061"/>
                    </a:lnTo>
                    <a:moveTo>
                      <a:pt x="5836" y="1042"/>
                    </a:moveTo>
                    <a:lnTo>
                      <a:pt x="5836" y="1042"/>
                    </a:lnTo>
                    <a:lnTo>
                      <a:pt x="5833" y="1042"/>
                    </a:lnTo>
                    <a:lnTo>
                      <a:pt x="5833" y="1042"/>
                    </a:lnTo>
                    <a:lnTo>
                      <a:pt x="5833" y="1054"/>
                    </a:lnTo>
                    <a:lnTo>
                      <a:pt x="5836" y="1054"/>
                    </a:lnTo>
                    <a:lnTo>
                      <a:pt x="5836" y="1042"/>
                    </a:lnTo>
                    <a:moveTo>
                      <a:pt x="2781" y="1011"/>
                    </a:moveTo>
                    <a:lnTo>
                      <a:pt x="2781" y="1011"/>
                    </a:lnTo>
                    <a:lnTo>
                      <a:pt x="2781" y="1013"/>
                    </a:lnTo>
                    <a:lnTo>
                      <a:pt x="2781" y="1044"/>
                    </a:lnTo>
                    <a:lnTo>
                      <a:pt x="2781" y="1044"/>
                    </a:lnTo>
                    <a:lnTo>
                      <a:pt x="2781" y="1044"/>
                    </a:lnTo>
                    <a:lnTo>
                      <a:pt x="2781" y="1044"/>
                    </a:lnTo>
                    <a:lnTo>
                      <a:pt x="2781" y="1011"/>
                    </a:lnTo>
                    <a:moveTo>
                      <a:pt x="3675" y="992"/>
                    </a:moveTo>
                    <a:lnTo>
                      <a:pt x="3672" y="992"/>
                    </a:lnTo>
                    <a:lnTo>
                      <a:pt x="3672" y="994"/>
                    </a:lnTo>
                    <a:lnTo>
                      <a:pt x="3672" y="1163"/>
                    </a:lnTo>
                    <a:lnTo>
                      <a:pt x="3675" y="1163"/>
                    </a:lnTo>
                    <a:lnTo>
                      <a:pt x="3675" y="1160"/>
                    </a:lnTo>
                    <a:lnTo>
                      <a:pt x="3675" y="1160"/>
                    </a:lnTo>
                    <a:lnTo>
                      <a:pt x="3675" y="992"/>
                    </a:lnTo>
                    <a:moveTo>
                      <a:pt x="5852" y="990"/>
                    </a:moveTo>
                    <a:lnTo>
                      <a:pt x="5852" y="990"/>
                    </a:lnTo>
                    <a:lnTo>
                      <a:pt x="5852" y="990"/>
                    </a:lnTo>
                    <a:lnTo>
                      <a:pt x="5852" y="1023"/>
                    </a:lnTo>
                    <a:lnTo>
                      <a:pt x="5852" y="1023"/>
                    </a:lnTo>
                    <a:lnTo>
                      <a:pt x="5852" y="1023"/>
                    </a:lnTo>
                    <a:lnTo>
                      <a:pt x="5852" y="1023"/>
                    </a:lnTo>
                    <a:lnTo>
                      <a:pt x="5852" y="990"/>
                    </a:lnTo>
                    <a:moveTo>
                      <a:pt x="6245" y="935"/>
                    </a:moveTo>
                    <a:lnTo>
                      <a:pt x="6242" y="935"/>
                    </a:lnTo>
                    <a:lnTo>
                      <a:pt x="6242" y="938"/>
                    </a:lnTo>
                    <a:lnTo>
                      <a:pt x="6242" y="1110"/>
                    </a:lnTo>
                    <a:lnTo>
                      <a:pt x="6242" y="1110"/>
                    </a:lnTo>
                    <a:lnTo>
                      <a:pt x="6242" y="1108"/>
                    </a:lnTo>
                    <a:lnTo>
                      <a:pt x="6245" y="1108"/>
                    </a:lnTo>
                    <a:lnTo>
                      <a:pt x="6245" y="935"/>
                    </a:lnTo>
                    <a:moveTo>
                      <a:pt x="6294" y="878"/>
                    </a:moveTo>
                    <a:lnTo>
                      <a:pt x="6292" y="878"/>
                    </a:lnTo>
                    <a:lnTo>
                      <a:pt x="6292" y="878"/>
                    </a:lnTo>
                    <a:lnTo>
                      <a:pt x="6292" y="878"/>
                    </a:lnTo>
                    <a:lnTo>
                      <a:pt x="6292" y="886"/>
                    </a:lnTo>
                    <a:lnTo>
                      <a:pt x="6292" y="886"/>
                    </a:lnTo>
                    <a:lnTo>
                      <a:pt x="6292" y="886"/>
                    </a:lnTo>
                    <a:lnTo>
                      <a:pt x="6294" y="886"/>
                    </a:lnTo>
                    <a:lnTo>
                      <a:pt x="6294" y="878"/>
                    </a:lnTo>
                    <a:moveTo>
                      <a:pt x="6302" y="850"/>
                    </a:moveTo>
                    <a:lnTo>
                      <a:pt x="6299" y="850"/>
                    </a:lnTo>
                    <a:lnTo>
                      <a:pt x="6299" y="852"/>
                    </a:lnTo>
                    <a:lnTo>
                      <a:pt x="6299" y="871"/>
                    </a:lnTo>
                    <a:lnTo>
                      <a:pt x="6302" y="871"/>
                    </a:lnTo>
                    <a:lnTo>
                      <a:pt x="6302" y="869"/>
                    </a:lnTo>
                    <a:lnTo>
                      <a:pt x="6302" y="869"/>
                    </a:lnTo>
                    <a:lnTo>
                      <a:pt x="6302" y="850"/>
                    </a:lnTo>
                    <a:moveTo>
                      <a:pt x="3005" y="762"/>
                    </a:moveTo>
                    <a:lnTo>
                      <a:pt x="3003" y="762"/>
                    </a:lnTo>
                    <a:lnTo>
                      <a:pt x="3003" y="765"/>
                    </a:lnTo>
                    <a:lnTo>
                      <a:pt x="3003" y="904"/>
                    </a:lnTo>
                    <a:lnTo>
                      <a:pt x="3005" y="904"/>
                    </a:lnTo>
                    <a:lnTo>
                      <a:pt x="3005" y="762"/>
                    </a:lnTo>
                    <a:moveTo>
                      <a:pt x="5037" y="732"/>
                    </a:moveTo>
                    <a:lnTo>
                      <a:pt x="5034" y="732"/>
                    </a:lnTo>
                    <a:lnTo>
                      <a:pt x="5034" y="734"/>
                    </a:lnTo>
                    <a:lnTo>
                      <a:pt x="5034" y="897"/>
                    </a:lnTo>
                    <a:lnTo>
                      <a:pt x="5037" y="897"/>
                    </a:lnTo>
                    <a:lnTo>
                      <a:pt x="5037" y="732"/>
                    </a:lnTo>
                    <a:moveTo>
                      <a:pt x="3043" y="656"/>
                    </a:moveTo>
                    <a:lnTo>
                      <a:pt x="3041" y="656"/>
                    </a:lnTo>
                    <a:lnTo>
                      <a:pt x="3041" y="658"/>
                    </a:lnTo>
                    <a:lnTo>
                      <a:pt x="3041" y="725"/>
                    </a:lnTo>
                    <a:lnTo>
                      <a:pt x="3041" y="725"/>
                    </a:lnTo>
                    <a:lnTo>
                      <a:pt x="3041" y="722"/>
                    </a:lnTo>
                    <a:lnTo>
                      <a:pt x="3043" y="722"/>
                    </a:lnTo>
                    <a:lnTo>
                      <a:pt x="3043" y="656"/>
                    </a:lnTo>
                    <a:moveTo>
                      <a:pt x="0" y="616"/>
                    </a:moveTo>
                    <a:lnTo>
                      <a:pt x="0" y="616"/>
                    </a:lnTo>
                    <a:lnTo>
                      <a:pt x="0" y="618"/>
                    </a:lnTo>
                    <a:lnTo>
                      <a:pt x="0" y="1378"/>
                    </a:lnTo>
                    <a:lnTo>
                      <a:pt x="0" y="1378"/>
                    </a:lnTo>
                    <a:lnTo>
                      <a:pt x="0" y="616"/>
                    </a:lnTo>
                    <a:moveTo>
                      <a:pt x="5157" y="609"/>
                    </a:moveTo>
                    <a:lnTo>
                      <a:pt x="5155" y="609"/>
                    </a:lnTo>
                    <a:lnTo>
                      <a:pt x="5155" y="611"/>
                    </a:lnTo>
                    <a:lnTo>
                      <a:pt x="5155" y="656"/>
                    </a:lnTo>
                    <a:lnTo>
                      <a:pt x="5157" y="656"/>
                    </a:lnTo>
                    <a:lnTo>
                      <a:pt x="5157" y="609"/>
                    </a:lnTo>
                    <a:moveTo>
                      <a:pt x="3187" y="580"/>
                    </a:moveTo>
                    <a:lnTo>
                      <a:pt x="3185" y="580"/>
                    </a:lnTo>
                    <a:lnTo>
                      <a:pt x="3185" y="580"/>
                    </a:lnTo>
                    <a:lnTo>
                      <a:pt x="3185" y="582"/>
                    </a:lnTo>
                    <a:lnTo>
                      <a:pt x="3187" y="582"/>
                    </a:lnTo>
                    <a:lnTo>
                      <a:pt x="3187" y="580"/>
                    </a:lnTo>
                    <a:moveTo>
                      <a:pt x="6930" y="509"/>
                    </a:moveTo>
                    <a:lnTo>
                      <a:pt x="6928" y="509"/>
                    </a:lnTo>
                    <a:lnTo>
                      <a:pt x="6928" y="509"/>
                    </a:lnTo>
                    <a:lnTo>
                      <a:pt x="6928" y="1018"/>
                    </a:lnTo>
                    <a:lnTo>
                      <a:pt x="6930" y="1018"/>
                    </a:lnTo>
                    <a:lnTo>
                      <a:pt x="6930" y="509"/>
                    </a:lnTo>
                    <a:moveTo>
                      <a:pt x="4098" y="502"/>
                    </a:moveTo>
                    <a:lnTo>
                      <a:pt x="4098" y="502"/>
                    </a:lnTo>
                    <a:lnTo>
                      <a:pt x="4095" y="504"/>
                    </a:lnTo>
                    <a:lnTo>
                      <a:pt x="4091" y="511"/>
                    </a:lnTo>
                    <a:lnTo>
                      <a:pt x="4091" y="511"/>
                    </a:lnTo>
                    <a:lnTo>
                      <a:pt x="4098" y="502"/>
                    </a:lnTo>
                    <a:moveTo>
                      <a:pt x="3204" y="500"/>
                    </a:moveTo>
                    <a:lnTo>
                      <a:pt x="3202" y="500"/>
                    </a:lnTo>
                    <a:lnTo>
                      <a:pt x="3202" y="502"/>
                    </a:lnTo>
                    <a:lnTo>
                      <a:pt x="3202" y="564"/>
                    </a:lnTo>
                    <a:lnTo>
                      <a:pt x="3204" y="564"/>
                    </a:lnTo>
                    <a:lnTo>
                      <a:pt x="3204" y="564"/>
                    </a:lnTo>
                    <a:lnTo>
                      <a:pt x="3204" y="564"/>
                    </a:lnTo>
                    <a:lnTo>
                      <a:pt x="3204" y="500"/>
                    </a:lnTo>
                    <a:moveTo>
                      <a:pt x="3942" y="455"/>
                    </a:moveTo>
                    <a:lnTo>
                      <a:pt x="3939" y="455"/>
                    </a:lnTo>
                    <a:lnTo>
                      <a:pt x="3939" y="455"/>
                    </a:lnTo>
                    <a:lnTo>
                      <a:pt x="3939" y="455"/>
                    </a:lnTo>
                    <a:lnTo>
                      <a:pt x="3939" y="490"/>
                    </a:lnTo>
                    <a:lnTo>
                      <a:pt x="3857" y="642"/>
                    </a:lnTo>
                    <a:lnTo>
                      <a:pt x="3857" y="852"/>
                    </a:lnTo>
                    <a:lnTo>
                      <a:pt x="3859" y="852"/>
                    </a:lnTo>
                    <a:lnTo>
                      <a:pt x="3859" y="642"/>
                    </a:lnTo>
                    <a:lnTo>
                      <a:pt x="3942" y="488"/>
                    </a:lnTo>
                    <a:lnTo>
                      <a:pt x="3942" y="455"/>
                    </a:lnTo>
                    <a:moveTo>
                      <a:pt x="3232" y="433"/>
                    </a:moveTo>
                    <a:lnTo>
                      <a:pt x="3230" y="433"/>
                    </a:lnTo>
                    <a:lnTo>
                      <a:pt x="3230" y="436"/>
                    </a:lnTo>
                    <a:lnTo>
                      <a:pt x="3230" y="474"/>
                    </a:lnTo>
                    <a:lnTo>
                      <a:pt x="3232" y="474"/>
                    </a:lnTo>
                    <a:lnTo>
                      <a:pt x="3232" y="471"/>
                    </a:lnTo>
                    <a:lnTo>
                      <a:pt x="3232" y="471"/>
                    </a:lnTo>
                    <a:lnTo>
                      <a:pt x="3232" y="433"/>
                    </a:lnTo>
                    <a:moveTo>
                      <a:pt x="3946" y="391"/>
                    </a:moveTo>
                    <a:lnTo>
                      <a:pt x="3944" y="391"/>
                    </a:lnTo>
                    <a:lnTo>
                      <a:pt x="3944" y="391"/>
                    </a:lnTo>
                    <a:lnTo>
                      <a:pt x="3944" y="393"/>
                    </a:lnTo>
                    <a:lnTo>
                      <a:pt x="3944" y="448"/>
                    </a:lnTo>
                    <a:lnTo>
                      <a:pt x="3946" y="448"/>
                    </a:lnTo>
                    <a:lnTo>
                      <a:pt x="3946" y="445"/>
                    </a:lnTo>
                    <a:lnTo>
                      <a:pt x="3946" y="445"/>
                    </a:lnTo>
                    <a:lnTo>
                      <a:pt x="3946" y="391"/>
                    </a:lnTo>
                    <a:moveTo>
                      <a:pt x="1714" y="367"/>
                    </a:moveTo>
                    <a:lnTo>
                      <a:pt x="1712" y="367"/>
                    </a:lnTo>
                    <a:lnTo>
                      <a:pt x="1712" y="369"/>
                    </a:lnTo>
                    <a:lnTo>
                      <a:pt x="1712" y="1056"/>
                    </a:lnTo>
                    <a:lnTo>
                      <a:pt x="1714" y="1056"/>
                    </a:lnTo>
                    <a:lnTo>
                      <a:pt x="1714" y="367"/>
                    </a:lnTo>
                    <a:moveTo>
                      <a:pt x="3954" y="327"/>
                    </a:moveTo>
                    <a:lnTo>
                      <a:pt x="3954" y="327"/>
                    </a:lnTo>
                    <a:lnTo>
                      <a:pt x="3954" y="329"/>
                    </a:lnTo>
                    <a:lnTo>
                      <a:pt x="3954" y="384"/>
                    </a:lnTo>
                    <a:lnTo>
                      <a:pt x="3954" y="384"/>
                    </a:lnTo>
                    <a:lnTo>
                      <a:pt x="3954" y="381"/>
                    </a:lnTo>
                    <a:lnTo>
                      <a:pt x="3954" y="381"/>
                    </a:lnTo>
                    <a:lnTo>
                      <a:pt x="3954" y="327"/>
                    </a:lnTo>
                    <a:moveTo>
                      <a:pt x="4609" y="232"/>
                    </a:moveTo>
                    <a:lnTo>
                      <a:pt x="4606" y="232"/>
                    </a:lnTo>
                    <a:lnTo>
                      <a:pt x="4606" y="232"/>
                    </a:lnTo>
                    <a:lnTo>
                      <a:pt x="4549" y="440"/>
                    </a:lnTo>
                    <a:lnTo>
                      <a:pt x="4552" y="438"/>
                    </a:lnTo>
                    <a:lnTo>
                      <a:pt x="4609" y="232"/>
                    </a:lnTo>
                    <a:moveTo>
                      <a:pt x="4758" y="0"/>
                    </a:moveTo>
                    <a:lnTo>
                      <a:pt x="4755" y="0"/>
                    </a:lnTo>
                    <a:lnTo>
                      <a:pt x="4755" y="2"/>
                    </a:lnTo>
                    <a:lnTo>
                      <a:pt x="4755" y="123"/>
                    </a:lnTo>
                    <a:lnTo>
                      <a:pt x="4755" y="123"/>
                    </a:lnTo>
                    <a:lnTo>
                      <a:pt x="4755" y="121"/>
                    </a:lnTo>
                    <a:lnTo>
                      <a:pt x="4758" y="121"/>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1" name="Freeform 66"/>
              <p:cNvSpPr>
                <a:spLocks noEditPoints="1"/>
              </p:cNvSpPr>
              <p:nvPr/>
            </p:nvSpPr>
            <p:spPr bwMode="auto">
              <a:xfrm>
                <a:off x="68" y="1734"/>
                <a:ext cx="6930" cy="1380"/>
              </a:xfrm>
              <a:custGeom>
                <a:avLst/>
                <a:gdLst>
                  <a:gd name="T0" fmla="*/ 3615 w 6930"/>
                  <a:gd name="T1" fmla="*/ 1243 h 1380"/>
                  <a:gd name="T2" fmla="*/ 5736 w 6930"/>
                  <a:gd name="T3" fmla="*/ 1207 h 1380"/>
                  <a:gd name="T4" fmla="*/ 5736 w 6930"/>
                  <a:gd name="T5" fmla="*/ 1207 h 1380"/>
                  <a:gd name="T6" fmla="*/ 5760 w 6930"/>
                  <a:gd name="T7" fmla="*/ 1183 h 1380"/>
                  <a:gd name="T8" fmla="*/ 5762 w 6930"/>
                  <a:gd name="T9" fmla="*/ 1127 h 1380"/>
                  <a:gd name="T10" fmla="*/ 6226 w 6930"/>
                  <a:gd name="T11" fmla="*/ 1129 h 1380"/>
                  <a:gd name="T12" fmla="*/ 2767 w 6930"/>
                  <a:gd name="T13" fmla="*/ 1063 h 1380"/>
                  <a:gd name="T14" fmla="*/ 2764 w 6930"/>
                  <a:gd name="T15" fmla="*/ 1167 h 1380"/>
                  <a:gd name="T16" fmla="*/ 5836 w 6930"/>
                  <a:gd name="T17" fmla="*/ 1041 h 1380"/>
                  <a:gd name="T18" fmla="*/ 5838 w 6930"/>
                  <a:gd name="T19" fmla="*/ 1056 h 1380"/>
                  <a:gd name="T20" fmla="*/ 2781 w 6930"/>
                  <a:gd name="T21" fmla="*/ 1013 h 1380"/>
                  <a:gd name="T22" fmla="*/ 2783 w 6930"/>
                  <a:gd name="T23" fmla="*/ 1044 h 1380"/>
                  <a:gd name="T24" fmla="*/ 3675 w 6930"/>
                  <a:gd name="T25" fmla="*/ 994 h 1380"/>
                  <a:gd name="T26" fmla="*/ 3677 w 6930"/>
                  <a:gd name="T27" fmla="*/ 1160 h 1380"/>
                  <a:gd name="T28" fmla="*/ 5852 w 6930"/>
                  <a:gd name="T29" fmla="*/ 992 h 1380"/>
                  <a:gd name="T30" fmla="*/ 5855 w 6930"/>
                  <a:gd name="T31" fmla="*/ 1022 h 1380"/>
                  <a:gd name="T32" fmla="*/ 6245 w 6930"/>
                  <a:gd name="T33" fmla="*/ 937 h 1380"/>
                  <a:gd name="T34" fmla="*/ 6247 w 6930"/>
                  <a:gd name="T35" fmla="*/ 1108 h 1380"/>
                  <a:gd name="T36" fmla="*/ 6294 w 6930"/>
                  <a:gd name="T37" fmla="*/ 878 h 1380"/>
                  <a:gd name="T38" fmla="*/ 6294 w 6930"/>
                  <a:gd name="T39" fmla="*/ 885 h 1380"/>
                  <a:gd name="T40" fmla="*/ 6302 w 6930"/>
                  <a:gd name="T41" fmla="*/ 850 h 1380"/>
                  <a:gd name="T42" fmla="*/ 6304 w 6930"/>
                  <a:gd name="T43" fmla="*/ 869 h 1380"/>
                  <a:gd name="T44" fmla="*/ 3005 w 6930"/>
                  <a:gd name="T45" fmla="*/ 762 h 1380"/>
                  <a:gd name="T46" fmla="*/ 3005 w 6930"/>
                  <a:gd name="T47" fmla="*/ 762 h 1380"/>
                  <a:gd name="T48" fmla="*/ 915 w 6930"/>
                  <a:gd name="T49" fmla="*/ 755 h 1380"/>
                  <a:gd name="T50" fmla="*/ 5037 w 6930"/>
                  <a:gd name="T51" fmla="*/ 734 h 1380"/>
                  <a:gd name="T52" fmla="*/ 3046 w 6930"/>
                  <a:gd name="T53" fmla="*/ 656 h 1380"/>
                  <a:gd name="T54" fmla="*/ 3043 w 6930"/>
                  <a:gd name="T55" fmla="*/ 724 h 1380"/>
                  <a:gd name="T56" fmla="*/ 2 w 6930"/>
                  <a:gd name="T57" fmla="*/ 615 h 1380"/>
                  <a:gd name="T58" fmla="*/ 2 w 6930"/>
                  <a:gd name="T59" fmla="*/ 1380 h 1380"/>
                  <a:gd name="T60" fmla="*/ 5157 w 6930"/>
                  <a:gd name="T61" fmla="*/ 611 h 1380"/>
                  <a:gd name="T62" fmla="*/ 3190 w 6930"/>
                  <a:gd name="T63" fmla="*/ 582 h 1380"/>
                  <a:gd name="T64" fmla="*/ 3187 w 6930"/>
                  <a:gd name="T65" fmla="*/ 584 h 1380"/>
                  <a:gd name="T66" fmla="*/ 6930 w 6930"/>
                  <a:gd name="T67" fmla="*/ 509 h 1380"/>
                  <a:gd name="T68" fmla="*/ 6930 w 6930"/>
                  <a:gd name="T69" fmla="*/ 509 h 1380"/>
                  <a:gd name="T70" fmla="*/ 4091 w 6930"/>
                  <a:gd name="T71" fmla="*/ 513 h 1380"/>
                  <a:gd name="T72" fmla="*/ 3204 w 6930"/>
                  <a:gd name="T73" fmla="*/ 502 h 1380"/>
                  <a:gd name="T74" fmla="*/ 3206 w 6930"/>
                  <a:gd name="T75" fmla="*/ 563 h 1380"/>
                  <a:gd name="T76" fmla="*/ 3942 w 6930"/>
                  <a:gd name="T77" fmla="*/ 454 h 1380"/>
                  <a:gd name="T78" fmla="*/ 3859 w 6930"/>
                  <a:gd name="T79" fmla="*/ 644 h 1380"/>
                  <a:gd name="T80" fmla="*/ 3942 w 6930"/>
                  <a:gd name="T81" fmla="*/ 487 h 1380"/>
                  <a:gd name="T82" fmla="*/ 3232 w 6930"/>
                  <a:gd name="T83" fmla="*/ 435 h 1380"/>
                  <a:gd name="T84" fmla="*/ 3235 w 6930"/>
                  <a:gd name="T85" fmla="*/ 471 h 1380"/>
                  <a:gd name="T86" fmla="*/ 3946 w 6930"/>
                  <a:gd name="T87" fmla="*/ 390 h 1380"/>
                  <a:gd name="T88" fmla="*/ 3949 w 6930"/>
                  <a:gd name="T89" fmla="*/ 447 h 1380"/>
                  <a:gd name="T90" fmla="*/ 1714 w 6930"/>
                  <a:gd name="T91" fmla="*/ 367 h 1380"/>
                  <a:gd name="T92" fmla="*/ 1717 w 6930"/>
                  <a:gd name="T93" fmla="*/ 367 h 1380"/>
                  <a:gd name="T94" fmla="*/ 3954 w 6930"/>
                  <a:gd name="T95" fmla="*/ 383 h 1380"/>
                  <a:gd name="T96" fmla="*/ 3956 w 6930"/>
                  <a:gd name="T97" fmla="*/ 326 h 1380"/>
                  <a:gd name="T98" fmla="*/ 4552 w 6930"/>
                  <a:gd name="T99" fmla="*/ 440 h 1380"/>
                  <a:gd name="T100" fmla="*/ 4758 w 6930"/>
                  <a:gd name="T101" fmla="*/ 0 h 1380"/>
                  <a:gd name="T102" fmla="*/ 4758 w 6930"/>
                  <a:gd name="T103" fmla="*/ 120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30" h="1380">
                    <a:moveTo>
                      <a:pt x="3618" y="1221"/>
                    </a:moveTo>
                    <a:lnTo>
                      <a:pt x="3615" y="1221"/>
                    </a:lnTo>
                    <a:lnTo>
                      <a:pt x="3615" y="1224"/>
                    </a:lnTo>
                    <a:lnTo>
                      <a:pt x="3615" y="1243"/>
                    </a:lnTo>
                    <a:lnTo>
                      <a:pt x="3618" y="1243"/>
                    </a:lnTo>
                    <a:lnTo>
                      <a:pt x="3618" y="1221"/>
                    </a:lnTo>
                    <a:close/>
                    <a:moveTo>
                      <a:pt x="5736" y="1207"/>
                    </a:moveTo>
                    <a:lnTo>
                      <a:pt x="5736" y="1207"/>
                    </a:lnTo>
                    <a:lnTo>
                      <a:pt x="5736" y="1210"/>
                    </a:lnTo>
                    <a:lnTo>
                      <a:pt x="5736" y="1252"/>
                    </a:lnTo>
                    <a:lnTo>
                      <a:pt x="5736" y="1252"/>
                    </a:lnTo>
                    <a:lnTo>
                      <a:pt x="5736" y="1207"/>
                    </a:lnTo>
                    <a:close/>
                    <a:moveTo>
                      <a:pt x="5762" y="1127"/>
                    </a:moveTo>
                    <a:lnTo>
                      <a:pt x="5760" y="1127"/>
                    </a:lnTo>
                    <a:lnTo>
                      <a:pt x="5760" y="1129"/>
                    </a:lnTo>
                    <a:lnTo>
                      <a:pt x="5760" y="1183"/>
                    </a:lnTo>
                    <a:lnTo>
                      <a:pt x="5760" y="1183"/>
                    </a:lnTo>
                    <a:lnTo>
                      <a:pt x="5760" y="1181"/>
                    </a:lnTo>
                    <a:lnTo>
                      <a:pt x="5762" y="1181"/>
                    </a:lnTo>
                    <a:lnTo>
                      <a:pt x="5762" y="1127"/>
                    </a:lnTo>
                    <a:close/>
                    <a:moveTo>
                      <a:pt x="6228" y="1127"/>
                    </a:moveTo>
                    <a:lnTo>
                      <a:pt x="6228" y="1127"/>
                    </a:lnTo>
                    <a:lnTo>
                      <a:pt x="6226" y="1127"/>
                    </a:lnTo>
                    <a:lnTo>
                      <a:pt x="6226" y="1129"/>
                    </a:lnTo>
                    <a:lnTo>
                      <a:pt x="6226" y="1136"/>
                    </a:lnTo>
                    <a:lnTo>
                      <a:pt x="6228" y="1136"/>
                    </a:lnTo>
                    <a:lnTo>
                      <a:pt x="6228" y="1127"/>
                    </a:lnTo>
                    <a:close/>
                    <a:moveTo>
                      <a:pt x="2767" y="1063"/>
                    </a:moveTo>
                    <a:lnTo>
                      <a:pt x="2764" y="1063"/>
                    </a:lnTo>
                    <a:lnTo>
                      <a:pt x="2764" y="1063"/>
                    </a:lnTo>
                    <a:lnTo>
                      <a:pt x="2764" y="1063"/>
                    </a:lnTo>
                    <a:lnTo>
                      <a:pt x="2764" y="1167"/>
                    </a:lnTo>
                    <a:lnTo>
                      <a:pt x="2767" y="1167"/>
                    </a:lnTo>
                    <a:lnTo>
                      <a:pt x="2767" y="1063"/>
                    </a:lnTo>
                    <a:close/>
                    <a:moveTo>
                      <a:pt x="5838" y="1041"/>
                    </a:moveTo>
                    <a:lnTo>
                      <a:pt x="5836" y="1041"/>
                    </a:lnTo>
                    <a:lnTo>
                      <a:pt x="5836" y="1041"/>
                    </a:lnTo>
                    <a:lnTo>
                      <a:pt x="5836" y="1044"/>
                    </a:lnTo>
                    <a:lnTo>
                      <a:pt x="5836" y="1056"/>
                    </a:lnTo>
                    <a:lnTo>
                      <a:pt x="5838" y="1056"/>
                    </a:lnTo>
                    <a:lnTo>
                      <a:pt x="5838" y="1041"/>
                    </a:lnTo>
                    <a:close/>
                    <a:moveTo>
                      <a:pt x="2783" y="1011"/>
                    </a:moveTo>
                    <a:lnTo>
                      <a:pt x="2781" y="1013"/>
                    </a:lnTo>
                    <a:lnTo>
                      <a:pt x="2781" y="1013"/>
                    </a:lnTo>
                    <a:lnTo>
                      <a:pt x="2781" y="1046"/>
                    </a:lnTo>
                    <a:lnTo>
                      <a:pt x="2783" y="1046"/>
                    </a:lnTo>
                    <a:lnTo>
                      <a:pt x="2783" y="1044"/>
                    </a:lnTo>
                    <a:lnTo>
                      <a:pt x="2783" y="1044"/>
                    </a:lnTo>
                    <a:lnTo>
                      <a:pt x="2783" y="1011"/>
                    </a:lnTo>
                    <a:close/>
                    <a:moveTo>
                      <a:pt x="3677" y="992"/>
                    </a:moveTo>
                    <a:lnTo>
                      <a:pt x="3675" y="992"/>
                    </a:lnTo>
                    <a:lnTo>
                      <a:pt x="3675" y="994"/>
                    </a:lnTo>
                    <a:lnTo>
                      <a:pt x="3675" y="1162"/>
                    </a:lnTo>
                    <a:lnTo>
                      <a:pt x="3677" y="1162"/>
                    </a:lnTo>
                    <a:lnTo>
                      <a:pt x="3677" y="1160"/>
                    </a:lnTo>
                    <a:lnTo>
                      <a:pt x="3677" y="1160"/>
                    </a:lnTo>
                    <a:lnTo>
                      <a:pt x="3677" y="992"/>
                    </a:lnTo>
                    <a:close/>
                    <a:moveTo>
                      <a:pt x="5855" y="989"/>
                    </a:moveTo>
                    <a:lnTo>
                      <a:pt x="5852" y="989"/>
                    </a:lnTo>
                    <a:lnTo>
                      <a:pt x="5852" y="992"/>
                    </a:lnTo>
                    <a:lnTo>
                      <a:pt x="5852" y="1025"/>
                    </a:lnTo>
                    <a:lnTo>
                      <a:pt x="5855" y="1025"/>
                    </a:lnTo>
                    <a:lnTo>
                      <a:pt x="5855" y="1022"/>
                    </a:lnTo>
                    <a:lnTo>
                      <a:pt x="5855" y="1022"/>
                    </a:lnTo>
                    <a:lnTo>
                      <a:pt x="5855" y="989"/>
                    </a:lnTo>
                    <a:close/>
                    <a:moveTo>
                      <a:pt x="6247" y="935"/>
                    </a:moveTo>
                    <a:lnTo>
                      <a:pt x="6245" y="935"/>
                    </a:lnTo>
                    <a:lnTo>
                      <a:pt x="6245" y="937"/>
                    </a:lnTo>
                    <a:lnTo>
                      <a:pt x="6245" y="1110"/>
                    </a:lnTo>
                    <a:lnTo>
                      <a:pt x="6245" y="1110"/>
                    </a:lnTo>
                    <a:lnTo>
                      <a:pt x="6245" y="1108"/>
                    </a:lnTo>
                    <a:lnTo>
                      <a:pt x="6247" y="1108"/>
                    </a:lnTo>
                    <a:lnTo>
                      <a:pt x="6247" y="935"/>
                    </a:lnTo>
                    <a:close/>
                    <a:moveTo>
                      <a:pt x="6297" y="878"/>
                    </a:moveTo>
                    <a:lnTo>
                      <a:pt x="6294" y="878"/>
                    </a:lnTo>
                    <a:lnTo>
                      <a:pt x="6294" y="878"/>
                    </a:lnTo>
                    <a:lnTo>
                      <a:pt x="6294" y="880"/>
                    </a:lnTo>
                    <a:lnTo>
                      <a:pt x="6294" y="888"/>
                    </a:lnTo>
                    <a:lnTo>
                      <a:pt x="6294" y="888"/>
                    </a:lnTo>
                    <a:lnTo>
                      <a:pt x="6294" y="885"/>
                    </a:lnTo>
                    <a:lnTo>
                      <a:pt x="6297" y="885"/>
                    </a:lnTo>
                    <a:lnTo>
                      <a:pt x="6297" y="878"/>
                    </a:lnTo>
                    <a:close/>
                    <a:moveTo>
                      <a:pt x="6304" y="850"/>
                    </a:moveTo>
                    <a:lnTo>
                      <a:pt x="6302" y="850"/>
                    </a:lnTo>
                    <a:lnTo>
                      <a:pt x="6302" y="852"/>
                    </a:lnTo>
                    <a:lnTo>
                      <a:pt x="6302" y="871"/>
                    </a:lnTo>
                    <a:lnTo>
                      <a:pt x="6304" y="871"/>
                    </a:lnTo>
                    <a:lnTo>
                      <a:pt x="6304" y="869"/>
                    </a:lnTo>
                    <a:lnTo>
                      <a:pt x="6304" y="869"/>
                    </a:lnTo>
                    <a:lnTo>
                      <a:pt x="6304" y="850"/>
                    </a:lnTo>
                    <a:close/>
                    <a:moveTo>
                      <a:pt x="3005" y="762"/>
                    </a:moveTo>
                    <a:lnTo>
                      <a:pt x="3005" y="762"/>
                    </a:lnTo>
                    <a:lnTo>
                      <a:pt x="3005" y="764"/>
                    </a:lnTo>
                    <a:lnTo>
                      <a:pt x="3005" y="906"/>
                    </a:lnTo>
                    <a:lnTo>
                      <a:pt x="3005" y="906"/>
                    </a:lnTo>
                    <a:lnTo>
                      <a:pt x="3005" y="762"/>
                    </a:lnTo>
                    <a:close/>
                    <a:moveTo>
                      <a:pt x="915" y="753"/>
                    </a:moveTo>
                    <a:lnTo>
                      <a:pt x="913" y="753"/>
                    </a:lnTo>
                    <a:lnTo>
                      <a:pt x="913" y="755"/>
                    </a:lnTo>
                    <a:lnTo>
                      <a:pt x="915" y="755"/>
                    </a:lnTo>
                    <a:lnTo>
                      <a:pt x="915" y="753"/>
                    </a:lnTo>
                    <a:close/>
                    <a:moveTo>
                      <a:pt x="5039" y="731"/>
                    </a:moveTo>
                    <a:lnTo>
                      <a:pt x="5037" y="731"/>
                    </a:lnTo>
                    <a:lnTo>
                      <a:pt x="5037" y="734"/>
                    </a:lnTo>
                    <a:lnTo>
                      <a:pt x="5037" y="899"/>
                    </a:lnTo>
                    <a:lnTo>
                      <a:pt x="5039" y="899"/>
                    </a:lnTo>
                    <a:lnTo>
                      <a:pt x="5039" y="731"/>
                    </a:lnTo>
                    <a:close/>
                    <a:moveTo>
                      <a:pt x="3046" y="656"/>
                    </a:moveTo>
                    <a:lnTo>
                      <a:pt x="3043" y="656"/>
                    </a:lnTo>
                    <a:lnTo>
                      <a:pt x="3043" y="658"/>
                    </a:lnTo>
                    <a:lnTo>
                      <a:pt x="3043" y="724"/>
                    </a:lnTo>
                    <a:lnTo>
                      <a:pt x="3043" y="724"/>
                    </a:lnTo>
                    <a:lnTo>
                      <a:pt x="3043" y="724"/>
                    </a:lnTo>
                    <a:lnTo>
                      <a:pt x="3046" y="724"/>
                    </a:lnTo>
                    <a:lnTo>
                      <a:pt x="3046" y="656"/>
                    </a:lnTo>
                    <a:close/>
                    <a:moveTo>
                      <a:pt x="2" y="615"/>
                    </a:moveTo>
                    <a:lnTo>
                      <a:pt x="0" y="615"/>
                    </a:lnTo>
                    <a:lnTo>
                      <a:pt x="0" y="618"/>
                    </a:lnTo>
                    <a:lnTo>
                      <a:pt x="0" y="1380"/>
                    </a:lnTo>
                    <a:lnTo>
                      <a:pt x="2" y="1380"/>
                    </a:lnTo>
                    <a:lnTo>
                      <a:pt x="2" y="615"/>
                    </a:lnTo>
                    <a:close/>
                    <a:moveTo>
                      <a:pt x="5159" y="608"/>
                    </a:moveTo>
                    <a:lnTo>
                      <a:pt x="5157" y="608"/>
                    </a:lnTo>
                    <a:lnTo>
                      <a:pt x="5157" y="611"/>
                    </a:lnTo>
                    <a:lnTo>
                      <a:pt x="5157" y="658"/>
                    </a:lnTo>
                    <a:lnTo>
                      <a:pt x="5159" y="658"/>
                    </a:lnTo>
                    <a:lnTo>
                      <a:pt x="5159" y="608"/>
                    </a:lnTo>
                    <a:close/>
                    <a:moveTo>
                      <a:pt x="3190" y="582"/>
                    </a:moveTo>
                    <a:lnTo>
                      <a:pt x="3187" y="582"/>
                    </a:lnTo>
                    <a:lnTo>
                      <a:pt x="3187" y="582"/>
                    </a:lnTo>
                    <a:lnTo>
                      <a:pt x="3187" y="582"/>
                    </a:lnTo>
                    <a:lnTo>
                      <a:pt x="3187" y="584"/>
                    </a:lnTo>
                    <a:lnTo>
                      <a:pt x="3190" y="584"/>
                    </a:lnTo>
                    <a:lnTo>
                      <a:pt x="3190" y="582"/>
                    </a:lnTo>
                    <a:close/>
                    <a:moveTo>
                      <a:pt x="6930" y="509"/>
                    </a:moveTo>
                    <a:lnTo>
                      <a:pt x="6930" y="509"/>
                    </a:lnTo>
                    <a:lnTo>
                      <a:pt x="6930" y="511"/>
                    </a:lnTo>
                    <a:lnTo>
                      <a:pt x="6930" y="1020"/>
                    </a:lnTo>
                    <a:lnTo>
                      <a:pt x="6930" y="1020"/>
                    </a:lnTo>
                    <a:lnTo>
                      <a:pt x="6930" y="509"/>
                    </a:lnTo>
                    <a:close/>
                    <a:moveTo>
                      <a:pt x="4100" y="502"/>
                    </a:moveTo>
                    <a:lnTo>
                      <a:pt x="4100" y="502"/>
                    </a:lnTo>
                    <a:lnTo>
                      <a:pt x="4098" y="504"/>
                    </a:lnTo>
                    <a:lnTo>
                      <a:pt x="4091" y="513"/>
                    </a:lnTo>
                    <a:lnTo>
                      <a:pt x="4091" y="513"/>
                    </a:lnTo>
                    <a:lnTo>
                      <a:pt x="4100" y="502"/>
                    </a:lnTo>
                    <a:close/>
                    <a:moveTo>
                      <a:pt x="3206" y="502"/>
                    </a:moveTo>
                    <a:lnTo>
                      <a:pt x="3204" y="502"/>
                    </a:lnTo>
                    <a:lnTo>
                      <a:pt x="3204" y="502"/>
                    </a:lnTo>
                    <a:lnTo>
                      <a:pt x="3204" y="566"/>
                    </a:lnTo>
                    <a:lnTo>
                      <a:pt x="3206" y="566"/>
                    </a:lnTo>
                    <a:lnTo>
                      <a:pt x="3206" y="563"/>
                    </a:lnTo>
                    <a:lnTo>
                      <a:pt x="3206" y="563"/>
                    </a:lnTo>
                    <a:lnTo>
                      <a:pt x="3206" y="502"/>
                    </a:lnTo>
                    <a:close/>
                    <a:moveTo>
                      <a:pt x="3942" y="454"/>
                    </a:moveTo>
                    <a:lnTo>
                      <a:pt x="3942" y="454"/>
                    </a:lnTo>
                    <a:lnTo>
                      <a:pt x="3942" y="454"/>
                    </a:lnTo>
                    <a:lnTo>
                      <a:pt x="3942" y="457"/>
                    </a:lnTo>
                    <a:lnTo>
                      <a:pt x="3942" y="490"/>
                    </a:lnTo>
                    <a:lnTo>
                      <a:pt x="3859" y="644"/>
                    </a:lnTo>
                    <a:lnTo>
                      <a:pt x="3859" y="854"/>
                    </a:lnTo>
                    <a:lnTo>
                      <a:pt x="3861" y="854"/>
                    </a:lnTo>
                    <a:lnTo>
                      <a:pt x="3861" y="641"/>
                    </a:lnTo>
                    <a:lnTo>
                      <a:pt x="3942" y="487"/>
                    </a:lnTo>
                    <a:lnTo>
                      <a:pt x="3942" y="454"/>
                    </a:lnTo>
                    <a:close/>
                    <a:moveTo>
                      <a:pt x="3235" y="433"/>
                    </a:moveTo>
                    <a:lnTo>
                      <a:pt x="3232" y="433"/>
                    </a:lnTo>
                    <a:lnTo>
                      <a:pt x="3232" y="435"/>
                    </a:lnTo>
                    <a:lnTo>
                      <a:pt x="3232" y="473"/>
                    </a:lnTo>
                    <a:lnTo>
                      <a:pt x="3235" y="473"/>
                    </a:lnTo>
                    <a:lnTo>
                      <a:pt x="3235" y="471"/>
                    </a:lnTo>
                    <a:lnTo>
                      <a:pt x="3235" y="471"/>
                    </a:lnTo>
                    <a:lnTo>
                      <a:pt x="3235" y="433"/>
                    </a:lnTo>
                    <a:close/>
                    <a:moveTo>
                      <a:pt x="3949" y="390"/>
                    </a:moveTo>
                    <a:lnTo>
                      <a:pt x="3946" y="390"/>
                    </a:lnTo>
                    <a:lnTo>
                      <a:pt x="3946" y="390"/>
                    </a:lnTo>
                    <a:lnTo>
                      <a:pt x="3946" y="393"/>
                    </a:lnTo>
                    <a:lnTo>
                      <a:pt x="3946" y="447"/>
                    </a:lnTo>
                    <a:lnTo>
                      <a:pt x="3949" y="447"/>
                    </a:lnTo>
                    <a:lnTo>
                      <a:pt x="3949" y="447"/>
                    </a:lnTo>
                    <a:lnTo>
                      <a:pt x="3949" y="447"/>
                    </a:lnTo>
                    <a:lnTo>
                      <a:pt x="3949" y="390"/>
                    </a:lnTo>
                    <a:close/>
                    <a:moveTo>
                      <a:pt x="1717" y="367"/>
                    </a:moveTo>
                    <a:lnTo>
                      <a:pt x="1714" y="367"/>
                    </a:lnTo>
                    <a:lnTo>
                      <a:pt x="1714" y="369"/>
                    </a:lnTo>
                    <a:lnTo>
                      <a:pt x="1714" y="1058"/>
                    </a:lnTo>
                    <a:lnTo>
                      <a:pt x="1717" y="1058"/>
                    </a:lnTo>
                    <a:lnTo>
                      <a:pt x="1717" y="367"/>
                    </a:lnTo>
                    <a:close/>
                    <a:moveTo>
                      <a:pt x="3956" y="326"/>
                    </a:moveTo>
                    <a:lnTo>
                      <a:pt x="3954" y="326"/>
                    </a:lnTo>
                    <a:lnTo>
                      <a:pt x="3954" y="329"/>
                    </a:lnTo>
                    <a:lnTo>
                      <a:pt x="3954" y="383"/>
                    </a:lnTo>
                    <a:lnTo>
                      <a:pt x="3956" y="383"/>
                    </a:lnTo>
                    <a:lnTo>
                      <a:pt x="3956" y="381"/>
                    </a:lnTo>
                    <a:lnTo>
                      <a:pt x="3956" y="381"/>
                    </a:lnTo>
                    <a:lnTo>
                      <a:pt x="3956" y="326"/>
                    </a:lnTo>
                    <a:close/>
                    <a:moveTo>
                      <a:pt x="4609" y="232"/>
                    </a:moveTo>
                    <a:lnTo>
                      <a:pt x="4609" y="232"/>
                    </a:lnTo>
                    <a:lnTo>
                      <a:pt x="4609" y="234"/>
                    </a:lnTo>
                    <a:lnTo>
                      <a:pt x="4552" y="440"/>
                    </a:lnTo>
                    <a:lnTo>
                      <a:pt x="4552" y="440"/>
                    </a:lnTo>
                    <a:lnTo>
                      <a:pt x="4609" y="232"/>
                    </a:lnTo>
                    <a:close/>
                    <a:moveTo>
                      <a:pt x="4758" y="0"/>
                    </a:moveTo>
                    <a:lnTo>
                      <a:pt x="4758" y="0"/>
                    </a:lnTo>
                    <a:lnTo>
                      <a:pt x="4758" y="2"/>
                    </a:lnTo>
                    <a:lnTo>
                      <a:pt x="4758" y="123"/>
                    </a:lnTo>
                    <a:lnTo>
                      <a:pt x="4758" y="123"/>
                    </a:lnTo>
                    <a:lnTo>
                      <a:pt x="4758" y="120"/>
                    </a:lnTo>
                    <a:lnTo>
                      <a:pt x="4758" y="120"/>
                    </a:lnTo>
                    <a:lnTo>
                      <a:pt x="475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2" name="Freeform 67"/>
              <p:cNvSpPr>
                <a:spLocks noEditPoints="1"/>
              </p:cNvSpPr>
              <p:nvPr/>
            </p:nvSpPr>
            <p:spPr bwMode="auto">
              <a:xfrm>
                <a:off x="68" y="1734"/>
                <a:ext cx="6930" cy="1380"/>
              </a:xfrm>
              <a:custGeom>
                <a:avLst/>
                <a:gdLst>
                  <a:gd name="T0" fmla="*/ 3615 w 6930"/>
                  <a:gd name="T1" fmla="*/ 1243 h 1380"/>
                  <a:gd name="T2" fmla="*/ 5736 w 6930"/>
                  <a:gd name="T3" fmla="*/ 1207 h 1380"/>
                  <a:gd name="T4" fmla="*/ 5736 w 6930"/>
                  <a:gd name="T5" fmla="*/ 1207 h 1380"/>
                  <a:gd name="T6" fmla="*/ 5760 w 6930"/>
                  <a:gd name="T7" fmla="*/ 1183 h 1380"/>
                  <a:gd name="T8" fmla="*/ 5762 w 6930"/>
                  <a:gd name="T9" fmla="*/ 1127 h 1380"/>
                  <a:gd name="T10" fmla="*/ 6226 w 6930"/>
                  <a:gd name="T11" fmla="*/ 1129 h 1380"/>
                  <a:gd name="T12" fmla="*/ 2767 w 6930"/>
                  <a:gd name="T13" fmla="*/ 1063 h 1380"/>
                  <a:gd name="T14" fmla="*/ 2764 w 6930"/>
                  <a:gd name="T15" fmla="*/ 1167 h 1380"/>
                  <a:gd name="T16" fmla="*/ 5836 w 6930"/>
                  <a:gd name="T17" fmla="*/ 1041 h 1380"/>
                  <a:gd name="T18" fmla="*/ 5838 w 6930"/>
                  <a:gd name="T19" fmla="*/ 1056 h 1380"/>
                  <a:gd name="T20" fmla="*/ 2781 w 6930"/>
                  <a:gd name="T21" fmla="*/ 1013 h 1380"/>
                  <a:gd name="T22" fmla="*/ 2783 w 6930"/>
                  <a:gd name="T23" fmla="*/ 1044 h 1380"/>
                  <a:gd name="T24" fmla="*/ 3675 w 6930"/>
                  <a:gd name="T25" fmla="*/ 994 h 1380"/>
                  <a:gd name="T26" fmla="*/ 3677 w 6930"/>
                  <a:gd name="T27" fmla="*/ 1160 h 1380"/>
                  <a:gd name="T28" fmla="*/ 5852 w 6930"/>
                  <a:gd name="T29" fmla="*/ 992 h 1380"/>
                  <a:gd name="T30" fmla="*/ 5855 w 6930"/>
                  <a:gd name="T31" fmla="*/ 1022 h 1380"/>
                  <a:gd name="T32" fmla="*/ 6245 w 6930"/>
                  <a:gd name="T33" fmla="*/ 937 h 1380"/>
                  <a:gd name="T34" fmla="*/ 6247 w 6930"/>
                  <a:gd name="T35" fmla="*/ 1108 h 1380"/>
                  <a:gd name="T36" fmla="*/ 6294 w 6930"/>
                  <a:gd name="T37" fmla="*/ 878 h 1380"/>
                  <a:gd name="T38" fmla="*/ 6294 w 6930"/>
                  <a:gd name="T39" fmla="*/ 885 h 1380"/>
                  <a:gd name="T40" fmla="*/ 6302 w 6930"/>
                  <a:gd name="T41" fmla="*/ 850 h 1380"/>
                  <a:gd name="T42" fmla="*/ 6304 w 6930"/>
                  <a:gd name="T43" fmla="*/ 869 h 1380"/>
                  <a:gd name="T44" fmla="*/ 3005 w 6930"/>
                  <a:gd name="T45" fmla="*/ 762 h 1380"/>
                  <a:gd name="T46" fmla="*/ 3005 w 6930"/>
                  <a:gd name="T47" fmla="*/ 762 h 1380"/>
                  <a:gd name="T48" fmla="*/ 915 w 6930"/>
                  <a:gd name="T49" fmla="*/ 755 h 1380"/>
                  <a:gd name="T50" fmla="*/ 5037 w 6930"/>
                  <a:gd name="T51" fmla="*/ 734 h 1380"/>
                  <a:gd name="T52" fmla="*/ 3046 w 6930"/>
                  <a:gd name="T53" fmla="*/ 656 h 1380"/>
                  <a:gd name="T54" fmla="*/ 3043 w 6930"/>
                  <a:gd name="T55" fmla="*/ 724 h 1380"/>
                  <a:gd name="T56" fmla="*/ 2 w 6930"/>
                  <a:gd name="T57" fmla="*/ 615 h 1380"/>
                  <a:gd name="T58" fmla="*/ 2 w 6930"/>
                  <a:gd name="T59" fmla="*/ 1380 h 1380"/>
                  <a:gd name="T60" fmla="*/ 5157 w 6930"/>
                  <a:gd name="T61" fmla="*/ 611 h 1380"/>
                  <a:gd name="T62" fmla="*/ 3190 w 6930"/>
                  <a:gd name="T63" fmla="*/ 582 h 1380"/>
                  <a:gd name="T64" fmla="*/ 3187 w 6930"/>
                  <a:gd name="T65" fmla="*/ 584 h 1380"/>
                  <a:gd name="T66" fmla="*/ 6930 w 6930"/>
                  <a:gd name="T67" fmla="*/ 509 h 1380"/>
                  <a:gd name="T68" fmla="*/ 6930 w 6930"/>
                  <a:gd name="T69" fmla="*/ 509 h 1380"/>
                  <a:gd name="T70" fmla="*/ 4091 w 6930"/>
                  <a:gd name="T71" fmla="*/ 513 h 1380"/>
                  <a:gd name="T72" fmla="*/ 3204 w 6930"/>
                  <a:gd name="T73" fmla="*/ 502 h 1380"/>
                  <a:gd name="T74" fmla="*/ 3206 w 6930"/>
                  <a:gd name="T75" fmla="*/ 563 h 1380"/>
                  <a:gd name="T76" fmla="*/ 3942 w 6930"/>
                  <a:gd name="T77" fmla="*/ 454 h 1380"/>
                  <a:gd name="T78" fmla="*/ 3859 w 6930"/>
                  <a:gd name="T79" fmla="*/ 644 h 1380"/>
                  <a:gd name="T80" fmla="*/ 3942 w 6930"/>
                  <a:gd name="T81" fmla="*/ 487 h 1380"/>
                  <a:gd name="T82" fmla="*/ 3232 w 6930"/>
                  <a:gd name="T83" fmla="*/ 435 h 1380"/>
                  <a:gd name="T84" fmla="*/ 3235 w 6930"/>
                  <a:gd name="T85" fmla="*/ 471 h 1380"/>
                  <a:gd name="T86" fmla="*/ 3946 w 6930"/>
                  <a:gd name="T87" fmla="*/ 390 h 1380"/>
                  <a:gd name="T88" fmla="*/ 3949 w 6930"/>
                  <a:gd name="T89" fmla="*/ 447 h 1380"/>
                  <a:gd name="T90" fmla="*/ 1714 w 6930"/>
                  <a:gd name="T91" fmla="*/ 367 h 1380"/>
                  <a:gd name="T92" fmla="*/ 1717 w 6930"/>
                  <a:gd name="T93" fmla="*/ 367 h 1380"/>
                  <a:gd name="T94" fmla="*/ 3954 w 6930"/>
                  <a:gd name="T95" fmla="*/ 383 h 1380"/>
                  <a:gd name="T96" fmla="*/ 3956 w 6930"/>
                  <a:gd name="T97" fmla="*/ 326 h 1380"/>
                  <a:gd name="T98" fmla="*/ 4552 w 6930"/>
                  <a:gd name="T99" fmla="*/ 440 h 1380"/>
                  <a:gd name="T100" fmla="*/ 4758 w 6930"/>
                  <a:gd name="T101" fmla="*/ 0 h 1380"/>
                  <a:gd name="T102" fmla="*/ 4758 w 6930"/>
                  <a:gd name="T103" fmla="*/ 120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30" h="1380">
                    <a:moveTo>
                      <a:pt x="3618" y="1221"/>
                    </a:moveTo>
                    <a:lnTo>
                      <a:pt x="3615" y="1221"/>
                    </a:lnTo>
                    <a:lnTo>
                      <a:pt x="3615" y="1224"/>
                    </a:lnTo>
                    <a:lnTo>
                      <a:pt x="3615" y="1243"/>
                    </a:lnTo>
                    <a:lnTo>
                      <a:pt x="3618" y="1243"/>
                    </a:lnTo>
                    <a:lnTo>
                      <a:pt x="3618" y="1221"/>
                    </a:lnTo>
                    <a:moveTo>
                      <a:pt x="5736" y="1207"/>
                    </a:moveTo>
                    <a:lnTo>
                      <a:pt x="5736" y="1207"/>
                    </a:lnTo>
                    <a:lnTo>
                      <a:pt x="5736" y="1210"/>
                    </a:lnTo>
                    <a:lnTo>
                      <a:pt x="5736" y="1252"/>
                    </a:lnTo>
                    <a:lnTo>
                      <a:pt x="5736" y="1252"/>
                    </a:lnTo>
                    <a:lnTo>
                      <a:pt x="5736" y="1207"/>
                    </a:lnTo>
                    <a:moveTo>
                      <a:pt x="5762" y="1127"/>
                    </a:moveTo>
                    <a:lnTo>
                      <a:pt x="5760" y="1127"/>
                    </a:lnTo>
                    <a:lnTo>
                      <a:pt x="5760" y="1129"/>
                    </a:lnTo>
                    <a:lnTo>
                      <a:pt x="5760" y="1183"/>
                    </a:lnTo>
                    <a:lnTo>
                      <a:pt x="5760" y="1183"/>
                    </a:lnTo>
                    <a:lnTo>
                      <a:pt x="5760" y="1181"/>
                    </a:lnTo>
                    <a:lnTo>
                      <a:pt x="5762" y="1181"/>
                    </a:lnTo>
                    <a:lnTo>
                      <a:pt x="5762" y="1127"/>
                    </a:lnTo>
                    <a:moveTo>
                      <a:pt x="6228" y="1127"/>
                    </a:moveTo>
                    <a:lnTo>
                      <a:pt x="6228" y="1127"/>
                    </a:lnTo>
                    <a:lnTo>
                      <a:pt x="6226" y="1127"/>
                    </a:lnTo>
                    <a:lnTo>
                      <a:pt x="6226" y="1129"/>
                    </a:lnTo>
                    <a:lnTo>
                      <a:pt x="6226" y="1136"/>
                    </a:lnTo>
                    <a:lnTo>
                      <a:pt x="6228" y="1136"/>
                    </a:lnTo>
                    <a:lnTo>
                      <a:pt x="6228" y="1127"/>
                    </a:lnTo>
                    <a:moveTo>
                      <a:pt x="2767" y="1063"/>
                    </a:moveTo>
                    <a:lnTo>
                      <a:pt x="2764" y="1063"/>
                    </a:lnTo>
                    <a:lnTo>
                      <a:pt x="2764" y="1063"/>
                    </a:lnTo>
                    <a:lnTo>
                      <a:pt x="2764" y="1063"/>
                    </a:lnTo>
                    <a:lnTo>
                      <a:pt x="2764" y="1167"/>
                    </a:lnTo>
                    <a:lnTo>
                      <a:pt x="2767" y="1167"/>
                    </a:lnTo>
                    <a:lnTo>
                      <a:pt x="2767" y="1063"/>
                    </a:lnTo>
                    <a:moveTo>
                      <a:pt x="5838" y="1041"/>
                    </a:moveTo>
                    <a:lnTo>
                      <a:pt x="5836" y="1041"/>
                    </a:lnTo>
                    <a:lnTo>
                      <a:pt x="5836" y="1041"/>
                    </a:lnTo>
                    <a:lnTo>
                      <a:pt x="5836" y="1044"/>
                    </a:lnTo>
                    <a:lnTo>
                      <a:pt x="5836" y="1056"/>
                    </a:lnTo>
                    <a:lnTo>
                      <a:pt x="5838" y="1056"/>
                    </a:lnTo>
                    <a:lnTo>
                      <a:pt x="5838" y="1041"/>
                    </a:lnTo>
                    <a:moveTo>
                      <a:pt x="2783" y="1011"/>
                    </a:moveTo>
                    <a:lnTo>
                      <a:pt x="2781" y="1013"/>
                    </a:lnTo>
                    <a:lnTo>
                      <a:pt x="2781" y="1013"/>
                    </a:lnTo>
                    <a:lnTo>
                      <a:pt x="2781" y="1046"/>
                    </a:lnTo>
                    <a:lnTo>
                      <a:pt x="2783" y="1046"/>
                    </a:lnTo>
                    <a:lnTo>
                      <a:pt x="2783" y="1044"/>
                    </a:lnTo>
                    <a:lnTo>
                      <a:pt x="2783" y="1044"/>
                    </a:lnTo>
                    <a:lnTo>
                      <a:pt x="2783" y="1011"/>
                    </a:lnTo>
                    <a:moveTo>
                      <a:pt x="3677" y="992"/>
                    </a:moveTo>
                    <a:lnTo>
                      <a:pt x="3675" y="992"/>
                    </a:lnTo>
                    <a:lnTo>
                      <a:pt x="3675" y="994"/>
                    </a:lnTo>
                    <a:lnTo>
                      <a:pt x="3675" y="1162"/>
                    </a:lnTo>
                    <a:lnTo>
                      <a:pt x="3677" y="1162"/>
                    </a:lnTo>
                    <a:lnTo>
                      <a:pt x="3677" y="1160"/>
                    </a:lnTo>
                    <a:lnTo>
                      <a:pt x="3677" y="1160"/>
                    </a:lnTo>
                    <a:lnTo>
                      <a:pt x="3677" y="992"/>
                    </a:lnTo>
                    <a:moveTo>
                      <a:pt x="5855" y="989"/>
                    </a:moveTo>
                    <a:lnTo>
                      <a:pt x="5852" y="989"/>
                    </a:lnTo>
                    <a:lnTo>
                      <a:pt x="5852" y="992"/>
                    </a:lnTo>
                    <a:lnTo>
                      <a:pt x="5852" y="1025"/>
                    </a:lnTo>
                    <a:lnTo>
                      <a:pt x="5855" y="1025"/>
                    </a:lnTo>
                    <a:lnTo>
                      <a:pt x="5855" y="1022"/>
                    </a:lnTo>
                    <a:lnTo>
                      <a:pt x="5855" y="1022"/>
                    </a:lnTo>
                    <a:lnTo>
                      <a:pt x="5855" y="989"/>
                    </a:lnTo>
                    <a:moveTo>
                      <a:pt x="6247" y="935"/>
                    </a:moveTo>
                    <a:lnTo>
                      <a:pt x="6245" y="935"/>
                    </a:lnTo>
                    <a:lnTo>
                      <a:pt x="6245" y="937"/>
                    </a:lnTo>
                    <a:lnTo>
                      <a:pt x="6245" y="1110"/>
                    </a:lnTo>
                    <a:lnTo>
                      <a:pt x="6245" y="1110"/>
                    </a:lnTo>
                    <a:lnTo>
                      <a:pt x="6245" y="1108"/>
                    </a:lnTo>
                    <a:lnTo>
                      <a:pt x="6247" y="1108"/>
                    </a:lnTo>
                    <a:lnTo>
                      <a:pt x="6247" y="935"/>
                    </a:lnTo>
                    <a:moveTo>
                      <a:pt x="6297" y="878"/>
                    </a:moveTo>
                    <a:lnTo>
                      <a:pt x="6294" y="878"/>
                    </a:lnTo>
                    <a:lnTo>
                      <a:pt x="6294" y="878"/>
                    </a:lnTo>
                    <a:lnTo>
                      <a:pt x="6294" y="880"/>
                    </a:lnTo>
                    <a:lnTo>
                      <a:pt x="6294" y="888"/>
                    </a:lnTo>
                    <a:lnTo>
                      <a:pt x="6294" y="888"/>
                    </a:lnTo>
                    <a:lnTo>
                      <a:pt x="6294" y="885"/>
                    </a:lnTo>
                    <a:lnTo>
                      <a:pt x="6297" y="885"/>
                    </a:lnTo>
                    <a:lnTo>
                      <a:pt x="6297" y="878"/>
                    </a:lnTo>
                    <a:moveTo>
                      <a:pt x="6304" y="850"/>
                    </a:moveTo>
                    <a:lnTo>
                      <a:pt x="6302" y="850"/>
                    </a:lnTo>
                    <a:lnTo>
                      <a:pt x="6302" y="852"/>
                    </a:lnTo>
                    <a:lnTo>
                      <a:pt x="6302" y="871"/>
                    </a:lnTo>
                    <a:lnTo>
                      <a:pt x="6304" y="871"/>
                    </a:lnTo>
                    <a:lnTo>
                      <a:pt x="6304" y="869"/>
                    </a:lnTo>
                    <a:lnTo>
                      <a:pt x="6304" y="869"/>
                    </a:lnTo>
                    <a:lnTo>
                      <a:pt x="6304" y="850"/>
                    </a:lnTo>
                    <a:moveTo>
                      <a:pt x="3005" y="762"/>
                    </a:moveTo>
                    <a:lnTo>
                      <a:pt x="3005" y="762"/>
                    </a:lnTo>
                    <a:lnTo>
                      <a:pt x="3005" y="764"/>
                    </a:lnTo>
                    <a:lnTo>
                      <a:pt x="3005" y="906"/>
                    </a:lnTo>
                    <a:lnTo>
                      <a:pt x="3005" y="906"/>
                    </a:lnTo>
                    <a:lnTo>
                      <a:pt x="3005" y="762"/>
                    </a:lnTo>
                    <a:moveTo>
                      <a:pt x="915" y="753"/>
                    </a:moveTo>
                    <a:lnTo>
                      <a:pt x="913" y="753"/>
                    </a:lnTo>
                    <a:lnTo>
                      <a:pt x="913" y="755"/>
                    </a:lnTo>
                    <a:lnTo>
                      <a:pt x="915" y="755"/>
                    </a:lnTo>
                    <a:lnTo>
                      <a:pt x="915" y="753"/>
                    </a:lnTo>
                    <a:moveTo>
                      <a:pt x="5039" y="731"/>
                    </a:moveTo>
                    <a:lnTo>
                      <a:pt x="5037" y="731"/>
                    </a:lnTo>
                    <a:lnTo>
                      <a:pt x="5037" y="734"/>
                    </a:lnTo>
                    <a:lnTo>
                      <a:pt x="5037" y="899"/>
                    </a:lnTo>
                    <a:lnTo>
                      <a:pt x="5039" y="899"/>
                    </a:lnTo>
                    <a:lnTo>
                      <a:pt x="5039" y="731"/>
                    </a:lnTo>
                    <a:moveTo>
                      <a:pt x="3046" y="656"/>
                    </a:moveTo>
                    <a:lnTo>
                      <a:pt x="3043" y="656"/>
                    </a:lnTo>
                    <a:lnTo>
                      <a:pt x="3043" y="658"/>
                    </a:lnTo>
                    <a:lnTo>
                      <a:pt x="3043" y="724"/>
                    </a:lnTo>
                    <a:lnTo>
                      <a:pt x="3043" y="724"/>
                    </a:lnTo>
                    <a:lnTo>
                      <a:pt x="3043" y="724"/>
                    </a:lnTo>
                    <a:lnTo>
                      <a:pt x="3046" y="724"/>
                    </a:lnTo>
                    <a:lnTo>
                      <a:pt x="3046" y="656"/>
                    </a:lnTo>
                    <a:moveTo>
                      <a:pt x="2" y="615"/>
                    </a:moveTo>
                    <a:lnTo>
                      <a:pt x="0" y="615"/>
                    </a:lnTo>
                    <a:lnTo>
                      <a:pt x="0" y="618"/>
                    </a:lnTo>
                    <a:lnTo>
                      <a:pt x="0" y="1380"/>
                    </a:lnTo>
                    <a:lnTo>
                      <a:pt x="2" y="1380"/>
                    </a:lnTo>
                    <a:lnTo>
                      <a:pt x="2" y="615"/>
                    </a:lnTo>
                    <a:moveTo>
                      <a:pt x="5159" y="608"/>
                    </a:moveTo>
                    <a:lnTo>
                      <a:pt x="5157" y="608"/>
                    </a:lnTo>
                    <a:lnTo>
                      <a:pt x="5157" y="611"/>
                    </a:lnTo>
                    <a:lnTo>
                      <a:pt x="5157" y="658"/>
                    </a:lnTo>
                    <a:lnTo>
                      <a:pt x="5159" y="658"/>
                    </a:lnTo>
                    <a:lnTo>
                      <a:pt x="5159" y="608"/>
                    </a:lnTo>
                    <a:moveTo>
                      <a:pt x="3190" y="582"/>
                    </a:moveTo>
                    <a:lnTo>
                      <a:pt x="3187" y="582"/>
                    </a:lnTo>
                    <a:lnTo>
                      <a:pt x="3187" y="582"/>
                    </a:lnTo>
                    <a:lnTo>
                      <a:pt x="3187" y="582"/>
                    </a:lnTo>
                    <a:lnTo>
                      <a:pt x="3187" y="584"/>
                    </a:lnTo>
                    <a:lnTo>
                      <a:pt x="3190" y="584"/>
                    </a:lnTo>
                    <a:lnTo>
                      <a:pt x="3190" y="582"/>
                    </a:lnTo>
                    <a:moveTo>
                      <a:pt x="6930" y="509"/>
                    </a:moveTo>
                    <a:lnTo>
                      <a:pt x="6930" y="509"/>
                    </a:lnTo>
                    <a:lnTo>
                      <a:pt x="6930" y="511"/>
                    </a:lnTo>
                    <a:lnTo>
                      <a:pt x="6930" y="1020"/>
                    </a:lnTo>
                    <a:lnTo>
                      <a:pt x="6930" y="1020"/>
                    </a:lnTo>
                    <a:lnTo>
                      <a:pt x="6930" y="509"/>
                    </a:lnTo>
                    <a:moveTo>
                      <a:pt x="4100" y="502"/>
                    </a:moveTo>
                    <a:lnTo>
                      <a:pt x="4100" y="502"/>
                    </a:lnTo>
                    <a:lnTo>
                      <a:pt x="4098" y="504"/>
                    </a:lnTo>
                    <a:lnTo>
                      <a:pt x="4091" y="513"/>
                    </a:lnTo>
                    <a:lnTo>
                      <a:pt x="4091" y="513"/>
                    </a:lnTo>
                    <a:lnTo>
                      <a:pt x="4100" y="502"/>
                    </a:lnTo>
                    <a:moveTo>
                      <a:pt x="3206" y="502"/>
                    </a:moveTo>
                    <a:lnTo>
                      <a:pt x="3204" y="502"/>
                    </a:lnTo>
                    <a:lnTo>
                      <a:pt x="3204" y="502"/>
                    </a:lnTo>
                    <a:lnTo>
                      <a:pt x="3204" y="566"/>
                    </a:lnTo>
                    <a:lnTo>
                      <a:pt x="3206" y="566"/>
                    </a:lnTo>
                    <a:lnTo>
                      <a:pt x="3206" y="563"/>
                    </a:lnTo>
                    <a:lnTo>
                      <a:pt x="3206" y="563"/>
                    </a:lnTo>
                    <a:lnTo>
                      <a:pt x="3206" y="502"/>
                    </a:lnTo>
                    <a:moveTo>
                      <a:pt x="3942" y="454"/>
                    </a:moveTo>
                    <a:lnTo>
                      <a:pt x="3942" y="454"/>
                    </a:lnTo>
                    <a:lnTo>
                      <a:pt x="3942" y="454"/>
                    </a:lnTo>
                    <a:lnTo>
                      <a:pt x="3942" y="457"/>
                    </a:lnTo>
                    <a:lnTo>
                      <a:pt x="3942" y="490"/>
                    </a:lnTo>
                    <a:lnTo>
                      <a:pt x="3859" y="644"/>
                    </a:lnTo>
                    <a:lnTo>
                      <a:pt x="3859" y="854"/>
                    </a:lnTo>
                    <a:lnTo>
                      <a:pt x="3861" y="854"/>
                    </a:lnTo>
                    <a:lnTo>
                      <a:pt x="3861" y="641"/>
                    </a:lnTo>
                    <a:lnTo>
                      <a:pt x="3942" y="487"/>
                    </a:lnTo>
                    <a:lnTo>
                      <a:pt x="3942" y="454"/>
                    </a:lnTo>
                    <a:moveTo>
                      <a:pt x="3235" y="433"/>
                    </a:moveTo>
                    <a:lnTo>
                      <a:pt x="3232" y="433"/>
                    </a:lnTo>
                    <a:lnTo>
                      <a:pt x="3232" y="435"/>
                    </a:lnTo>
                    <a:lnTo>
                      <a:pt x="3232" y="473"/>
                    </a:lnTo>
                    <a:lnTo>
                      <a:pt x="3235" y="473"/>
                    </a:lnTo>
                    <a:lnTo>
                      <a:pt x="3235" y="471"/>
                    </a:lnTo>
                    <a:lnTo>
                      <a:pt x="3235" y="471"/>
                    </a:lnTo>
                    <a:lnTo>
                      <a:pt x="3235" y="433"/>
                    </a:lnTo>
                    <a:moveTo>
                      <a:pt x="3949" y="390"/>
                    </a:moveTo>
                    <a:lnTo>
                      <a:pt x="3946" y="390"/>
                    </a:lnTo>
                    <a:lnTo>
                      <a:pt x="3946" y="390"/>
                    </a:lnTo>
                    <a:lnTo>
                      <a:pt x="3946" y="393"/>
                    </a:lnTo>
                    <a:lnTo>
                      <a:pt x="3946" y="447"/>
                    </a:lnTo>
                    <a:lnTo>
                      <a:pt x="3949" y="447"/>
                    </a:lnTo>
                    <a:lnTo>
                      <a:pt x="3949" y="447"/>
                    </a:lnTo>
                    <a:lnTo>
                      <a:pt x="3949" y="447"/>
                    </a:lnTo>
                    <a:lnTo>
                      <a:pt x="3949" y="390"/>
                    </a:lnTo>
                    <a:moveTo>
                      <a:pt x="1717" y="367"/>
                    </a:moveTo>
                    <a:lnTo>
                      <a:pt x="1714" y="367"/>
                    </a:lnTo>
                    <a:lnTo>
                      <a:pt x="1714" y="369"/>
                    </a:lnTo>
                    <a:lnTo>
                      <a:pt x="1714" y="1058"/>
                    </a:lnTo>
                    <a:lnTo>
                      <a:pt x="1717" y="1058"/>
                    </a:lnTo>
                    <a:lnTo>
                      <a:pt x="1717" y="367"/>
                    </a:lnTo>
                    <a:moveTo>
                      <a:pt x="3956" y="326"/>
                    </a:moveTo>
                    <a:lnTo>
                      <a:pt x="3954" y="326"/>
                    </a:lnTo>
                    <a:lnTo>
                      <a:pt x="3954" y="329"/>
                    </a:lnTo>
                    <a:lnTo>
                      <a:pt x="3954" y="383"/>
                    </a:lnTo>
                    <a:lnTo>
                      <a:pt x="3956" y="383"/>
                    </a:lnTo>
                    <a:lnTo>
                      <a:pt x="3956" y="381"/>
                    </a:lnTo>
                    <a:lnTo>
                      <a:pt x="3956" y="381"/>
                    </a:lnTo>
                    <a:lnTo>
                      <a:pt x="3956" y="326"/>
                    </a:lnTo>
                    <a:moveTo>
                      <a:pt x="4609" y="232"/>
                    </a:moveTo>
                    <a:lnTo>
                      <a:pt x="4609" y="232"/>
                    </a:lnTo>
                    <a:lnTo>
                      <a:pt x="4609" y="234"/>
                    </a:lnTo>
                    <a:lnTo>
                      <a:pt x="4552" y="440"/>
                    </a:lnTo>
                    <a:lnTo>
                      <a:pt x="4552" y="440"/>
                    </a:lnTo>
                    <a:lnTo>
                      <a:pt x="4609" y="232"/>
                    </a:lnTo>
                    <a:moveTo>
                      <a:pt x="4758" y="0"/>
                    </a:moveTo>
                    <a:lnTo>
                      <a:pt x="4758" y="0"/>
                    </a:lnTo>
                    <a:lnTo>
                      <a:pt x="4758" y="2"/>
                    </a:lnTo>
                    <a:lnTo>
                      <a:pt x="4758" y="123"/>
                    </a:lnTo>
                    <a:lnTo>
                      <a:pt x="4758" y="123"/>
                    </a:lnTo>
                    <a:lnTo>
                      <a:pt x="4758" y="120"/>
                    </a:lnTo>
                    <a:lnTo>
                      <a:pt x="4758" y="120"/>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3" name="Freeform 68"/>
              <p:cNvSpPr>
                <a:spLocks noEditPoints="1"/>
              </p:cNvSpPr>
              <p:nvPr/>
            </p:nvSpPr>
            <p:spPr bwMode="auto">
              <a:xfrm>
                <a:off x="70" y="1731"/>
                <a:ext cx="6931" cy="1383"/>
              </a:xfrm>
              <a:custGeom>
                <a:avLst/>
                <a:gdLst>
                  <a:gd name="T0" fmla="*/ 3616 w 6931"/>
                  <a:gd name="T1" fmla="*/ 1246 h 1383"/>
                  <a:gd name="T2" fmla="*/ 5737 w 6931"/>
                  <a:gd name="T3" fmla="*/ 1210 h 1383"/>
                  <a:gd name="T4" fmla="*/ 5737 w 6931"/>
                  <a:gd name="T5" fmla="*/ 1255 h 1383"/>
                  <a:gd name="T6" fmla="*/ 5760 w 6931"/>
                  <a:gd name="T7" fmla="*/ 1130 h 1383"/>
                  <a:gd name="T8" fmla="*/ 5763 w 6931"/>
                  <a:gd name="T9" fmla="*/ 1184 h 1383"/>
                  <a:gd name="T10" fmla="*/ 6226 w 6931"/>
                  <a:gd name="T11" fmla="*/ 1130 h 1383"/>
                  <a:gd name="T12" fmla="*/ 6229 w 6931"/>
                  <a:gd name="T13" fmla="*/ 1130 h 1383"/>
                  <a:gd name="T14" fmla="*/ 2765 w 6931"/>
                  <a:gd name="T15" fmla="*/ 1066 h 1383"/>
                  <a:gd name="T16" fmla="*/ 5836 w 6931"/>
                  <a:gd name="T17" fmla="*/ 1042 h 1383"/>
                  <a:gd name="T18" fmla="*/ 5836 w 6931"/>
                  <a:gd name="T19" fmla="*/ 1059 h 1383"/>
                  <a:gd name="T20" fmla="*/ 2781 w 6931"/>
                  <a:gd name="T21" fmla="*/ 1014 h 1383"/>
                  <a:gd name="T22" fmla="*/ 2784 w 6931"/>
                  <a:gd name="T23" fmla="*/ 1044 h 1383"/>
                  <a:gd name="T24" fmla="*/ 3675 w 6931"/>
                  <a:gd name="T25" fmla="*/ 995 h 1383"/>
                  <a:gd name="T26" fmla="*/ 3677 w 6931"/>
                  <a:gd name="T27" fmla="*/ 1160 h 1383"/>
                  <a:gd name="T28" fmla="*/ 5853 w 6931"/>
                  <a:gd name="T29" fmla="*/ 990 h 1383"/>
                  <a:gd name="T30" fmla="*/ 5853 w 6931"/>
                  <a:gd name="T31" fmla="*/ 1023 h 1383"/>
                  <a:gd name="T32" fmla="*/ 6245 w 6931"/>
                  <a:gd name="T33" fmla="*/ 936 h 1383"/>
                  <a:gd name="T34" fmla="*/ 6245 w 6931"/>
                  <a:gd name="T35" fmla="*/ 1111 h 1383"/>
                  <a:gd name="T36" fmla="*/ 6295 w 6931"/>
                  <a:gd name="T37" fmla="*/ 879 h 1383"/>
                  <a:gd name="T38" fmla="*/ 6295 w 6931"/>
                  <a:gd name="T39" fmla="*/ 888 h 1383"/>
                  <a:gd name="T40" fmla="*/ 6304 w 6931"/>
                  <a:gd name="T41" fmla="*/ 850 h 1383"/>
                  <a:gd name="T42" fmla="*/ 6302 w 6931"/>
                  <a:gd name="T43" fmla="*/ 872 h 1383"/>
                  <a:gd name="T44" fmla="*/ 3006 w 6931"/>
                  <a:gd name="T45" fmla="*/ 763 h 1383"/>
                  <a:gd name="T46" fmla="*/ 3006 w 6931"/>
                  <a:gd name="T47" fmla="*/ 909 h 1383"/>
                  <a:gd name="T48" fmla="*/ 913 w 6931"/>
                  <a:gd name="T49" fmla="*/ 756 h 1383"/>
                  <a:gd name="T50" fmla="*/ 5037 w 6931"/>
                  <a:gd name="T51" fmla="*/ 732 h 1383"/>
                  <a:gd name="T52" fmla="*/ 5037 w 6931"/>
                  <a:gd name="T53" fmla="*/ 902 h 1383"/>
                  <a:gd name="T54" fmla="*/ 3044 w 6931"/>
                  <a:gd name="T55" fmla="*/ 659 h 1383"/>
                  <a:gd name="T56" fmla="*/ 3044 w 6931"/>
                  <a:gd name="T57" fmla="*/ 725 h 1383"/>
                  <a:gd name="T58" fmla="*/ 0 w 6931"/>
                  <a:gd name="T59" fmla="*/ 618 h 1383"/>
                  <a:gd name="T60" fmla="*/ 5160 w 6931"/>
                  <a:gd name="T61" fmla="*/ 609 h 1383"/>
                  <a:gd name="T62" fmla="*/ 5160 w 6931"/>
                  <a:gd name="T63" fmla="*/ 661 h 1383"/>
                  <a:gd name="T64" fmla="*/ 3188 w 6931"/>
                  <a:gd name="T65" fmla="*/ 583 h 1383"/>
                  <a:gd name="T66" fmla="*/ 3188 w 6931"/>
                  <a:gd name="T67" fmla="*/ 583 h 1383"/>
                  <a:gd name="T68" fmla="*/ 6928 w 6931"/>
                  <a:gd name="T69" fmla="*/ 1023 h 1383"/>
                  <a:gd name="T70" fmla="*/ 4098 w 6931"/>
                  <a:gd name="T71" fmla="*/ 505 h 1383"/>
                  <a:gd name="T72" fmla="*/ 4101 w 6931"/>
                  <a:gd name="T73" fmla="*/ 505 h 1383"/>
                  <a:gd name="T74" fmla="*/ 3204 w 6931"/>
                  <a:gd name="T75" fmla="*/ 566 h 1383"/>
                  <a:gd name="T76" fmla="*/ 3207 w 6931"/>
                  <a:gd name="T77" fmla="*/ 502 h 1383"/>
                  <a:gd name="T78" fmla="*/ 3940 w 6931"/>
                  <a:gd name="T79" fmla="*/ 457 h 1383"/>
                  <a:gd name="T80" fmla="*/ 3862 w 6931"/>
                  <a:gd name="T81" fmla="*/ 857 h 1383"/>
                  <a:gd name="T82" fmla="*/ 3235 w 6931"/>
                  <a:gd name="T83" fmla="*/ 434 h 1383"/>
                  <a:gd name="T84" fmla="*/ 3233 w 6931"/>
                  <a:gd name="T85" fmla="*/ 474 h 1383"/>
                  <a:gd name="T86" fmla="*/ 3949 w 6931"/>
                  <a:gd name="T87" fmla="*/ 391 h 1383"/>
                  <a:gd name="T88" fmla="*/ 3947 w 6931"/>
                  <a:gd name="T89" fmla="*/ 450 h 1383"/>
                  <a:gd name="T90" fmla="*/ 3949 w 6931"/>
                  <a:gd name="T91" fmla="*/ 391 h 1383"/>
                  <a:gd name="T92" fmla="*/ 1715 w 6931"/>
                  <a:gd name="T93" fmla="*/ 1061 h 1383"/>
                  <a:gd name="T94" fmla="*/ 3954 w 6931"/>
                  <a:gd name="T95" fmla="*/ 327 h 1383"/>
                  <a:gd name="T96" fmla="*/ 3956 w 6931"/>
                  <a:gd name="T97" fmla="*/ 381 h 1383"/>
                  <a:gd name="T98" fmla="*/ 4609 w 6931"/>
                  <a:gd name="T99" fmla="*/ 232 h 1383"/>
                  <a:gd name="T100" fmla="*/ 4609 w 6931"/>
                  <a:gd name="T101" fmla="*/ 232 h 1383"/>
                  <a:gd name="T102" fmla="*/ 4756 w 6931"/>
                  <a:gd name="T103" fmla="*/ 123 h 1383"/>
                  <a:gd name="T104" fmla="*/ 4758 w 6931"/>
                  <a:gd name="T105" fmla="*/ 0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31" h="1383">
                    <a:moveTo>
                      <a:pt x="3616" y="1222"/>
                    </a:moveTo>
                    <a:lnTo>
                      <a:pt x="3616" y="1222"/>
                    </a:lnTo>
                    <a:lnTo>
                      <a:pt x="3616" y="1224"/>
                    </a:lnTo>
                    <a:lnTo>
                      <a:pt x="3616" y="1246"/>
                    </a:lnTo>
                    <a:lnTo>
                      <a:pt x="3616" y="1246"/>
                    </a:lnTo>
                    <a:lnTo>
                      <a:pt x="3616" y="1222"/>
                    </a:lnTo>
                    <a:close/>
                    <a:moveTo>
                      <a:pt x="5737" y="1210"/>
                    </a:moveTo>
                    <a:lnTo>
                      <a:pt x="5737" y="1210"/>
                    </a:lnTo>
                    <a:lnTo>
                      <a:pt x="5734" y="1210"/>
                    </a:lnTo>
                    <a:lnTo>
                      <a:pt x="5734" y="1210"/>
                    </a:lnTo>
                    <a:lnTo>
                      <a:pt x="5734" y="1255"/>
                    </a:lnTo>
                    <a:lnTo>
                      <a:pt x="5737" y="1255"/>
                    </a:lnTo>
                    <a:lnTo>
                      <a:pt x="5737" y="1210"/>
                    </a:lnTo>
                    <a:close/>
                    <a:moveTo>
                      <a:pt x="5763" y="1130"/>
                    </a:moveTo>
                    <a:lnTo>
                      <a:pt x="5760" y="1130"/>
                    </a:lnTo>
                    <a:lnTo>
                      <a:pt x="5760" y="1130"/>
                    </a:lnTo>
                    <a:lnTo>
                      <a:pt x="5760" y="1184"/>
                    </a:lnTo>
                    <a:lnTo>
                      <a:pt x="5760" y="1184"/>
                    </a:lnTo>
                    <a:lnTo>
                      <a:pt x="5760" y="1184"/>
                    </a:lnTo>
                    <a:lnTo>
                      <a:pt x="5763" y="1184"/>
                    </a:lnTo>
                    <a:lnTo>
                      <a:pt x="5763" y="1130"/>
                    </a:lnTo>
                    <a:close/>
                    <a:moveTo>
                      <a:pt x="6229" y="1130"/>
                    </a:moveTo>
                    <a:lnTo>
                      <a:pt x="6226" y="1130"/>
                    </a:lnTo>
                    <a:lnTo>
                      <a:pt x="6226" y="1130"/>
                    </a:lnTo>
                    <a:lnTo>
                      <a:pt x="6226" y="1130"/>
                    </a:lnTo>
                    <a:lnTo>
                      <a:pt x="6226" y="1139"/>
                    </a:lnTo>
                    <a:lnTo>
                      <a:pt x="6229" y="1139"/>
                    </a:lnTo>
                    <a:lnTo>
                      <a:pt x="6229" y="1130"/>
                    </a:lnTo>
                    <a:close/>
                    <a:moveTo>
                      <a:pt x="2767" y="1063"/>
                    </a:moveTo>
                    <a:lnTo>
                      <a:pt x="2765" y="1063"/>
                    </a:lnTo>
                    <a:lnTo>
                      <a:pt x="2765" y="1063"/>
                    </a:lnTo>
                    <a:lnTo>
                      <a:pt x="2765" y="1066"/>
                    </a:lnTo>
                    <a:lnTo>
                      <a:pt x="2765" y="1170"/>
                    </a:lnTo>
                    <a:lnTo>
                      <a:pt x="2767" y="1170"/>
                    </a:lnTo>
                    <a:lnTo>
                      <a:pt x="2767" y="1063"/>
                    </a:lnTo>
                    <a:close/>
                    <a:moveTo>
                      <a:pt x="5836" y="1042"/>
                    </a:moveTo>
                    <a:lnTo>
                      <a:pt x="5836" y="1042"/>
                    </a:lnTo>
                    <a:lnTo>
                      <a:pt x="5836" y="1042"/>
                    </a:lnTo>
                    <a:lnTo>
                      <a:pt x="5836" y="1044"/>
                    </a:lnTo>
                    <a:lnTo>
                      <a:pt x="5836" y="1059"/>
                    </a:lnTo>
                    <a:lnTo>
                      <a:pt x="5836" y="1059"/>
                    </a:lnTo>
                    <a:lnTo>
                      <a:pt x="5836" y="1042"/>
                    </a:lnTo>
                    <a:close/>
                    <a:moveTo>
                      <a:pt x="2784" y="1011"/>
                    </a:moveTo>
                    <a:lnTo>
                      <a:pt x="2781" y="1014"/>
                    </a:lnTo>
                    <a:lnTo>
                      <a:pt x="2781" y="1014"/>
                    </a:lnTo>
                    <a:lnTo>
                      <a:pt x="2781" y="1047"/>
                    </a:lnTo>
                    <a:lnTo>
                      <a:pt x="2784" y="1047"/>
                    </a:lnTo>
                    <a:lnTo>
                      <a:pt x="2784" y="1044"/>
                    </a:lnTo>
                    <a:lnTo>
                      <a:pt x="2784" y="1044"/>
                    </a:lnTo>
                    <a:lnTo>
                      <a:pt x="2784" y="1011"/>
                    </a:lnTo>
                    <a:close/>
                    <a:moveTo>
                      <a:pt x="3677" y="995"/>
                    </a:moveTo>
                    <a:lnTo>
                      <a:pt x="3675" y="995"/>
                    </a:lnTo>
                    <a:lnTo>
                      <a:pt x="3675" y="995"/>
                    </a:lnTo>
                    <a:lnTo>
                      <a:pt x="3675" y="1163"/>
                    </a:lnTo>
                    <a:lnTo>
                      <a:pt x="3677" y="1163"/>
                    </a:lnTo>
                    <a:lnTo>
                      <a:pt x="3677" y="1160"/>
                    </a:lnTo>
                    <a:lnTo>
                      <a:pt x="3677" y="1160"/>
                    </a:lnTo>
                    <a:lnTo>
                      <a:pt x="3677" y="995"/>
                    </a:lnTo>
                    <a:close/>
                    <a:moveTo>
                      <a:pt x="5855" y="990"/>
                    </a:moveTo>
                    <a:lnTo>
                      <a:pt x="5853" y="990"/>
                    </a:lnTo>
                    <a:lnTo>
                      <a:pt x="5853" y="992"/>
                    </a:lnTo>
                    <a:lnTo>
                      <a:pt x="5853" y="1025"/>
                    </a:lnTo>
                    <a:lnTo>
                      <a:pt x="5853" y="1025"/>
                    </a:lnTo>
                    <a:lnTo>
                      <a:pt x="5853" y="1023"/>
                    </a:lnTo>
                    <a:lnTo>
                      <a:pt x="5855" y="1023"/>
                    </a:lnTo>
                    <a:lnTo>
                      <a:pt x="5855" y="990"/>
                    </a:lnTo>
                    <a:close/>
                    <a:moveTo>
                      <a:pt x="6245" y="936"/>
                    </a:moveTo>
                    <a:lnTo>
                      <a:pt x="6245" y="936"/>
                    </a:lnTo>
                    <a:lnTo>
                      <a:pt x="6245" y="938"/>
                    </a:lnTo>
                    <a:lnTo>
                      <a:pt x="6245" y="1111"/>
                    </a:lnTo>
                    <a:lnTo>
                      <a:pt x="6245" y="1111"/>
                    </a:lnTo>
                    <a:lnTo>
                      <a:pt x="6245" y="1111"/>
                    </a:lnTo>
                    <a:lnTo>
                      <a:pt x="6245" y="1111"/>
                    </a:lnTo>
                    <a:lnTo>
                      <a:pt x="6245" y="936"/>
                    </a:lnTo>
                    <a:close/>
                    <a:moveTo>
                      <a:pt x="6295" y="879"/>
                    </a:moveTo>
                    <a:lnTo>
                      <a:pt x="6295" y="879"/>
                    </a:lnTo>
                    <a:lnTo>
                      <a:pt x="6295" y="879"/>
                    </a:lnTo>
                    <a:lnTo>
                      <a:pt x="6295" y="881"/>
                    </a:lnTo>
                    <a:lnTo>
                      <a:pt x="6295" y="888"/>
                    </a:lnTo>
                    <a:lnTo>
                      <a:pt x="6295" y="888"/>
                    </a:lnTo>
                    <a:lnTo>
                      <a:pt x="6295" y="886"/>
                    </a:lnTo>
                    <a:lnTo>
                      <a:pt x="6295" y="886"/>
                    </a:lnTo>
                    <a:lnTo>
                      <a:pt x="6295" y="879"/>
                    </a:lnTo>
                    <a:close/>
                    <a:moveTo>
                      <a:pt x="6304" y="850"/>
                    </a:moveTo>
                    <a:lnTo>
                      <a:pt x="6302" y="850"/>
                    </a:lnTo>
                    <a:lnTo>
                      <a:pt x="6302" y="853"/>
                    </a:lnTo>
                    <a:lnTo>
                      <a:pt x="6302" y="872"/>
                    </a:lnTo>
                    <a:lnTo>
                      <a:pt x="6302" y="872"/>
                    </a:lnTo>
                    <a:lnTo>
                      <a:pt x="6302" y="869"/>
                    </a:lnTo>
                    <a:lnTo>
                      <a:pt x="6304" y="869"/>
                    </a:lnTo>
                    <a:lnTo>
                      <a:pt x="6304" y="850"/>
                    </a:lnTo>
                    <a:close/>
                    <a:moveTo>
                      <a:pt x="3006" y="763"/>
                    </a:moveTo>
                    <a:lnTo>
                      <a:pt x="3003" y="763"/>
                    </a:lnTo>
                    <a:lnTo>
                      <a:pt x="3003" y="765"/>
                    </a:lnTo>
                    <a:lnTo>
                      <a:pt x="3003" y="909"/>
                    </a:lnTo>
                    <a:lnTo>
                      <a:pt x="3006" y="909"/>
                    </a:lnTo>
                    <a:lnTo>
                      <a:pt x="3006" y="763"/>
                    </a:lnTo>
                    <a:close/>
                    <a:moveTo>
                      <a:pt x="916" y="753"/>
                    </a:moveTo>
                    <a:lnTo>
                      <a:pt x="913" y="753"/>
                    </a:lnTo>
                    <a:lnTo>
                      <a:pt x="913" y="756"/>
                    </a:lnTo>
                    <a:lnTo>
                      <a:pt x="913" y="758"/>
                    </a:lnTo>
                    <a:lnTo>
                      <a:pt x="916" y="758"/>
                    </a:lnTo>
                    <a:lnTo>
                      <a:pt x="916" y="753"/>
                    </a:lnTo>
                    <a:close/>
                    <a:moveTo>
                      <a:pt x="5037" y="732"/>
                    </a:moveTo>
                    <a:lnTo>
                      <a:pt x="5037" y="732"/>
                    </a:lnTo>
                    <a:lnTo>
                      <a:pt x="5037" y="734"/>
                    </a:lnTo>
                    <a:lnTo>
                      <a:pt x="5037" y="902"/>
                    </a:lnTo>
                    <a:lnTo>
                      <a:pt x="5037" y="902"/>
                    </a:lnTo>
                    <a:lnTo>
                      <a:pt x="5037" y="732"/>
                    </a:lnTo>
                    <a:close/>
                    <a:moveTo>
                      <a:pt x="3044" y="659"/>
                    </a:moveTo>
                    <a:lnTo>
                      <a:pt x="3044" y="659"/>
                    </a:lnTo>
                    <a:lnTo>
                      <a:pt x="3044" y="659"/>
                    </a:lnTo>
                    <a:lnTo>
                      <a:pt x="3044" y="727"/>
                    </a:lnTo>
                    <a:lnTo>
                      <a:pt x="3044" y="727"/>
                    </a:lnTo>
                    <a:lnTo>
                      <a:pt x="3044" y="725"/>
                    </a:lnTo>
                    <a:lnTo>
                      <a:pt x="3044" y="725"/>
                    </a:lnTo>
                    <a:lnTo>
                      <a:pt x="3044" y="659"/>
                    </a:lnTo>
                    <a:close/>
                    <a:moveTo>
                      <a:pt x="3" y="616"/>
                    </a:moveTo>
                    <a:lnTo>
                      <a:pt x="0" y="616"/>
                    </a:lnTo>
                    <a:lnTo>
                      <a:pt x="0" y="618"/>
                    </a:lnTo>
                    <a:lnTo>
                      <a:pt x="0" y="1383"/>
                    </a:lnTo>
                    <a:lnTo>
                      <a:pt x="3" y="1383"/>
                    </a:lnTo>
                    <a:lnTo>
                      <a:pt x="3" y="616"/>
                    </a:lnTo>
                    <a:close/>
                    <a:moveTo>
                      <a:pt x="5160" y="609"/>
                    </a:moveTo>
                    <a:lnTo>
                      <a:pt x="5157" y="609"/>
                    </a:lnTo>
                    <a:lnTo>
                      <a:pt x="5157" y="611"/>
                    </a:lnTo>
                    <a:lnTo>
                      <a:pt x="5157" y="661"/>
                    </a:lnTo>
                    <a:lnTo>
                      <a:pt x="5160" y="661"/>
                    </a:lnTo>
                    <a:lnTo>
                      <a:pt x="5160" y="609"/>
                    </a:lnTo>
                    <a:close/>
                    <a:moveTo>
                      <a:pt x="3188" y="583"/>
                    </a:moveTo>
                    <a:lnTo>
                      <a:pt x="3188" y="583"/>
                    </a:lnTo>
                    <a:lnTo>
                      <a:pt x="3188" y="583"/>
                    </a:lnTo>
                    <a:lnTo>
                      <a:pt x="3188" y="585"/>
                    </a:lnTo>
                    <a:lnTo>
                      <a:pt x="3188" y="587"/>
                    </a:lnTo>
                    <a:lnTo>
                      <a:pt x="3188" y="587"/>
                    </a:lnTo>
                    <a:lnTo>
                      <a:pt x="3188" y="583"/>
                    </a:lnTo>
                    <a:close/>
                    <a:moveTo>
                      <a:pt x="6931" y="509"/>
                    </a:moveTo>
                    <a:lnTo>
                      <a:pt x="6928" y="509"/>
                    </a:lnTo>
                    <a:lnTo>
                      <a:pt x="6928" y="512"/>
                    </a:lnTo>
                    <a:lnTo>
                      <a:pt x="6928" y="1023"/>
                    </a:lnTo>
                    <a:lnTo>
                      <a:pt x="6931" y="1023"/>
                    </a:lnTo>
                    <a:lnTo>
                      <a:pt x="6931" y="509"/>
                    </a:lnTo>
                    <a:close/>
                    <a:moveTo>
                      <a:pt x="4101" y="505"/>
                    </a:moveTo>
                    <a:lnTo>
                      <a:pt x="4098" y="505"/>
                    </a:lnTo>
                    <a:lnTo>
                      <a:pt x="4098" y="505"/>
                    </a:lnTo>
                    <a:lnTo>
                      <a:pt x="4089" y="516"/>
                    </a:lnTo>
                    <a:lnTo>
                      <a:pt x="4089" y="516"/>
                    </a:lnTo>
                    <a:lnTo>
                      <a:pt x="4101" y="505"/>
                    </a:lnTo>
                    <a:close/>
                    <a:moveTo>
                      <a:pt x="3207" y="502"/>
                    </a:moveTo>
                    <a:lnTo>
                      <a:pt x="3204" y="502"/>
                    </a:lnTo>
                    <a:lnTo>
                      <a:pt x="3204" y="505"/>
                    </a:lnTo>
                    <a:lnTo>
                      <a:pt x="3204" y="566"/>
                    </a:lnTo>
                    <a:lnTo>
                      <a:pt x="3204" y="566"/>
                    </a:lnTo>
                    <a:lnTo>
                      <a:pt x="3204" y="564"/>
                    </a:lnTo>
                    <a:lnTo>
                      <a:pt x="3207" y="564"/>
                    </a:lnTo>
                    <a:lnTo>
                      <a:pt x="3207" y="502"/>
                    </a:lnTo>
                    <a:close/>
                    <a:moveTo>
                      <a:pt x="3942" y="455"/>
                    </a:moveTo>
                    <a:lnTo>
                      <a:pt x="3940" y="455"/>
                    </a:lnTo>
                    <a:lnTo>
                      <a:pt x="3940" y="455"/>
                    </a:lnTo>
                    <a:lnTo>
                      <a:pt x="3940" y="457"/>
                    </a:lnTo>
                    <a:lnTo>
                      <a:pt x="3940" y="490"/>
                    </a:lnTo>
                    <a:lnTo>
                      <a:pt x="3859" y="644"/>
                    </a:lnTo>
                    <a:lnTo>
                      <a:pt x="3859" y="857"/>
                    </a:lnTo>
                    <a:lnTo>
                      <a:pt x="3862" y="857"/>
                    </a:lnTo>
                    <a:lnTo>
                      <a:pt x="3862" y="642"/>
                    </a:lnTo>
                    <a:lnTo>
                      <a:pt x="3942" y="490"/>
                    </a:lnTo>
                    <a:lnTo>
                      <a:pt x="3942" y="455"/>
                    </a:lnTo>
                    <a:close/>
                    <a:moveTo>
                      <a:pt x="3235" y="434"/>
                    </a:moveTo>
                    <a:lnTo>
                      <a:pt x="3233" y="434"/>
                    </a:lnTo>
                    <a:lnTo>
                      <a:pt x="3233" y="436"/>
                    </a:lnTo>
                    <a:lnTo>
                      <a:pt x="3233" y="474"/>
                    </a:lnTo>
                    <a:lnTo>
                      <a:pt x="3233" y="474"/>
                    </a:lnTo>
                    <a:lnTo>
                      <a:pt x="3233" y="471"/>
                    </a:lnTo>
                    <a:lnTo>
                      <a:pt x="3235" y="471"/>
                    </a:lnTo>
                    <a:lnTo>
                      <a:pt x="3235" y="434"/>
                    </a:lnTo>
                    <a:close/>
                    <a:moveTo>
                      <a:pt x="3949" y="391"/>
                    </a:moveTo>
                    <a:lnTo>
                      <a:pt x="3947" y="391"/>
                    </a:lnTo>
                    <a:lnTo>
                      <a:pt x="3947" y="391"/>
                    </a:lnTo>
                    <a:lnTo>
                      <a:pt x="3947" y="393"/>
                    </a:lnTo>
                    <a:lnTo>
                      <a:pt x="3947" y="450"/>
                    </a:lnTo>
                    <a:lnTo>
                      <a:pt x="3949" y="450"/>
                    </a:lnTo>
                    <a:lnTo>
                      <a:pt x="3949" y="448"/>
                    </a:lnTo>
                    <a:lnTo>
                      <a:pt x="3949" y="448"/>
                    </a:lnTo>
                    <a:lnTo>
                      <a:pt x="3949" y="391"/>
                    </a:lnTo>
                    <a:close/>
                    <a:moveTo>
                      <a:pt x="1715" y="370"/>
                    </a:moveTo>
                    <a:lnTo>
                      <a:pt x="1715" y="370"/>
                    </a:lnTo>
                    <a:lnTo>
                      <a:pt x="1715" y="370"/>
                    </a:lnTo>
                    <a:lnTo>
                      <a:pt x="1715" y="1061"/>
                    </a:lnTo>
                    <a:lnTo>
                      <a:pt x="1715" y="1061"/>
                    </a:lnTo>
                    <a:lnTo>
                      <a:pt x="1715" y="370"/>
                    </a:lnTo>
                    <a:close/>
                    <a:moveTo>
                      <a:pt x="3956" y="327"/>
                    </a:moveTo>
                    <a:lnTo>
                      <a:pt x="3954" y="327"/>
                    </a:lnTo>
                    <a:lnTo>
                      <a:pt x="3954" y="329"/>
                    </a:lnTo>
                    <a:lnTo>
                      <a:pt x="3954" y="384"/>
                    </a:lnTo>
                    <a:lnTo>
                      <a:pt x="3956" y="384"/>
                    </a:lnTo>
                    <a:lnTo>
                      <a:pt x="3956" y="381"/>
                    </a:lnTo>
                    <a:lnTo>
                      <a:pt x="3956" y="381"/>
                    </a:lnTo>
                    <a:lnTo>
                      <a:pt x="3956" y="327"/>
                    </a:lnTo>
                    <a:close/>
                    <a:moveTo>
                      <a:pt x="4609" y="232"/>
                    </a:moveTo>
                    <a:lnTo>
                      <a:pt x="4609" y="232"/>
                    </a:lnTo>
                    <a:lnTo>
                      <a:pt x="4607" y="235"/>
                    </a:lnTo>
                    <a:lnTo>
                      <a:pt x="4550" y="443"/>
                    </a:lnTo>
                    <a:lnTo>
                      <a:pt x="4552" y="441"/>
                    </a:lnTo>
                    <a:lnTo>
                      <a:pt x="4609" y="232"/>
                    </a:lnTo>
                    <a:close/>
                    <a:moveTo>
                      <a:pt x="4758" y="0"/>
                    </a:moveTo>
                    <a:lnTo>
                      <a:pt x="4756" y="0"/>
                    </a:lnTo>
                    <a:lnTo>
                      <a:pt x="4756" y="3"/>
                    </a:lnTo>
                    <a:lnTo>
                      <a:pt x="4756" y="123"/>
                    </a:lnTo>
                    <a:lnTo>
                      <a:pt x="4758" y="123"/>
                    </a:lnTo>
                    <a:lnTo>
                      <a:pt x="4758" y="123"/>
                    </a:lnTo>
                    <a:lnTo>
                      <a:pt x="4758" y="123"/>
                    </a:lnTo>
                    <a:lnTo>
                      <a:pt x="4758" y="0"/>
                    </a:lnTo>
                    <a:close/>
                  </a:path>
                </a:pathLst>
              </a:custGeom>
              <a:solidFill>
                <a:srgbClr val="ED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4" name="Freeform 69"/>
              <p:cNvSpPr>
                <a:spLocks noEditPoints="1"/>
              </p:cNvSpPr>
              <p:nvPr/>
            </p:nvSpPr>
            <p:spPr bwMode="auto">
              <a:xfrm>
                <a:off x="70" y="1731"/>
                <a:ext cx="6931" cy="1383"/>
              </a:xfrm>
              <a:custGeom>
                <a:avLst/>
                <a:gdLst>
                  <a:gd name="T0" fmla="*/ 3616 w 6931"/>
                  <a:gd name="T1" fmla="*/ 1246 h 1383"/>
                  <a:gd name="T2" fmla="*/ 5737 w 6931"/>
                  <a:gd name="T3" fmla="*/ 1210 h 1383"/>
                  <a:gd name="T4" fmla="*/ 5737 w 6931"/>
                  <a:gd name="T5" fmla="*/ 1255 h 1383"/>
                  <a:gd name="T6" fmla="*/ 5760 w 6931"/>
                  <a:gd name="T7" fmla="*/ 1130 h 1383"/>
                  <a:gd name="T8" fmla="*/ 5763 w 6931"/>
                  <a:gd name="T9" fmla="*/ 1184 h 1383"/>
                  <a:gd name="T10" fmla="*/ 6226 w 6931"/>
                  <a:gd name="T11" fmla="*/ 1130 h 1383"/>
                  <a:gd name="T12" fmla="*/ 6229 w 6931"/>
                  <a:gd name="T13" fmla="*/ 1130 h 1383"/>
                  <a:gd name="T14" fmla="*/ 2765 w 6931"/>
                  <a:gd name="T15" fmla="*/ 1066 h 1383"/>
                  <a:gd name="T16" fmla="*/ 5836 w 6931"/>
                  <a:gd name="T17" fmla="*/ 1042 h 1383"/>
                  <a:gd name="T18" fmla="*/ 5836 w 6931"/>
                  <a:gd name="T19" fmla="*/ 1059 h 1383"/>
                  <a:gd name="T20" fmla="*/ 2781 w 6931"/>
                  <a:gd name="T21" fmla="*/ 1014 h 1383"/>
                  <a:gd name="T22" fmla="*/ 2784 w 6931"/>
                  <a:gd name="T23" fmla="*/ 1044 h 1383"/>
                  <a:gd name="T24" fmla="*/ 3675 w 6931"/>
                  <a:gd name="T25" fmla="*/ 995 h 1383"/>
                  <a:gd name="T26" fmla="*/ 3677 w 6931"/>
                  <a:gd name="T27" fmla="*/ 1160 h 1383"/>
                  <a:gd name="T28" fmla="*/ 5853 w 6931"/>
                  <a:gd name="T29" fmla="*/ 990 h 1383"/>
                  <a:gd name="T30" fmla="*/ 5853 w 6931"/>
                  <a:gd name="T31" fmla="*/ 1023 h 1383"/>
                  <a:gd name="T32" fmla="*/ 6245 w 6931"/>
                  <a:gd name="T33" fmla="*/ 936 h 1383"/>
                  <a:gd name="T34" fmla="*/ 6245 w 6931"/>
                  <a:gd name="T35" fmla="*/ 1111 h 1383"/>
                  <a:gd name="T36" fmla="*/ 6295 w 6931"/>
                  <a:gd name="T37" fmla="*/ 879 h 1383"/>
                  <a:gd name="T38" fmla="*/ 6295 w 6931"/>
                  <a:gd name="T39" fmla="*/ 888 h 1383"/>
                  <a:gd name="T40" fmla="*/ 6304 w 6931"/>
                  <a:gd name="T41" fmla="*/ 850 h 1383"/>
                  <a:gd name="T42" fmla="*/ 6302 w 6931"/>
                  <a:gd name="T43" fmla="*/ 872 h 1383"/>
                  <a:gd name="T44" fmla="*/ 3006 w 6931"/>
                  <a:gd name="T45" fmla="*/ 763 h 1383"/>
                  <a:gd name="T46" fmla="*/ 3006 w 6931"/>
                  <a:gd name="T47" fmla="*/ 909 h 1383"/>
                  <a:gd name="T48" fmla="*/ 913 w 6931"/>
                  <a:gd name="T49" fmla="*/ 756 h 1383"/>
                  <a:gd name="T50" fmla="*/ 5037 w 6931"/>
                  <a:gd name="T51" fmla="*/ 732 h 1383"/>
                  <a:gd name="T52" fmla="*/ 5037 w 6931"/>
                  <a:gd name="T53" fmla="*/ 902 h 1383"/>
                  <a:gd name="T54" fmla="*/ 3044 w 6931"/>
                  <a:gd name="T55" fmla="*/ 659 h 1383"/>
                  <a:gd name="T56" fmla="*/ 3044 w 6931"/>
                  <a:gd name="T57" fmla="*/ 725 h 1383"/>
                  <a:gd name="T58" fmla="*/ 0 w 6931"/>
                  <a:gd name="T59" fmla="*/ 618 h 1383"/>
                  <a:gd name="T60" fmla="*/ 5160 w 6931"/>
                  <a:gd name="T61" fmla="*/ 609 h 1383"/>
                  <a:gd name="T62" fmla="*/ 5160 w 6931"/>
                  <a:gd name="T63" fmla="*/ 661 h 1383"/>
                  <a:gd name="T64" fmla="*/ 3188 w 6931"/>
                  <a:gd name="T65" fmla="*/ 583 h 1383"/>
                  <a:gd name="T66" fmla="*/ 3188 w 6931"/>
                  <a:gd name="T67" fmla="*/ 583 h 1383"/>
                  <a:gd name="T68" fmla="*/ 6928 w 6931"/>
                  <a:gd name="T69" fmla="*/ 1023 h 1383"/>
                  <a:gd name="T70" fmla="*/ 4098 w 6931"/>
                  <a:gd name="T71" fmla="*/ 505 h 1383"/>
                  <a:gd name="T72" fmla="*/ 4101 w 6931"/>
                  <a:gd name="T73" fmla="*/ 505 h 1383"/>
                  <a:gd name="T74" fmla="*/ 3204 w 6931"/>
                  <a:gd name="T75" fmla="*/ 566 h 1383"/>
                  <a:gd name="T76" fmla="*/ 3207 w 6931"/>
                  <a:gd name="T77" fmla="*/ 502 h 1383"/>
                  <a:gd name="T78" fmla="*/ 3940 w 6931"/>
                  <a:gd name="T79" fmla="*/ 457 h 1383"/>
                  <a:gd name="T80" fmla="*/ 3862 w 6931"/>
                  <a:gd name="T81" fmla="*/ 857 h 1383"/>
                  <a:gd name="T82" fmla="*/ 3235 w 6931"/>
                  <a:gd name="T83" fmla="*/ 434 h 1383"/>
                  <a:gd name="T84" fmla="*/ 3233 w 6931"/>
                  <a:gd name="T85" fmla="*/ 474 h 1383"/>
                  <a:gd name="T86" fmla="*/ 3949 w 6931"/>
                  <a:gd name="T87" fmla="*/ 391 h 1383"/>
                  <a:gd name="T88" fmla="*/ 3947 w 6931"/>
                  <a:gd name="T89" fmla="*/ 450 h 1383"/>
                  <a:gd name="T90" fmla="*/ 3949 w 6931"/>
                  <a:gd name="T91" fmla="*/ 391 h 1383"/>
                  <a:gd name="T92" fmla="*/ 1715 w 6931"/>
                  <a:gd name="T93" fmla="*/ 1061 h 1383"/>
                  <a:gd name="T94" fmla="*/ 3954 w 6931"/>
                  <a:gd name="T95" fmla="*/ 327 h 1383"/>
                  <a:gd name="T96" fmla="*/ 3956 w 6931"/>
                  <a:gd name="T97" fmla="*/ 381 h 1383"/>
                  <a:gd name="T98" fmla="*/ 4609 w 6931"/>
                  <a:gd name="T99" fmla="*/ 232 h 1383"/>
                  <a:gd name="T100" fmla="*/ 4609 w 6931"/>
                  <a:gd name="T101" fmla="*/ 232 h 1383"/>
                  <a:gd name="T102" fmla="*/ 4756 w 6931"/>
                  <a:gd name="T103" fmla="*/ 123 h 1383"/>
                  <a:gd name="T104" fmla="*/ 4758 w 6931"/>
                  <a:gd name="T105" fmla="*/ 0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31" h="1383">
                    <a:moveTo>
                      <a:pt x="3616" y="1222"/>
                    </a:moveTo>
                    <a:lnTo>
                      <a:pt x="3616" y="1222"/>
                    </a:lnTo>
                    <a:lnTo>
                      <a:pt x="3616" y="1224"/>
                    </a:lnTo>
                    <a:lnTo>
                      <a:pt x="3616" y="1246"/>
                    </a:lnTo>
                    <a:lnTo>
                      <a:pt x="3616" y="1246"/>
                    </a:lnTo>
                    <a:lnTo>
                      <a:pt x="3616" y="1222"/>
                    </a:lnTo>
                    <a:moveTo>
                      <a:pt x="5737" y="1210"/>
                    </a:moveTo>
                    <a:lnTo>
                      <a:pt x="5737" y="1210"/>
                    </a:lnTo>
                    <a:lnTo>
                      <a:pt x="5734" y="1210"/>
                    </a:lnTo>
                    <a:lnTo>
                      <a:pt x="5734" y="1210"/>
                    </a:lnTo>
                    <a:lnTo>
                      <a:pt x="5734" y="1255"/>
                    </a:lnTo>
                    <a:lnTo>
                      <a:pt x="5737" y="1255"/>
                    </a:lnTo>
                    <a:lnTo>
                      <a:pt x="5737" y="1210"/>
                    </a:lnTo>
                    <a:moveTo>
                      <a:pt x="5763" y="1130"/>
                    </a:moveTo>
                    <a:lnTo>
                      <a:pt x="5760" y="1130"/>
                    </a:lnTo>
                    <a:lnTo>
                      <a:pt x="5760" y="1130"/>
                    </a:lnTo>
                    <a:lnTo>
                      <a:pt x="5760" y="1184"/>
                    </a:lnTo>
                    <a:lnTo>
                      <a:pt x="5760" y="1184"/>
                    </a:lnTo>
                    <a:lnTo>
                      <a:pt x="5760" y="1184"/>
                    </a:lnTo>
                    <a:lnTo>
                      <a:pt x="5763" y="1184"/>
                    </a:lnTo>
                    <a:lnTo>
                      <a:pt x="5763" y="1130"/>
                    </a:lnTo>
                    <a:moveTo>
                      <a:pt x="6229" y="1130"/>
                    </a:moveTo>
                    <a:lnTo>
                      <a:pt x="6226" y="1130"/>
                    </a:lnTo>
                    <a:lnTo>
                      <a:pt x="6226" y="1130"/>
                    </a:lnTo>
                    <a:lnTo>
                      <a:pt x="6226" y="1130"/>
                    </a:lnTo>
                    <a:lnTo>
                      <a:pt x="6226" y="1139"/>
                    </a:lnTo>
                    <a:lnTo>
                      <a:pt x="6229" y="1139"/>
                    </a:lnTo>
                    <a:lnTo>
                      <a:pt x="6229" y="1130"/>
                    </a:lnTo>
                    <a:moveTo>
                      <a:pt x="2767" y="1063"/>
                    </a:moveTo>
                    <a:lnTo>
                      <a:pt x="2765" y="1063"/>
                    </a:lnTo>
                    <a:lnTo>
                      <a:pt x="2765" y="1063"/>
                    </a:lnTo>
                    <a:lnTo>
                      <a:pt x="2765" y="1066"/>
                    </a:lnTo>
                    <a:lnTo>
                      <a:pt x="2765" y="1170"/>
                    </a:lnTo>
                    <a:lnTo>
                      <a:pt x="2767" y="1170"/>
                    </a:lnTo>
                    <a:lnTo>
                      <a:pt x="2767" y="1063"/>
                    </a:lnTo>
                    <a:moveTo>
                      <a:pt x="5836" y="1042"/>
                    </a:moveTo>
                    <a:lnTo>
                      <a:pt x="5836" y="1042"/>
                    </a:lnTo>
                    <a:lnTo>
                      <a:pt x="5836" y="1042"/>
                    </a:lnTo>
                    <a:lnTo>
                      <a:pt x="5836" y="1044"/>
                    </a:lnTo>
                    <a:lnTo>
                      <a:pt x="5836" y="1059"/>
                    </a:lnTo>
                    <a:lnTo>
                      <a:pt x="5836" y="1059"/>
                    </a:lnTo>
                    <a:lnTo>
                      <a:pt x="5836" y="1042"/>
                    </a:lnTo>
                    <a:moveTo>
                      <a:pt x="2784" y="1011"/>
                    </a:moveTo>
                    <a:lnTo>
                      <a:pt x="2781" y="1014"/>
                    </a:lnTo>
                    <a:lnTo>
                      <a:pt x="2781" y="1014"/>
                    </a:lnTo>
                    <a:lnTo>
                      <a:pt x="2781" y="1047"/>
                    </a:lnTo>
                    <a:lnTo>
                      <a:pt x="2784" y="1047"/>
                    </a:lnTo>
                    <a:lnTo>
                      <a:pt x="2784" y="1044"/>
                    </a:lnTo>
                    <a:lnTo>
                      <a:pt x="2784" y="1044"/>
                    </a:lnTo>
                    <a:lnTo>
                      <a:pt x="2784" y="1011"/>
                    </a:lnTo>
                    <a:moveTo>
                      <a:pt x="3677" y="995"/>
                    </a:moveTo>
                    <a:lnTo>
                      <a:pt x="3675" y="995"/>
                    </a:lnTo>
                    <a:lnTo>
                      <a:pt x="3675" y="995"/>
                    </a:lnTo>
                    <a:lnTo>
                      <a:pt x="3675" y="1163"/>
                    </a:lnTo>
                    <a:lnTo>
                      <a:pt x="3677" y="1163"/>
                    </a:lnTo>
                    <a:lnTo>
                      <a:pt x="3677" y="1160"/>
                    </a:lnTo>
                    <a:lnTo>
                      <a:pt x="3677" y="1160"/>
                    </a:lnTo>
                    <a:lnTo>
                      <a:pt x="3677" y="995"/>
                    </a:lnTo>
                    <a:moveTo>
                      <a:pt x="5855" y="990"/>
                    </a:moveTo>
                    <a:lnTo>
                      <a:pt x="5853" y="990"/>
                    </a:lnTo>
                    <a:lnTo>
                      <a:pt x="5853" y="992"/>
                    </a:lnTo>
                    <a:lnTo>
                      <a:pt x="5853" y="1025"/>
                    </a:lnTo>
                    <a:lnTo>
                      <a:pt x="5853" y="1025"/>
                    </a:lnTo>
                    <a:lnTo>
                      <a:pt x="5853" y="1023"/>
                    </a:lnTo>
                    <a:lnTo>
                      <a:pt x="5855" y="1023"/>
                    </a:lnTo>
                    <a:lnTo>
                      <a:pt x="5855" y="990"/>
                    </a:lnTo>
                    <a:moveTo>
                      <a:pt x="6245" y="936"/>
                    </a:moveTo>
                    <a:lnTo>
                      <a:pt x="6245" y="936"/>
                    </a:lnTo>
                    <a:lnTo>
                      <a:pt x="6245" y="938"/>
                    </a:lnTo>
                    <a:lnTo>
                      <a:pt x="6245" y="1111"/>
                    </a:lnTo>
                    <a:lnTo>
                      <a:pt x="6245" y="1111"/>
                    </a:lnTo>
                    <a:lnTo>
                      <a:pt x="6245" y="1111"/>
                    </a:lnTo>
                    <a:lnTo>
                      <a:pt x="6245" y="1111"/>
                    </a:lnTo>
                    <a:lnTo>
                      <a:pt x="6245" y="936"/>
                    </a:lnTo>
                    <a:moveTo>
                      <a:pt x="6295" y="879"/>
                    </a:moveTo>
                    <a:lnTo>
                      <a:pt x="6295" y="879"/>
                    </a:lnTo>
                    <a:lnTo>
                      <a:pt x="6295" y="879"/>
                    </a:lnTo>
                    <a:lnTo>
                      <a:pt x="6295" y="881"/>
                    </a:lnTo>
                    <a:lnTo>
                      <a:pt x="6295" y="888"/>
                    </a:lnTo>
                    <a:lnTo>
                      <a:pt x="6295" y="888"/>
                    </a:lnTo>
                    <a:lnTo>
                      <a:pt x="6295" y="886"/>
                    </a:lnTo>
                    <a:lnTo>
                      <a:pt x="6295" y="886"/>
                    </a:lnTo>
                    <a:lnTo>
                      <a:pt x="6295" y="879"/>
                    </a:lnTo>
                    <a:moveTo>
                      <a:pt x="6304" y="850"/>
                    </a:moveTo>
                    <a:lnTo>
                      <a:pt x="6302" y="850"/>
                    </a:lnTo>
                    <a:lnTo>
                      <a:pt x="6302" y="853"/>
                    </a:lnTo>
                    <a:lnTo>
                      <a:pt x="6302" y="872"/>
                    </a:lnTo>
                    <a:lnTo>
                      <a:pt x="6302" y="872"/>
                    </a:lnTo>
                    <a:lnTo>
                      <a:pt x="6302" y="869"/>
                    </a:lnTo>
                    <a:lnTo>
                      <a:pt x="6304" y="869"/>
                    </a:lnTo>
                    <a:lnTo>
                      <a:pt x="6304" y="850"/>
                    </a:lnTo>
                    <a:moveTo>
                      <a:pt x="3006" y="763"/>
                    </a:moveTo>
                    <a:lnTo>
                      <a:pt x="3003" y="763"/>
                    </a:lnTo>
                    <a:lnTo>
                      <a:pt x="3003" y="765"/>
                    </a:lnTo>
                    <a:lnTo>
                      <a:pt x="3003" y="909"/>
                    </a:lnTo>
                    <a:lnTo>
                      <a:pt x="3006" y="909"/>
                    </a:lnTo>
                    <a:lnTo>
                      <a:pt x="3006" y="763"/>
                    </a:lnTo>
                    <a:moveTo>
                      <a:pt x="916" y="753"/>
                    </a:moveTo>
                    <a:lnTo>
                      <a:pt x="913" y="753"/>
                    </a:lnTo>
                    <a:lnTo>
                      <a:pt x="913" y="756"/>
                    </a:lnTo>
                    <a:lnTo>
                      <a:pt x="913" y="758"/>
                    </a:lnTo>
                    <a:lnTo>
                      <a:pt x="916" y="758"/>
                    </a:lnTo>
                    <a:lnTo>
                      <a:pt x="916" y="753"/>
                    </a:lnTo>
                    <a:moveTo>
                      <a:pt x="5037" y="732"/>
                    </a:moveTo>
                    <a:lnTo>
                      <a:pt x="5037" y="732"/>
                    </a:lnTo>
                    <a:lnTo>
                      <a:pt x="5037" y="734"/>
                    </a:lnTo>
                    <a:lnTo>
                      <a:pt x="5037" y="902"/>
                    </a:lnTo>
                    <a:lnTo>
                      <a:pt x="5037" y="902"/>
                    </a:lnTo>
                    <a:lnTo>
                      <a:pt x="5037" y="732"/>
                    </a:lnTo>
                    <a:moveTo>
                      <a:pt x="3044" y="659"/>
                    </a:moveTo>
                    <a:lnTo>
                      <a:pt x="3044" y="659"/>
                    </a:lnTo>
                    <a:lnTo>
                      <a:pt x="3044" y="659"/>
                    </a:lnTo>
                    <a:lnTo>
                      <a:pt x="3044" y="727"/>
                    </a:lnTo>
                    <a:lnTo>
                      <a:pt x="3044" y="727"/>
                    </a:lnTo>
                    <a:lnTo>
                      <a:pt x="3044" y="725"/>
                    </a:lnTo>
                    <a:lnTo>
                      <a:pt x="3044" y="725"/>
                    </a:lnTo>
                    <a:lnTo>
                      <a:pt x="3044" y="659"/>
                    </a:lnTo>
                    <a:moveTo>
                      <a:pt x="3" y="616"/>
                    </a:moveTo>
                    <a:lnTo>
                      <a:pt x="0" y="616"/>
                    </a:lnTo>
                    <a:lnTo>
                      <a:pt x="0" y="618"/>
                    </a:lnTo>
                    <a:lnTo>
                      <a:pt x="0" y="1383"/>
                    </a:lnTo>
                    <a:lnTo>
                      <a:pt x="3" y="1383"/>
                    </a:lnTo>
                    <a:lnTo>
                      <a:pt x="3" y="616"/>
                    </a:lnTo>
                    <a:moveTo>
                      <a:pt x="5160" y="609"/>
                    </a:moveTo>
                    <a:lnTo>
                      <a:pt x="5157" y="609"/>
                    </a:lnTo>
                    <a:lnTo>
                      <a:pt x="5157" y="611"/>
                    </a:lnTo>
                    <a:lnTo>
                      <a:pt x="5157" y="661"/>
                    </a:lnTo>
                    <a:lnTo>
                      <a:pt x="5160" y="661"/>
                    </a:lnTo>
                    <a:lnTo>
                      <a:pt x="5160" y="609"/>
                    </a:lnTo>
                    <a:moveTo>
                      <a:pt x="3188" y="583"/>
                    </a:moveTo>
                    <a:lnTo>
                      <a:pt x="3188" y="583"/>
                    </a:lnTo>
                    <a:lnTo>
                      <a:pt x="3188" y="583"/>
                    </a:lnTo>
                    <a:lnTo>
                      <a:pt x="3188" y="585"/>
                    </a:lnTo>
                    <a:lnTo>
                      <a:pt x="3188" y="587"/>
                    </a:lnTo>
                    <a:lnTo>
                      <a:pt x="3188" y="587"/>
                    </a:lnTo>
                    <a:lnTo>
                      <a:pt x="3188" y="583"/>
                    </a:lnTo>
                    <a:moveTo>
                      <a:pt x="6931" y="509"/>
                    </a:moveTo>
                    <a:lnTo>
                      <a:pt x="6928" y="509"/>
                    </a:lnTo>
                    <a:lnTo>
                      <a:pt x="6928" y="512"/>
                    </a:lnTo>
                    <a:lnTo>
                      <a:pt x="6928" y="1023"/>
                    </a:lnTo>
                    <a:lnTo>
                      <a:pt x="6931" y="1023"/>
                    </a:lnTo>
                    <a:lnTo>
                      <a:pt x="6931" y="509"/>
                    </a:lnTo>
                    <a:moveTo>
                      <a:pt x="4101" y="505"/>
                    </a:moveTo>
                    <a:lnTo>
                      <a:pt x="4098" y="505"/>
                    </a:lnTo>
                    <a:lnTo>
                      <a:pt x="4098" y="505"/>
                    </a:lnTo>
                    <a:lnTo>
                      <a:pt x="4089" y="516"/>
                    </a:lnTo>
                    <a:lnTo>
                      <a:pt x="4089" y="516"/>
                    </a:lnTo>
                    <a:lnTo>
                      <a:pt x="4101" y="505"/>
                    </a:lnTo>
                    <a:moveTo>
                      <a:pt x="3207" y="502"/>
                    </a:moveTo>
                    <a:lnTo>
                      <a:pt x="3204" y="502"/>
                    </a:lnTo>
                    <a:lnTo>
                      <a:pt x="3204" y="505"/>
                    </a:lnTo>
                    <a:lnTo>
                      <a:pt x="3204" y="566"/>
                    </a:lnTo>
                    <a:lnTo>
                      <a:pt x="3204" y="566"/>
                    </a:lnTo>
                    <a:lnTo>
                      <a:pt x="3204" y="564"/>
                    </a:lnTo>
                    <a:lnTo>
                      <a:pt x="3207" y="564"/>
                    </a:lnTo>
                    <a:lnTo>
                      <a:pt x="3207" y="502"/>
                    </a:lnTo>
                    <a:moveTo>
                      <a:pt x="3942" y="455"/>
                    </a:moveTo>
                    <a:lnTo>
                      <a:pt x="3940" y="455"/>
                    </a:lnTo>
                    <a:lnTo>
                      <a:pt x="3940" y="455"/>
                    </a:lnTo>
                    <a:lnTo>
                      <a:pt x="3940" y="457"/>
                    </a:lnTo>
                    <a:lnTo>
                      <a:pt x="3940" y="490"/>
                    </a:lnTo>
                    <a:lnTo>
                      <a:pt x="3859" y="644"/>
                    </a:lnTo>
                    <a:lnTo>
                      <a:pt x="3859" y="857"/>
                    </a:lnTo>
                    <a:lnTo>
                      <a:pt x="3862" y="857"/>
                    </a:lnTo>
                    <a:lnTo>
                      <a:pt x="3862" y="642"/>
                    </a:lnTo>
                    <a:lnTo>
                      <a:pt x="3942" y="490"/>
                    </a:lnTo>
                    <a:lnTo>
                      <a:pt x="3942" y="455"/>
                    </a:lnTo>
                    <a:moveTo>
                      <a:pt x="3235" y="434"/>
                    </a:moveTo>
                    <a:lnTo>
                      <a:pt x="3233" y="434"/>
                    </a:lnTo>
                    <a:lnTo>
                      <a:pt x="3233" y="436"/>
                    </a:lnTo>
                    <a:lnTo>
                      <a:pt x="3233" y="474"/>
                    </a:lnTo>
                    <a:lnTo>
                      <a:pt x="3233" y="474"/>
                    </a:lnTo>
                    <a:lnTo>
                      <a:pt x="3233" y="471"/>
                    </a:lnTo>
                    <a:lnTo>
                      <a:pt x="3235" y="471"/>
                    </a:lnTo>
                    <a:lnTo>
                      <a:pt x="3235" y="434"/>
                    </a:lnTo>
                    <a:moveTo>
                      <a:pt x="3949" y="391"/>
                    </a:moveTo>
                    <a:lnTo>
                      <a:pt x="3947" y="391"/>
                    </a:lnTo>
                    <a:lnTo>
                      <a:pt x="3947" y="391"/>
                    </a:lnTo>
                    <a:lnTo>
                      <a:pt x="3947" y="393"/>
                    </a:lnTo>
                    <a:lnTo>
                      <a:pt x="3947" y="450"/>
                    </a:lnTo>
                    <a:lnTo>
                      <a:pt x="3949" y="450"/>
                    </a:lnTo>
                    <a:lnTo>
                      <a:pt x="3949" y="448"/>
                    </a:lnTo>
                    <a:lnTo>
                      <a:pt x="3949" y="448"/>
                    </a:lnTo>
                    <a:lnTo>
                      <a:pt x="3949" y="391"/>
                    </a:lnTo>
                    <a:moveTo>
                      <a:pt x="1715" y="370"/>
                    </a:moveTo>
                    <a:lnTo>
                      <a:pt x="1715" y="370"/>
                    </a:lnTo>
                    <a:lnTo>
                      <a:pt x="1715" y="370"/>
                    </a:lnTo>
                    <a:lnTo>
                      <a:pt x="1715" y="1061"/>
                    </a:lnTo>
                    <a:lnTo>
                      <a:pt x="1715" y="1061"/>
                    </a:lnTo>
                    <a:lnTo>
                      <a:pt x="1715" y="370"/>
                    </a:lnTo>
                    <a:moveTo>
                      <a:pt x="3956" y="327"/>
                    </a:moveTo>
                    <a:lnTo>
                      <a:pt x="3954" y="327"/>
                    </a:lnTo>
                    <a:lnTo>
                      <a:pt x="3954" y="329"/>
                    </a:lnTo>
                    <a:lnTo>
                      <a:pt x="3954" y="384"/>
                    </a:lnTo>
                    <a:lnTo>
                      <a:pt x="3956" y="384"/>
                    </a:lnTo>
                    <a:lnTo>
                      <a:pt x="3956" y="381"/>
                    </a:lnTo>
                    <a:lnTo>
                      <a:pt x="3956" y="381"/>
                    </a:lnTo>
                    <a:lnTo>
                      <a:pt x="3956" y="327"/>
                    </a:lnTo>
                    <a:moveTo>
                      <a:pt x="4609" y="232"/>
                    </a:moveTo>
                    <a:lnTo>
                      <a:pt x="4609" y="232"/>
                    </a:lnTo>
                    <a:lnTo>
                      <a:pt x="4607" y="235"/>
                    </a:lnTo>
                    <a:lnTo>
                      <a:pt x="4550" y="443"/>
                    </a:lnTo>
                    <a:lnTo>
                      <a:pt x="4552" y="441"/>
                    </a:lnTo>
                    <a:lnTo>
                      <a:pt x="4609" y="232"/>
                    </a:lnTo>
                    <a:moveTo>
                      <a:pt x="4758" y="0"/>
                    </a:moveTo>
                    <a:lnTo>
                      <a:pt x="4756" y="0"/>
                    </a:lnTo>
                    <a:lnTo>
                      <a:pt x="4756" y="3"/>
                    </a:lnTo>
                    <a:lnTo>
                      <a:pt x="4756" y="123"/>
                    </a:lnTo>
                    <a:lnTo>
                      <a:pt x="4758" y="123"/>
                    </a:lnTo>
                    <a:lnTo>
                      <a:pt x="4758" y="123"/>
                    </a:lnTo>
                    <a:lnTo>
                      <a:pt x="4758" y="123"/>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5" name="Freeform 70"/>
              <p:cNvSpPr>
                <a:spLocks noEditPoints="1"/>
              </p:cNvSpPr>
              <p:nvPr/>
            </p:nvSpPr>
            <p:spPr bwMode="auto">
              <a:xfrm>
                <a:off x="73" y="1729"/>
                <a:ext cx="6930" cy="1385"/>
              </a:xfrm>
              <a:custGeom>
                <a:avLst/>
                <a:gdLst>
                  <a:gd name="T0" fmla="*/ 3613 w 6930"/>
                  <a:gd name="T1" fmla="*/ 1248 h 1385"/>
                  <a:gd name="T2" fmla="*/ 5734 w 6930"/>
                  <a:gd name="T3" fmla="*/ 1210 h 1385"/>
                  <a:gd name="T4" fmla="*/ 5736 w 6930"/>
                  <a:gd name="T5" fmla="*/ 1257 h 1385"/>
                  <a:gd name="T6" fmla="*/ 5760 w 6930"/>
                  <a:gd name="T7" fmla="*/ 1132 h 1385"/>
                  <a:gd name="T8" fmla="*/ 5760 w 6930"/>
                  <a:gd name="T9" fmla="*/ 1184 h 1385"/>
                  <a:gd name="T10" fmla="*/ 6226 w 6930"/>
                  <a:gd name="T11" fmla="*/ 1129 h 1385"/>
                  <a:gd name="T12" fmla="*/ 6228 w 6930"/>
                  <a:gd name="T13" fmla="*/ 1129 h 1385"/>
                  <a:gd name="T14" fmla="*/ 2764 w 6930"/>
                  <a:gd name="T15" fmla="*/ 1065 h 1385"/>
                  <a:gd name="T16" fmla="*/ 5835 w 6930"/>
                  <a:gd name="T17" fmla="*/ 1042 h 1385"/>
                  <a:gd name="T18" fmla="*/ 5833 w 6930"/>
                  <a:gd name="T19" fmla="*/ 1061 h 1385"/>
                  <a:gd name="T20" fmla="*/ 2781 w 6930"/>
                  <a:gd name="T21" fmla="*/ 1013 h 1385"/>
                  <a:gd name="T22" fmla="*/ 2781 w 6930"/>
                  <a:gd name="T23" fmla="*/ 1044 h 1385"/>
                  <a:gd name="T24" fmla="*/ 3674 w 6930"/>
                  <a:gd name="T25" fmla="*/ 994 h 1385"/>
                  <a:gd name="T26" fmla="*/ 3674 w 6930"/>
                  <a:gd name="T27" fmla="*/ 1162 h 1385"/>
                  <a:gd name="T28" fmla="*/ 5852 w 6930"/>
                  <a:gd name="T29" fmla="*/ 990 h 1385"/>
                  <a:gd name="T30" fmla="*/ 5852 w 6930"/>
                  <a:gd name="T31" fmla="*/ 1023 h 1385"/>
                  <a:gd name="T32" fmla="*/ 6242 w 6930"/>
                  <a:gd name="T33" fmla="*/ 938 h 1385"/>
                  <a:gd name="T34" fmla="*/ 6245 w 6930"/>
                  <a:gd name="T35" fmla="*/ 1110 h 1385"/>
                  <a:gd name="T36" fmla="*/ 6294 w 6930"/>
                  <a:gd name="T37" fmla="*/ 878 h 1385"/>
                  <a:gd name="T38" fmla="*/ 6292 w 6930"/>
                  <a:gd name="T39" fmla="*/ 888 h 1385"/>
                  <a:gd name="T40" fmla="*/ 6301 w 6930"/>
                  <a:gd name="T41" fmla="*/ 850 h 1385"/>
                  <a:gd name="T42" fmla="*/ 6301 w 6930"/>
                  <a:gd name="T43" fmla="*/ 871 h 1385"/>
                  <a:gd name="T44" fmla="*/ 3005 w 6930"/>
                  <a:gd name="T45" fmla="*/ 762 h 1385"/>
                  <a:gd name="T46" fmla="*/ 3005 w 6930"/>
                  <a:gd name="T47" fmla="*/ 911 h 1385"/>
                  <a:gd name="T48" fmla="*/ 913 w 6930"/>
                  <a:gd name="T49" fmla="*/ 755 h 1385"/>
                  <a:gd name="T50" fmla="*/ 5036 w 6930"/>
                  <a:gd name="T51" fmla="*/ 732 h 1385"/>
                  <a:gd name="T52" fmla="*/ 5036 w 6930"/>
                  <a:gd name="T53" fmla="*/ 904 h 1385"/>
                  <a:gd name="T54" fmla="*/ 3041 w 6930"/>
                  <a:gd name="T55" fmla="*/ 661 h 1385"/>
                  <a:gd name="T56" fmla="*/ 3043 w 6930"/>
                  <a:gd name="T57" fmla="*/ 724 h 1385"/>
                  <a:gd name="T58" fmla="*/ 0 w 6930"/>
                  <a:gd name="T59" fmla="*/ 618 h 1385"/>
                  <a:gd name="T60" fmla="*/ 5157 w 6930"/>
                  <a:gd name="T61" fmla="*/ 611 h 1385"/>
                  <a:gd name="T62" fmla="*/ 5157 w 6930"/>
                  <a:gd name="T63" fmla="*/ 663 h 1385"/>
                  <a:gd name="T64" fmla="*/ 3185 w 6930"/>
                  <a:gd name="T65" fmla="*/ 582 h 1385"/>
                  <a:gd name="T66" fmla="*/ 3187 w 6930"/>
                  <a:gd name="T67" fmla="*/ 582 h 1385"/>
                  <a:gd name="T68" fmla="*/ 208 w 6930"/>
                  <a:gd name="T69" fmla="*/ 549 h 1385"/>
                  <a:gd name="T70" fmla="*/ 6928 w 6930"/>
                  <a:gd name="T71" fmla="*/ 511 h 1385"/>
                  <a:gd name="T72" fmla="*/ 4098 w 6930"/>
                  <a:gd name="T73" fmla="*/ 504 h 1385"/>
                  <a:gd name="T74" fmla="*/ 4086 w 6930"/>
                  <a:gd name="T75" fmla="*/ 518 h 1385"/>
                  <a:gd name="T76" fmla="*/ 3204 w 6930"/>
                  <a:gd name="T77" fmla="*/ 504 h 1385"/>
                  <a:gd name="T78" fmla="*/ 3204 w 6930"/>
                  <a:gd name="T79" fmla="*/ 563 h 1385"/>
                  <a:gd name="T80" fmla="*/ 3939 w 6930"/>
                  <a:gd name="T81" fmla="*/ 455 h 1385"/>
                  <a:gd name="T82" fmla="*/ 3859 w 6930"/>
                  <a:gd name="T83" fmla="*/ 859 h 1385"/>
                  <a:gd name="T84" fmla="*/ 3941 w 6930"/>
                  <a:gd name="T85" fmla="*/ 455 h 1385"/>
                  <a:gd name="T86" fmla="*/ 3232 w 6930"/>
                  <a:gd name="T87" fmla="*/ 473 h 1385"/>
                  <a:gd name="T88" fmla="*/ 3234 w 6930"/>
                  <a:gd name="T89" fmla="*/ 436 h 1385"/>
                  <a:gd name="T90" fmla="*/ 3946 w 6930"/>
                  <a:gd name="T91" fmla="*/ 393 h 1385"/>
                  <a:gd name="T92" fmla="*/ 3946 w 6930"/>
                  <a:gd name="T93" fmla="*/ 447 h 1385"/>
                  <a:gd name="T94" fmla="*/ 1712 w 6930"/>
                  <a:gd name="T95" fmla="*/ 372 h 1385"/>
                  <a:gd name="T96" fmla="*/ 3956 w 6930"/>
                  <a:gd name="T97" fmla="*/ 329 h 1385"/>
                  <a:gd name="T98" fmla="*/ 3956 w 6930"/>
                  <a:gd name="T99" fmla="*/ 383 h 1385"/>
                  <a:gd name="T100" fmla="*/ 4608 w 6930"/>
                  <a:gd name="T101" fmla="*/ 232 h 1385"/>
                  <a:gd name="T102" fmla="*/ 4552 w 6930"/>
                  <a:gd name="T103" fmla="*/ 443 h 1385"/>
                  <a:gd name="T104" fmla="*/ 4755 w 6930"/>
                  <a:gd name="T105" fmla="*/ 2 h 1385"/>
                  <a:gd name="T106" fmla="*/ 4757 w 6930"/>
                  <a:gd name="T107" fmla="*/ 12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30" h="1385">
                    <a:moveTo>
                      <a:pt x="3615" y="1224"/>
                    </a:moveTo>
                    <a:lnTo>
                      <a:pt x="3613" y="1224"/>
                    </a:lnTo>
                    <a:lnTo>
                      <a:pt x="3613" y="1224"/>
                    </a:lnTo>
                    <a:lnTo>
                      <a:pt x="3613" y="1248"/>
                    </a:lnTo>
                    <a:lnTo>
                      <a:pt x="3615" y="1248"/>
                    </a:lnTo>
                    <a:lnTo>
                      <a:pt x="3615" y="1224"/>
                    </a:lnTo>
                    <a:close/>
                    <a:moveTo>
                      <a:pt x="5736" y="1210"/>
                    </a:moveTo>
                    <a:lnTo>
                      <a:pt x="5734" y="1210"/>
                    </a:lnTo>
                    <a:lnTo>
                      <a:pt x="5734" y="1210"/>
                    </a:lnTo>
                    <a:lnTo>
                      <a:pt x="5734" y="1212"/>
                    </a:lnTo>
                    <a:lnTo>
                      <a:pt x="5734" y="1257"/>
                    </a:lnTo>
                    <a:lnTo>
                      <a:pt x="5736" y="1257"/>
                    </a:lnTo>
                    <a:lnTo>
                      <a:pt x="5736" y="1210"/>
                    </a:lnTo>
                    <a:close/>
                    <a:moveTo>
                      <a:pt x="5760" y="1129"/>
                    </a:moveTo>
                    <a:lnTo>
                      <a:pt x="5760" y="1129"/>
                    </a:lnTo>
                    <a:lnTo>
                      <a:pt x="5760" y="1132"/>
                    </a:lnTo>
                    <a:lnTo>
                      <a:pt x="5760" y="1186"/>
                    </a:lnTo>
                    <a:lnTo>
                      <a:pt x="5760" y="1186"/>
                    </a:lnTo>
                    <a:lnTo>
                      <a:pt x="5760" y="1184"/>
                    </a:lnTo>
                    <a:lnTo>
                      <a:pt x="5760" y="1184"/>
                    </a:lnTo>
                    <a:lnTo>
                      <a:pt x="5760" y="1129"/>
                    </a:lnTo>
                    <a:close/>
                    <a:moveTo>
                      <a:pt x="6228" y="1129"/>
                    </a:moveTo>
                    <a:lnTo>
                      <a:pt x="6226" y="1129"/>
                    </a:lnTo>
                    <a:lnTo>
                      <a:pt x="6226" y="1129"/>
                    </a:lnTo>
                    <a:lnTo>
                      <a:pt x="6226" y="1132"/>
                    </a:lnTo>
                    <a:lnTo>
                      <a:pt x="6226" y="1141"/>
                    </a:lnTo>
                    <a:lnTo>
                      <a:pt x="6228" y="1141"/>
                    </a:lnTo>
                    <a:lnTo>
                      <a:pt x="6228" y="1129"/>
                    </a:lnTo>
                    <a:close/>
                    <a:moveTo>
                      <a:pt x="2764" y="1063"/>
                    </a:moveTo>
                    <a:lnTo>
                      <a:pt x="2764" y="1063"/>
                    </a:lnTo>
                    <a:lnTo>
                      <a:pt x="2764" y="1063"/>
                    </a:lnTo>
                    <a:lnTo>
                      <a:pt x="2764" y="1065"/>
                    </a:lnTo>
                    <a:lnTo>
                      <a:pt x="2764" y="1172"/>
                    </a:lnTo>
                    <a:lnTo>
                      <a:pt x="2764" y="1172"/>
                    </a:lnTo>
                    <a:lnTo>
                      <a:pt x="2764" y="1063"/>
                    </a:lnTo>
                    <a:close/>
                    <a:moveTo>
                      <a:pt x="5835" y="1042"/>
                    </a:moveTo>
                    <a:lnTo>
                      <a:pt x="5835" y="1042"/>
                    </a:lnTo>
                    <a:lnTo>
                      <a:pt x="5833" y="1042"/>
                    </a:lnTo>
                    <a:lnTo>
                      <a:pt x="5833" y="1044"/>
                    </a:lnTo>
                    <a:lnTo>
                      <a:pt x="5833" y="1061"/>
                    </a:lnTo>
                    <a:lnTo>
                      <a:pt x="5835" y="1061"/>
                    </a:lnTo>
                    <a:lnTo>
                      <a:pt x="5835" y="1042"/>
                    </a:lnTo>
                    <a:close/>
                    <a:moveTo>
                      <a:pt x="2783" y="1013"/>
                    </a:moveTo>
                    <a:lnTo>
                      <a:pt x="2781" y="1013"/>
                    </a:lnTo>
                    <a:lnTo>
                      <a:pt x="2781" y="1013"/>
                    </a:lnTo>
                    <a:lnTo>
                      <a:pt x="2781" y="1046"/>
                    </a:lnTo>
                    <a:lnTo>
                      <a:pt x="2781" y="1046"/>
                    </a:lnTo>
                    <a:lnTo>
                      <a:pt x="2781" y="1044"/>
                    </a:lnTo>
                    <a:lnTo>
                      <a:pt x="2783" y="1044"/>
                    </a:lnTo>
                    <a:lnTo>
                      <a:pt x="2783" y="1013"/>
                    </a:lnTo>
                    <a:close/>
                    <a:moveTo>
                      <a:pt x="3674" y="994"/>
                    </a:moveTo>
                    <a:lnTo>
                      <a:pt x="3674" y="994"/>
                    </a:lnTo>
                    <a:lnTo>
                      <a:pt x="3674" y="997"/>
                    </a:lnTo>
                    <a:lnTo>
                      <a:pt x="3674" y="1162"/>
                    </a:lnTo>
                    <a:lnTo>
                      <a:pt x="3674" y="1162"/>
                    </a:lnTo>
                    <a:lnTo>
                      <a:pt x="3674" y="1162"/>
                    </a:lnTo>
                    <a:lnTo>
                      <a:pt x="3674" y="1162"/>
                    </a:lnTo>
                    <a:lnTo>
                      <a:pt x="3674" y="994"/>
                    </a:lnTo>
                    <a:close/>
                    <a:moveTo>
                      <a:pt x="5854" y="990"/>
                    </a:moveTo>
                    <a:lnTo>
                      <a:pt x="5852" y="990"/>
                    </a:lnTo>
                    <a:lnTo>
                      <a:pt x="5852" y="992"/>
                    </a:lnTo>
                    <a:lnTo>
                      <a:pt x="5852" y="1025"/>
                    </a:lnTo>
                    <a:lnTo>
                      <a:pt x="5852" y="1025"/>
                    </a:lnTo>
                    <a:lnTo>
                      <a:pt x="5852" y="1023"/>
                    </a:lnTo>
                    <a:lnTo>
                      <a:pt x="5854" y="1023"/>
                    </a:lnTo>
                    <a:lnTo>
                      <a:pt x="5854" y="990"/>
                    </a:lnTo>
                    <a:close/>
                    <a:moveTo>
                      <a:pt x="6245" y="938"/>
                    </a:moveTo>
                    <a:lnTo>
                      <a:pt x="6242" y="938"/>
                    </a:lnTo>
                    <a:lnTo>
                      <a:pt x="6242" y="938"/>
                    </a:lnTo>
                    <a:lnTo>
                      <a:pt x="6242" y="1113"/>
                    </a:lnTo>
                    <a:lnTo>
                      <a:pt x="6245" y="1113"/>
                    </a:lnTo>
                    <a:lnTo>
                      <a:pt x="6245" y="1110"/>
                    </a:lnTo>
                    <a:lnTo>
                      <a:pt x="6245" y="1110"/>
                    </a:lnTo>
                    <a:lnTo>
                      <a:pt x="6245" y="938"/>
                    </a:lnTo>
                    <a:close/>
                    <a:moveTo>
                      <a:pt x="6294" y="878"/>
                    </a:moveTo>
                    <a:lnTo>
                      <a:pt x="6294" y="878"/>
                    </a:lnTo>
                    <a:lnTo>
                      <a:pt x="6292" y="878"/>
                    </a:lnTo>
                    <a:lnTo>
                      <a:pt x="6292" y="881"/>
                    </a:lnTo>
                    <a:lnTo>
                      <a:pt x="6292" y="888"/>
                    </a:lnTo>
                    <a:lnTo>
                      <a:pt x="6292" y="888"/>
                    </a:lnTo>
                    <a:lnTo>
                      <a:pt x="6292" y="885"/>
                    </a:lnTo>
                    <a:lnTo>
                      <a:pt x="6294" y="885"/>
                    </a:lnTo>
                    <a:lnTo>
                      <a:pt x="6294" y="878"/>
                    </a:lnTo>
                    <a:close/>
                    <a:moveTo>
                      <a:pt x="6301" y="850"/>
                    </a:moveTo>
                    <a:lnTo>
                      <a:pt x="6301" y="850"/>
                    </a:lnTo>
                    <a:lnTo>
                      <a:pt x="6301" y="852"/>
                    </a:lnTo>
                    <a:lnTo>
                      <a:pt x="6301" y="871"/>
                    </a:lnTo>
                    <a:lnTo>
                      <a:pt x="6301" y="871"/>
                    </a:lnTo>
                    <a:lnTo>
                      <a:pt x="6301" y="869"/>
                    </a:lnTo>
                    <a:lnTo>
                      <a:pt x="6301" y="869"/>
                    </a:lnTo>
                    <a:lnTo>
                      <a:pt x="6301" y="850"/>
                    </a:lnTo>
                    <a:close/>
                    <a:moveTo>
                      <a:pt x="3005" y="762"/>
                    </a:moveTo>
                    <a:lnTo>
                      <a:pt x="3003" y="762"/>
                    </a:lnTo>
                    <a:lnTo>
                      <a:pt x="3003" y="765"/>
                    </a:lnTo>
                    <a:lnTo>
                      <a:pt x="3003" y="911"/>
                    </a:lnTo>
                    <a:lnTo>
                      <a:pt x="3005" y="911"/>
                    </a:lnTo>
                    <a:lnTo>
                      <a:pt x="3005" y="762"/>
                    </a:lnTo>
                    <a:close/>
                    <a:moveTo>
                      <a:pt x="913" y="753"/>
                    </a:moveTo>
                    <a:lnTo>
                      <a:pt x="913" y="753"/>
                    </a:lnTo>
                    <a:lnTo>
                      <a:pt x="913" y="755"/>
                    </a:lnTo>
                    <a:lnTo>
                      <a:pt x="913" y="760"/>
                    </a:lnTo>
                    <a:lnTo>
                      <a:pt x="913" y="760"/>
                    </a:lnTo>
                    <a:lnTo>
                      <a:pt x="913" y="753"/>
                    </a:lnTo>
                    <a:close/>
                    <a:moveTo>
                      <a:pt x="5036" y="732"/>
                    </a:moveTo>
                    <a:lnTo>
                      <a:pt x="5034" y="732"/>
                    </a:lnTo>
                    <a:lnTo>
                      <a:pt x="5034" y="734"/>
                    </a:lnTo>
                    <a:lnTo>
                      <a:pt x="5034" y="904"/>
                    </a:lnTo>
                    <a:lnTo>
                      <a:pt x="5036" y="904"/>
                    </a:lnTo>
                    <a:lnTo>
                      <a:pt x="5036" y="732"/>
                    </a:lnTo>
                    <a:close/>
                    <a:moveTo>
                      <a:pt x="3043" y="658"/>
                    </a:moveTo>
                    <a:lnTo>
                      <a:pt x="3041" y="658"/>
                    </a:lnTo>
                    <a:lnTo>
                      <a:pt x="3041" y="661"/>
                    </a:lnTo>
                    <a:lnTo>
                      <a:pt x="3041" y="727"/>
                    </a:lnTo>
                    <a:lnTo>
                      <a:pt x="3043" y="727"/>
                    </a:lnTo>
                    <a:lnTo>
                      <a:pt x="3043" y="724"/>
                    </a:lnTo>
                    <a:lnTo>
                      <a:pt x="3043" y="724"/>
                    </a:lnTo>
                    <a:lnTo>
                      <a:pt x="3043" y="658"/>
                    </a:lnTo>
                    <a:close/>
                    <a:moveTo>
                      <a:pt x="2" y="618"/>
                    </a:moveTo>
                    <a:lnTo>
                      <a:pt x="0" y="618"/>
                    </a:lnTo>
                    <a:lnTo>
                      <a:pt x="0" y="618"/>
                    </a:lnTo>
                    <a:lnTo>
                      <a:pt x="0" y="1385"/>
                    </a:lnTo>
                    <a:lnTo>
                      <a:pt x="2" y="1385"/>
                    </a:lnTo>
                    <a:lnTo>
                      <a:pt x="2" y="618"/>
                    </a:lnTo>
                    <a:close/>
                    <a:moveTo>
                      <a:pt x="5157" y="611"/>
                    </a:moveTo>
                    <a:lnTo>
                      <a:pt x="5157" y="611"/>
                    </a:lnTo>
                    <a:lnTo>
                      <a:pt x="5157" y="611"/>
                    </a:lnTo>
                    <a:lnTo>
                      <a:pt x="5157" y="663"/>
                    </a:lnTo>
                    <a:lnTo>
                      <a:pt x="5157" y="663"/>
                    </a:lnTo>
                    <a:lnTo>
                      <a:pt x="5157" y="611"/>
                    </a:lnTo>
                    <a:close/>
                    <a:moveTo>
                      <a:pt x="3187" y="582"/>
                    </a:moveTo>
                    <a:lnTo>
                      <a:pt x="3187" y="582"/>
                    </a:lnTo>
                    <a:lnTo>
                      <a:pt x="3185" y="582"/>
                    </a:lnTo>
                    <a:lnTo>
                      <a:pt x="3185" y="585"/>
                    </a:lnTo>
                    <a:lnTo>
                      <a:pt x="3185" y="589"/>
                    </a:lnTo>
                    <a:lnTo>
                      <a:pt x="3187" y="589"/>
                    </a:lnTo>
                    <a:lnTo>
                      <a:pt x="3187" y="582"/>
                    </a:lnTo>
                    <a:close/>
                    <a:moveTo>
                      <a:pt x="208" y="547"/>
                    </a:moveTo>
                    <a:lnTo>
                      <a:pt x="206" y="547"/>
                    </a:lnTo>
                    <a:lnTo>
                      <a:pt x="206" y="549"/>
                    </a:lnTo>
                    <a:lnTo>
                      <a:pt x="208" y="549"/>
                    </a:lnTo>
                    <a:lnTo>
                      <a:pt x="208" y="547"/>
                    </a:lnTo>
                    <a:close/>
                    <a:moveTo>
                      <a:pt x="6930" y="509"/>
                    </a:moveTo>
                    <a:lnTo>
                      <a:pt x="6928" y="509"/>
                    </a:lnTo>
                    <a:lnTo>
                      <a:pt x="6928" y="511"/>
                    </a:lnTo>
                    <a:lnTo>
                      <a:pt x="6928" y="1025"/>
                    </a:lnTo>
                    <a:lnTo>
                      <a:pt x="6930" y="1025"/>
                    </a:lnTo>
                    <a:lnTo>
                      <a:pt x="6930" y="509"/>
                    </a:lnTo>
                    <a:close/>
                    <a:moveTo>
                      <a:pt x="4098" y="504"/>
                    </a:moveTo>
                    <a:lnTo>
                      <a:pt x="4098" y="504"/>
                    </a:lnTo>
                    <a:lnTo>
                      <a:pt x="4098" y="507"/>
                    </a:lnTo>
                    <a:lnTo>
                      <a:pt x="4086" y="518"/>
                    </a:lnTo>
                    <a:lnTo>
                      <a:pt x="4086" y="518"/>
                    </a:lnTo>
                    <a:lnTo>
                      <a:pt x="4098" y="504"/>
                    </a:lnTo>
                    <a:close/>
                    <a:moveTo>
                      <a:pt x="3204" y="502"/>
                    </a:moveTo>
                    <a:lnTo>
                      <a:pt x="3204" y="502"/>
                    </a:lnTo>
                    <a:lnTo>
                      <a:pt x="3204" y="504"/>
                    </a:lnTo>
                    <a:lnTo>
                      <a:pt x="3204" y="566"/>
                    </a:lnTo>
                    <a:lnTo>
                      <a:pt x="3204" y="566"/>
                    </a:lnTo>
                    <a:lnTo>
                      <a:pt x="3204" y="563"/>
                    </a:lnTo>
                    <a:lnTo>
                      <a:pt x="3204" y="563"/>
                    </a:lnTo>
                    <a:lnTo>
                      <a:pt x="3204" y="502"/>
                    </a:lnTo>
                    <a:close/>
                    <a:moveTo>
                      <a:pt x="3941" y="455"/>
                    </a:moveTo>
                    <a:lnTo>
                      <a:pt x="3939" y="455"/>
                    </a:lnTo>
                    <a:lnTo>
                      <a:pt x="3939" y="455"/>
                    </a:lnTo>
                    <a:lnTo>
                      <a:pt x="3939" y="457"/>
                    </a:lnTo>
                    <a:lnTo>
                      <a:pt x="3939" y="492"/>
                    </a:lnTo>
                    <a:lnTo>
                      <a:pt x="3859" y="644"/>
                    </a:lnTo>
                    <a:lnTo>
                      <a:pt x="3859" y="859"/>
                    </a:lnTo>
                    <a:lnTo>
                      <a:pt x="3859" y="859"/>
                    </a:lnTo>
                    <a:lnTo>
                      <a:pt x="3859" y="642"/>
                    </a:lnTo>
                    <a:lnTo>
                      <a:pt x="3941" y="490"/>
                    </a:lnTo>
                    <a:lnTo>
                      <a:pt x="3941" y="455"/>
                    </a:lnTo>
                    <a:close/>
                    <a:moveTo>
                      <a:pt x="3234" y="436"/>
                    </a:moveTo>
                    <a:lnTo>
                      <a:pt x="3232" y="436"/>
                    </a:lnTo>
                    <a:lnTo>
                      <a:pt x="3232" y="436"/>
                    </a:lnTo>
                    <a:lnTo>
                      <a:pt x="3232" y="473"/>
                    </a:lnTo>
                    <a:lnTo>
                      <a:pt x="3232" y="473"/>
                    </a:lnTo>
                    <a:lnTo>
                      <a:pt x="3232" y="471"/>
                    </a:lnTo>
                    <a:lnTo>
                      <a:pt x="3234" y="471"/>
                    </a:lnTo>
                    <a:lnTo>
                      <a:pt x="3234" y="436"/>
                    </a:lnTo>
                    <a:close/>
                    <a:moveTo>
                      <a:pt x="3946" y="391"/>
                    </a:moveTo>
                    <a:lnTo>
                      <a:pt x="3946" y="391"/>
                    </a:lnTo>
                    <a:lnTo>
                      <a:pt x="3946" y="391"/>
                    </a:lnTo>
                    <a:lnTo>
                      <a:pt x="3946" y="393"/>
                    </a:lnTo>
                    <a:lnTo>
                      <a:pt x="3946" y="450"/>
                    </a:lnTo>
                    <a:lnTo>
                      <a:pt x="3946" y="450"/>
                    </a:lnTo>
                    <a:lnTo>
                      <a:pt x="3946" y="447"/>
                    </a:lnTo>
                    <a:lnTo>
                      <a:pt x="3946" y="447"/>
                    </a:lnTo>
                    <a:lnTo>
                      <a:pt x="3946" y="391"/>
                    </a:lnTo>
                    <a:close/>
                    <a:moveTo>
                      <a:pt x="1714" y="369"/>
                    </a:moveTo>
                    <a:lnTo>
                      <a:pt x="1712" y="369"/>
                    </a:lnTo>
                    <a:lnTo>
                      <a:pt x="1712" y="372"/>
                    </a:lnTo>
                    <a:lnTo>
                      <a:pt x="1712" y="1063"/>
                    </a:lnTo>
                    <a:lnTo>
                      <a:pt x="1714" y="1063"/>
                    </a:lnTo>
                    <a:lnTo>
                      <a:pt x="1714" y="369"/>
                    </a:lnTo>
                    <a:close/>
                    <a:moveTo>
                      <a:pt x="3956" y="329"/>
                    </a:moveTo>
                    <a:lnTo>
                      <a:pt x="3953" y="329"/>
                    </a:lnTo>
                    <a:lnTo>
                      <a:pt x="3953" y="329"/>
                    </a:lnTo>
                    <a:lnTo>
                      <a:pt x="3953" y="383"/>
                    </a:lnTo>
                    <a:lnTo>
                      <a:pt x="3956" y="383"/>
                    </a:lnTo>
                    <a:lnTo>
                      <a:pt x="3956" y="381"/>
                    </a:lnTo>
                    <a:lnTo>
                      <a:pt x="3956" y="381"/>
                    </a:lnTo>
                    <a:lnTo>
                      <a:pt x="3956" y="329"/>
                    </a:lnTo>
                    <a:close/>
                    <a:moveTo>
                      <a:pt x="4608" y="232"/>
                    </a:moveTo>
                    <a:lnTo>
                      <a:pt x="4606" y="232"/>
                    </a:lnTo>
                    <a:lnTo>
                      <a:pt x="4606" y="234"/>
                    </a:lnTo>
                    <a:lnTo>
                      <a:pt x="4549" y="443"/>
                    </a:lnTo>
                    <a:lnTo>
                      <a:pt x="4552" y="443"/>
                    </a:lnTo>
                    <a:lnTo>
                      <a:pt x="4608" y="232"/>
                    </a:lnTo>
                    <a:close/>
                    <a:moveTo>
                      <a:pt x="4757" y="0"/>
                    </a:moveTo>
                    <a:lnTo>
                      <a:pt x="4755" y="0"/>
                    </a:lnTo>
                    <a:lnTo>
                      <a:pt x="4755" y="2"/>
                    </a:lnTo>
                    <a:lnTo>
                      <a:pt x="4755" y="125"/>
                    </a:lnTo>
                    <a:lnTo>
                      <a:pt x="4757" y="125"/>
                    </a:lnTo>
                    <a:lnTo>
                      <a:pt x="4757" y="123"/>
                    </a:lnTo>
                    <a:lnTo>
                      <a:pt x="4757" y="123"/>
                    </a:lnTo>
                    <a:lnTo>
                      <a:pt x="4757"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6" name="Freeform 71"/>
              <p:cNvSpPr>
                <a:spLocks noEditPoints="1"/>
              </p:cNvSpPr>
              <p:nvPr/>
            </p:nvSpPr>
            <p:spPr bwMode="auto">
              <a:xfrm>
                <a:off x="73" y="1729"/>
                <a:ext cx="6930" cy="1385"/>
              </a:xfrm>
              <a:custGeom>
                <a:avLst/>
                <a:gdLst>
                  <a:gd name="T0" fmla="*/ 3613 w 6930"/>
                  <a:gd name="T1" fmla="*/ 1248 h 1385"/>
                  <a:gd name="T2" fmla="*/ 5734 w 6930"/>
                  <a:gd name="T3" fmla="*/ 1210 h 1385"/>
                  <a:gd name="T4" fmla="*/ 5736 w 6930"/>
                  <a:gd name="T5" fmla="*/ 1257 h 1385"/>
                  <a:gd name="T6" fmla="*/ 5760 w 6930"/>
                  <a:gd name="T7" fmla="*/ 1132 h 1385"/>
                  <a:gd name="T8" fmla="*/ 5760 w 6930"/>
                  <a:gd name="T9" fmla="*/ 1184 h 1385"/>
                  <a:gd name="T10" fmla="*/ 6226 w 6930"/>
                  <a:gd name="T11" fmla="*/ 1129 h 1385"/>
                  <a:gd name="T12" fmla="*/ 6228 w 6930"/>
                  <a:gd name="T13" fmla="*/ 1129 h 1385"/>
                  <a:gd name="T14" fmla="*/ 2764 w 6930"/>
                  <a:gd name="T15" fmla="*/ 1065 h 1385"/>
                  <a:gd name="T16" fmla="*/ 5835 w 6930"/>
                  <a:gd name="T17" fmla="*/ 1042 h 1385"/>
                  <a:gd name="T18" fmla="*/ 5833 w 6930"/>
                  <a:gd name="T19" fmla="*/ 1061 h 1385"/>
                  <a:gd name="T20" fmla="*/ 2781 w 6930"/>
                  <a:gd name="T21" fmla="*/ 1013 h 1385"/>
                  <a:gd name="T22" fmla="*/ 2781 w 6930"/>
                  <a:gd name="T23" fmla="*/ 1044 h 1385"/>
                  <a:gd name="T24" fmla="*/ 3674 w 6930"/>
                  <a:gd name="T25" fmla="*/ 994 h 1385"/>
                  <a:gd name="T26" fmla="*/ 3674 w 6930"/>
                  <a:gd name="T27" fmla="*/ 1162 h 1385"/>
                  <a:gd name="T28" fmla="*/ 5852 w 6930"/>
                  <a:gd name="T29" fmla="*/ 990 h 1385"/>
                  <a:gd name="T30" fmla="*/ 5852 w 6930"/>
                  <a:gd name="T31" fmla="*/ 1023 h 1385"/>
                  <a:gd name="T32" fmla="*/ 6242 w 6930"/>
                  <a:gd name="T33" fmla="*/ 938 h 1385"/>
                  <a:gd name="T34" fmla="*/ 6245 w 6930"/>
                  <a:gd name="T35" fmla="*/ 1110 h 1385"/>
                  <a:gd name="T36" fmla="*/ 6294 w 6930"/>
                  <a:gd name="T37" fmla="*/ 878 h 1385"/>
                  <a:gd name="T38" fmla="*/ 6292 w 6930"/>
                  <a:gd name="T39" fmla="*/ 888 h 1385"/>
                  <a:gd name="T40" fmla="*/ 6301 w 6930"/>
                  <a:gd name="T41" fmla="*/ 850 h 1385"/>
                  <a:gd name="T42" fmla="*/ 6301 w 6930"/>
                  <a:gd name="T43" fmla="*/ 871 h 1385"/>
                  <a:gd name="T44" fmla="*/ 3005 w 6930"/>
                  <a:gd name="T45" fmla="*/ 762 h 1385"/>
                  <a:gd name="T46" fmla="*/ 3005 w 6930"/>
                  <a:gd name="T47" fmla="*/ 911 h 1385"/>
                  <a:gd name="T48" fmla="*/ 913 w 6930"/>
                  <a:gd name="T49" fmla="*/ 755 h 1385"/>
                  <a:gd name="T50" fmla="*/ 5036 w 6930"/>
                  <a:gd name="T51" fmla="*/ 732 h 1385"/>
                  <a:gd name="T52" fmla="*/ 5036 w 6930"/>
                  <a:gd name="T53" fmla="*/ 904 h 1385"/>
                  <a:gd name="T54" fmla="*/ 3041 w 6930"/>
                  <a:gd name="T55" fmla="*/ 661 h 1385"/>
                  <a:gd name="T56" fmla="*/ 3043 w 6930"/>
                  <a:gd name="T57" fmla="*/ 724 h 1385"/>
                  <a:gd name="T58" fmla="*/ 0 w 6930"/>
                  <a:gd name="T59" fmla="*/ 618 h 1385"/>
                  <a:gd name="T60" fmla="*/ 5157 w 6930"/>
                  <a:gd name="T61" fmla="*/ 611 h 1385"/>
                  <a:gd name="T62" fmla="*/ 5157 w 6930"/>
                  <a:gd name="T63" fmla="*/ 663 h 1385"/>
                  <a:gd name="T64" fmla="*/ 3185 w 6930"/>
                  <a:gd name="T65" fmla="*/ 582 h 1385"/>
                  <a:gd name="T66" fmla="*/ 3187 w 6930"/>
                  <a:gd name="T67" fmla="*/ 582 h 1385"/>
                  <a:gd name="T68" fmla="*/ 208 w 6930"/>
                  <a:gd name="T69" fmla="*/ 549 h 1385"/>
                  <a:gd name="T70" fmla="*/ 6928 w 6930"/>
                  <a:gd name="T71" fmla="*/ 511 h 1385"/>
                  <a:gd name="T72" fmla="*/ 4098 w 6930"/>
                  <a:gd name="T73" fmla="*/ 504 h 1385"/>
                  <a:gd name="T74" fmla="*/ 4086 w 6930"/>
                  <a:gd name="T75" fmla="*/ 518 h 1385"/>
                  <a:gd name="T76" fmla="*/ 3204 w 6930"/>
                  <a:gd name="T77" fmla="*/ 504 h 1385"/>
                  <a:gd name="T78" fmla="*/ 3204 w 6930"/>
                  <a:gd name="T79" fmla="*/ 563 h 1385"/>
                  <a:gd name="T80" fmla="*/ 3939 w 6930"/>
                  <a:gd name="T81" fmla="*/ 455 h 1385"/>
                  <a:gd name="T82" fmla="*/ 3859 w 6930"/>
                  <a:gd name="T83" fmla="*/ 859 h 1385"/>
                  <a:gd name="T84" fmla="*/ 3941 w 6930"/>
                  <a:gd name="T85" fmla="*/ 455 h 1385"/>
                  <a:gd name="T86" fmla="*/ 3232 w 6930"/>
                  <a:gd name="T87" fmla="*/ 473 h 1385"/>
                  <a:gd name="T88" fmla="*/ 3234 w 6930"/>
                  <a:gd name="T89" fmla="*/ 436 h 1385"/>
                  <a:gd name="T90" fmla="*/ 3946 w 6930"/>
                  <a:gd name="T91" fmla="*/ 393 h 1385"/>
                  <a:gd name="T92" fmla="*/ 3946 w 6930"/>
                  <a:gd name="T93" fmla="*/ 447 h 1385"/>
                  <a:gd name="T94" fmla="*/ 1712 w 6930"/>
                  <a:gd name="T95" fmla="*/ 372 h 1385"/>
                  <a:gd name="T96" fmla="*/ 3956 w 6930"/>
                  <a:gd name="T97" fmla="*/ 329 h 1385"/>
                  <a:gd name="T98" fmla="*/ 3956 w 6930"/>
                  <a:gd name="T99" fmla="*/ 383 h 1385"/>
                  <a:gd name="T100" fmla="*/ 4608 w 6930"/>
                  <a:gd name="T101" fmla="*/ 232 h 1385"/>
                  <a:gd name="T102" fmla="*/ 4552 w 6930"/>
                  <a:gd name="T103" fmla="*/ 443 h 1385"/>
                  <a:gd name="T104" fmla="*/ 4755 w 6930"/>
                  <a:gd name="T105" fmla="*/ 2 h 1385"/>
                  <a:gd name="T106" fmla="*/ 4757 w 6930"/>
                  <a:gd name="T107" fmla="*/ 12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30" h="1385">
                    <a:moveTo>
                      <a:pt x="3615" y="1224"/>
                    </a:moveTo>
                    <a:lnTo>
                      <a:pt x="3613" y="1224"/>
                    </a:lnTo>
                    <a:lnTo>
                      <a:pt x="3613" y="1224"/>
                    </a:lnTo>
                    <a:lnTo>
                      <a:pt x="3613" y="1248"/>
                    </a:lnTo>
                    <a:lnTo>
                      <a:pt x="3615" y="1248"/>
                    </a:lnTo>
                    <a:lnTo>
                      <a:pt x="3615" y="1224"/>
                    </a:lnTo>
                    <a:moveTo>
                      <a:pt x="5736" y="1210"/>
                    </a:moveTo>
                    <a:lnTo>
                      <a:pt x="5734" y="1210"/>
                    </a:lnTo>
                    <a:lnTo>
                      <a:pt x="5734" y="1210"/>
                    </a:lnTo>
                    <a:lnTo>
                      <a:pt x="5734" y="1212"/>
                    </a:lnTo>
                    <a:lnTo>
                      <a:pt x="5734" y="1257"/>
                    </a:lnTo>
                    <a:lnTo>
                      <a:pt x="5736" y="1257"/>
                    </a:lnTo>
                    <a:lnTo>
                      <a:pt x="5736" y="1210"/>
                    </a:lnTo>
                    <a:moveTo>
                      <a:pt x="5760" y="1129"/>
                    </a:moveTo>
                    <a:lnTo>
                      <a:pt x="5760" y="1129"/>
                    </a:lnTo>
                    <a:lnTo>
                      <a:pt x="5760" y="1132"/>
                    </a:lnTo>
                    <a:lnTo>
                      <a:pt x="5760" y="1186"/>
                    </a:lnTo>
                    <a:lnTo>
                      <a:pt x="5760" y="1186"/>
                    </a:lnTo>
                    <a:lnTo>
                      <a:pt x="5760" y="1184"/>
                    </a:lnTo>
                    <a:lnTo>
                      <a:pt x="5760" y="1184"/>
                    </a:lnTo>
                    <a:lnTo>
                      <a:pt x="5760" y="1129"/>
                    </a:lnTo>
                    <a:moveTo>
                      <a:pt x="6228" y="1129"/>
                    </a:moveTo>
                    <a:lnTo>
                      <a:pt x="6226" y="1129"/>
                    </a:lnTo>
                    <a:lnTo>
                      <a:pt x="6226" y="1129"/>
                    </a:lnTo>
                    <a:lnTo>
                      <a:pt x="6226" y="1132"/>
                    </a:lnTo>
                    <a:lnTo>
                      <a:pt x="6226" y="1141"/>
                    </a:lnTo>
                    <a:lnTo>
                      <a:pt x="6228" y="1141"/>
                    </a:lnTo>
                    <a:lnTo>
                      <a:pt x="6228" y="1129"/>
                    </a:lnTo>
                    <a:moveTo>
                      <a:pt x="2764" y="1063"/>
                    </a:moveTo>
                    <a:lnTo>
                      <a:pt x="2764" y="1063"/>
                    </a:lnTo>
                    <a:lnTo>
                      <a:pt x="2764" y="1063"/>
                    </a:lnTo>
                    <a:lnTo>
                      <a:pt x="2764" y="1065"/>
                    </a:lnTo>
                    <a:lnTo>
                      <a:pt x="2764" y="1172"/>
                    </a:lnTo>
                    <a:lnTo>
                      <a:pt x="2764" y="1172"/>
                    </a:lnTo>
                    <a:lnTo>
                      <a:pt x="2764" y="1063"/>
                    </a:lnTo>
                    <a:moveTo>
                      <a:pt x="5835" y="1042"/>
                    </a:moveTo>
                    <a:lnTo>
                      <a:pt x="5835" y="1042"/>
                    </a:lnTo>
                    <a:lnTo>
                      <a:pt x="5833" y="1042"/>
                    </a:lnTo>
                    <a:lnTo>
                      <a:pt x="5833" y="1044"/>
                    </a:lnTo>
                    <a:lnTo>
                      <a:pt x="5833" y="1061"/>
                    </a:lnTo>
                    <a:lnTo>
                      <a:pt x="5835" y="1061"/>
                    </a:lnTo>
                    <a:lnTo>
                      <a:pt x="5835" y="1042"/>
                    </a:lnTo>
                    <a:moveTo>
                      <a:pt x="2783" y="1013"/>
                    </a:moveTo>
                    <a:lnTo>
                      <a:pt x="2781" y="1013"/>
                    </a:lnTo>
                    <a:lnTo>
                      <a:pt x="2781" y="1013"/>
                    </a:lnTo>
                    <a:lnTo>
                      <a:pt x="2781" y="1046"/>
                    </a:lnTo>
                    <a:lnTo>
                      <a:pt x="2781" y="1046"/>
                    </a:lnTo>
                    <a:lnTo>
                      <a:pt x="2781" y="1044"/>
                    </a:lnTo>
                    <a:lnTo>
                      <a:pt x="2783" y="1044"/>
                    </a:lnTo>
                    <a:lnTo>
                      <a:pt x="2783" y="1013"/>
                    </a:lnTo>
                    <a:moveTo>
                      <a:pt x="3674" y="994"/>
                    </a:moveTo>
                    <a:lnTo>
                      <a:pt x="3674" y="994"/>
                    </a:lnTo>
                    <a:lnTo>
                      <a:pt x="3674" y="997"/>
                    </a:lnTo>
                    <a:lnTo>
                      <a:pt x="3674" y="1162"/>
                    </a:lnTo>
                    <a:lnTo>
                      <a:pt x="3674" y="1162"/>
                    </a:lnTo>
                    <a:lnTo>
                      <a:pt x="3674" y="1162"/>
                    </a:lnTo>
                    <a:lnTo>
                      <a:pt x="3674" y="1162"/>
                    </a:lnTo>
                    <a:lnTo>
                      <a:pt x="3674" y="994"/>
                    </a:lnTo>
                    <a:moveTo>
                      <a:pt x="5854" y="990"/>
                    </a:moveTo>
                    <a:lnTo>
                      <a:pt x="5852" y="990"/>
                    </a:lnTo>
                    <a:lnTo>
                      <a:pt x="5852" y="992"/>
                    </a:lnTo>
                    <a:lnTo>
                      <a:pt x="5852" y="1025"/>
                    </a:lnTo>
                    <a:lnTo>
                      <a:pt x="5852" y="1025"/>
                    </a:lnTo>
                    <a:lnTo>
                      <a:pt x="5852" y="1023"/>
                    </a:lnTo>
                    <a:lnTo>
                      <a:pt x="5854" y="1023"/>
                    </a:lnTo>
                    <a:lnTo>
                      <a:pt x="5854" y="990"/>
                    </a:lnTo>
                    <a:moveTo>
                      <a:pt x="6245" y="938"/>
                    </a:moveTo>
                    <a:lnTo>
                      <a:pt x="6242" y="938"/>
                    </a:lnTo>
                    <a:lnTo>
                      <a:pt x="6242" y="938"/>
                    </a:lnTo>
                    <a:lnTo>
                      <a:pt x="6242" y="1113"/>
                    </a:lnTo>
                    <a:lnTo>
                      <a:pt x="6245" y="1113"/>
                    </a:lnTo>
                    <a:lnTo>
                      <a:pt x="6245" y="1110"/>
                    </a:lnTo>
                    <a:lnTo>
                      <a:pt x="6245" y="1110"/>
                    </a:lnTo>
                    <a:lnTo>
                      <a:pt x="6245" y="938"/>
                    </a:lnTo>
                    <a:moveTo>
                      <a:pt x="6294" y="878"/>
                    </a:moveTo>
                    <a:lnTo>
                      <a:pt x="6294" y="878"/>
                    </a:lnTo>
                    <a:lnTo>
                      <a:pt x="6292" y="878"/>
                    </a:lnTo>
                    <a:lnTo>
                      <a:pt x="6292" y="881"/>
                    </a:lnTo>
                    <a:lnTo>
                      <a:pt x="6292" y="888"/>
                    </a:lnTo>
                    <a:lnTo>
                      <a:pt x="6292" y="888"/>
                    </a:lnTo>
                    <a:lnTo>
                      <a:pt x="6292" y="885"/>
                    </a:lnTo>
                    <a:lnTo>
                      <a:pt x="6294" y="885"/>
                    </a:lnTo>
                    <a:lnTo>
                      <a:pt x="6294" y="878"/>
                    </a:lnTo>
                    <a:moveTo>
                      <a:pt x="6301" y="850"/>
                    </a:moveTo>
                    <a:lnTo>
                      <a:pt x="6301" y="850"/>
                    </a:lnTo>
                    <a:lnTo>
                      <a:pt x="6301" y="852"/>
                    </a:lnTo>
                    <a:lnTo>
                      <a:pt x="6301" y="871"/>
                    </a:lnTo>
                    <a:lnTo>
                      <a:pt x="6301" y="871"/>
                    </a:lnTo>
                    <a:lnTo>
                      <a:pt x="6301" y="869"/>
                    </a:lnTo>
                    <a:lnTo>
                      <a:pt x="6301" y="869"/>
                    </a:lnTo>
                    <a:lnTo>
                      <a:pt x="6301" y="850"/>
                    </a:lnTo>
                    <a:moveTo>
                      <a:pt x="3005" y="762"/>
                    </a:moveTo>
                    <a:lnTo>
                      <a:pt x="3003" y="762"/>
                    </a:lnTo>
                    <a:lnTo>
                      <a:pt x="3003" y="765"/>
                    </a:lnTo>
                    <a:lnTo>
                      <a:pt x="3003" y="911"/>
                    </a:lnTo>
                    <a:lnTo>
                      <a:pt x="3005" y="911"/>
                    </a:lnTo>
                    <a:lnTo>
                      <a:pt x="3005" y="762"/>
                    </a:lnTo>
                    <a:moveTo>
                      <a:pt x="913" y="753"/>
                    </a:moveTo>
                    <a:lnTo>
                      <a:pt x="913" y="753"/>
                    </a:lnTo>
                    <a:lnTo>
                      <a:pt x="913" y="755"/>
                    </a:lnTo>
                    <a:lnTo>
                      <a:pt x="913" y="760"/>
                    </a:lnTo>
                    <a:lnTo>
                      <a:pt x="913" y="760"/>
                    </a:lnTo>
                    <a:lnTo>
                      <a:pt x="913" y="753"/>
                    </a:lnTo>
                    <a:moveTo>
                      <a:pt x="5036" y="732"/>
                    </a:moveTo>
                    <a:lnTo>
                      <a:pt x="5034" y="732"/>
                    </a:lnTo>
                    <a:lnTo>
                      <a:pt x="5034" y="734"/>
                    </a:lnTo>
                    <a:lnTo>
                      <a:pt x="5034" y="904"/>
                    </a:lnTo>
                    <a:lnTo>
                      <a:pt x="5036" y="904"/>
                    </a:lnTo>
                    <a:lnTo>
                      <a:pt x="5036" y="732"/>
                    </a:lnTo>
                    <a:moveTo>
                      <a:pt x="3043" y="658"/>
                    </a:moveTo>
                    <a:lnTo>
                      <a:pt x="3041" y="658"/>
                    </a:lnTo>
                    <a:lnTo>
                      <a:pt x="3041" y="661"/>
                    </a:lnTo>
                    <a:lnTo>
                      <a:pt x="3041" y="727"/>
                    </a:lnTo>
                    <a:lnTo>
                      <a:pt x="3043" y="727"/>
                    </a:lnTo>
                    <a:lnTo>
                      <a:pt x="3043" y="724"/>
                    </a:lnTo>
                    <a:lnTo>
                      <a:pt x="3043" y="724"/>
                    </a:lnTo>
                    <a:lnTo>
                      <a:pt x="3043" y="658"/>
                    </a:lnTo>
                    <a:moveTo>
                      <a:pt x="2" y="618"/>
                    </a:moveTo>
                    <a:lnTo>
                      <a:pt x="0" y="618"/>
                    </a:lnTo>
                    <a:lnTo>
                      <a:pt x="0" y="618"/>
                    </a:lnTo>
                    <a:lnTo>
                      <a:pt x="0" y="1385"/>
                    </a:lnTo>
                    <a:lnTo>
                      <a:pt x="2" y="1385"/>
                    </a:lnTo>
                    <a:lnTo>
                      <a:pt x="2" y="618"/>
                    </a:lnTo>
                    <a:moveTo>
                      <a:pt x="5157" y="611"/>
                    </a:moveTo>
                    <a:lnTo>
                      <a:pt x="5157" y="611"/>
                    </a:lnTo>
                    <a:lnTo>
                      <a:pt x="5157" y="611"/>
                    </a:lnTo>
                    <a:lnTo>
                      <a:pt x="5157" y="663"/>
                    </a:lnTo>
                    <a:lnTo>
                      <a:pt x="5157" y="663"/>
                    </a:lnTo>
                    <a:lnTo>
                      <a:pt x="5157" y="611"/>
                    </a:lnTo>
                    <a:moveTo>
                      <a:pt x="3187" y="582"/>
                    </a:moveTo>
                    <a:lnTo>
                      <a:pt x="3187" y="582"/>
                    </a:lnTo>
                    <a:lnTo>
                      <a:pt x="3185" y="582"/>
                    </a:lnTo>
                    <a:lnTo>
                      <a:pt x="3185" y="585"/>
                    </a:lnTo>
                    <a:lnTo>
                      <a:pt x="3185" y="589"/>
                    </a:lnTo>
                    <a:lnTo>
                      <a:pt x="3187" y="589"/>
                    </a:lnTo>
                    <a:lnTo>
                      <a:pt x="3187" y="582"/>
                    </a:lnTo>
                    <a:moveTo>
                      <a:pt x="208" y="547"/>
                    </a:moveTo>
                    <a:lnTo>
                      <a:pt x="206" y="547"/>
                    </a:lnTo>
                    <a:lnTo>
                      <a:pt x="206" y="549"/>
                    </a:lnTo>
                    <a:lnTo>
                      <a:pt x="208" y="549"/>
                    </a:lnTo>
                    <a:lnTo>
                      <a:pt x="208" y="547"/>
                    </a:lnTo>
                    <a:moveTo>
                      <a:pt x="6930" y="509"/>
                    </a:moveTo>
                    <a:lnTo>
                      <a:pt x="6928" y="509"/>
                    </a:lnTo>
                    <a:lnTo>
                      <a:pt x="6928" y="511"/>
                    </a:lnTo>
                    <a:lnTo>
                      <a:pt x="6928" y="1025"/>
                    </a:lnTo>
                    <a:lnTo>
                      <a:pt x="6930" y="1025"/>
                    </a:lnTo>
                    <a:lnTo>
                      <a:pt x="6930" y="509"/>
                    </a:lnTo>
                    <a:moveTo>
                      <a:pt x="4098" y="504"/>
                    </a:moveTo>
                    <a:lnTo>
                      <a:pt x="4098" y="504"/>
                    </a:lnTo>
                    <a:lnTo>
                      <a:pt x="4098" y="507"/>
                    </a:lnTo>
                    <a:lnTo>
                      <a:pt x="4086" y="518"/>
                    </a:lnTo>
                    <a:lnTo>
                      <a:pt x="4086" y="518"/>
                    </a:lnTo>
                    <a:lnTo>
                      <a:pt x="4098" y="504"/>
                    </a:lnTo>
                    <a:moveTo>
                      <a:pt x="3204" y="502"/>
                    </a:moveTo>
                    <a:lnTo>
                      <a:pt x="3204" y="502"/>
                    </a:lnTo>
                    <a:lnTo>
                      <a:pt x="3204" y="504"/>
                    </a:lnTo>
                    <a:lnTo>
                      <a:pt x="3204" y="566"/>
                    </a:lnTo>
                    <a:lnTo>
                      <a:pt x="3204" y="566"/>
                    </a:lnTo>
                    <a:lnTo>
                      <a:pt x="3204" y="563"/>
                    </a:lnTo>
                    <a:lnTo>
                      <a:pt x="3204" y="563"/>
                    </a:lnTo>
                    <a:lnTo>
                      <a:pt x="3204" y="502"/>
                    </a:lnTo>
                    <a:moveTo>
                      <a:pt x="3941" y="455"/>
                    </a:moveTo>
                    <a:lnTo>
                      <a:pt x="3939" y="455"/>
                    </a:lnTo>
                    <a:lnTo>
                      <a:pt x="3939" y="455"/>
                    </a:lnTo>
                    <a:lnTo>
                      <a:pt x="3939" y="457"/>
                    </a:lnTo>
                    <a:lnTo>
                      <a:pt x="3939" y="492"/>
                    </a:lnTo>
                    <a:lnTo>
                      <a:pt x="3859" y="644"/>
                    </a:lnTo>
                    <a:lnTo>
                      <a:pt x="3859" y="859"/>
                    </a:lnTo>
                    <a:lnTo>
                      <a:pt x="3859" y="859"/>
                    </a:lnTo>
                    <a:lnTo>
                      <a:pt x="3859" y="642"/>
                    </a:lnTo>
                    <a:lnTo>
                      <a:pt x="3941" y="490"/>
                    </a:lnTo>
                    <a:lnTo>
                      <a:pt x="3941" y="455"/>
                    </a:lnTo>
                    <a:moveTo>
                      <a:pt x="3234" y="436"/>
                    </a:moveTo>
                    <a:lnTo>
                      <a:pt x="3232" y="436"/>
                    </a:lnTo>
                    <a:lnTo>
                      <a:pt x="3232" y="436"/>
                    </a:lnTo>
                    <a:lnTo>
                      <a:pt x="3232" y="473"/>
                    </a:lnTo>
                    <a:lnTo>
                      <a:pt x="3232" y="473"/>
                    </a:lnTo>
                    <a:lnTo>
                      <a:pt x="3232" y="471"/>
                    </a:lnTo>
                    <a:lnTo>
                      <a:pt x="3234" y="471"/>
                    </a:lnTo>
                    <a:lnTo>
                      <a:pt x="3234" y="436"/>
                    </a:lnTo>
                    <a:moveTo>
                      <a:pt x="3946" y="391"/>
                    </a:moveTo>
                    <a:lnTo>
                      <a:pt x="3946" y="391"/>
                    </a:lnTo>
                    <a:lnTo>
                      <a:pt x="3946" y="391"/>
                    </a:lnTo>
                    <a:lnTo>
                      <a:pt x="3946" y="393"/>
                    </a:lnTo>
                    <a:lnTo>
                      <a:pt x="3946" y="450"/>
                    </a:lnTo>
                    <a:lnTo>
                      <a:pt x="3946" y="450"/>
                    </a:lnTo>
                    <a:lnTo>
                      <a:pt x="3946" y="447"/>
                    </a:lnTo>
                    <a:lnTo>
                      <a:pt x="3946" y="447"/>
                    </a:lnTo>
                    <a:lnTo>
                      <a:pt x="3946" y="391"/>
                    </a:lnTo>
                    <a:moveTo>
                      <a:pt x="1714" y="369"/>
                    </a:moveTo>
                    <a:lnTo>
                      <a:pt x="1712" y="369"/>
                    </a:lnTo>
                    <a:lnTo>
                      <a:pt x="1712" y="372"/>
                    </a:lnTo>
                    <a:lnTo>
                      <a:pt x="1712" y="1063"/>
                    </a:lnTo>
                    <a:lnTo>
                      <a:pt x="1714" y="1063"/>
                    </a:lnTo>
                    <a:lnTo>
                      <a:pt x="1714" y="369"/>
                    </a:lnTo>
                    <a:moveTo>
                      <a:pt x="3956" y="329"/>
                    </a:moveTo>
                    <a:lnTo>
                      <a:pt x="3953" y="329"/>
                    </a:lnTo>
                    <a:lnTo>
                      <a:pt x="3953" y="329"/>
                    </a:lnTo>
                    <a:lnTo>
                      <a:pt x="3953" y="383"/>
                    </a:lnTo>
                    <a:lnTo>
                      <a:pt x="3956" y="383"/>
                    </a:lnTo>
                    <a:lnTo>
                      <a:pt x="3956" y="381"/>
                    </a:lnTo>
                    <a:lnTo>
                      <a:pt x="3956" y="381"/>
                    </a:lnTo>
                    <a:lnTo>
                      <a:pt x="3956" y="329"/>
                    </a:lnTo>
                    <a:moveTo>
                      <a:pt x="4608" y="232"/>
                    </a:moveTo>
                    <a:lnTo>
                      <a:pt x="4606" y="232"/>
                    </a:lnTo>
                    <a:lnTo>
                      <a:pt x="4606" y="234"/>
                    </a:lnTo>
                    <a:lnTo>
                      <a:pt x="4549" y="443"/>
                    </a:lnTo>
                    <a:lnTo>
                      <a:pt x="4552" y="443"/>
                    </a:lnTo>
                    <a:lnTo>
                      <a:pt x="4608" y="232"/>
                    </a:lnTo>
                    <a:moveTo>
                      <a:pt x="4757" y="0"/>
                    </a:moveTo>
                    <a:lnTo>
                      <a:pt x="4755" y="0"/>
                    </a:lnTo>
                    <a:lnTo>
                      <a:pt x="4755" y="2"/>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7" name="Freeform 72"/>
              <p:cNvSpPr>
                <a:spLocks noEditPoints="1"/>
              </p:cNvSpPr>
              <p:nvPr/>
            </p:nvSpPr>
            <p:spPr bwMode="auto">
              <a:xfrm>
                <a:off x="75" y="1729"/>
                <a:ext cx="6931" cy="1385"/>
              </a:xfrm>
              <a:custGeom>
                <a:avLst/>
                <a:gdLst>
                  <a:gd name="T0" fmla="*/ 3613 w 6931"/>
                  <a:gd name="T1" fmla="*/ 1248 h 1385"/>
                  <a:gd name="T2" fmla="*/ 5734 w 6931"/>
                  <a:gd name="T3" fmla="*/ 1207 h 1385"/>
                  <a:gd name="T4" fmla="*/ 5737 w 6931"/>
                  <a:gd name="T5" fmla="*/ 1257 h 1385"/>
                  <a:gd name="T6" fmla="*/ 1592 w 6931"/>
                  <a:gd name="T7" fmla="*/ 1132 h 1385"/>
                  <a:gd name="T8" fmla="*/ 5758 w 6931"/>
                  <a:gd name="T9" fmla="*/ 1127 h 1385"/>
                  <a:gd name="T10" fmla="*/ 5760 w 6931"/>
                  <a:gd name="T11" fmla="*/ 1181 h 1385"/>
                  <a:gd name="T12" fmla="*/ 6226 w 6931"/>
                  <a:gd name="T13" fmla="*/ 1127 h 1385"/>
                  <a:gd name="T14" fmla="*/ 6228 w 6931"/>
                  <a:gd name="T15" fmla="*/ 1141 h 1385"/>
                  <a:gd name="T16" fmla="*/ 1369 w 6931"/>
                  <a:gd name="T17" fmla="*/ 1106 h 1385"/>
                  <a:gd name="T18" fmla="*/ 2764 w 6931"/>
                  <a:gd name="T19" fmla="*/ 1061 h 1385"/>
                  <a:gd name="T20" fmla="*/ 2764 w 6931"/>
                  <a:gd name="T21" fmla="*/ 1172 h 1385"/>
                  <a:gd name="T22" fmla="*/ 5833 w 6931"/>
                  <a:gd name="T23" fmla="*/ 1039 h 1385"/>
                  <a:gd name="T24" fmla="*/ 5836 w 6931"/>
                  <a:gd name="T25" fmla="*/ 1039 h 1385"/>
                  <a:gd name="T26" fmla="*/ 2781 w 6931"/>
                  <a:gd name="T27" fmla="*/ 1044 h 1385"/>
                  <a:gd name="T28" fmla="*/ 2783 w 6931"/>
                  <a:gd name="T29" fmla="*/ 1011 h 1385"/>
                  <a:gd name="T30" fmla="*/ 3672 w 6931"/>
                  <a:gd name="T31" fmla="*/ 1162 h 1385"/>
                  <a:gd name="T32" fmla="*/ 3675 w 6931"/>
                  <a:gd name="T33" fmla="*/ 992 h 1385"/>
                  <a:gd name="T34" fmla="*/ 5852 w 6931"/>
                  <a:gd name="T35" fmla="*/ 1023 h 1385"/>
                  <a:gd name="T36" fmla="*/ 5855 w 6931"/>
                  <a:gd name="T37" fmla="*/ 990 h 1385"/>
                  <a:gd name="T38" fmla="*/ 6243 w 6931"/>
                  <a:gd name="T39" fmla="*/ 1110 h 1385"/>
                  <a:gd name="T40" fmla="*/ 6245 w 6931"/>
                  <a:gd name="T41" fmla="*/ 935 h 1385"/>
                  <a:gd name="T42" fmla="*/ 6292 w 6931"/>
                  <a:gd name="T43" fmla="*/ 878 h 1385"/>
                  <a:gd name="T44" fmla="*/ 6295 w 6931"/>
                  <a:gd name="T45" fmla="*/ 885 h 1385"/>
                  <a:gd name="T46" fmla="*/ 6299 w 6931"/>
                  <a:gd name="T47" fmla="*/ 850 h 1385"/>
                  <a:gd name="T48" fmla="*/ 6302 w 6931"/>
                  <a:gd name="T49" fmla="*/ 869 h 1385"/>
                  <a:gd name="T50" fmla="*/ 3003 w 6931"/>
                  <a:gd name="T51" fmla="*/ 762 h 1385"/>
                  <a:gd name="T52" fmla="*/ 913 w 6931"/>
                  <a:gd name="T53" fmla="*/ 753 h 1385"/>
                  <a:gd name="T54" fmla="*/ 913 w 6931"/>
                  <a:gd name="T55" fmla="*/ 760 h 1385"/>
                  <a:gd name="T56" fmla="*/ 5034 w 6931"/>
                  <a:gd name="T57" fmla="*/ 732 h 1385"/>
                  <a:gd name="T58" fmla="*/ 3043 w 6931"/>
                  <a:gd name="T59" fmla="*/ 656 h 1385"/>
                  <a:gd name="T60" fmla="*/ 3041 w 6931"/>
                  <a:gd name="T61" fmla="*/ 724 h 1385"/>
                  <a:gd name="T62" fmla="*/ 0 w 6931"/>
                  <a:gd name="T63" fmla="*/ 616 h 1385"/>
                  <a:gd name="T64" fmla="*/ 0 w 6931"/>
                  <a:gd name="T65" fmla="*/ 1385 h 1385"/>
                  <a:gd name="T66" fmla="*/ 5155 w 6931"/>
                  <a:gd name="T67" fmla="*/ 611 h 1385"/>
                  <a:gd name="T68" fmla="*/ 3188 w 6931"/>
                  <a:gd name="T69" fmla="*/ 580 h 1385"/>
                  <a:gd name="T70" fmla="*/ 3185 w 6931"/>
                  <a:gd name="T71" fmla="*/ 589 h 1385"/>
                  <a:gd name="T72" fmla="*/ 206 w 6931"/>
                  <a:gd name="T73" fmla="*/ 547 h 1385"/>
                  <a:gd name="T74" fmla="*/ 206 w 6931"/>
                  <a:gd name="T75" fmla="*/ 547 h 1385"/>
                  <a:gd name="T76" fmla="*/ 6928 w 6931"/>
                  <a:gd name="T77" fmla="*/ 1025 h 1385"/>
                  <a:gd name="T78" fmla="*/ 4098 w 6931"/>
                  <a:gd name="T79" fmla="*/ 502 h 1385"/>
                  <a:gd name="T80" fmla="*/ 4098 w 6931"/>
                  <a:gd name="T81" fmla="*/ 502 h 1385"/>
                  <a:gd name="T82" fmla="*/ 3202 w 6931"/>
                  <a:gd name="T83" fmla="*/ 502 h 1385"/>
                  <a:gd name="T84" fmla="*/ 3204 w 6931"/>
                  <a:gd name="T85" fmla="*/ 561 h 1385"/>
                  <a:gd name="T86" fmla="*/ 3939 w 6931"/>
                  <a:gd name="T87" fmla="*/ 452 h 1385"/>
                  <a:gd name="T88" fmla="*/ 3857 w 6931"/>
                  <a:gd name="T89" fmla="*/ 859 h 1385"/>
                  <a:gd name="T90" fmla="*/ 3942 w 6931"/>
                  <a:gd name="T91" fmla="*/ 452 h 1385"/>
                  <a:gd name="T92" fmla="*/ 3232 w 6931"/>
                  <a:gd name="T93" fmla="*/ 471 h 1385"/>
                  <a:gd name="T94" fmla="*/ 3232 w 6931"/>
                  <a:gd name="T95" fmla="*/ 433 h 1385"/>
                  <a:gd name="T96" fmla="*/ 3944 w 6931"/>
                  <a:gd name="T97" fmla="*/ 391 h 1385"/>
                  <a:gd name="T98" fmla="*/ 3947 w 6931"/>
                  <a:gd name="T99" fmla="*/ 445 h 1385"/>
                  <a:gd name="T100" fmla="*/ 1712 w 6931"/>
                  <a:gd name="T101" fmla="*/ 369 h 1385"/>
                  <a:gd name="T102" fmla="*/ 3956 w 6931"/>
                  <a:gd name="T103" fmla="*/ 327 h 1385"/>
                  <a:gd name="T104" fmla="*/ 3954 w 6931"/>
                  <a:gd name="T105" fmla="*/ 381 h 1385"/>
                  <a:gd name="T106" fmla="*/ 4609 w 6931"/>
                  <a:gd name="T107" fmla="*/ 230 h 1385"/>
                  <a:gd name="T108" fmla="*/ 4550 w 6931"/>
                  <a:gd name="T109" fmla="*/ 440 h 1385"/>
                  <a:gd name="T110" fmla="*/ 4755 w 6931"/>
                  <a:gd name="T111" fmla="*/ 0 h 1385"/>
                  <a:gd name="T112" fmla="*/ 4758 w 6931"/>
                  <a:gd name="T113" fmla="*/ 12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1" h="1385">
                    <a:moveTo>
                      <a:pt x="3616" y="1222"/>
                    </a:moveTo>
                    <a:lnTo>
                      <a:pt x="3613" y="1222"/>
                    </a:lnTo>
                    <a:lnTo>
                      <a:pt x="3613" y="1224"/>
                    </a:lnTo>
                    <a:lnTo>
                      <a:pt x="3613" y="1248"/>
                    </a:lnTo>
                    <a:lnTo>
                      <a:pt x="3616" y="1248"/>
                    </a:lnTo>
                    <a:lnTo>
                      <a:pt x="3616" y="1222"/>
                    </a:lnTo>
                    <a:close/>
                    <a:moveTo>
                      <a:pt x="5737" y="1207"/>
                    </a:moveTo>
                    <a:lnTo>
                      <a:pt x="5734" y="1207"/>
                    </a:lnTo>
                    <a:lnTo>
                      <a:pt x="5734" y="1207"/>
                    </a:lnTo>
                    <a:lnTo>
                      <a:pt x="5734" y="1210"/>
                    </a:lnTo>
                    <a:lnTo>
                      <a:pt x="5734" y="1257"/>
                    </a:lnTo>
                    <a:lnTo>
                      <a:pt x="5737" y="1257"/>
                    </a:lnTo>
                    <a:lnTo>
                      <a:pt x="5737" y="1207"/>
                    </a:lnTo>
                    <a:close/>
                    <a:moveTo>
                      <a:pt x="1594" y="1132"/>
                    </a:moveTo>
                    <a:lnTo>
                      <a:pt x="1592" y="1132"/>
                    </a:lnTo>
                    <a:lnTo>
                      <a:pt x="1592" y="1132"/>
                    </a:lnTo>
                    <a:lnTo>
                      <a:pt x="1594" y="1132"/>
                    </a:lnTo>
                    <a:lnTo>
                      <a:pt x="1594" y="1132"/>
                    </a:lnTo>
                    <a:close/>
                    <a:moveTo>
                      <a:pt x="5760" y="1127"/>
                    </a:moveTo>
                    <a:lnTo>
                      <a:pt x="5758" y="1127"/>
                    </a:lnTo>
                    <a:lnTo>
                      <a:pt x="5758" y="1129"/>
                    </a:lnTo>
                    <a:lnTo>
                      <a:pt x="5758" y="1184"/>
                    </a:lnTo>
                    <a:lnTo>
                      <a:pt x="5760" y="1184"/>
                    </a:lnTo>
                    <a:lnTo>
                      <a:pt x="5760" y="1181"/>
                    </a:lnTo>
                    <a:lnTo>
                      <a:pt x="5760" y="1181"/>
                    </a:lnTo>
                    <a:lnTo>
                      <a:pt x="5760" y="1127"/>
                    </a:lnTo>
                    <a:close/>
                    <a:moveTo>
                      <a:pt x="6228" y="1127"/>
                    </a:moveTo>
                    <a:lnTo>
                      <a:pt x="6226" y="1127"/>
                    </a:lnTo>
                    <a:lnTo>
                      <a:pt x="6226" y="1127"/>
                    </a:lnTo>
                    <a:lnTo>
                      <a:pt x="6226" y="1129"/>
                    </a:lnTo>
                    <a:lnTo>
                      <a:pt x="6226" y="1141"/>
                    </a:lnTo>
                    <a:lnTo>
                      <a:pt x="6228" y="1141"/>
                    </a:lnTo>
                    <a:lnTo>
                      <a:pt x="6228" y="1127"/>
                    </a:lnTo>
                    <a:close/>
                    <a:moveTo>
                      <a:pt x="1369" y="1082"/>
                    </a:moveTo>
                    <a:lnTo>
                      <a:pt x="1369" y="1082"/>
                    </a:lnTo>
                    <a:lnTo>
                      <a:pt x="1369" y="1106"/>
                    </a:lnTo>
                    <a:lnTo>
                      <a:pt x="1369" y="1106"/>
                    </a:lnTo>
                    <a:lnTo>
                      <a:pt x="1369" y="1082"/>
                    </a:lnTo>
                    <a:close/>
                    <a:moveTo>
                      <a:pt x="2764" y="1061"/>
                    </a:moveTo>
                    <a:lnTo>
                      <a:pt x="2764" y="1061"/>
                    </a:lnTo>
                    <a:lnTo>
                      <a:pt x="2762" y="1061"/>
                    </a:lnTo>
                    <a:lnTo>
                      <a:pt x="2762" y="1063"/>
                    </a:lnTo>
                    <a:lnTo>
                      <a:pt x="2762" y="1172"/>
                    </a:lnTo>
                    <a:lnTo>
                      <a:pt x="2764" y="1172"/>
                    </a:lnTo>
                    <a:lnTo>
                      <a:pt x="2764" y="1061"/>
                    </a:lnTo>
                    <a:close/>
                    <a:moveTo>
                      <a:pt x="5836" y="1039"/>
                    </a:moveTo>
                    <a:lnTo>
                      <a:pt x="5836" y="1039"/>
                    </a:lnTo>
                    <a:lnTo>
                      <a:pt x="5833" y="1039"/>
                    </a:lnTo>
                    <a:lnTo>
                      <a:pt x="5833" y="1042"/>
                    </a:lnTo>
                    <a:lnTo>
                      <a:pt x="5833" y="1061"/>
                    </a:lnTo>
                    <a:lnTo>
                      <a:pt x="5836" y="1061"/>
                    </a:lnTo>
                    <a:lnTo>
                      <a:pt x="5836" y="1039"/>
                    </a:lnTo>
                    <a:close/>
                    <a:moveTo>
                      <a:pt x="2783" y="1011"/>
                    </a:moveTo>
                    <a:lnTo>
                      <a:pt x="2781" y="1011"/>
                    </a:lnTo>
                    <a:lnTo>
                      <a:pt x="2781" y="1013"/>
                    </a:lnTo>
                    <a:lnTo>
                      <a:pt x="2781" y="1044"/>
                    </a:lnTo>
                    <a:lnTo>
                      <a:pt x="2781" y="1044"/>
                    </a:lnTo>
                    <a:lnTo>
                      <a:pt x="2781" y="1042"/>
                    </a:lnTo>
                    <a:lnTo>
                      <a:pt x="2783" y="1042"/>
                    </a:lnTo>
                    <a:lnTo>
                      <a:pt x="2783" y="1011"/>
                    </a:lnTo>
                    <a:close/>
                    <a:moveTo>
                      <a:pt x="3675" y="992"/>
                    </a:moveTo>
                    <a:lnTo>
                      <a:pt x="3672" y="992"/>
                    </a:lnTo>
                    <a:lnTo>
                      <a:pt x="3672" y="994"/>
                    </a:lnTo>
                    <a:lnTo>
                      <a:pt x="3672" y="1162"/>
                    </a:lnTo>
                    <a:lnTo>
                      <a:pt x="3675" y="1162"/>
                    </a:lnTo>
                    <a:lnTo>
                      <a:pt x="3675" y="1160"/>
                    </a:lnTo>
                    <a:lnTo>
                      <a:pt x="3675" y="1160"/>
                    </a:lnTo>
                    <a:lnTo>
                      <a:pt x="3675" y="992"/>
                    </a:lnTo>
                    <a:close/>
                    <a:moveTo>
                      <a:pt x="5855" y="990"/>
                    </a:moveTo>
                    <a:lnTo>
                      <a:pt x="5852" y="990"/>
                    </a:lnTo>
                    <a:lnTo>
                      <a:pt x="5852" y="990"/>
                    </a:lnTo>
                    <a:lnTo>
                      <a:pt x="5852" y="1023"/>
                    </a:lnTo>
                    <a:lnTo>
                      <a:pt x="5852" y="1023"/>
                    </a:lnTo>
                    <a:lnTo>
                      <a:pt x="5852" y="1023"/>
                    </a:lnTo>
                    <a:lnTo>
                      <a:pt x="5855" y="1023"/>
                    </a:lnTo>
                    <a:lnTo>
                      <a:pt x="5855" y="990"/>
                    </a:lnTo>
                    <a:close/>
                    <a:moveTo>
                      <a:pt x="6245" y="935"/>
                    </a:moveTo>
                    <a:lnTo>
                      <a:pt x="6243" y="935"/>
                    </a:lnTo>
                    <a:lnTo>
                      <a:pt x="6243" y="938"/>
                    </a:lnTo>
                    <a:lnTo>
                      <a:pt x="6243" y="1110"/>
                    </a:lnTo>
                    <a:lnTo>
                      <a:pt x="6245" y="1110"/>
                    </a:lnTo>
                    <a:lnTo>
                      <a:pt x="6245" y="1108"/>
                    </a:lnTo>
                    <a:lnTo>
                      <a:pt x="6245" y="1108"/>
                    </a:lnTo>
                    <a:lnTo>
                      <a:pt x="6245" y="935"/>
                    </a:lnTo>
                    <a:close/>
                    <a:moveTo>
                      <a:pt x="6295" y="878"/>
                    </a:moveTo>
                    <a:lnTo>
                      <a:pt x="6292" y="878"/>
                    </a:lnTo>
                    <a:lnTo>
                      <a:pt x="6292" y="878"/>
                    </a:lnTo>
                    <a:lnTo>
                      <a:pt x="6292" y="878"/>
                    </a:lnTo>
                    <a:lnTo>
                      <a:pt x="6292" y="885"/>
                    </a:lnTo>
                    <a:lnTo>
                      <a:pt x="6292" y="885"/>
                    </a:lnTo>
                    <a:lnTo>
                      <a:pt x="6292" y="885"/>
                    </a:lnTo>
                    <a:lnTo>
                      <a:pt x="6295" y="885"/>
                    </a:lnTo>
                    <a:lnTo>
                      <a:pt x="6295" y="878"/>
                    </a:lnTo>
                    <a:close/>
                    <a:moveTo>
                      <a:pt x="6302" y="850"/>
                    </a:moveTo>
                    <a:lnTo>
                      <a:pt x="6299" y="850"/>
                    </a:lnTo>
                    <a:lnTo>
                      <a:pt x="6299" y="850"/>
                    </a:lnTo>
                    <a:lnTo>
                      <a:pt x="6299" y="869"/>
                    </a:lnTo>
                    <a:lnTo>
                      <a:pt x="6302" y="869"/>
                    </a:lnTo>
                    <a:lnTo>
                      <a:pt x="6302" y="869"/>
                    </a:lnTo>
                    <a:lnTo>
                      <a:pt x="6302" y="869"/>
                    </a:lnTo>
                    <a:lnTo>
                      <a:pt x="6302" y="850"/>
                    </a:lnTo>
                    <a:close/>
                    <a:moveTo>
                      <a:pt x="3006" y="762"/>
                    </a:moveTo>
                    <a:lnTo>
                      <a:pt x="3003" y="762"/>
                    </a:lnTo>
                    <a:lnTo>
                      <a:pt x="3003" y="762"/>
                    </a:lnTo>
                    <a:lnTo>
                      <a:pt x="3003" y="911"/>
                    </a:lnTo>
                    <a:lnTo>
                      <a:pt x="3006" y="911"/>
                    </a:lnTo>
                    <a:lnTo>
                      <a:pt x="3006" y="762"/>
                    </a:lnTo>
                    <a:close/>
                    <a:moveTo>
                      <a:pt x="913" y="753"/>
                    </a:moveTo>
                    <a:lnTo>
                      <a:pt x="911" y="753"/>
                    </a:lnTo>
                    <a:lnTo>
                      <a:pt x="911" y="753"/>
                    </a:lnTo>
                    <a:lnTo>
                      <a:pt x="911" y="760"/>
                    </a:lnTo>
                    <a:lnTo>
                      <a:pt x="913" y="760"/>
                    </a:lnTo>
                    <a:lnTo>
                      <a:pt x="913" y="753"/>
                    </a:lnTo>
                    <a:close/>
                    <a:moveTo>
                      <a:pt x="5037" y="732"/>
                    </a:moveTo>
                    <a:lnTo>
                      <a:pt x="5034" y="732"/>
                    </a:lnTo>
                    <a:lnTo>
                      <a:pt x="5034" y="732"/>
                    </a:lnTo>
                    <a:lnTo>
                      <a:pt x="5034" y="904"/>
                    </a:lnTo>
                    <a:lnTo>
                      <a:pt x="5037" y="904"/>
                    </a:lnTo>
                    <a:lnTo>
                      <a:pt x="5037" y="732"/>
                    </a:lnTo>
                    <a:close/>
                    <a:moveTo>
                      <a:pt x="3043" y="656"/>
                    </a:moveTo>
                    <a:lnTo>
                      <a:pt x="3041" y="656"/>
                    </a:lnTo>
                    <a:lnTo>
                      <a:pt x="3041" y="658"/>
                    </a:lnTo>
                    <a:lnTo>
                      <a:pt x="3041" y="724"/>
                    </a:lnTo>
                    <a:lnTo>
                      <a:pt x="3041" y="724"/>
                    </a:lnTo>
                    <a:lnTo>
                      <a:pt x="3041" y="722"/>
                    </a:lnTo>
                    <a:lnTo>
                      <a:pt x="3043" y="722"/>
                    </a:lnTo>
                    <a:lnTo>
                      <a:pt x="3043" y="656"/>
                    </a:lnTo>
                    <a:close/>
                    <a:moveTo>
                      <a:pt x="0" y="616"/>
                    </a:moveTo>
                    <a:lnTo>
                      <a:pt x="0" y="616"/>
                    </a:lnTo>
                    <a:lnTo>
                      <a:pt x="0" y="618"/>
                    </a:lnTo>
                    <a:lnTo>
                      <a:pt x="0" y="1385"/>
                    </a:lnTo>
                    <a:lnTo>
                      <a:pt x="0" y="1385"/>
                    </a:lnTo>
                    <a:lnTo>
                      <a:pt x="0" y="616"/>
                    </a:lnTo>
                    <a:close/>
                    <a:moveTo>
                      <a:pt x="5157" y="608"/>
                    </a:moveTo>
                    <a:lnTo>
                      <a:pt x="5155" y="608"/>
                    </a:lnTo>
                    <a:lnTo>
                      <a:pt x="5155" y="611"/>
                    </a:lnTo>
                    <a:lnTo>
                      <a:pt x="5155" y="663"/>
                    </a:lnTo>
                    <a:lnTo>
                      <a:pt x="5157" y="663"/>
                    </a:lnTo>
                    <a:lnTo>
                      <a:pt x="5157" y="608"/>
                    </a:lnTo>
                    <a:close/>
                    <a:moveTo>
                      <a:pt x="3188" y="580"/>
                    </a:moveTo>
                    <a:lnTo>
                      <a:pt x="3185" y="580"/>
                    </a:lnTo>
                    <a:lnTo>
                      <a:pt x="3185" y="580"/>
                    </a:lnTo>
                    <a:lnTo>
                      <a:pt x="3185" y="582"/>
                    </a:lnTo>
                    <a:lnTo>
                      <a:pt x="3185" y="589"/>
                    </a:lnTo>
                    <a:lnTo>
                      <a:pt x="3188" y="589"/>
                    </a:lnTo>
                    <a:lnTo>
                      <a:pt x="3188" y="580"/>
                    </a:lnTo>
                    <a:close/>
                    <a:moveTo>
                      <a:pt x="206" y="547"/>
                    </a:moveTo>
                    <a:lnTo>
                      <a:pt x="206" y="547"/>
                    </a:lnTo>
                    <a:lnTo>
                      <a:pt x="206" y="547"/>
                    </a:lnTo>
                    <a:lnTo>
                      <a:pt x="206" y="549"/>
                    </a:lnTo>
                    <a:lnTo>
                      <a:pt x="206" y="549"/>
                    </a:lnTo>
                    <a:lnTo>
                      <a:pt x="206" y="547"/>
                    </a:lnTo>
                    <a:close/>
                    <a:moveTo>
                      <a:pt x="6931" y="507"/>
                    </a:moveTo>
                    <a:lnTo>
                      <a:pt x="6928" y="507"/>
                    </a:lnTo>
                    <a:lnTo>
                      <a:pt x="6928" y="509"/>
                    </a:lnTo>
                    <a:lnTo>
                      <a:pt x="6928" y="1025"/>
                    </a:lnTo>
                    <a:lnTo>
                      <a:pt x="6931" y="1025"/>
                    </a:lnTo>
                    <a:lnTo>
                      <a:pt x="6931" y="507"/>
                    </a:lnTo>
                    <a:close/>
                    <a:moveTo>
                      <a:pt x="4098" y="502"/>
                    </a:moveTo>
                    <a:lnTo>
                      <a:pt x="4098" y="502"/>
                    </a:lnTo>
                    <a:lnTo>
                      <a:pt x="4096" y="504"/>
                    </a:lnTo>
                    <a:lnTo>
                      <a:pt x="4084" y="518"/>
                    </a:lnTo>
                    <a:lnTo>
                      <a:pt x="4086" y="521"/>
                    </a:lnTo>
                    <a:lnTo>
                      <a:pt x="4098" y="502"/>
                    </a:lnTo>
                    <a:close/>
                    <a:moveTo>
                      <a:pt x="3204" y="500"/>
                    </a:moveTo>
                    <a:lnTo>
                      <a:pt x="3204" y="500"/>
                    </a:lnTo>
                    <a:lnTo>
                      <a:pt x="3202" y="500"/>
                    </a:lnTo>
                    <a:lnTo>
                      <a:pt x="3202" y="502"/>
                    </a:lnTo>
                    <a:lnTo>
                      <a:pt x="3202" y="563"/>
                    </a:lnTo>
                    <a:lnTo>
                      <a:pt x="3204" y="563"/>
                    </a:lnTo>
                    <a:lnTo>
                      <a:pt x="3204" y="561"/>
                    </a:lnTo>
                    <a:lnTo>
                      <a:pt x="3204" y="561"/>
                    </a:lnTo>
                    <a:lnTo>
                      <a:pt x="3204" y="500"/>
                    </a:lnTo>
                    <a:close/>
                    <a:moveTo>
                      <a:pt x="3942" y="452"/>
                    </a:moveTo>
                    <a:lnTo>
                      <a:pt x="3939" y="452"/>
                    </a:lnTo>
                    <a:lnTo>
                      <a:pt x="3939" y="452"/>
                    </a:lnTo>
                    <a:lnTo>
                      <a:pt x="3939" y="455"/>
                    </a:lnTo>
                    <a:lnTo>
                      <a:pt x="3939" y="490"/>
                    </a:lnTo>
                    <a:lnTo>
                      <a:pt x="3857" y="642"/>
                    </a:lnTo>
                    <a:lnTo>
                      <a:pt x="3857" y="859"/>
                    </a:lnTo>
                    <a:lnTo>
                      <a:pt x="3859" y="859"/>
                    </a:lnTo>
                    <a:lnTo>
                      <a:pt x="3859" y="639"/>
                    </a:lnTo>
                    <a:lnTo>
                      <a:pt x="3942" y="488"/>
                    </a:lnTo>
                    <a:lnTo>
                      <a:pt x="3942" y="452"/>
                    </a:lnTo>
                    <a:close/>
                    <a:moveTo>
                      <a:pt x="3232" y="433"/>
                    </a:moveTo>
                    <a:lnTo>
                      <a:pt x="3232" y="433"/>
                    </a:lnTo>
                    <a:lnTo>
                      <a:pt x="3232" y="436"/>
                    </a:lnTo>
                    <a:lnTo>
                      <a:pt x="3232" y="471"/>
                    </a:lnTo>
                    <a:lnTo>
                      <a:pt x="3232" y="471"/>
                    </a:lnTo>
                    <a:lnTo>
                      <a:pt x="3232" y="471"/>
                    </a:lnTo>
                    <a:lnTo>
                      <a:pt x="3232" y="471"/>
                    </a:lnTo>
                    <a:lnTo>
                      <a:pt x="3232" y="433"/>
                    </a:lnTo>
                    <a:close/>
                    <a:moveTo>
                      <a:pt x="3947" y="391"/>
                    </a:moveTo>
                    <a:lnTo>
                      <a:pt x="3947" y="391"/>
                    </a:lnTo>
                    <a:lnTo>
                      <a:pt x="3944" y="391"/>
                    </a:lnTo>
                    <a:lnTo>
                      <a:pt x="3944" y="391"/>
                    </a:lnTo>
                    <a:lnTo>
                      <a:pt x="3944" y="447"/>
                    </a:lnTo>
                    <a:lnTo>
                      <a:pt x="3947" y="447"/>
                    </a:lnTo>
                    <a:lnTo>
                      <a:pt x="3947" y="445"/>
                    </a:lnTo>
                    <a:lnTo>
                      <a:pt x="3947" y="445"/>
                    </a:lnTo>
                    <a:lnTo>
                      <a:pt x="3947" y="391"/>
                    </a:lnTo>
                    <a:close/>
                    <a:moveTo>
                      <a:pt x="1714" y="367"/>
                    </a:moveTo>
                    <a:lnTo>
                      <a:pt x="1712" y="367"/>
                    </a:lnTo>
                    <a:lnTo>
                      <a:pt x="1712" y="369"/>
                    </a:lnTo>
                    <a:lnTo>
                      <a:pt x="1712" y="1063"/>
                    </a:lnTo>
                    <a:lnTo>
                      <a:pt x="1714" y="1063"/>
                    </a:lnTo>
                    <a:lnTo>
                      <a:pt x="1714" y="367"/>
                    </a:lnTo>
                    <a:close/>
                    <a:moveTo>
                      <a:pt x="3956" y="327"/>
                    </a:moveTo>
                    <a:lnTo>
                      <a:pt x="3954" y="327"/>
                    </a:lnTo>
                    <a:lnTo>
                      <a:pt x="3954" y="329"/>
                    </a:lnTo>
                    <a:lnTo>
                      <a:pt x="3954" y="381"/>
                    </a:lnTo>
                    <a:lnTo>
                      <a:pt x="3954" y="381"/>
                    </a:lnTo>
                    <a:lnTo>
                      <a:pt x="3954" y="381"/>
                    </a:lnTo>
                    <a:lnTo>
                      <a:pt x="3956" y="381"/>
                    </a:lnTo>
                    <a:lnTo>
                      <a:pt x="3956" y="327"/>
                    </a:lnTo>
                    <a:close/>
                    <a:moveTo>
                      <a:pt x="4609" y="230"/>
                    </a:moveTo>
                    <a:lnTo>
                      <a:pt x="4606" y="230"/>
                    </a:lnTo>
                    <a:lnTo>
                      <a:pt x="4606" y="232"/>
                    </a:lnTo>
                    <a:lnTo>
                      <a:pt x="4550" y="443"/>
                    </a:lnTo>
                    <a:lnTo>
                      <a:pt x="4550" y="440"/>
                    </a:lnTo>
                    <a:lnTo>
                      <a:pt x="4609" y="230"/>
                    </a:lnTo>
                    <a:close/>
                    <a:moveTo>
                      <a:pt x="4758" y="0"/>
                    </a:moveTo>
                    <a:lnTo>
                      <a:pt x="4755" y="0"/>
                    </a:lnTo>
                    <a:lnTo>
                      <a:pt x="4755" y="0"/>
                    </a:lnTo>
                    <a:lnTo>
                      <a:pt x="4755" y="123"/>
                    </a:lnTo>
                    <a:lnTo>
                      <a:pt x="4758" y="123"/>
                    </a:lnTo>
                    <a:lnTo>
                      <a:pt x="4758" y="121"/>
                    </a:lnTo>
                    <a:lnTo>
                      <a:pt x="4758" y="121"/>
                    </a:lnTo>
                    <a:lnTo>
                      <a:pt x="475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8" name="Freeform 73"/>
              <p:cNvSpPr>
                <a:spLocks noEditPoints="1"/>
              </p:cNvSpPr>
              <p:nvPr/>
            </p:nvSpPr>
            <p:spPr bwMode="auto">
              <a:xfrm>
                <a:off x="75" y="1729"/>
                <a:ext cx="6931" cy="1385"/>
              </a:xfrm>
              <a:custGeom>
                <a:avLst/>
                <a:gdLst>
                  <a:gd name="T0" fmla="*/ 3613 w 6931"/>
                  <a:gd name="T1" fmla="*/ 1248 h 1385"/>
                  <a:gd name="T2" fmla="*/ 5734 w 6931"/>
                  <a:gd name="T3" fmla="*/ 1207 h 1385"/>
                  <a:gd name="T4" fmla="*/ 5737 w 6931"/>
                  <a:gd name="T5" fmla="*/ 1257 h 1385"/>
                  <a:gd name="T6" fmla="*/ 1592 w 6931"/>
                  <a:gd name="T7" fmla="*/ 1132 h 1385"/>
                  <a:gd name="T8" fmla="*/ 5758 w 6931"/>
                  <a:gd name="T9" fmla="*/ 1127 h 1385"/>
                  <a:gd name="T10" fmla="*/ 5760 w 6931"/>
                  <a:gd name="T11" fmla="*/ 1181 h 1385"/>
                  <a:gd name="T12" fmla="*/ 6226 w 6931"/>
                  <a:gd name="T13" fmla="*/ 1127 h 1385"/>
                  <a:gd name="T14" fmla="*/ 6228 w 6931"/>
                  <a:gd name="T15" fmla="*/ 1141 h 1385"/>
                  <a:gd name="T16" fmla="*/ 1369 w 6931"/>
                  <a:gd name="T17" fmla="*/ 1106 h 1385"/>
                  <a:gd name="T18" fmla="*/ 2764 w 6931"/>
                  <a:gd name="T19" fmla="*/ 1061 h 1385"/>
                  <a:gd name="T20" fmla="*/ 2764 w 6931"/>
                  <a:gd name="T21" fmla="*/ 1172 h 1385"/>
                  <a:gd name="T22" fmla="*/ 5833 w 6931"/>
                  <a:gd name="T23" fmla="*/ 1039 h 1385"/>
                  <a:gd name="T24" fmla="*/ 5836 w 6931"/>
                  <a:gd name="T25" fmla="*/ 1039 h 1385"/>
                  <a:gd name="T26" fmla="*/ 2781 w 6931"/>
                  <a:gd name="T27" fmla="*/ 1044 h 1385"/>
                  <a:gd name="T28" fmla="*/ 2783 w 6931"/>
                  <a:gd name="T29" fmla="*/ 1011 h 1385"/>
                  <a:gd name="T30" fmla="*/ 3672 w 6931"/>
                  <a:gd name="T31" fmla="*/ 1162 h 1385"/>
                  <a:gd name="T32" fmla="*/ 3675 w 6931"/>
                  <a:gd name="T33" fmla="*/ 992 h 1385"/>
                  <a:gd name="T34" fmla="*/ 5852 w 6931"/>
                  <a:gd name="T35" fmla="*/ 1023 h 1385"/>
                  <a:gd name="T36" fmla="*/ 5855 w 6931"/>
                  <a:gd name="T37" fmla="*/ 990 h 1385"/>
                  <a:gd name="T38" fmla="*/ 6243 w 6931"/>
                  <a:gd name="T39" fmla="*/ 1110 h 1385"/>
                  <a:gd name="T40" fmla="*/ 6245 w 6931"/>
                  <a:gd name="T41" fmla="*/ 935 h 1385"/>
                  <a:gd name="T42" fmla="*/ 6292 w 6931"/>
                  <a:gd name="T43" fmla="*/ 878 h 1385"/>
                  <a:gd name="T44" fmla="*/ 6295 w 6931"/>
                  <a:gd name="T45" fmla="*/ 885 h 1385"/>
                  <a:gd name="T46" fmla="*/ 6299 w 6931"/>
                  <a:gd name="T47" fmla="*/ 850 h 1385"/>
                  <a:gd name="T48" fmla="*/ 6302 w 6931"/>
                  <a:gd name="T49" fmla="*/ 869 h 1385"/>
                  <a:gd name="T50" fmla="*/ 3003 w 6931"/>
                  <a:gd name="T51" fmla="*/ 762 h 1385"/>
                  <a:gd name="T52" fmla="*/ 913 w 6931"/>
                  <a:gd name="T53" fmla="*/ 753 h 1385"/>
                  <a:gd name="T54" fmla="*/ 913 w 6931"/>
                  <a:gd name="T55" fmla="*/ 760 h 1385"/>
                  <a:gd name="T56" fmla="*/ 5034 w 6931"/>
                  <a:gd name="T57" fmla="*/ 732 h 1385"/>
                  <a:gd name="T58" fmla="*/ 3043 w 6931"/>
                  <a:gd name="T59" fmla="*/ 656 h 1385"/>
                  <a:gd name="T60" fmla="*/ 3041 w 6931"/>
                  <a:gd name="T61" fmla="*/ 724 h 1385"/>
                  <a:gd name="T62" fmla="*/ 0 w 6931"/>
                  <a:gd name="T63" fmla="*/ 616 h 1385"/>
                  <a:gd name="T64" fmla="*/ 0 w 6931"/>
                  <a:gd name="T65" fmla="*/ 1385 h 1385"/>
                  <a:gd name="T66" fmla="*/ 5155 w 6931"/>
                  <a:gd name="T67" fmla="*/ 611 h 1385"/>
                  <a:gd name="T68" fmla="*/ 3188 w 6931"/>
                  <a:gd name="T69" fmla="*/ 580 h 1385"/>
                  <a:gd name="T70" fmla="*/ 3185 w 6931"/>
                  <a:gd name="T71" fmla="*/ 589 h 1385"/>
                  <a:gd name="T72" fmla="*/ 206 w 6931"/>
                  <a:gd name="T73" fmla="*/ 547 h 1385"/>
                  <a:gd name="T74" fmla="*/ 206 w 6931"/>
                  <a:gd name="T75" fmla="*/ 547 h 1385"/>
                  <a:gd name="T76" fmla="*/ 6928 w 6931"/>
                  <a:gd name="T77" fmla="*/ 1025 h 1385"/>
                  <a:gd name="T78" fmla="*/ 4098 w 6931"/>
                  <a:gd name="T79" fmla="*/ 502 h 1385"/>
                  <a:gd name="T80" fmla="*/ 4098 w 6931"/>
                  <a:gd name="T81" fmla="*/ 502 h 1385"/>
                  <a:gd name="T82" fmla="*/ 3202 w 6931"/>
                  <a:gd name="T83" fmla="*/ 502 h 1385"/>
                  <a:gd name="T84" fmla="*/ 3204 w 6931"/>
                  <a:gd name="T85" fmla="*/ 561 h 1385"/>
                  <a:gd name="T86" fmla="*/ 3939 w 6931"/>
                  <a:gd name="T87" fmla="*/ 452 h 1385"/>
                  <a:gd name="T88" fmla="*/ 3857 w 6931"/>
                  <a:gd name="T89" fmla="*/ 859 h 1385"/>
                  <a:gd name="T90" fmla="*/ 3942 w 6931"/>
                  <a:gd name="T91" fmla="*/ 452 h 1385"/>
                  <a:gd name="T92" fmla="*/ 3232 w 6931"/>
                  <a:gd name="T93" fmla="*/ 471 h 1385"/>
                  <a:gd name="T94" fmla="*/ 3232 w 6931"/>
                  <a:gd name="T95" fmla="*/ 433 h 1385"/>
                  <a:gd name="T96" fmla="*/ 3944 w 6931"/>
                  <a:gd name="T97" fmla="*/ 391 h 1385"/>
                  <a:gd name="T98" fmla="*/ 3947 w 6931"/>
                  <a:gd name="T99" fmla="*/ 445 h 1385"/>
                  <a:gd name="T100" fmla="*/ 1712 w 6931"/>
                  <a:gd name="T101" fmla="*/ 369 h 1385"/>
                  <a:gd name="T102" fmla="*/ 3956 w 6931"/>
                  <a:gd name="T103" fmla="*/ 327 h 1385"/>
                  <a:gd name="T104" fmla="*/ 3954 w 6931"/>
                  <a:gd name="T105" fmla="*/ 381 h 1385"/>
                  <a:gd name="T106" fmla="*/ 4609 w 6931"/>
                  <a:gd name="T107" fmla="*/ 230 h 1385"/>
                  <a:gd name="T108" fmla="*/ 4550 w 6931"/>
                  <a:gd name="T109" fmla="*/ 440 h 1385"/>
                  <a:gd name="T110" fmla="*/ 4755 w 6931"/>
                  <a:gd name="T111" fmla="*/ 0 h 1385"/>
                  <a:gd name="T112" fmla="*/ 4758 w 6931"/>
                  <a:gd name="T113" fmla="*/ 12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1" h="1385">
                    <a:moveTo>
                      <a:pt x="3616" y="1222"/>
                    </a:moveTo>
                    <a:lnTo>
                      <a:pt x="3613" y="1222"/>
                    </a:lnTo>
                    <a:lnTo>
                      <a:pt x="3613" y="1224"/>
                    </a:lnTo>
                    <a:lnTo>
                      <a:pt x="3613" y="1248"/>
                    </a:lnTo>
                    <a:lnTo>
                      <a:pt x="3616" y="1248"/>
                    </a:lnTo>
                    <a:lnTo>
                      <a:pt x="3616" y="1222"/>
                    </a:lnTo>
                    <a:moveTo>
                      <a:pt x="5737" y="1207"/>
                    </a:moveTo>
                    <a:lnTo>
                      <a:pt x="5734" y="1207"/>
                    </a:lnTo>
                    <a:lnTo>
                      <a:pt x="5734" y="1207"/>
                    </a:lnTo>
                    <a:lnTo>
                      <a:pt x="5734" y="1210"/>
                    </a:lnTo>
                    <a:lnTo>
                      <a:pt x="5734" y="1257"/>
                    </a:lnTo>
                    <a:lnTo>
                      <a:pt x="5737" y="1257"/>
                    </a:lnTo>
                    <a:lnTo>
                      <a:pt x="5737" y="1207"/>
                    </a:lnTo>
                    <a:moveTo>
                      <a:pt x="1594" y="1132"/>
                    </a:moveTo>
                    <a:lnTo>
                      <a:pt x="1592" y="1132"/>
                    </a:lnTo>
                    <a:lnTo>
                      <a:pt x="1592" y="1132"/>
                    </a:lnTo>
                    <a:lnTo>
                      <a:pt x="1594" y="1132"/>
                    </a:lnTo>
                    <a:lnTo>
                      <a:pt x="1594" y="1132"/>
                    </a:lnTo>
                    <a:moveTo>
                      <a:pt x="5760" y="1127"/>
                    </a:moveTo>
                    <a:lnTo>
                      <a:pt x="5758" y="1127"/>
                    </a:lnTo>
                    <a:lnTo>
                      <a:pt x="5758" y="1129"/>
                    </a:lnTo>
                    <a:lnTo>
                      <a:pt x="5758" y="1184"/>
                    </a:lnTo>
                    <a:lnTo>
                      <a:pt x="5760" y="1184"/>
                    </a:lnTo>
                    <a:lnTo>
                      <a:pt x="5760" y="1181"/>
                    </a:lnTo>
                    <a:lnTo>
                      <a:pt x="5760" y="1181"/>
                    </a:lnTo>
                    <a:lnTo>
                      <a:pt x="5760" y="1127"/>
                    </a:lnTo>
                    <a:moveTo>
                      <a:pt x="6228" y="1127"/>
                    </a:moveTo>
                    <a:lnTo>
                      <a:pt x="6226" y="1127"/>
                    </a:lnTo>
                    <a:lnTo>
                      <a:pt x="6226" y="1127"/>
                    </a:lnTo>
                    <a:lnTo>
                      <a:pt x="6226" y="1129"/>
                    </a:lnTo>
                    <a:lnTo>
                      <a:pt x="6226" y="1141"/>
                    </a:lnTo>
                    <a:lnTo>
                      <a:pt x="6228" y="1141"/>
                    </a:lnTo>
                    <a:lnTo>
                      <a:pt x="6228" y="1127"/>
                    </a:lnTo>
                    <a:moveTo>
                      <a:pt x="1369" y="1082"/>
                    </a:moveTo>
                    <a:lnTo>
                      <a:pt x="1369" y="1082"/>
                    </a:lnTo>
                    <a:lnTo>
                      <a:pt x="1369" y="1106"/>
                    </a:lnTo>
                    <a:lnTo>
                      <a:pt x="1369" y="1106"/>
                    </a:lnTo>
                    <a:lnTo>
                      <a:pt x="1369" y="1082"/>
                    </a:lnTo>
                    <a:moveTo>
                      <a:pt x="2764" y="1061"/>
                    </a:moveTo>
                    <a:lnTo>
                      <a:pt x="2764" y="1061"/>
                    </a:lnTo>
                    <a:lnTo>
                      <a:pt x="2762" y="1061"/>
                    </a:lnTo>
                    <a:lnTo>
                      <a:pt x="2762" y="1063"/>
                    </a:lnTo>
                    <a:lnTo>
                      <a:pt x="2762" y="1172"/>
                    </a:lnTo>
                    <a:lnTo>
                      <a:pt x="2764" y="1172"/>
                    </a:lnTo>
                    <a:lnTo>
                      <a:pt x="2764" y="1061"/>
                    </a:lnTo>
                    <a:moveTo>
                      <a:pt x="5836" y="1039"/>
                    </a:moveTo>
                    <a:lnTo>
                      <a:pt x="5836" y="1039"/>
                    </a:lnTo>
                    <a:lnTo>
                      <a:pt x="5833" y="1039"/>
                    </a:lnTo>
                    <a:lnTo>
                      <a:pt x="5833" y="1042"/>
                    </a:lnTo>
                    <a:lnTo>
                      <a:pt x="5833" y="1061"/>
                    </a:lnTo>
                    <a:lnTo>
                      <a:pt x="5836" y="1061"/>
                    </a:lnTo>
                    <a:lnTo>
                      <a:pt x="5836" y="1039"/>
                    </a:lnTo>
                    <a:moveTo>
                      <a:pt x="2783" y="1011"/>
                    </a:moveTo>
                    <a:lnTo>
                      <a:pt x="2781" y="1011"/>
                    </a:lnTo>
                    <a:lnTo>
                      <a:pt x="2781" y="1013"/>
                    </a:lnTo>
                    <a:lnTo>
                      <a:pt x="2781" y="1044"/>
                    </a:lnTo>
                    <a:lnTo>
                      <a:pt x="2781" y="1044"/>
                    </a:lnTo>
                    <a:lnTo>
                      <a:pt x="2781" y="1042"/>
                    </a:lnTo>
                    <a:lnTo>
                      <a:pt x="2783" y="1042"/>
                    </a:lnTo>
                    <a:lnTo>
                      <a:pt x="2783" y="1011"/>
                    </a:lnTo>
                    <a:moveTo>
                      <a:pt x="3675" y="992"/>
                    </a:moveTo>
                    <a:lnTo>
                      <a:pt x="3672" y="992"/>
                    </a:lnTo>
                    <a:lnTo>
                      <a:pt x="3672" y="994"/>
                    </a:lnTo>
                    <a:lnTo>
                      <a:pt x="3672" y="1162"/>
                    </a:lnTo>
                    <a:lnTo>
                      <a:pt x="3675" y="1162"/>
                    </a:lnTo>
                    <a:lnTo>
                      <a:pt x="3675" y="1160"/>
                    </a:lnTo>
                    <a:lnTo>
                      <a:pt x="3675" y="1160"/>
                    </a:lnTo>
                    <a:lnTo>
                      <a:pt x="3675" y="992"/>
                    </a:lnTo>
                    <a:moveTo>
                      <a:pt x="5855" y="990"/>
                    </a:moveTo>
                    <a:lnTo>
                      <a:pt x="5852" y="990"/>
                    </a:lnTo>
                    <a:lnTo>
                      <a:pt x="5852" y="990"/>
                    </a:lnTo>
                    <a:lnTo>
                      <a:pt x="5852" y="1023"/>
                    </a:lnTo>
                    <a:lnTo>
                      <a:pt x="5852" y="1023"/>
                    </a:lnTo>
                    <a:lnTo>
                      <a:pt x="5852" y="1023"/>
                    </a:lnTo>
                    <a:lnTo>
                      <a:pt x="5855" y="1023"/>
                    </a:lnTo>
                    <a:lnTo>
                      <a:pt x="5855" y="990"/>
                    </a:lnTo>
                    <a:moveTo>
                      <a:pt x="6245" y="935"/>
                    </a:moveTo>
                    <a:lnTo>
                      <a:pt x="6243" y="935"/>
                    </a:lnTo>
                    <a:lnTo>
                      <a:pt x="6243" y="938"/>
                    </a:lnTo>
                    <a:lnTo>
                      <a:pt x="6243" y="1110"/>
                    </a:lnTo>
                    <a:lnTo>
                      <a:pt x="6245" y="1110"/>
                    </a:lnTo>
                    <a:lnTo>
                      <a:pt x="6245" y="1108"/>
                    </a:lnTo>
                    <a:lnTo>
                      <a:pt x="6245" y="1108"/>
                    </a:lnTo>
                    <a:lnTo>
                      <a:pt x="6245" y="935"/>
                    </a:lnTo>
                    <a:moveTo>
                      <a:pt x="6295" y="878"/>
                    </a:moveTo>
                    <a:lnTo>
                      <a:pt x="6292" y="878"/>
                    </a:lnTo>
                    <a:lnTo>
                      <a:pt x="6292" y="878"/>
                    </a:lnTo>
                    <a:lnTo>
                      <a:pt x="6292" y="878"/>
                    </a:lnTo>
                    <a:lnTo>
                      <a:pt x="6292" y="885"/>
                    </a:lnTo>
                    <a:lnTo>
                      <a:pt x="6292" y="885"/>
                    </a:lnTo>
                    <a:lnTo>
                      <a:pt x="6292" y="885"/>
                    </a:lnTo>
                    <a:lnTo>
                      <a:pt x="6295" y="885"/>
                    </a:lnTo>
                    <a:lnTo>
                      <a:pt x="6295" y="878"/>
                    </a:lnTo>
                    <a:moveTo>
                      <a:pt x="6302" y="850"/>
                    </a:moveTo>
                    <a:lnTo>
                      <a:pt x="6299" y="850"/>
                    </a:lnTo>
                    <a:lnTo>
                      <a:pt x="6299" y="850"/>
                    </a:lnTo>
                    <a:lnTo>
                      <a:pt x="6299" y="869"/>
                    </a:lnTo>
                    <a:lnTo>
                      <a:pt x="6302" y="869"/>
                    </a:lnTo>
                    <a:lnTo>
                      <a:pt x="6302" y="869"/>
                    </a:lnTo>
                    <a:lnTo>
                      <a:pt x="6302" y="869"/>
                    </a:lnTo>
                    <a:lnTo>
                      <a:pt x="6302" y="850"/>
                    </a:lnTo>
                    <a:moveTo>
                      <a:pt x="3006" y="762"/>
                    </a:moveTo>
                    <a:lnTo>
                      <a:pt x="3003" y="762"/>
                    </a:lnTo>
                    <a:lnTo>
                      <a:pt x="3003" y="762"/>
                    </a:lnTo>
                    <a:lnTo>
                      <a:pt x="3003" y="911"/>
                    </a:lnTo>
                    <a:lnTo>
                      <a:pt x="3006" y="911"/>
                    </a:lnTo>
                    <a:lnTo>
                      <a:pt x="3006" y="762"/>
                    </a:lnTo>
                    <a:moveTo>
                      <a:pt x="913" y="753"/>
                    </a:moveTo>
                    <a:lnTo>
                      <a:pt x="911" y="753"/>
                    </a:lnTo>
                    <a:lnTo>
                      <a:pt x="911" y="753"/>
                    </a:lnTo>
                    <a:lnTo>
                      <a:pt x="911" y="760"/>
                    </a:lnTo>
                    <a:lnTo>
                      <a:pt x="913" y="760"/>
                    </a:lnTo>
                    <a:lnTo>
                      <a:pt x="913" y="753"/>
                    </a:lnTo>
                    <a:moveTo>
                      <a:pt x="5037" y="732"/>
                    </a:moveTo>
                    <a:lnTo>
                      <a:pt x="5034" y="732"/>
                    </a:lnTo>
                    <a:lnTo>
                      <a:pt x="5034" y="732"/>
                    </a:lnTo>
                    <a:lnTo>
                      <a:pt x="5034" y="904"/>
                    </a:lnTo>
                    <a:lnTo>
                      <a:pt x="5037" y="904"/>
                    </a:lnTo>
                    <a:lnTo>
                      <a:pt x="5037" y="732"/>
                    </a:lnTo>
                    <a:moveTo>
                      <a:pt x="3043" y="656"/>
                    </a:moveTo>
                    <a:lnTo>
                      <a:pt x="3041" y="656"/>
                    </a:lnTo>
                    <a:lnTo>
                      <a:pt x="3041" y="658"/>
                    </a:lnTo>
                    <a:lnTo>
                      <a:pt x="3041" y="724"/>
                    </a:lnTo>
                    <a:lnTo>
                      <a:pt x="3041" y="724"/>
                    </a:lnTo>
                    <a:lnTo>
                      <a:pt x="3041" y="722"/>
                    </a:lnTo>
                    <a:lnTo>
                      <a:pt x="3043" y="722"/>
                    </a:lnTo>
                    <a:lnTo>
                      <a:pt x="3043" y="656"/>
                    </a:lnTo>
                    <a:moveTo>
                      <a:pt x="0" y="616"/>
                    </a:moveTo>
                    <a:lnTo>
                      <a:pt x="0" y="616"/>
                    </a:lnTo>
                    <a:lnTo>
                      <a:pt x="0" y="618"/>
                    </a:lnTo>
                    <a:lnTo>
                      <a:pt x="0" y="1385"/>
                    </a:lnTo>
                    <a:lnTo>
                      <a:pt x="0" y="1385"/>
                    </a:lnTo>
                    <a:lnTo>
                      <a:pt x="0" y="616"/>
                    </a:lnTo>
                    <a:moveTo>
                      <a:pt x="5157" y="608"/>
                    </a:moveTo>
                    <a:lnTo>
                      <a:pt x="5155" y="608"/>
                    </a:lnTo>
                    <a:lnTo>
                      <a:pt x="5155" y="611"/>
                    </a:lnTo>
                    <a:lnTo>
                      <a:pt x="5155" y="663"/>
                    </a:lnTo>
                    <a:lnTo>
                      <a:pt x="5157" y="663"/>
                    </a:lnTo>
                    <a:lnTo>
                      <a:pt x="5157" y="608"/>
                    </a:lnTo>
                    <a:moveTo>
                      <a:pt x="3188" y="580"/>
                    </a:moveTo>
                    <a:lnTo>
                      <a:pt x="3185" y="580"/>
                    </a:lnTo>
                    <a:lnTo>
                      <a:pt x="3185" y="580"/>
                    </a:lnTo>
                    <a:lnTo>
                      <a:pt x="3185" y="582"/>
                    </a:lnTo>
                    <a:lnTo>
                      <a:pt x="3185" y="589"/>
                    </a:lnTo>
                    <a:lnTo>
                      <a:pt x="3188" y="589"/>
                    </a:lnTo>
                    <a:lnTo>
                      <a:pt x="3188" y="580"/>
                    </a:lnTo>
                    <a:moveTo>
                      <a:pt x="206" y="547"/>
                    </a:moveTo>
                    <a:lnTo>
                      <a:pt x="206" y="547"/>
                    </a:lnTo>
                    <a:lnTo>
                      <a:pt x="206" y="547"/>
                    </a:lnTo>
                    <a:lnTo>
                      <a:pt x="206" y="549"/>
                    </a:lnTo>
                    <a:lnTo>
                      <a:pt x="206" y="549"/>
                    </a:lnTo>
                    <a:lnTo>
                      <a:pt x="206" y="547"/>
                    </a:lnTo>
                    <a:moveTo>
                      <a:pt x="6931" y="507"/>
                    </a:moveTo>
                    <a:lnTo>
                      <a:pt x="6928" y="507"/>
                    </a:lnTo>
                    <a:lnTo>
                      <a:pt x="6928" y="509"/>
                    </a:lnTo>
                    <a:lnTo>
                      <a:pt x="6928" y="1025"/>
                    </a:lnTo>
                    <a:lnTo>
                      <a:pt x="6931" y="1025"/>
                    </a:lnTo>
                    <a:lnTo>
                      <a:pt x="6931" y="507"/>
                    </a:lnTo>
                    <a:moveTo>
                      <a:pt x="4098" y="502"/>
                    </a:moveTo>
                    <a:lnTo>
                      <a:pt x="4098" y="502"/>
                    </a:lnTo>
                    <a:lnTo>
                      <a:pt x="4096" y="504"/>
                    </a:lnTo>
                    <a:lnTo>
                      <a:pt x="4084" y="518"/>
                    </a:lnTo>
                    <a:lnTo>
                      <a:pt x="4086" y="521"/>
                    </a:lnTo>
                    <a:lnTo>
                      <a:pt x="4098" y="502"/>
                    </a:lnTo>
                    <a:moveTo>
                      <a:pt x="3204" y="500"/>
                    </a:moveTo>
                    <a:lnTo>
                      <a:pt x="3204" y="500"/>
                    </a:lnTo>
                    <a:lnTo>
                      <a:pt x="3202" y="500"/>
                    </a:lnTo>
                    <a:lnTo>
                      <a:pt x="3202" y="502"/>
                    </a:lnTo>
                    <a:lnTo>
                      <a:pt x="3202" y="563"/>
                    </a:lnTo>
                    <a:lnTo>
                      <a:pt x="3204" y="563"/>
                    </a:lnTo>
                    <a:lnTo>
                      <a:pt x="3204" y="561"/>
                    </a:lnTo>
                    <a:lnTo>
                      <a:pt x="3204" y="561"/>
                    </a:lnTo>
                    <a:lnTo>
                      <a:pt x="3204" y="500"/>
                    </a:lnTo>
                    <a:moveTo>
                      <a:pt x="3942" y="452"/>
                    </a:moveTo>
                    <a:lnTo>
                      <a:pt x="3939" y="452"/>
                    </a:lnTo>
                    <a:lnTo>
                      <a:pt x="3939" y="452"/>
                    </a:lnTo>
                    <a:lnTo>
                      <a:pt x="3939" y="455"/>
                    </a:lnTo>
                    <a:lnTo>
                      <a:pt x="3939" y="490"/>
                    </a:lnTo>
                    <a:lnTo>
                      <a:pt x="3857" y="642"/>
                    </a:lnTo>
                    <a:lnTo>
                      <a:pt x="3857" y="859"/>
                    </a:lnTo>
                    <a:lnTo>
                      <a:pt x="3859" y="859"/>
                    </a:lnTo>
                    <a:lnTo>
                      <a:pt x="3859" y="639"/>
                    </a:lnTo>
                    <a:lnTo>
                      <a:pt x="3942" y="488"/>
                    </a:lnTo>
                    <a:lnTo>
                      <a:pt x="3942" y="452"/>
                    </a:lnTo>
                    <a:moveTo>
                      <a:pt x="3232" y="433"/>
                    </a:moveTo>
                    <a:lnTo>
                      <a:pt x="3232" y="433"/>
                    </a:lnTo>
                    <a:lnTo>
                      <a:pt x="3232" y="436"/>
                    </a:lnTo>
                    <a:lnTo>
                      <a:pt x="3232" y="471"/>
                    </a:lnTo>
                    <a:lnTo>
                      <a:pt x="3232" y="471"/>
                    </a:lnTo>
                    <a:lnTo>
                      <a:pt x="3232" y="471"/>
                    </a:lnTo>
                    <a:lnTo>
                      <a:pt x="3232" y="471"/>
                    </a:lnTo>
                    <a:lnTo>
                      <a:pt x="3232" y="433"/>
                    </a:lnTo>
                    <a:moveTo>
                      <a:pt x="3947" y="391"/>
                    </a:moveTo>
                    <a:lnTo>
                      <a:pt x="3947" y="391"/>
                    </a:lnTo>
                    <a:lnTo>
                      <a:pt x="3944" y="391"/>
                    </a:lnTo>
                    <a:lnTo>
                      <a:pt x="3944" y="391"/>
                    </a:lnTo>
                    <a:lnTo>
                      <a:pt x="3944" y="447"/>
                    </a:lnTo>
                    <a:lnTo>
                      <a:pt x="3947" y="447"/>
                    </a:lnTo>
                    <a:lnTo>
                      <a:pt x="3947" y="445"/>
                    </a:lnTo>
                    <a:lnTo>
                      <a:pt x="3947" y="445"/>
                    </a:lnTo>
                    <a:lnTo>
                      <a:pt x="3947" y="391"/>
                    </a:lnTo>
                    <a:moveTo>
                      <a:pt x="1714" y="367"/>
                    </a:moveTo>
                    <a:lnTo>
                      <a:pt x="1712" y="367"/>
                    </a:lnTo>
                    <a:lnTo>
                      <a:pt x="1712" y="369"/>
                    </a:lnTo>
                    <a:lnTo>
                      <a:pt x="1712" y="1063"/>
                    </a:lnTo>
                    <a:lnTo>
                      <a:pt x="1714" y="1063"/>
                    </a:lnTo>
                    <a:lnTo>
                      <a:pt x="1714" y="367"/>
                    </a:lnTo>
                    <a:moveTo>
                      <a:pt x="3956" y="327"/>
                    </a:moveTo>
                    <a:lnTo>
                      <a:pt x="3954" y="327"/>
                    </a:lnTo>
                    <a:lnTo>
                      <a:pt x="3954" y="329"/>
                    </a:lnTo>
                    <a:lnTo>
                      <a:pt x="3954" y="381"/>
                    </a:lnTo>
                    <a:lnTo>
                      <a:pt x="3954" y="381"/>
                    </a:lnTo>
                    <a:lnTo>
                      <a:pt x="3954" y="381"/>
                    </a:lnTo>
                    <a:lnTo>
                      <a:pt x="3956" y="381"/>
                    </a:lnTo>
                    <a:lnTo>
                      <a:pt x="3956" y="327"/>
                    </a:lnTo>
                    <a:moveTo>
                      <a:pt x="4609" y="230"/>
                    </a:moveTo>
                    <a:lnTo>
                      <a:pt x="4606" y="230"/>
                    </a:lnTo>
                    <a:lnTo>
                      <a:pt x="4606" y="232"/>
                    </a:lnTo>
                    <a:lnTo>
                      <a:pt x="4550" y="443"/>
                    </a:lnTo>
                    <a:lnTo>
                      <a:pt x="4550" y="440"/>
                    </a:lnTo>
                    <a:lnTo>
                      <a:pt x="4609" y="230"/>
                    </a:lnTo>
                    <a:moveTo>
                      <a:pt x="4758" y="0"/>
                    </a:moveTo>
                    <a:lnTo>
                      <a:pt x="4755" y="0"/>
                    </a:lnTo>
                    <a:lnTo>
                      <a:pt x="4755" y="0"/>
                    </a:lnTo>
                    <a:lnTo>
                      <a:pt x="4755" y="123"/>
                    </a:lnTo>
                    <a:lnTo>
                      <a:pt x="4758" y="123"/>
                    </a:lnTo>
                    <a:lnTo>
                      <a:pt x="4758" y="121"/>
                    </a:lnTo>
                    <a:lnTo>
                      <a:pt x="4758" y="121"/>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59" name="Freeform 74"/>
              <p:cNvSpPr>
                <a:spLocks noEditPoints="1"/>
              </p:cNvSpPr>
              <p:nvPr/>
            </p:nvSpPr>
            <p:spPr bwMode="auto">
              <a:xfrm>
                <a:off x="75" y="1727"/>
                <a:ext cx="6933" cy="1387"/>
              </a:xfrm>
              <a:custGeom>
                <a:avLst/>
                <a:gdLst>
                  <a:gd name="T0" fmla="*/ 3616 w 6933"/>
                  <a:gd name="T1" fmla="*/ 1250 h 1387"/>
                  <a:gd name="T2" fmla="*/ 5737 w 6933"/>
                  <a:gd name="T3" fmla="*/ 1207 h 1387"/>
                  <a:gd name="T4" fmla="*/ 5737 w 6933"/>
                  <a:gd name="T5" fmla="*/ 1259 h 1387"/>
                  <a:gd name="T6" fmla="*/ 1594 w 6933"/>
                  <a:gd name="T7" fmla="*/ 1134 h 1387"/>
                  <a:gd name="T8" fmla="*/ 1596 w 6933"/>
                  <a:gd name="T9" fmla="*/ 1131 h 1387"/>
                  <a:gd name="T10" fmla="*/ 5760 w 6933"/>
                  <a:gd name="T11" fmla="*/ 1129 h 1387"/>
                  <a:gd name="T12" fmla="*/ 5763 w 6933"/>
                  <a:gd name="T13" fmla="*/ 1181 h 1387"/>
                  <a:gd name="T14" fmla="*/ 6228 w 6933"/>
                  <a:gd name="T15" fmla="*/ 1127 h 1387"/>
                  <a:gd name="T16" fmla="*/ 6228 w 6933"/>
                  <a:gd name="T17" fmla="*/ 1127 h 1387"/>
                  <a:gd name="T18" fmla="*/ 1369 w 6933"/>
                  <a:gd name="T19" fmla="*/ 1108 h 1387"/>
                  <a:gd name="T20" fmla="*/ 1369 w 6933"/>
                  <a:gd name="T21" fmla="*/ 1082 h 1387"/>
                  <a:gd name="T22" fmla="*/ 2764 w 6933"/>
                  <a:gd name="T23" fmla="*/ 1063 h 1387"/>
                  <a:gd name="T24" fmla="*/ 5838 w 6933"/>
                  <a:gd name="T25" fmla="*/ 1041 h 1387"/>
                  <a:gd name="T26" fmla="*/ 5836 w 6933"/>
                  <a:gd name="T27" fmla="*/ 1063 h 1387"/>
                  <a:gd name="T28" fmla="*/ 2783 w 6933"/>
                  <a:gd name="T29" fmla="*/ 1011 h 1387"/>
                  <a:gd name="T30" fmla="*/ 2783 w 6933"/>
                  <a:gd name="T31" fmla="*/ 1044 h 1387"/>
                  <a:gd name="T32" fmla="*/ 3675 w 6933"/>
                  <a:gd name="T33" fmla="*/ 992 h 1387"/>
                  <a:gd name="T34" fmla="*/ 3677 w 6933"/>
                  <a:gd name="T35" fmla="*/ 1160 h 1387"/>
                  <a:gd name="T36" fmla="*/ 5855 w 6933"/>
                  <a:gd name="T37" fmla="*/ 989 h 1387"/>
                  <a:gd name="T38" fmla="*/ 5855 w 6933"/>
                  <a:gd name="T39" fmla="*/ 1022 h 1387"/>
                  <a:gd name="T40" fmla="*/ 6245 w 6933"/>
                  <a:gd name="T41" fmla="*/ 935 h 1387"/>
                  <a:gd name="T42" fmla="*/ 6245 w 6933"/>
                  <a:gd name="T43" fmla="*/ 1108 h 1387"/>
                  <a:gd name="T44" fmla="*/ 3750 w 6933"/>
                  <a:gd name="T45" fmla="*/ 928 h 1387"/>
                  <a:gd name="T46" fmla="*/ 6297 w 6933"/>
                  <a:gd name="T47" fmla="*/ 878 h 1387"/>
                  <a:gd name="T48" fmla="*/ 6295 w 6933"/>
                  <a:gd name="T49" fmla="*/ 887 h 1387"/>
                  <a:gd name="T50" fmla="*/ 6297 w 6933"/>
                  <a:gd name="T51" fmla="*/ 878 h 1387"/>
                  <a:gd name="T52" fmla="*/ 6302 w 6933"/>
                  <a:gd name="T53" fmla="*/ 871 h 1387"/>
                  <a:gd name="T54" fmla="*/ 6304 w 6933"/>
                  <a:gd name="T55" fmla="*/ 850 h 1387"/>
                  <a:gd name="T56" fmla="*/ 3006 w 6933"/>
                  <a:gd name="T57" fmla="*/ 913 h 1387"/>
                  <a:gd name="T58" fmla="*/ 913 w 6933"/>
                  <a:gd name="T59" fmla="*/ 752 h 1387"/>
                  <a:gd name="T60" fmla="*/ 915 w 6933"/>
                  <a:gd name="T61" fmla="*/ 752 h 1387"/>
                  <a:gd name="T62" fmla="*/ 5037 w 6933"/>
                  <a:gd name="T63" fmla="*/ 906 h 1387"/>
                  <a:gd name="T64" fmla="*/ 3043 w 6933"/>
                  <a:gd name="T65" fmla="*/ 655 h 1387"/>
                  <a:gd name="T66" fmla="*/ 3043 w 6933"/>
                  <a:gd name="T67" fmla="*/ 722 h 1387"/>
                  <a:gd name="T68" fmla="*/ 0 w 6933"/>
                  <a:gd name="T69" fmla="*/ 615 h 1387"/>
                  <a:gd name="T70" fmla="*/ 3 w 6933"/>
                  <a:gd name="T71" fmla="*/ 615 h 1387"/>
                  <a:gd name="T72" fmla="*/ 5157 w 6933"/>
                  <a:gd name="T73" fmla="*/ 665 h 1387"/>
                  <a:gd name="T74" fmla="*/ 3188 w 6933"/>
                  <a:gd name="T75" fmla="*/ 582 h 1387"/>
                  <a:gd name="T76" fmla="*/ 3190 w 6933"/>
                  <a:gd name="T77" fmla="*/ 591 h 1387"/>
                  <a:gd name="T78" fmla="*/ 206 w 6933"/>
                  <a:gd name="T79" fmla="*/ 549 h 1387"/>
                  <a:gd name="T80" fmla="*/ 6933 w 6933"/>
                  <a:gd name="T81" fmla="*/ 509 h 1387"/>
                  <a:gd name="T82" fmla="*/ 6933 w 6933"/>
                  <a:gd name="T83" fmla="*/ 1027 h 1387"/>
                  <a:gd name="T84" fmla="*/ 4098 w 6933"/>
                  <a:gd name="T85" fmla="*/ 504 h 1387"/>
                  <a:gd name="T86" fmla="*/ 3206 w 6933"/>
                  <a:gd name="T87" fmla="*/ 499 h 1387"/>
                  <a:gd name="T88" fmla="*/ 3204 w 6933"/>
                  <a:gd name="T89" fmla="*/ 563 h 1387"/>
                  <a:gd name="T90" fmla="*/ 3206 w 6933"/>
                  <a:gd name="T91" fmla="*/ 499 h 1387"/>
                  <a:gd name="T92" fmla="*/ 3942 w 6933"/>
                  <a:gd name="T93" fmla="*/ 454 h 1387"/>
                  <a:gd name="T94" fmla="*/ 3861 w 6933"/>
                  <a:gd name="T95" fmla="*/ 861 h 1387"/>
                  <a:gd name="T96" fmla="*/ 3235 w 6933"/>
                  <a:gd name="T97" fmla="*/ 433 h 1387"/>
                  <a:gd name="T98" fmla="*/ 3235 w 6933"/>
                  <a:gd name="T99" fmla="*/ 473 h 1387"/>
                  <a:gd name="T100" fmla="*/ 3949 w 6933"/>
                  <a:gd name="T101" fmla="*/ 390 h 1387"/>
                  <a:gd name="T102" fmla="*/ 3947 w 6933"/>
                  <a:gd name="T103" fmla="*/ 447 h 1387"/>
                  <a:gd name="T104" fmla="*/ 3949 w 6933"/>
                  <a:gd name="T105" fmla="*/ 390 h 1387"/>
                  <a:gd name="T106" fmla="*/ 1714 w 6933"/>
                  <a:gd name="T107" fmla="*/ 1065 h 1387"/>
                  <a:gd name="T108" fmla="*/ 3956 w 6933"/>
                  <a:gd name="T109" fmla="*/ 326 h 1387"/>
                  <a:gd name="T110" fmla="*/ 3956 w 6933"/>
                  <a:gd name="T111" fmla="*/ 381 h 1387"/>
                  <a:gd name="T112" fmla="*/ 4609 w 6933"/>
                  <a:gd name="T113" fmla="*/ 232 h 1387"/>
                  <a:gd name="T114" fmla="*/ 4609 w 6933"/>
                  <a:gd name="T115" fmla="*/ 232 h 1387"/>
                  <a:gd name="T116" fmla="*/ 4758 w 6933"/>
                  <a:gd name="T117" fmla="*/ 123 h 1387"/>
                  <a:gd name="T118" fmla="*/ 4760 w 6933"/>
                  <a:gd name="T119" fmla="*/ 0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87">
                    <a:moveTo>
                      <a:pt x="3618" y="1221"/>
                    </a:moveTo>
                    <a:lnTo>
                      <a:pt x="3616" y="1221"/>
                    </a:lnTo>
                    <a:lnTo>
                      <a:pt x="3616" y="1224"/>
                    </a:lnTo>
                    <a:lnTo>
                      <a:pt x="3616" y="1250"/>
                    </a:lnTo>
                    <a:lnTo>
                      <a:pt x="3618" y="1250"/>
                    </a:lnTo>
                    <a:lnTo>
                      <a:pt x="3618" y="1221"/>
                    </a:lnTo>
                    <a:close/>
                    <a:moveTo>
                      <a:pt x="5737" y="1207"/>
                    </a:moveTo>
                    <a:lnTo>
                      <a:pt x="5737" y="1207"/>
                    </a:lnTo>
                    <a:lnTo>
                      <a:pt x="5737" y="1207"/>
                    </a:lnTo>
                    <a:lnTo>
                      <a:pt x="5737" y="1209"/>
                    </a:lnTo>
                    <a:lnTo>
                      <a:pt x="5737" y="1259"/>
                    </a:lnTo>
                    <a:lnTo>
                      <a:pt x="5737" y="1259"/>
                    </a:lnTo>
                    <a:lnTo>
                      <a:pt x="5737" y="1207"/>
                    </a:lnTo>
                    <a:close/>
                    <a:moveTo>
                      <a:pt x="1596" y="1131"/>
                    </a:moveTo>
                    <a:lnTo>
                      <a:pt x="1594" y="1131"/>
                    </a:lnTo>
                    <a:lnTo>
                      <a:pt x="1594" y="1134"/>
                    </a:lnTo>
                    <a:lnTo>
                      <a:pt x="1594" y="1134"/>
                    </a:lnTo>
                    <a:lnTo>
                      <a:pt x="1594" y="1134"/>
                    </a:lnTo>
                    <a:lnTo>
                      <a:pt x="1594" y="1131"/>
                    </a:lnTo>
                    <a:lnTo>
                      <a:pt x="1596" y="1131"/>
                    </a:lnTo>
                    <a:lnTo>
                      <a:pt x="1596" y="1131"/>
                    </a:lnTo>
                    <a:close/>
                    <a:moveTo>
                      <a:pt x="5763" y="1127"/>
                    </a:moveTo>
                    <a:lnTo>
                      <a:pt x="5760" y="1127"/>
                    </a:lnTo>
                    <a:lnTo>
                      <a:pt x="5760" y="1129"/>
                    </a:lnTo>
                    <a:lnTo>
                      <a:pt x="5760" y="1183"/>
                    </a:lnTo>
                    <a:lnTo>
                      <a:pt x="5763" y="1183"/>
                    </a:lnTo>
                    <a:lnTo>
                      <a:pt x="5763" y="1181"/>
                    </a:lnTo>
                    <a:lnTo>
                      <a:pt x="5763" y="1181"/>
                    </a:lnTo>
                    <a:lnTo>
                      <a:pt x="5763" y="1127"/>
                    </a:lnTo>
                    <a:close/>
                    <a:moveTo>
                      <a:pt x="6228" y="1127"/>
                    </a:moveTo>
                    <a:lnTo>
                      <a:pt x="6228" y="1127"/>
                    </a:lnTo>
                    <a:lnTo>
                      <a:pt x="6228" y="1127"/>
                    </a:lnTo>
                    <a:lnTo>
                      <a:pt x="6228" y="1129"/>
                    </a:lnTo>
                    <a:lnTo>
                      <a:pt x="6228" y="1143"/>
                    </a:lnTo>
                    <a:lnTo>
                      <a:pt x="6228" y="1143"/>
                    </a:lnTo>
                    <a:lnTo>
                      <a:pt x="6228" y="1127"/>
                    </a:lnTo>
                    <a:close/>
                    <a:moveTo>
                      <a:pt x="1369" y="1082"/>
                    </a:moveTo>
                    <a:lnTo>
                      <a:pt x="1369" y="1082"/>
                    </a:lnTo>
                    <a:lnTo>
                      <a:pt x="1369" y="1084"/>
                    </a:lnTo>
                    <a:lnTo>
                      <a:pt x="1369" y="1108"/>
                    </a:lnTo>
                    <a:lnTo>
                      <a:pt x="1369" y="1108"/>
                    </a:lnTo>
                    <a:lnTo>
                      <a:pt x="1369" y="1105"/>
                    </a:lnTo>
                    <a:lnTo>
                      <a:pt x="1369" y="1105"/>
                    </a:lnTo>
                    <a:lnTo>
                      <a:pt x="1369" y="1082"/>
                    </a:lnTo>
                    <a:close/>
                    <a:moveTo>
                      <a:pt x="2767" y="1063"/>
                    </a:moveTo>
                    <a:lnTo>
                      <a:pt x="2764" y="1063"/>
                    </a:lnTo>
                    <a:lnTo>
                      <a:pt x="2764" y="1063"/>
                    </a:lnTo>
                    <a:lnTo>
                      <a:pt x="2764" y="1063"/>
                    </a:lnTo>
                    <a:lnTo>
                      <a:pt x="2764" y="1174"/>
                    </a:lnTo>
                    <a:lnTo>
                      <a:pt x="2767" y="1174"/>
                    </a:lnTo>
                    <a:lnTo>
                      <a:pt x="2767" y="1063"/>
                    </a:lnTo>
                    <a:close/>
                    <a:moveTo>
                      <a:pt x="5838" y="1041"/>
                    </a:moveTo>
                    <a:lnTo>
                      <a:pt x="5838" y="1041"/>
                    </a:lnTo>
                    <a:lnTo>
                      <a:pt x="5836" y="1041"/>
                    </a:lnTo>
                    <a:lnTo>
                      <a:pt x="5836" y="1041"/>
                    </a:lnTo>
                    <a:lnTo>
                      <a:pt x="5836" y="1063"/>
                    </a:lnTo>
                    <a:lnTo>
                      <a:pt x="5838" y="1063"/>
                    </a:lnTo>
                    <a:lnTo>
                      <a:pt x="5838" y="1041"/>
                    </a:lnTo>
                    <a:close/>
                    <a:moveTo>
                      <a:pt x="2783" y="1011"/>
                    </a:moveTo>
                    <a:lnTo>
                      <a:pt x="2783" y="1011"/>
                    </a:lnTo>
                    <a:lnTo>
                      <a:pt x="2783" y="1013"/>
                    </a:lnTo>
                    <a:lnTo>
                      <a:pt x="2783" y="1044"/>
                    </a:lnTo>
                    <a:lnTo>
                      <a:pt x="2783" y="1044"/>
                    </a:lnTo>
                    <a:lnTo>
                      <a:pt x="2783" y="1044"/>
                    </a:lnTo>
                    <a:lnTo>
                      <a:pt x="2783" y="1044"/>
                    </a:lnTo>
                    <a:lnTo>
                      <a:pt x="2783" y="1011"/>
                    </a:lnTo>
                    <a:close/>
                    <a:moveTo>
                      <a:pt x="3677" y="992"/>
                    </a:moveTo>
                    <a:lnTo>
                      <a:pt x="3675" y="992"/>
                    </a:lnTo>
                    <a:lnTo>
                      <a:pt x="3675" y="994"/>
                    </a:lnTo>
                    <a:lnTo>
                      <a:pt x="3675" y="1162"/>
                    </a:lnTo>
                    <a:lnTo>
                      <a:pt x="3677" y="1162"/>
                    </a:lnTo>
                    <a:lnTo>
                      <a:pt x="3677" y="1160"/>
                    </a:lnTo>
                    <a:lnTo>
                      <a:pt x="3677" y="1160"/>
                    </a:lnTo>
                    <a:lnTo>
                      <a:pt x="3677" y="992"/>
                    </a:lnTo>
                    <a:close/>
                    <a:moveTo>
                      <a:pt x="5855" y="989"/>
                    </a:moveTo>
                    <a:lnTo>
                      <a:pt x="5855" y="989"/>
                    </a:lnTo>
                    <a:lnTo>
                      <a:pt x="5855" y="992"/>
                    </a:lnTo>
                    <a:lnTo>
                      <a:pt x="5855" y="1025"/>
                    </a:lnTo>
                    <a:lnTo>
                      <a:pt x="5855" y="1025"/>
                    </a:lnTo>
                    <a:lnTo>
                      <a:pt x="5855" y="1022"/>
                    </a:lnTo>
                    <a:lnTo>
                      <a:pt x="5855" y="1022"/>
                    </a:lnTo>
                    <a:lnTo>
                      <a:pt x="5855" y="989"/>
                    </a:lnTo>
                    <a:close/>
                    <a:moveTo>
                      <a:pt x="6247" y="935"/>
                    </a:moveTo>
                    <a:lnTo>
                      <a:pt x="6245" y="935"/>
                    </a:lnTo>
                    <a:lnTo>
                      <a:pt x="6245" y="937"/>
                    </a:lnTo>
                    <a:lnTo>
                      <a:pt x="6245" y="1110"/>
                    </a:lnTo>
                    <a:lnTo>
                      <a:pt x="6245" y="1110"/>
                    </a:lnTo>
                    <a:lnTo>
                      <a:pt x="6245" y="1108"/>
                    </a:lnTo>
                    <a:lnTo>
                      <a:pt x="6247" y="1108"/>
                    </a:lnTo>
                    <a:lnTo>
                      <a:pt x="6247" y="935"/>
                    </a:lnTo>
                    <a:close/>
                    <a:moveTo>
                      <a:pt x="3753" y="928"/>
                    </a:moveTo>
                    <a:lnTo>
                      <a:pt x="3750" y="928"/>
                    </a:lnTo>
                    <a:lnTo>
                      <a:pt x="3750" y="928"/>
                    </a:lnTo>
                    <a:lnTo>
                      <a:pt x="3753" y="928"/>
                    </a:lnTo>
                    <a:lnTo>
                      <a:pt x="3753" y="928"/>
                    </a:lnTo>
                    <a:close/>
                    <a:moveTo>
                      <a:pt x="6297" y="878"/>
                    </a:moveTo>
                    <a:lnTo>
                      <a:pt x="6295" y="878"/>
                    </a:lnTo>
                    <a:lnTo>
                      <a:pt x="6295" y="878"/>
                    </a:lnTo>
                    <a:lnTo>
                      <a:pt x="6295" y="880"/>
                    </a:lnTo>
                    <a:lnTo>
                      <a:pt x="6295" y="887"/>
                    </a:lnTo>
                    <a:lnTo>
                      <a:pt x="6295" y="887"/>
                    </a:lnTo>
                    <a:lnTo>
                      <a:pt x="6295" y="885"/>
                    </a:lnTo>
                    <a:lnTo>
                      <a:pt x="6297" y="885"/>
                    </a:lnTo>
                    <a:lnTo>
                      <a:pt x="6297" y="878"/>
                    </a:lnTo>
                    <a:close/>
                    <a:moveTo>
                      <a:pt x="6304" y="850"/>
                    </a:moveTo>
                    <a:lnTo>
                      <a:pt x="6302" y="850"/>
                    </a:lnTo>
                    <a:lnTo>
                      <a:pt x="6302" y="852"/>
                    </a:lnTo>
                    <a:lnTo>
                      <a:pt x="6302" y="871"/>
                    </a:lnTo>
                    <a:lnTo>
                      <a:pt x="6304" y="871"/>
                    </a:lnTo>
                    <a:lnTo>
                      <a:pt x="6304" y="868"/>
                    </a:lnTo>
                    <a:lnTo>
                      <a:pt x="6304" y="868"/>
                    </a:lnTo>
                    <a:lnTo>
                      <a:pt x="6304" y="850"/>
                    </a:lnTo>
                    <a:close/>
                    <a:moveTo>
                      <a:pt x="3008" y="762"/>
                    </a:moveTo>
                    <a:lnTo>
                      <a:pt x="3006" y="762"/>
                    </a:lnTo>
                    <a:lnTo>
                      <a:pt x="3006" y="764"/>
                    </a:lnTo>
                    <a:lnTo>
                      <a:pt x="3006" y="913"/>
                    </a:lnTo>
                    <a:lnTo>
                      <a:pt x="3008" y="913"/>
                    </a:lnTo>
                    <a:lnTo>
                      <a:pt x="3008" y="762"/>
                    </a:lnTo>
                    <a:close/>
                    <a:moveTo>
                      <a:pt x="915" y="752"/>
                    </a:moveTo>
                    <a:lnTo>
                      <a:pt x="913" y="752"/>
                    </a:lnTo>
                    <a:lnTo>
                      <a:pt x="913" y="755"/>
                    </a:lnTo>
                    <a:lnTo>
                      <a:pt x="913" y="762"/>
                    </a:lnTo>
                    <a:lnTo>
                      <a:pt x="915" y="762"/>
                    </a:lnTo>
                    <a:lnTo>
                      <a:pt x="915" y="752"/>
                    </a:lnTo>
                    <a:close/>
                    <a:moveTo>
                      <a:pt x="5039" y="731"/>
                    </a:moveTo>
                    <a:lnTo>
                      <a:pt x="5037" y="731"/>
                    </a:lnTo>
                    <a:lnTo>
                      <a:pt x="5037" y="734"/>
                    </a:lnTo>
                    <a:lnTo>
                      <a:pt x="5037" y="906"/>
                    </a:lnTo>
                    <a:lnTo>
                      <a:pt x="5039" y="906"/>
                    </a:lnTo>
                    <a:lnTo>
                      <a:pt x="5039" y="731"/>
                    </a:lnTo>
                    <a:close/>
                    <a:moveTo>
                      <a:pt x="3046" y="655"/>
                    </a:moveTo>
                    <a:lnTo>
                      <a:pt x="3043" y="655"/>
                    </a:lnTo>
                    <a:lnTo>
                      <a:pt x="3043" y="658"/>
                    </a:lnTo>
                    <a:lnTo>
                      <a:pt x="3043" y="724"/>
                    </a:lnTo>
                    <a:lnTo>
                      <a:pt x="3043" y="724"/>
                    </a:lnTo>
                    <a:lnTo>
                      <a:pt x="3043" y="722"/>
                    </a:lnTo>
                    <a:lnTo>
                      <a:pt x="3046" y="722"/>
                    </a:lnTo>
                    <a:lnTo>
                      <a:pt x="3046" y="655"/>
                    </a:lnTo>
                    <a:close/>
                    <a:moveTo>
                      <a:pt x="3" y="615"/>
                    </a:moveTo>
                    <a:lnTo>
                      <a:pt x="0" y="615"/>
                    </a:lnTo>
                    <a:lnTo>
                      <a:pt x="0" y="618"/>
                    </a:lnTo>
                    <a:lnTo>
                      <a:pt x="0" y="1387"/>
                    </a:lnTo>
                    <a:lnTo>
                      <a:pt x="3" y="1387"/>
                    </a:lnTo>
                    <a:lnTo>
                      <a:pt x="3" y="615"/>
                    </a:lnTo>
                    <a:close/>
                    <a:moveTo>
                      <a:pt x="5160" y="608"/>
                    </a:moveTo>
                    <a:lnTo>
                      <a:pt x="5157" y="608"/>
                    </a:lnTo>
                    <a:lnTo>
                      <a:pt x="5157" y="610"/>
                    </a:lnTo>
                    <a:lnTo>
                      <a:pt x="5157" y="665"/>
                    </a:lnTo>
                    <a:lnTo>
                      <a:pt x="5160" y="665"/>
                    </a:lnTo>
                    <a:lnTo>
                      <a:pt x="5160" y="608"/>
                    </a:lnTo>
                    <a:close/>
                    <a:moveTo>
                      <a:pt x="3190" y="582"/>
                    </a:moveTo>
                    <a:lnTo>
                      <a:pt x="3188" y="582"/>
                    </a:lnTo>
                    <a:lnTo>
                      <a:pt x="3188" y="582"/>
                    </a:lnTo>
                    <a:lnTo>
                      <a:pt x="3188" y="582"/>
                    </a:lnTo>
                    <a:lnTo>
                      <a:pt x="3188" y="591"/>
                    </a:lnTo>
                    <a:lnTo>
                      <a:pt x="3190" y="591"/>
                    </a:lnTo>
                    <a:lnTo>
                      <a:pt x="3190" y="582"/>
                    </a:lnTo>
                    <a:close/>
                    <a:moveTo>
                      <a:pt x="208" y="546"/>
                    </a:moveTo>
                    <a:lnTo>
                      <a:pt x="206" y="546"/>
                    </a:lnTo>
                    <a:lnTo>
                      <a:pt x="206" y="549"/>
                    </a:lnTo>
                    <a:lnTo>
                      <a:pt x="206" y="551"/>
                    </a:lnTo>
                    <a:lnTo>
                      <a:pt x="208" y="551"/>
                    </a:lnTo>
                    <a:lnTo>
                      <a:pt x="208" y="546"/>
                    </a:lnTo>
                    <a:close/>
                    <a:moveTo>
                      <a:pt x="6933" y="509"/>
                    </a:moveTo>
                    <a:lnTo>
                      <a:pt x="6931" y="509"/>
                    </a:lnTo>
                    <a:lnTo>
                      <a:pt x="6931" y="509"/>
                    </a:lnTo>
                    <a:lnTo>
                      <a:pt x="6931" y="1027"/>
                    </a:lnTo>
                    <a:lnTo>
                      <a:pt x="6933" y="1027"/>
                    </a:lnTo>
                    <a:lnTo>
                      <a:pt x="6933" y="509"/>
                    </a:lnTo>
                    <a:close/>
                    <a:moveTo>
                      <a:pt x="4100" y="502"/>
                    </a:moveTo>
                    <a:lnTo>
                      <a:pt x="4100" y="502"/>
                    </a:lnTo>
                    <a:lnTo>
                      <a:pt x="4098" y="504"/>
                    </a:lnTo>
                    <a:lnTo>
                      <a:pt x="4086" y="523"/>
                    </a:lnTo>
                    <a:lnTo>
                      <a:pt x="4086" y="523"/>
                    </a:lnTo>
                    <a:lnTo>
                      <a:pt x="4100" y="502"/>
                    </a:lnTo>
                    <a:close/>
                    <a:moveTo>
                      <a:pt x="3206" y="499"/>
                    </a:moveTo>
                    <a:lnTo>
                      <a:pt x="3206" y="499"/>
                    </a:lnTo>
                    <a:lnTo>
                      <a:pt x="3204" y="499"/>
                    </a:lnTo>
                    <a:lnTo>
                      <a:pt x="3204" y="502"/>
                    </a:lnTo>
                    <a:lnTo>
                      <a:pt x="3204" y="563"/>
                    </a:lnTo>
                    <a:lnTo>
                      <a:pt x="3206" y="563"/>
                    </a:lnTo>
                    <a:lnTo>
                      <a:pt x="3206" y="563"/>
                    </a:lnTo>
                    <a:lnTo>
                      <a:pt x="3206" y="563"/>
                    </a:lnTo>
                    <a:lnTo>
                      <a:pt x="3206" y="499"/>
                    </a:lnTo>
                    <a:close/>
                    <a:moveTo>
                      <a:pt x="3944" y="454"/>
                    </a:moveTo>
                    <a:lnTo>
                      <a:pt x="3942" y="454"/>
                    </a:lnTo>
                    <a:lnTo>
                      <a:pt x="3942" y="454"/>
                    </a:lnTo>
                    <a:lnTo>
                      <a:pt x="3942" y="454"/>
                    </a:lnTo>
                    <a:lnTo>
                      <a:pt x="3942" y="490"/>
                    </a:lnTo>
                    <a:lnTo>
                      <a:pt x="3859" y="641"/>
                    </a:lnTo>
                    <a:lnTo>
                      <a:pt x="3859" y="861"/>
                    </a:lnTo>
                    <a:lnTo>
                      <a:pt x="3861" y="861"/>
                    </a:lnTo>
                    <a:lnTo>
                      <a:pt x="3861" y="641"/>
                    </a:lnTo>
                    <a:lnTo>
                      <a:pt x="3944" y="487"/>
                    </a:lnTo>
                    <a:lnTo>
                      <a:pt x="3944" y="454"/>
                    </a:lnTo>
                    <a:close/>
                    <a:moveTo>
                      <a:pt x="3235" y="433"/>
                    </a:moveTo>
                    <a:lnTo>
                      <a:pt x="3232" y="433"/>
                    </a:lnTo>
                    <a:lnTo>
                      <a:pt x="3232" y="435"/>
                    </a:lnTo>
                    <a:lnTo>
                      <a:pt x="3232" y="473"/>
                    </a:lnTo>
                    <a:lnTo>
                      <a:pt x="3235" y="473"/>
                    </a:lnTo>
                    <a:lnTo>
                      <a:pt x="3235" y="471"/>
                    </a:lnTo>
                    <a:lnTo>
                      <a:pt x="3235" y="471"/>
                    </a:lnTo>
                    <a:lnTo>
                      <a:pt x="3235" y="433"/>
                    </a:lnTo>
                    <a:close/>
                    <a:moveTo>
                      <a:pt x="3949" y="390"/>
                    </a:moveTo>
                    <a:lnTo>
                      <a:pt x="3947" y="390"/>
                    </a:lnTo>
                    <a:lnTo>
                      <a:pt x="3947" y="390"/>
                    </a:lnTo>
                    <a:lnTo>
                      <a:pt x="3947" y="393"/>
                    </a:lnTo>
                    <a:lnTo>
                      <a:pt x="3947" y="447"/>
                    </a:lnTo>
                    <a:lnTo>
                      <a:pt x="3949" y="447"/>
                    </a:lnTo>
                    <a:lnTo>
                      <a:pt x="3949" y="445"/>
                    </a:lnTo>
                    <a:lnTo>
                      <a:pt x="3949" y="445"/>
                    </a:lnTo>
                    <a:lnTo>
                      <a:pt x="3949" y="390"/>
                    </a:lnTo>
                    <a:close/>
                    <a:moveTo>
                      <a:pt x="1717" y="367"/>
                    </a:moveTo>
                    <a:lnTo>
                      <a:pt x="1714" y="367"/>
                    </a:lnTo>
                    <a:lnTo>
                      <a:pt x="1714" y="369"/>
                    </a:lnTo>
                    <a:lnTo>
                      <a:pt x="1714" y="1065"/>
                    </a:lnTo>
                    <a:lnTo>
                      <a:pt x="1717" y="1065"/>
                    </a:lnTo>
                    <a:lnTo>
                      <a:pt x="1717" y="367"/>
                    </a:lnTo>
                    <a:close/>
                    <a:moveTo>
                      <a:pt x="3956" y="326"/>
                    </a:moveTo>
                    <a:lnTo>
                      <a:pt x="3956" y="326"/>
                    </a:lnTo>
                    <a:lnTo>
                      <a:pt x="3956" y="329"/>
                    </a:lnTo>
                    <a:lnTo>
                      <a:pt x="3956" y="383"/>
                    </a:lnTo>
                    <a:lnTo>
                      <a:pt x="3956" y="383"/>
                    </a:lnTo>
                    <a:lnTo>
                      <a:pt x="3956" y="381"/>
                    </a:lnTo>
                    <a:lnTo>
                      <a:pt x="3956" y="381"/>
                    </a:lnTo>
                    <a:lnTo>
                      <a:pt x="3956" y="326"/>
                    </a:lnTo>
                    <a:close/>
                    <a:moveTo>
                      <a:pt x="4609" y="232"/>
                    </a:moveTo>
                    <a:lnTo>
                      <a:pt x="4609" y="232"/>
                    </a:lnTo>
                    <a:lnTo>
                      <a:pt x="4609" y="232"/>
                    </a:lnTo>
                    <a:lnTo>
                      <a:pt x="4550" y="442"/>
                    </a:lnTo>
                    <a:lnTo>
                      <a:pt x="4552" y="442"/>
                    </a:lnTo>
                    <a:lnTo>
                      <a:pt x="4609" y="232"/>
                    </a:lnTo>
                    <a:close/>
                    <a:moveTo>
                      <a:pt x="4760" y="0"/>
                    </a:moveTo>
                    <a:lnTo>
                      <a:pt x="4758" y="0"/>
                    </a:lnTo>
                    <a:lnTo>
                      <a:pt x="4758" y="2"/>
                    </a:lnTo>
                    <a:lnTo>
                      <a:pt x="4758" y="123"/>
                    </a:lnTo>
                    <a:lnTo>
                      <a:pt x="4758" y="123"/>
                    </a:lnTo>
                    <a:lnTo>
                      <a:pt x="4758" y="120"/>
                    </a:lnTo>
                    <a:lnTo>
                      <a:pt x="4760" y="120"/>
                    </a:lnTo>
                    <a:lnTo>
                      <a:pt x="476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0" name="Freeform 75"/>
              <p:cNvSpPr>
                <a:spLocks noEditPoints="1"/>
              </p:cNvSpPr>
              <p:nvPr/>
            </p:nvSpPr>
            <p:spPr bwMode="auto">
              <a:xfrm>
                <a:off x="75" y="1727"/>
                <a:ext cx="6933" cy="1387"/>
              </a:xfrm>
              <a:custGeom>
                <a:avLst/>
                <a:gdLst>
                  <a:gd name="T0" fmla="*/ 3616 w 6933"/>
                  <a:gd name="T1" fmla="*/ 1250 h 1387"/>
                  <a:gd name="T2" fmla="*/ 5737 w 6933"/>
                  <a:gd name="T3" fmla="*/ 1207 h 1387"/>
                  <a:gd name="T4" fmla="*/ 5737 w 6933"/>
                  <a:gd name="T5" fmla="*/ 1259 h 1387"/>
                  <a:gd name="T6" fmla="*/ 1594 w 6933"/>
                  <a:gd name="T7" fmla="*/ 1134 h 1387"/>
                  <a:gd name="T8" fmla="*/ 1596 w 6933"/>
                  <a:gd name="T9" fmla="*/ 1131 h 1387"/>
                  <a:gd name="T10" fmla="*/ 5760 w 6933"/>
                  <a:gd name="T11" fmla="*/ 1129 h 1387"/>
                  <a:gd name="T12" fmla="*/ 5763 w 6933"/>
                  <a:gd name="T13" fmla="*/ 1181 h 1387"/>
                  <a:gd name="T14" fmla="*/ 6228 w 6933"/>
                  <a:gd name="T15" fmla="*/ 1127 h 1387"/>
                  <a:gd name="T16" fmla="*/ 6228 w 6933"/>
                  <a:gd name="T17" fmla="*/ 1127 h 1387"/>
                  <a:gd name="T18" fmla="*/ 1369 w 6933"/>
                  <a:gd name="T19" fmla="*/ 1108 h 1387"/>
                  <a:gd name="T20" fmla="*/ 1369 w 6933"/>
                  <a:gd name="T21" fmla="*/ 1082 h 1387"/>
                  <a:gd name="T22" fmla="*/ 2764 w 6933"/>
                  <a:gd name="T23" fmla="*/ 1063 h 1387"/>
                  <a:gd name="T24" fmla="*/ 5838 w 6933"/>
                  <a:gd name="T25" fmla="*/ 1041 h 1387"/>
                  <a:gd name="T26" fmla="*/ 5836 w 6933"/>
                  <a:gd name="T27" fmla="*/ 1063 h 1387"/>
                  <a:gd name="T28" fmla="*/ 2783 w 6933"/>
                  <a:gd name="T29" fmla="*/ 1011 h 1387"/>
                  <a:gd name="T30" fmla="*/ 2783 w 6933"/>
                  <a:gd name="T31" fmla="*/ 1044 h 1387"/>
                  <a:gd name="T32" fmla="*/ 3675 w 6933"/>
                  <a:gd name="T33" fmla="*/ 992 h 1387"/>
                  <a:gd name="T34" fmla="*/ 3677 w 6933"/>
                  <a:gd name="T35" fmla="*/ 1160 h 1387"/>
                  <a:gd name="T36" fmla="*/ 5855 w 6933"/>
                  <a:gd name="T37" fmla="*/ 989 h 1387"/>
                  <a:gd name="T38" fmla="*/ 5855 w 6933"/>
                  <a:gd name="T39" fmla="*/ 1022 h 1387"/>
                  <a:gd name="T40" fmla="*/ 6245 w 6933"/>
                  <a:gd name="T41" fmla="*/ 935 h 1387"/>
                  <a:gd name="T42" fmla="*/ 6245 w 6933"/>
                  <a:gd name="T43" fmla="*/ 1108 h 1387"/>
                  <a:gd name="T44" fmla="*/ 3750 w 6933"/>
                  <a:gd name="T45" fmla="*/ 928 h 1387"/>
                  <a:gd name="T46" fmla="*/ 6297 w 6933"/>
                  <a:gd name="T47" fmla="*/ 878 h 1387"/>
                  <a:gd name="T48" fmla="*/ 6295 w 6933"/>
                  <a:gd name="T49" fmla="*/ 887 h 1387"/>
                  <a:gd name="T50" fmla="*/ 6297 w 6933"/>
                  <a:gd name="T51" fmla="*/ 878 h 1387"/>
                  <a:gd name="T52" fmla="*/ 6302 w 6933"/>
                  <a:gd name="T53" fmla="*/ 871 h 1387"/>
                  <a:gd name="T54" fmla="*/ 6304 w 6933"/>
                  <a:gd name="T55" fmla="*/ 850 h 1387"/>
                  <a:gd name="T56" fmla="*/ 3006 w 6933"/>
                  <a:gd name="T57" fmla="*/ 913 h 1387"/>
                  <a:gd name="T58" fmla="*/ 913 w 6933"/>
                  <a:gd name="T59" fmla="*/ 752 h 1387"/>
                  <a:gd name="T60" fmla="*/ 915 w 6933"/>
                  <a:gd name="T61" fmla="*/ 752 h 1387"/>
                  <a:gd name="T62" fmla="*/ 5037 w 6933"/>
                  <a:gd name="T63" fmla="*/ 906 h 1387"/>
                  <a:gd name="T64" fmla="*/ 3043 w 6933"/>
                  <a:gd name="T65" fmla="*/ 655 h 1387"/>
                  <a:gd name="T66" fmla="*/ 3043 w 6933"/>
                  <a:gd name="T67" fmla="*/ 722 h 1387"/>
                  <a:gd name="T68" fmla="*/ 0 w 6933"/>
                  <a:gd name="T69" fmla="*/ 615 h 1387"/>
                  <a:gd name="T70" fmla="*/ 3 w 6933"/>
                  <a:gd name="T71" fmla="*/ 615 h 1387"/>
                  <a:gd name="T72" fmla="*/ 5157 w 6933"/>
                  <a:gd name="T73" fmla="*/ 665 h 1387"/>
                  <a:gd name="T74" fmla="*/ 3188 w 6933"/>
                  <a:gd name="T75" fmla="*/ 582 h 1387"/>
                  <a:gd name="T76" fmla="*/ 3190 w 6933"/>
                  <a:gd name="T77" fmla="*/ 591 h 1387"/>
                  <a:gd name="T78" fmla="*/ 206 w 6933"/>
                  <a:gd name="T79" fmla="*/ 549 h 1387"/>
                  <a:gd name="T80" fmla="*/ 6933 w 6933"/>
                  <a:gd name="T81" fmla="*/ 509 h 1387"/>
                  <a:gd name="T82" fmla="*/ 6933 w 6933"/>
                  <a:gd name="T83" fmla="*/ 1027 h 1387"/>
                  <a:gd name="T84" fmla="*/ 4098 w 6933"/>
                  <a:gd name="T85" fmla="*/ 504 h 1387"/>
                  <a:gd name="T86" fmla="*/ 3206 w 6933"/>
                  <a:gd name="T87" fmla="*/ 499 h 1387"/>
                  <a:gd name="T88" fmla="*/ 3204 w 6933"/>
                  <a:gd name="T89" fmla="*/ 563 h 1387"/>
                  <a:gd name="T90" fmla="*/ 3206 w 6933"/>
                  <a:gd name="T91" fmla="*/ 499 h 1387"/>
                  <a:gd name="T92" fmla="*/ 3942 w 6933"/>
                  <a:gd name="T93" fmla="*/ 454 h 1387"/>
                  <a:gd name="T94" fmla="*/ 3861 w 6933"/>
                  <a:gd name="T95" fmla="*/ 861 h 1387"/>
                  <a:gd name="T96" fmla="*/ 3235 w 6933"/>
                  <a:gd name="T97" fmla="*/ 433 h 1387"/>
                  <a:gd name="T98" fmla="*/ 3235 w 6933"/>
                  <a:gd name="T99" fmla="*/ 473 h 1387"/>
                  <a:gd name="T100" fmla="*/ 3949 w 6933"/>
                  <a:gd name="T101" fmla="*/ 390 h 1387"/>
                  <a:gd name="T102" fmla="*/ 3947 w 6933"/>
                  <a:gd name="T103" fmla="*/ 447 h 1387"/>
                  <a:gd name="T104" fmla="*/ 3949 w 6933"/>
                  <a:gd name="T105" fmla="*/ 390 h 1387"/>
                  <a:gd name="T106" fmla="*/ 1714 w 6933"/>
                  <a:gd name="T107" fmla="*/ 1065 h 1387"/>
                  <a:gd name="T108" fmla="*/ 3956 w 6933"/>
                  <a:gd name="T109" fmla="*/ 326 h 1387"/>
                  <a:gd name="T110" fmla="*/ 3956 w 6933"/>
                  <a:gd name="T111" fmla="*/ 381 h 1387"/>
                  <a:gd name="T112" fmla="*/ 4609 w 6933"/>
                  <a:gd name="T113" fmla="*/ 232 h 1387"/>
                  <a:gd name="T114" fmla="*/ 4609 w 6933"/>
                  <a:gd name="T115" fmla="*/ 232 h 1387"/>
                  <a:gd name="T116" fmla="*/ 4758 w 6933"/>
                  <a:gd name="T117" fmla="*/ 123 h 1387"/>
                  <a:gd name="T118" fmla="*/ 4760 w 6933"/>
                  <a:gd name="T119" fmla="*/ 0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87">
                    <a:moveTo>
                      <a:pt x="3618" y="1221"/>
                    </a:moveTo>
                    <a:lnTo>
                      <a:pt x="3616" y="1221"/>
                    </a:lnTo>
                    <a:lnTo>
                      <a:pt x="3616" y="1224"/>
                    </a:lnTo>
                    <a:lnTo>
                      <a:pt x="3616" y="1250"/>
                    </a:lnTo>
                    <a:lnTo>
                      <a:pt x="3618" y="1250"/>
                    </a:lnTo>
                    <a:lnTo>
                      <a:pt x="3618" y="1221"/>
                    </a:lnTo>
                    <a:moveTo>
                      <a:pt x="5737" y="1207"/>
                    </a:moveTo>
                    <a:lnTo>
                      <a:pt x="5737" y="1207"/>
                    </a:lnTo>
                    <a:lnTo>
                      <a:pt x="5737" y="1207"/>
                    </a:lnTo>
                    <a:lnTo>
                      <a:pt x="5737" y="1209"/>
                    </a:lnTo>
                    <a:lnTo>
                      <a:pt x="5737" y="1259"/>
                    </a:lnTo>
                    <a:lnTo>
                      <a:pt x="5737" y="1259"/>
                    </a:lnTo>
                    <a:lnTo>
                      <a:pt x="5737" y="1207"/>
                    </a:lnTo>
                    <a:moveTo>
                      <a:pt x="1596" y="1131"/>
                    </a:moveTo>
                    <a:lnTo>
                      <a:pt x="1594" y="1131"/>
                    </a:lnTo>
                    <a:lnTo>
                      <a:pt x="1594" y="1134"/>
                    </a:lnTo>
                    <a:lnTo>
                      <a:pt x="1594" y="1134"/>
                    </a:lnTo>
                    <a:lnTo>
                      <a:pt x="1594" y="1134"/>
                    </a:lnTo>
                    <a:lnTo>
                      <a:pt x="1594" y="1131"/>
                    </a:lnTo>
                    <a:lnTo>
                      <a:pt x="1596" y="1131"/>
                    </a:lnTo>
                    <a:lnTo>
                      <a:pt x="1596" y="1131"/>
                    </a:lnTo>
                    <a:moveTo>
                      <a:pt x="5763" y="1127"/>
                    </a:moveTo>
                    <a:lnTo>
                      <a:pt x="5760" y="1127"/>
                    </a:lnTo>
                    <a:lnTo>
                      <a:pt x="5760" y="1129"/>
                    </a:lnTo>
                    <a:lnTo>
                      <a:pt x="5760" y="1183"/>
                    </a:lnTo>
                    <a:lnTo>
                      <a:pt x="5763" y="1183"/>
                    </a:lnTo>
                    <a:lnTo>
                      <a:pt x="5763" y="1181"/>
                    </a:lnTo>
                    <a:lnTo>
                      <a:pt x="5763" y="1181"/>
                    </a:lnTo>
                    <a:lnTo>
                      <a:pt x="5763" y="1127"/>
                    </a:lnTo>
                    <a:moveTo>
                      <a:pt x="6228" y="1127"/>
                    </a:moveTo>
                    <a:lnTo>
                      <a:pt x="6228" y="1127"/>
                    </a:lnTo>
                    <a:lnTo>
                      <a:pt x="6228" y="1127"/>
                    </a:lnTo>
                    <a:lnTo>
                      <a:pt x="6228" y="1129"/>
                    </a:lnTo>
                    <a:lnTo>
                      <a:pt x="6228" y="1143"/>
                    </a:lnTo>
                    <a:lnTo>
                      <a:pt x="6228" y="1143"/>
                    </a:lnTo>
                    <a:lnTo>
                      <a:pt x="6228" y="1127"/>
                    </a:lnTo>
                    <a:moveTo>
                      <a:pt x="1369" y="1082"/>
                    </a:moveTo>
                    <a:lnTo>
                      <a:pt x="1369" y="1082"/>
                    </a:lnTo>
                    <a:lnTo>
                      <a:pt x="1369" y="1084"/>
                    </a:lnTo>
                    <a:lnTo>
                      <a:pt x="1369" y="1108"/>
                    </a:lnTo>
                    <a:lnTo>
                      <a:pt x="1369" y="1108"/>
                    </a:lnTo>
                    <a:lnTo>
                      <a:pt x="1369" y="1105"/>
                    </a:lnTo>
                    <a:lnTo>
                      <a:pt x="1369" y="1105"/>
                    </a:lnTo>
                    <a:lnTo>
                      <a:pt x="1369" y="1082"/>
                    </a:lnTo>
                    <a:moveTo>
                      <a:pt x="2767" y="1063"/>
                    </a:moveTo>
                    <a:lnTo>
                      <a:pt x="2764" y="1063"/>
                    </a:lnTo>
                    <a:lnTo>
                      <a:pt x="2764" y="1063"/>
                    </a:lnTo>
                    <a:lnTo>
                      <a:pt x="2764" y="1063"/>
                    </a:lnTo>
                    <a:lnTo>
                      <a:pt x="2764" y="1174"/>
                    </a:lnTo>
                    <a:lnTo>
                      <a:pt x="2767" y="1174"/>
                    </a:lnTo>
                    <a:lnTo>
                      <a:pt x="2767" y="1063"/>
                    </a:lnTo>
                    <a:moveTo>
                      <a:pt x="5838" y="1041"/>
                    </a:moveTo>
                    <a:lnTo>
                      <a:pt x="5838" y="1041"/>
                    </a:lnTo>
                    <a:lnTo>
                      <a:pt x="5836" y="1041"/>
                    </a:lnTo>
                    <a:lnTo>
                      <a:pt x="5836" y="1041"/>
                    </a:lnTo>
                    <a:lnTo>
                      <a:pt x="5836" y="1063"/>
                    </a:lnTo>
                    <a:lnTo>
                      <a:pt x="5838" y="1063"/>
                    </a:lnTo>
                    <a:lnTo>
                      <a:pt x="5838" y="1041"/>
                    </a:lnTo>
                    <a:moveTo>
                      <a:pt x="2783" y="1011"/>
                    </a:moveTo>
                    <a:lnTo>
                      <a:pt x="2783" y="1011"/>
                    </a:lnTo>
                    <a:lnTo>
                      <a:pt x="2783" y="1013"/>
                    </a:lnTo>
                    <a:lnTo>
                      <a:pt x="2783" y="1044"/>
                    </a:lnTo>
                    <a:lnTo>
                      <a:pt x="2783" y="1044"/>
                    </a:lnTo>
                    <a:lnTo>
                      <a:pt x="2783" y="1044"/>
                    </a:lnTo>
                    <a:lnTo>
                      <a:pt x="2783" y="1044"/>
                    </a:lnTo>
                    <a:lnTo>
                      <a:pt x="2783" y="1011"/>
                    </a:lnTo>
                    <a:moveTo>
                      <a:pt x="3677" y="992"/>
                    </a:moveTo>
                    <a:lnTo>
                      <a:pt x="3675" y="992"/>
                    </a:lnTo>
                    <a:lnTo>
                      <a:pt x="3675" y="994"/>
                    </a:lnTo>
                    <a:lnTo>
                      <a:pt x="3675" y="1162"/>
                    </a:lnTo>
                    <a:lnTo>
                      <a:pt x="3677" y="1162"/>
                    </a:lnTo>
                    <a:lnTo>
                      <a:pt x="3677" y="1160"/>
                    </a:lnTo>
                    <a:lnTo>
                      <a:pt x="3677" y="1160"/>
                    </a:lnTo>
                    <a:lnTo>
                      <a:pt x="3677" y="992"/>
                    </a:lnTo>
                    <a:moveTo>
                      <a:pt x="5855" y="989"/>
                    </a:moveTo>
                    <a:lnTo>
                      <a:pt x="5855" y="989"/>
                    </a:lnTo>
                    <a:lnTo>
                      <a:pt x="5855" y="992"/>
                    </a:lnTo>
                    <a:lnTo>
                      <a:pt x="5855" y="1025"/>
                    </a:lnTo>
                    <a:lnTo>
                      <a:pt x="5855" y="1025"/>
                    </a:lnTo>
                    <a:lnTo>
                      <a:pt x="5855" y="1022"/>
                    </a:lnTo>
                    <a:lnTo>
                      <a:pt x="5855" y="1022"/>
                    </a:lnTo>
                    <a:lnTo>
                      <a:pt x="5855" y="989"/>
                    </a:lnTo>
                    <a:moveTo>
                      <a:pt x="6247" y="935"/>
                    </a:moveTo>
                    <a:lnTo>
                      <a:pt x="6245" y="935"/>
                    </a:lnTo>
                    <a:lnTo>
                      <a:pt x="6245" y="937"/>
                    </a:lnTo>
                    <a:lnTo>
                      <a:pt x="6245" y="1110"/>
                    </a:lnTo>
                    <a:lnTo>
                      <a:pt x="6245" y="1110"/>
                    </a:lnTo>
                    <a:lnTo>
                      <a:pt x="6245" y="1108"/>
                    </a:lnTo>
                    <a:lnTo>
                      <a:pt x="6247" y="1108"/>
                    </a:lnTo>
                    <a:lnTo>
                      <a:pt x="6247" y="935"/>
                    </a:lnTo>
                    <a:moveTo>
                      <a:pt x="3753" y="928"/>
                    </a:moveTo>
                    <a:lnTo>
                      <a:pt x="3750" y="928"/>
                    </a:lnTo>
                    <a:lnTo>
                      <a:pt x="3750" y="928"/>
                    </a:lnTo>
                    <a:lnTo>
                      <a:pt x="3753" y="928"/>
                    </a:lnTo>
                    <a:lnTo>
                      <a:pt x="3753" y="928"/>
                    </a:lnTo>
                    <a:moveTo>
                      <a:pt x="6297" y="878"/>
                    </a:moveTo>
                    <a:lnTo>
                      <a:pt x="6295" y="878"/>
                    </a:lnTo>
                    <a:lnTo>
                      <a:pt x="6295" y="878"/>
                    </a:lnTo>
                    <a:lnTo>
                      <a:pt x="6295" y="880"/>
                    </a:lnTo>
                    <a:lnTo>
                      <a:pt x="6295" y="887"/>
                    </a:lnTo>
                    <a:lnTo>
                      <a:pt x="6295" y="887"/>
                    </a:lnTo>
                    <a:lnTo>
                      <a:pt x="6295" y="885"/>
                    </a:lnTo>
                    <a:lnTo>
                      <a:pt x="6297" y="885"/>
                    </a:lnTo>
                    <a:lnTo>
                      <a:pt x="6297" y="878"/>
                    </a:lnTo>
                    <a:moveTo>
                      <a:pt x="6304" y="850"/>
                    </a:moveTo>
                    <a:lnTo>
                      <a:pt x="6302" y="850"/>
                    </a:lnTo>
                    <a:lnTo>
                      <a:pt x="6302" y="852"/>
                    </a:lnTo>
                    <a:lnTo>
                      <a:pt x="6302" y="871"/>
                    </a:lnTo>
                    <a:lnTo>
                      <a:pt x="6304" y="871"/>
                    </a:lnTo>
                    <a:lnTo>
                      <a:pt x="6304" y="868"/>
                    </a:lnTo>
                    <a:lnTo>
                      <a:pt x="6304" y="868"/>
                    </a:lnTo>
                    <a:lnTo>
                      <a:pt x="6304" y="850"/>
                    </a:lnTo>
                    <a:moveTo>
                      <a:pt x="3008" y="762"/>
                    </a:moveTo>
                    <a:lnTo>
                      <a:pt x="3006" y="762"/>
                    </a:lnTo>
                    <a:lnTo>
                      <a:pt x="3006" y="764"/>
                    </a:lnTo>
                    <a:lnTo>
                      <a:pt x="3006" y="913"/>
                    </a:lnTo>
                    <a:lnTo>
                      <a:pt x="3008" y="913"/>
                    </a:lnTo>
                    <a:lnTo>
                      <a:pt x="3008" y="762"/>
                    </a:lnTo>
                    <a:moveTo>
                      <a:pt x="915" y="752"/>
                    </a:moveTo>
                    <a:lnTo>
                      <a:pt x="913" y="752"/>
                    </a:lnTo>
                    <a:lnTo>
                      <a:pt x="913" y="755"/>
                    </a:lnTo>
                    <a:lnTo>
                      <a:pt x="913" y="762"/>
                    </a:lnTo>
                    <a:lnTo>
                      <a:pt x="915" y="762"/>
                    </a:lnTo>
                    <a:lnTo>
                      <a:pt x="915" y="752"/>
                    </a:lnTo>
                    <a:moveTo>
                      <a:pt x="5039" y="731"/>
                    </a:moveTo>
                    <a:lnTo>
                      <a:pt x="5037" y="731"/>
                    </a:lnTo>
                    <a:lnTo>
                      <a:pt x="5037" y="734"/>
                    </a:lnTo>
                    <a:lnTo>
                      <a:pt x="5037" y="906"/>
                    </a:lnTo>
                    <a:lnTo>
                      <a:pt x="5039" y="906"/>
                    </a:lnTo>
                    <a:lnTo>
                      <a:pt x="5039" y="731"/>
                    </a:lnTo>
                    <a:moveTo>
                      <a:pt x="3046" y="655"/>
                    </a:moveTo>
                    <a:lnTo>
                      <a:pt x="3043" y="655"/>
                    </a:lnTo>
                    <a:lnTo>
                      <a:pt x="3043" y="658"/>
                    </a:lnTo>
                    <a:lnTo>
                      <a:pt x="3043" y="724"/>
                    </a:lnTo>
                    <a:lnTo>
                      <a:pt x="3043" y="724"/>
                    </a:lnTo>
                    <a:lnTo>
                      <a:pt x="3043" y="722"/>
                    </a:lnTo>
                    <a:lnTo>
                      <a:pt x="3046" y="722"/>
                    </a:lnTo>
                    <a:lnTo>
                      <a:pt x="3046" y="655"/>
                    </a:lnTo>
                    <a:moveTo>
                      <a:pt x="3" y="615"/>
                    </a:moveTo>
                    <a:lnTo>
                      <a:pt x="0" y="615"/>
                    </a:lnTo>
                    <a:lnTo>
                      <a:pt x="0" y="618"/>
                    </a:lnTo>
                    <a:lnTo>
                      <a:pt x="0" y="1387"/>
                    </a:lnTo>
                    <a:lnTo>
                      <a:pt x="3" y="1387"/>
                    </a:lnTo>
                    <a:lnTo>
                      <a:pt x="3" y="615"/>
                    </a:lnTo>
                    <a:moveTo>
                      <a:pt x="5160" y="608"/>
                    </a:moveTo>
                    <a:lnTo>
                      <a:pt x="5157" y="608"/>
                    </a:lnTo>
                    <a:lnTo>
                      <a:pt x="5157" y="610"/>
                    </a:lnTo>
                    <a:lnTo>
                      <a:pt x="5157" y="665"/>
                    </a:lnTo>
                    <a:lnTo>
                      <a:pt x="5160" y="665"/>
                    </a:lnTo>
                    <a:lnTo>
                      <a:pt x="5160" y="608"/>
                    </a:lnTo>
                    <a:moveTo>
                      <a:pt x="3190" y="582"/>
                    </a:moveTo>
                    <a:lnTo>
                      <a:pt x="3188" y="582"/>
                    </a:lnTo>
                    <a:lnTo>
                      <a:pt x="3188" y="582"/>
                    </a:lnTo>
                    <a:lnTo>
                      <a:pt x="3188" y="582"/>
                    </a:lnTo>
                    <a:lnTo>
                      <a:pt x="3188" y="591"/>
                    </a:lnTo>
                    <a:lnTo>
                      <a:pt x="3190" y="591"/>
                    </a:lnTo>
                    <a:lnTo>
                      <a:pt x="3190" y="582"/>
                    </a:lnTo>
                    <a:moveTo>
                      <a:pt x="208" y="546"/>
                    </a:moveTo>
                    <a:lnTo>
                      <a:pt x="206" y="546"/>
                    </a:lnTo>
                    <a:lnTo>
                      <a:pt x="206" y="549"/>
                    </a:lnTo>
                    <a:lnTo>
                      <a:pt x="206" y="551"/>
                    </a:lnTo>
                    <a:lnTo>
                      <a:pt x="208" y="551"/>
                    </a:lnTo>
                    <a:lnTo>
                      <a:pt x="208" y="546"/>
                    </a:lnTo>
                    <a:moveTo>
                      <a:pt x="6933" y="509"/>
                    </a:moveTo>
                    <a:lnTo>
                      <a:pt x="6931" y="509"/>
                    </a:lnTo>
                    <a:lnTo>
                      <a:pt x="6931" y="509"/>
                    </a:lnTo>
                    <a:lnTo>
                      <a:pt x="6931" y="1027"/>
                    </a:lnTo>
                    <a:lnTo>
                      <a:pt x="6933" y="1027"/>
                    </a:lnTo>
                    <a:lnTo>
                      <a:pt x="6933" y="509"/>
                    </a:lnTo>
                    <a:moveTo>
                      <a:pt x="4100" y="502"/>
                    </a:moveTo>
                    <a:lnTo>
                      <a:pt x="4100" y="502"/>
                    </a:lnTo>
                    <a:lnTo>
                      <a:pt x="4098" y="504"/>
                    </a:lnTo>
                    <a:lnTo>
                      <a:pt x="4086" y="523"/>
                    </a:lnTo>
                    <a:lnTo>
                      <a:pt x="4086" y="523"/>
                    </a:lnTo>
                    <a:lnTo>
                      <a:pt x="4100" y="502"/>
                    </a:lnTo>
                    <a:moveTo>
                      <a:pt x="3206" y="499"/>
                    </a:moveTo>
                    <a:lnTo>
                      <a:pt x="3206" y="499"/>
                    </a:lnTo>
                    <a:lnTo>
                      <a:pt x="3204" y="499"/>
                    </a:lnTo>
                    <a:lnTo>
                      <a:pt x="3204" y="502"/>
                    </a:lnTo>
                    <a:lnTo>
                      <a:pt x="3204" y="563"/>
                    </a:lnTo>
                    <a:lnTo>
                      <a:pt x="3206" y="563"/>
                    </a:lnTo>
                    <a:lnTo>
                      <a:pt x="3206" y="563"/>
                    </a:lnTo>
                    <a:lnTo>
                      <a:pt x="3206" y="563"/>
                    </a:lnTo>
                    <a:lnTo>
                      <a:pt x="3206" y="499"/>
                    </a:lnTo>
                    <a:moveTo>
                      <a:pt x="3944" y="454"/>
                    </a:moveTo>
                    <a:lnTo>
                      <a:pt x="3942" y="454"/>
                    </a:lnTo>
                    <a:lnTo>
                      <a:pt x="3942" y="454"/>
                    </a:lnTo>
                    <a:lnTo>
                      <a:pt x="3942" y="454"/>
                    </a:lnTo>
                    <a:lnTo>
                      <a:pt x="3942" y="490"/>
                    </a:lnTo>
                    <a:lnTo>
                      <a:pt x="3859" y="641"/>
                    </a:lnTo>
                    <a:lnTo>
                      <a:pt x="3859" y="861"/>
                    </a:lnTo>
                    <a:lnTo>
                      <a:pt x="3861" y="861"/>
                    </a:lnTo>
                    <a:lnTo>
                      <a:pt x="3861" y="641"/>
                    </a:lnTo>
                    <a:lnTo>
                      <a:pt x="3944" y="487"/>
                    </a:lnTo>
                    <a:lnTo>
                      <a:pt x="3944" y="454"/>
                    </a:lnTo>
                    <a:moveTo>
                      <a:pt x="3235" y="433"/>
                    </a:moveTo>
                    <a:lnTo>
                      <a:pt x="3232" y="433"/>
                    </a:lnTo>
                    <a:lnTo>
                      <a:pt x="3232" y="435"/>
                    </a:lnTo>
                    <a:lnTo>
                      <a:pt x="3232" y="473"/>
                    </a:lnTo>
                    <a:lnTo>
                      <a:pt x="3235" y="473"/>
                    </a:lnTo>
                    <a:lnTo>
                      <a:pt x="3235" y="471"/>
                    </a:lnTo>
                    <a:lnTo>
                      <a:pt x="3235" y="471"/>
                    </a:lnTo>
                    <a:lnTo>
                      <a:pt x="3235" y="433"/>
                    </a:lnTo>
                    <a:moveTo>
                      <a:pt x="3949" y="390"/>
                    </a:moveTo>
                    <a:lnTo>
                      <a:pt x="3947" y="390"/>
                    </a:lnTo>
                    <a:lnTo>
                      <a:pt x="3947" y="390"/>
                    </a:lnTo>
                    <a:lnTo>
                      <a:pt x="3947" y="393"/>
                    </a:lnTo>
                    <a:lnTo>
                      <a:pt x="3947" y="447"/>
                    </a:lnTo>
                    <a:lnTo>
                      <a:pt x="3949" y="447"/>
                    </a:lnTo>
                    <a:lnTo>
                      <a:pt x="3949" y="445"/>
                    </a:lnTo>
                    <a:lnTo>
                      <a:pt x="3949" y="445"/>
                    </a:lnTo>
                    <a:lnTo>
                      <a:pt x="3949" y="390"/>
                    </a:lnTo>
                    <a:moveTo>
                      <a:pt x="1717" y="367"/>
                    </a:moveTo>
                    <a:lnTo>
                      <a:pt x="1714" y="367"/>
                    </a:lnTo>
                    <a:lnTo>
                      <a:pt x="1714" y="369"/>
                    </a:lnTo>
                    <a:lnTo>
                      <a:pt x="1714" y="1065"/>
                    </a:lnTo>
                    <a:lnTo>
                      <a:pt x="1717" y="1065"/>
                    </a:lnTo>
                    <a:lnTo>
                      <a:pt x="1717" y="367"/>
                    </a:lnTo>
                    <a:moveTo>
                      <a:pt x="3956" y="326"/>
                    </a:moveTo>
                    <a:lnTo>
                      <a:pt x="3956" y="326"/>
                    </a:lnTo>
                    <a:lnTo>
                      <a:pt x="3956" y="329"/>
                    </a:lnTo>
                    <a:lnTo>
                      <a:pt x="3956" y="383"/>
                    </a:lnTo>
                    <a:lnTo>
                      <a:pt x="3956" y="383"/>
                    </a:lnTo>
                    <a:lnTo>
                      <a:pt x="3956" y="381"/>
                    </a:lnTo>
                    <a:lnTo>
                      <a:pt x="3956" y="381"/>
                    </a:lnTo>
                    <a:lnTo>
                      <a:pt x="3956" y="326"/>
                    </a:lnTo>
                    <a:moveTo>
                      <a:pt x="4609" y="232"/>
                    </a:moveTo>
                    <a:lnTo>
                      <a:pt x="4609" y="232"/>
                    </a:lnTo>
                    <a:lnTo>
                      <a:pt x="4609" y="232"/>
                    </a:lnTo>
                    <a:lnTo>
                      <a:pt x="4550" y="442"/>
                    </a:lnTo>
                    <a:lnTo>
                      <a:pt x="4552" y="442"/>
                    </a:lnTo>
                    <a:lnTo>
                      <a:pt x="4609" y="232"/>
                    </a:lnTo>
                    <a:moveTo>
                      <a:pt x="4760" y="0"/>
                    </a:moveTo>
                    <a:lnTo>
                      <a:pt x="4758" y="0"/>
                    </a:lnTo>
                    <a:lnTo>
                      <a:pt x="4758" y="2"/>
                    </a:lnTo>
                    <a:lnTo>
                      <a:pt x="4758" y="123"/>
                    </a:lnTo>
                    <a:lnTo>
                      <a:pt x="4758" y="123"/>
                    </a:lnTo>
                    <a:lnTo>
                      <a:pt x="4758" y="120"/>
                    </a:lnTo>
                    <a:lnTo>
                      <a:pt x="4760" y="120"/>
                    </a:lnTo>
                    <a:lnTo>
                      <a:pt x="47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1" name="Freeform 76"/>
              <p:cNvSpPr>
                <a:spLocks noEditPoints="1"/>
              </p:cNvSpPr>
              <p:nvPr/>
            </p:nvSpPr>
            <p:spPr bwMode="auto">
              <a:xfrm>
                <a:off x="78" y="1724"/>
                <a:ext cx="6930" cy="1390"/>
              </a:xfrm>
              <a:custGeom>
                <a:avLst/>
                <a:gdLst>
                  <a:gd name="T0" fmla="*/ 3615 w 6930"/>
                  <a:gd name="T1" fmla="*/ 1253 h 1390"/>
                  <a:gd name="T2" fmla="*/ 5736 w 6930"/>
                  <a:gd name="T3" fmla="*/ 1208 h 1390"/>
                  <a:gd name="T4" fmla="*/ 5736 w 6930"/>
                  <a:gd name="T5" fmla="*/ 1262 h 1390"/>
                  <a:gd name="T6" fmla="*/ 1593 w 6930"/>
                  <a:gd name="T7" fmla="*/ 1134 h 1390"/>
                  <a:gd name="T8" fmla="*/ 1593 w 6930"/>
                  <a:gd name="T9" fmla="*/ 1132 h 1390"/>
                  <a:gd name="T10" fmla="*/ 5760 w 6930"/>
                  <a:gd name="T11" fmla="*/ 1130 h 1390"/>
                  <a:gd name="T12" fmla="*/ 5762 w 6930"/>
                  <a:gd name="T13" fmla="*/ 1184 h 1390"/>
                  <a:gd name="T14" fmla="*/ 6225 w 6930"/>
                  <a:gd name="T15" fmla="*/ 1127 h 1390"/>
                  <a:gd name="T16" fmla="*/ 6228 w 6930"/>
                  <a:gd name="T17" fmla="*/ 1127 h 1390"/>
                  <a:gd name="T18" fmla="*/ 1366 w 6930"/>
                  <a:gd name="T19" fmla="*/ 1108 h 1390"/>
                  <a:gd name="T20" fmla="*/ 1369 w 6930"/>
                  <a:gd name="T21" fmla="*/ 1085 h 1390"/>
                  <a:gd name="T22" fmla="*/ 2764 w 6930"/>
                  <a:gd name="T23" fmla="*/ 1066 h 1390"/>
                  <a:gd name="T24" fmla="*/ 5835 w 6930"/>
                  <a:gd name="T25" fmla="*/ 1042 h 1390"/>
                  <a:gd name="T26" fmla="*/ 5835 w 6930"/>
                  <a:gd name="T27" fmla="*/ 1066 h 1390"/>
                  <a:gd name="T28" fmla="*/ 2780 w 6930"/>
                  <a:gd name="T29" fmla="*/ 1014 h 1390"/>
                  <a:gd name="T30" fmla="*/ 2783 w 6930"/>
                  <a:gd name="T31" fmla="*/ 1044 h 1390"/>
                  <a:gd name="T32" fmla="*/ 3674 w 6930"/>
                  <a:gd name="T33" fmla="*/ 995 h 1390"/>
                  <a:gd name="T34" fmla="*/ 3676 w 6930"/>
                  <a:gd name="T35" fmla="*/ 1160 h 1390"/>
                  <a:gd name="T36" fmla="*/ 5852 w 6930"/>
                  <a:gd name="T37" fmla="*/ 990 h 1390"/>
                  <a:gd name="T38" fmla="*/ 5854 w 6930"/>
                  <a:gd name="T39" fmla="*/ 1023 h 1390"/>
                  <a:gd name="T40" fmla="*/ 6244 w 6930"/>
                  <a:gd name="T41" fmla="*/ 935 h 1390"/>
                  <a:gd name="T42" fmla="*/ 6244 w 6930"/>
                  <a:gd name="T43" fmla="*/ 1111 h 1390"/>
                  <a:gd name="T44" fmla="*/ 3750 w 6930"/>
                  <a:gd name="T45" fmla="*/ 928 h 1390"/>
                  <a:gd name="T46" fmla="*/ 3750 w 6930"/>
                  <a:gd name="T47" fmla="*/ 928 h 1390"/>
                  <a:gd name="T48" fmla="*/ 6294 w 6930"/>
                  <a:gd name="T49" fmla="*/ 881 h 1390"/>
                  <a:gd name="T50" fmla="*/ 6294 w 6930"/>
                  <a:gd name="T51" fmla="*/ 886 h 1390"/>
                  <a:gd name="T52" fmla="*/ 6301 w 6930"/>
                  <a:gd name="T53" fmla="*/ 853 h 1390"/>
                  <a:gd name="T54" fmla="*/ 6303 w 6930"/>
                  <a:gd name="T55" fmla="*/ 869 h 1390"/>
                  <a:gd name="T56" fmla="*/ 3005 w 6930"/>
                  <a:gd name="T57" fmla="*/ 765 h 1390"/>
                  <a:gd name="T58" fmla="*/ 915 w 6930"/>
                  <a:gd name="T59" fmla="*/ 753 h 1390"/>
                  <a:gd name="T60" fmla="*/ 915 w 6930"/>
                  <a:gd name="T61" fmla="*/ 765 h 1390"/>
                  <a:gd name="T62" fmla="*/ 5036 w 6930"/>
                  <a:gd name="T63" fmla="*/ 734 h 1390"/>
                  <a:gd name="T64" fmla="*/ 3045 w 6930"/>
                  <a:gd name="T65" fmla="*/ 656 h 1390"/>
                  <a:gd name="T66" fmla="*/ 3043 w 6930"/>
                  <a:gd name="T67" fmla="*/ 725 h 1390"/>
                  <a:gd name="T68" fmla="*/ 2 w 6930"/>
                  <a:gd name="T69" fmla="*/ 616 h 1390"/>
                  <a:gd name="T70" fmla="*/ 2 w 6930"/>
                  <a:gd name="T71" fmla="*/ 1390 h 1390"/>
                  <a:gd name="T72" fmla="*/ 5157 w 6930"/>
                  <a:gd name="T73" fmla="*/ 611 h 1390"/>
                  <a:gd name="T74" fmla="*/ 3187 w 6930"/>
                  <a:gd name="T75" fmla="*/ 583 h 1390"/>
                  <a:gd name="T76" fmla="*/ 3187 w 6930"/>
                  <a:gd name="T77" fmla="*/ 594 h 1390"/>
                  <a:gd name="T78" fmla="*/ 205 w 6930"/>
                  <a:gd name="T79" fmla="*/ 547 h 1390"/>
                  <a:gd name="T80" fmla="*/ 208 w 6930"/>
                  <a:gd name="T81" fmla="*/ 547 h 1390"/>
                  <a:gd name="T82" fmla="*/ 6930 w 6930"/>
                  <a:gd name="T83" fmla="*/ 1030 h 1390"/>
                  <a:gd name="T84" fmla="*/ 4097 w 6930"/>
                  <a:gd name="T85" fmla="*/ 502 h 1390"/>
                  <a:gd name="T86" fmla="*/ 4100 w 6930"/>
                  <a:gd name="T87" fmla="*/ 502 h 1390"/>
                  <a:gd name="T88" fmla="*/ 3203 w 6930"/>
                  <a:gd name="T89" fmla="*/ 502 h 1390"/>
                  <a:gd name="T90" fmla="*/ 3206 w 6930"/>
                  <a:gd name="T91" fmla="*/ 564 h 1390"/>
                  <a:gd name="T92" fmla="*/ 3941 w 6930"/>
                  <a:gd name="T93" fmla="*/ 455 h 1390"/>
                  <a:gd name="T94" fmla="*/ 3858 w 6930"/>
                  <a:gd name="T95" fmla="*/ 864 h 1390"/>
                  <a:gd name="T96" fmla="*/ 3941 w 6930"/>
                  <a:gd name="T97" fmla="*/ 455 h 1390"/>
                  <a:gd name="T98" fmla="*/ 3232 w 6930"/>
                  <a:gd name="T99" fmla="*/ 474 h 1390"/>
                  <a:gd name="T100" fmla="*/ 3234 w 6930"/>
                  <a:gd name="T101" fmla="*/ 433 h 1390"/>
                  <a:gd name="T102" fmla="*/ 3946 w 6930"/>
                  <a:gd name="T103" fmla="*/ 393 h 1390"/>
                  <a:gd name="T104" fmla="*/ 3948 w 6930"/>
                  <a:gd name="T105" fmla="*/ 448 h 1390"/>
                  <a:gd name="T106" fmla="*/ 1714 w 6930"/>
                  <a:gd name="T107" fmla="*/ 370 h 1390"/>
                  <a:gd name="T108" fmla="*/ 3955 w 6930"/>
                  <a:gd name="T109" fmla="*/ 327 h 1390"/>
                  <a:gd name="T110" fmla="*/ 3955 w 6930"/>
                  <a:gd name="T111" fmla="*/ 384 h 1390"/>
                  <a:gd name="T112" fmla="*/ 4608 w 6930"/>
                  <a:gd name="T113" fmla="*/ 232 h 1390"/>
                  <a:gd name="T114" fmla="*/ 4551 w 6930"/>
                  <a:gd name="T115" fmla="*/ 445 h 1390"/>
                  <a:gd name="T116" fmla="*/ 4757 w 6930"/>
                  <a:gd name="T117" fmla="*/ 3 h 1390"/>
                  <a:gd name="T118" fmla="*/ 4757 w 6930"/>
                  <a:gd name="T119" fmla="*/ 123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0">
                    <a:moveTo>
                      <a:pt x="3617" y="1222"/>
                    </a:moveTo>
                    <a:lnTo>
                      <a:pt x="3615" y="1222"/>
                    </a:lnTo>
                    <a:lnTo>
                      <a:pt x="3615" y="1224"/>
                    </a:lnTo>
                    <a:lnTo>
                      <a:pt x="3615" y="1253"/>
                    </a:lnTo>
                    <a:lnTo>
                      <a:pt x="3617" y="1253"/>
                    </a:lnTo>
                    <a:lnTo>
                      <a:pt x="3617" y="1222"/>
                    </a:lnTo>
                    <a:close/>
                    <a:moveTo>
                      <a:pt x="5736" y="1208"/>
                    </a:moveTo>
                    <a:lnTo>
                      <a:pt x="5736" y="1208"/>
                    </a:lnTo>
                    <a:lnTo>
                      <a:pt x="5734" y="1208"/>
                    </a:lnTo>
                    <a:lnTo>
                      <a:pt x="5734" y="1210"/>
                    </a:lnTo>
                    <a:lnTo>
                      <a:pt x="5734" y="1262"/>
                    </a:lnTo>
                    <a:lnTo>
                      <a:pt x="5736" y="1262"/>
                    </a:lnTo>
                    <a:lnTo>
                      <a:pt x="5736" y="1208"/>
                    </a:lnTo>
                    <a:close/>
                    <a:moveTo>
                      <a:pt x="1593" y="1132"/>
                    </a:moveTo>
                    <a:lnTo>
                      <a:pt x="1593" y="1132"/>
                    </a:lnTo>
                    <a:lnTo>
                      <a:pt x="1593" y="1134"/>
                    </a:lnTo>
                    <a:lnTo>
                      <a:pt x="1593" y="1134"/>
                    </a:lnTo>
                    <a:lnTo>
                      <a:pt x="1593" y="1134"/>
                    </a:lnTo>
                    <a:lnTo>
                      <a:pt x="1593" y="1132"/>
                    </a:lnTo>
                    <a:lnTo>
                      <a:pt x="1593" y="1132"/>
                    </a:lnTo>
                    <a:lnTo>
                      <a:pt x="1593" y="1132"/>
                    </a:lnTo>
                    <a:close/>
                    <a:moveTo>
                      <a:pt x="5762" y="1127"/>
                    </a:moveTo>
                    <a:lnTo>
                      <a:pt x="5760" y="1127"/>
                    </a:lnTo>
                    <a:lnTo>
                      <a:pt x="5760" y="1130"/>
                    </a:lnTo>
                    <a:lnTo>
                      <a:pt x="5760" y="1184"/>
                    </a:lnTo>
                    <a:lnTo>
                      <a:pt x="5760" y="1184"/>
                    </a:lnTo>
                    <a:lnTo>
                      <a:pt x="5760" y="1184"/>
                    </a:lnTo>
                    <a:lnTo>
                      <a:pt x="5762" y="1184"/>
                    </a:lnTo>
                    <a:lnTo>
                      <a:pt x="5762" y="1127"/>
                    </a:lnTo>
                    <a:close/>
                    <a:moveTo>
                      <a:pt x="6228" y="1127"/>
                    </a:moveTo>
                    <a:lnTo>
                      <a:pt x="6228" y="1127"/>
                    </a:lnTo>
                    <a:lnTo>
                      <a:pt x="6225" y="1127"/>
                    </a:lnTo>
                    <a:lnTo>
                      <a:pt x="6225" y="1130"/>
                    </a:lnTo>
                    <a:lnTo>
                      <a:pt x="6225" y="1146"/>
                    </a:lnTo>
                    <a:lnTo>
                      <a:pt x="6228" y="1146"/>
                    </a:lnTo>
                    <a:lnTo>
                      <a:pt x="6228" y="1127"/>
                    </a:lnTo>
                    <a:close/>
                    <a:moveTo>
                      <a:pt x="1369" y="1085"/>
                    </a:moveTo>
                    <a:lnTo>
                      <a:pt x="1366" y="1085"/>
                    </a:lnTo>
                    <a:lnTo>
                      <a:pt x="1366" y="1085"/>
                    </a:lnTo>
                    <a:lnTo>
                      <a:pt x="1366" y="1108"/>
                    </a:lnTo>
                    <a:lnTo>
                      <a:pt x="1369" y="1108"/>
                    </a:lnTo>
                    <a:lnTo>
                      <a:pt x="1369" y="1108"/>
                    </a:lnTo>
                    <a:lnTo>
                      <a:pt x="1369" y="1108"/>
                    </a:lnTo>
                    <a:lnTo>
                      <a:pt x="1369" y="1085"/>
                    </a:lnTo>
                    <a:close/>
                    <a:moveTo>
                      <a:pt x="2766" y="1063"/>
                    </a:moveTo>
                    <a:lnTo>
                      <a:pt x="2764" y="1063"/>
                    </a:lnTo>
                    <a:lnTo>
                      <a:pt x="2764" y="1063"/>
                    </a:lnTo>
                    <a:lnTo>
                      <a:pt x="2764" y="1066"/>
                    </a:lnTo>
                    <a:lnTo>
                      <a:pt x="2764" y="1177"/>
                    </a:lnTo>
                    <a:lnTo>
                      <a:pt x="2766" y="1177"/>
                    </a:lnTo>
                    <a:lnTo>
                      <a:pt x="2766" y="1063"/>
                    </a:lnTo>
                    <a:close/>
                    <a:moveTo>
                      <a:pt x="5835" y="1042"/>
                    </a:moveTo>
                    <a:lnTo>
                      <a:pt x="5835" y="1042"/>
                    </a:lnTo>
                    <a:lnTo>
                      <a:pt x="5835" y="1042"/>
                    </a:lnTo>
                    <a:lnTo>
                      <a:pt x="5835" y="1044"/>
                    </a:lnTo>
                    <a:lnTo>
                      <a:pt x="5835" y="1066"/>
                    </a:lnTo>
                    <a:lnTo>
                      <a:pt x="5835" y="1066"/>
                    </a:lnTo>
                    <a:lnTo>
                      <a:pt x="5835" y="1042"/>
                    </a:lnTo>
                    <a:close/>
                    <a:moveTo>
                      <a:pt x="2783" y="1011"/>
                    </a:moveTo>
                    <a:lnTo>
                      <a:pt x="2780" y="1014"/>
                    </a:lnTo>
                    <a:lnTo>
                      <a:pt x="2780" y="1014"/>
                    </a:lnTo>
                    <a:lnTo>
                      <a:pt x="2780" y="1047"/>
                    </a:lnTo>
                    <a:lnTo>
                      <a:pt x="2783" y="1047"/>
                    </a:lnTo>
                    <a:lnTo>
                      <a:pt x="2783" y="1044"/>
                    </a:lnTo>
                    <a:lnTo>
                      <a:pt x="2783" y="1044"/>
                    </a:lnTo>
                    <a:lnTo>
                      <a:pt x="2783" y="1011"/>
                    </a:lnTo>
                    <a:close/>
                    <a:moveTo>
                      <a:pt x="3676" y="995"/>
                    </a:moveTo>
                    <a:lnTo>
                      <a:pt x="3674" y="995"/>
                    </a:lnTo>
                    <a:lnTo>
                      <a:pt x="3674" y="995"/>
                    </a:lnTo>
                    <a:lnTo>
                      <a:pt x="3674" y="1163"/>
                    </a:lnTo>
                    <a:lnTo>
                      <a:pt x="3676" y="1163"/>
                    </a:lnTo>
                    <a:lnTo>
                      <a:pt x="3676" y="1160"/>
                    </a:lnTo>
                    <a:lnTo>
                      <a:pt x="3676" y="1160"/>
                    </a:lnTo>
                    <a:lnTo>
                      <a:pt x="3676" y="995"/>
                    </a:lnTo>
                    <a:close/>
                    <a:moveTo>
                      <a:pt x="5854" y="990"/>
                    </a:moveTo>
                    <a:lnTo>
                      <a:pt x="5852" y="990"/>
                    </a:lnTo>
                    <a:lnTo>
                      <a:pt x="5852" y="992"/>
                    </a:lnTo>
                    <a:lnTo>
                      <a:pt x="5852" y="1025"/>
                    </a:lnTo>
                    <a:lnTo>
                      <a:pt x="5854" y="1025"/>
                    </a:lnTo>
                    <a:lnTo>
                      <a:pt x="5854" y="1023"/>
                    </a:lnTo>
                    <a:lnTo>
                      <a:pt x="5854" y="1023"/>
                    </a:lnTo>
                    <a:lnTo>
                      <a:pt x="5854" y="990"/>
                    </a:lnTo>
                    <a:close/>
                    <a:moveTo>
                      <a:pt x="6244" y="935"/>
                    </a:moveTo>
                    <a:lnTo>
                      <a:pt x="6244" y="935"/>
                    </a:lnTo>
                    <a:lnTo>
                      <a:pt x="6244" y="938"/>
                    </a:lnTo>
                    <a:lnTo>
                      <a:pt x="6244" y="1111"/>
                    </a:lnTo>
                    <a:lnTo>
                      <a:pt x="6244" y="1111"/>
                    </a:lnTo>
                    <a:lnTo>
                      <a:pt x="6244" y="1111"/>
                    </a:lnTo>
                    <a:lnTo>
                      <a:pt x="6244" y="1111"/>
                    </a:lnTo>
                    <a:lnTo>
                      <a:pt x="6244" y="935"/>
                    </a:lnTo>
                    <a:close/>
                    <a:moveTo>
                      <a:pt x="3750" y="928"/>
                    </a:moveTo>
                    <a:lnTo>
                      <a:pt x="3750" y="928"/>
                    </a:lnTo>
                    <a:lnTo>
                      <a:pt x="3750" y="931"/>
                    </a:lnTo>
                    <a:lnTo>
                      <a:pt x="3750" y="931"/>
                    </a:lnTo>
                    <a:lnTo>
                      <a:pt x="3750" y="931"/>
                    </a:lnTo>
                    <a:lnTo>
                      <a:pt x="3750" y="928"/>
                    </a:lnTo>
                    <a:close/>
                    <a:moveTo>
                      <a:pt x="6294" y="879"/>
                    </a:moveTo>
                    <a:lnTo>
                      <a:pt x="6294" y="879"/>
                    </a:lnTo>
                    <a:lnTo>
                      <a:pt x="6294" y="879"/>
                    </a:lnTo>
                    <a:lnTo>
                      <a:pt x="6294" y="881"/>
                    </a:lnTo>
                    <a:lnTo>
                      <a:pt x="6294" y="888"/>
                    </a:lnTo>
                    <a:lnTo>
                      <a:pt x="6294" y="888"/>
                    </a:lnTo>
                    <a:lnTo>
                      <a:pt x="6294" y="886"/>
                    </a:lnTo>
                    <a:lnTo>
                      <a:pt x="6294" y="886"/>
                    </a:lnTo>
                    <a:lnTo>
                      <a:pt x="6294" y="879"/>
                    </a:lnTo>
                    <a:close/>
                    <a:moveTo>
                      <a:pt x="6303" y="850"/>
                    </a:moveTo>
                    <a:lnTo>
                      <a:pt x="6301" y="850"/>
                    </a:lnTo>
                    <a:lnTo>
                      <a:pt x="6301" y="853"/>
                    </a:lnTo>
                    <a:lnTo>
                      <a:pt x="6301" y="871"/>
                    </a:lnTo>
                    <a:lnTo>
                      <a:pt x="6303" y="871"/>
                    </a:lnTo>
                    <a:lnTo>
                      <a:pt x="6303" y="869"/>
                    </a:lnTo>
                    <a:lnTo>
                      <a:pt x="6303" y="869"/>
                    </a:lnTo>
                    <a:lnTo>
                      <a:pt x="6303" y="850"/>
                    </a:lnTo>
                    <a:close/>
                    <a:moveTo>
                      <a:pt x="3005" y="763"/>
                    </a:moveTo>
                    <a:lnTo>
                      <a:pt x="3005" y="763"/>
                    </a:lnTo>
                    <a:lnTo>
                      <a:pt x="3005" y="765"/>
                    </a:lnTo>
                    <a:lnTo>
                      <a:pt x="3005" y="916"/>
                    </a:lnTo>
                    <a:lnTo>
                      <a:pt x="3005" y="916"/>
                    </a:lnTo>
                    <a:lnTo>
                      <a:pt x="3005" y="763"/>
                    </a:lnTo>
                    <a:close/>
                    <a:moveTo>
                      <a:pt x="915" y="753"/>
                    </a:moveTo>
                    <a:lnTo>
                      <a:pt x="912" y="753"/>
                    </a:lnTo>
                    <a:lnTo>
                      <a:pt x="912" y="755"/>
                    </a:lnTo>
                    <a:lnTo>
                      <a:pt x="912" y="765"/>
                    </a:lnTo>
                    <a:lnTo>
                      <a:pt x="915" y="765"/>
                    </a:lnTo>
                    <a:lnTo>
                      <a:pt x="915" y="753"/>
                    </a:lnTo>
                    <a:close/>
                    <a:moveTo>
                      <a:pt x="5038" y="732"/>
                    </a:moveTo>
                    <a:lnTo>
                      <a:pt x="5036" y="732"/>
                    </a:lnTo>
                    <a:lnTo>
                      <a:pt x="5036" y="734"/>
                    </a:lnTo>
                    <a:lnTo>
                      <a:pt x="5036" y="909"/>
                    </a:lnTo>
                    <a:lnTo>
                      <a:pt x="5038" y="909"/>
                    </a:lnTo>
                    <a:lnTo>
                      <a:pt x="5038" y="732"/>
                    </a:lnTo>
                    <a:close/>
                    <a:moveTo>
                      <a:pt x="3045" y="656"/>
                    </a:moveTo>
                    <a:lnTo>
                      <a:pt x="3043" y="656"/>
                    </a:lnTo>
                    <a:lnTo>
                      <a:pt x="3043" y="658"/>
                    </a:lnTo>
                    <a:lnTo>
                      <a:pt x="3043" y="725"/>
                    </a:lnTo>
                    <a:lnTo>
                      <a:pt x="3043" y="725"/>
                    </a:lnTo>
                    <a:lnTo>
                      <a:pt x="3043" y="725"/>
                    </a:lnTo>
                    <a:lnTo>
                      <a:pt x="3045" y="725"/>
                    </a:lnTo>
                    <a:lnTo>
                      <a:pt x="3045" y="656"/>
                    </a:lnTo>
                    <a:close/>
                    <a:moveTo>
                      <a:pt x="2" y="616"/>
                    </a:moveTo>
                    <a:lnTo>
                      <a:pt x="0" y="616"/>
                    </a:lnTo>
                    <a:lnTo>
                      <a:pt x="0" y="618"/>
                    </a:lnTo>
                    <a:lnTo>
                      <a:pt x="0" y="1390"/>
                    </a:lnTo>
                    <a:lnTo>
                      <a:pt x="2" y="1390"/>
                    </a:lnTo>
                    <a:lnTo>
                      <a:pt x="2" y="616"/>
                    </a:lnTo>
                    <a:close/>
                    <a:moveTo>
                      <a:pt x="5159" y="609"/>
                    </a:moveTo>
                    <a:lnTo>
                      <a:pt x="5157" y="609"/>
                    </a:lnTo>
                    <a:lnTo>
                      <a:pt x="5157" y="611"/>
                    </a:lnTo>
                    <a:lnTo>
                      <a:pt x="5157" y="668"/>
                    </a:lnTo>
                    <a:lnTo>
                      <a:pt x="5159" y="668"/>
                    </a:lnTo>
                    <a:lnTo>
                      <a:pt x="5159" y="609"/>
                    </a:lnTo>
                    <a:close/>
                    <a:moveTo>
                      <a:pt x="3187" y="583"/>
                    </a:moveTo>
                    <a:lnTo>
                      <a:pt x="3187" y="583"/>
                    </a:lnTo>
                    <a:lnTo>
                      <a:pt x="3187" y="583"/>
                    </a:lnTo>
                    <a:lnTo>
                      <a:pt x="3187" y="585"/>
                    </a:lnTo>
                    <a:lnTo>
                      <a:pt x="3187" y="594"/>
                    </a:lnTo>
                    <a:lnTo>
                      <a:pt x="3187" y="594"/>
                    </a:lnTo>
                    <a:lnTo>
                      <a:pt x="3187" y="583"/>
                    </a:lnTo>
                    <a:close/>
                    <a:moveTo>
                      <a:pt x="208" y="547"/>
                    </a:moveTo>
                    <a:lnTo>
                      <a:pt x="205" y="547"/>
                    </a:lnTo>
                    <a:lnTo>
                      <a:pt x="205" y="549"/>
                    </a:lnTo>
                    <a:lnTo>
                      <a:pt x="205" y="554"/>
                    </a:lnTo>
                    <a:lnTo>
                      <a:pt x="208" y="554"/>
                    </a:lnTo>
                    <a:lnTo>
                      <a:pt x="208" y="547"/>
                    </a:lnTo>
                    <a:close/>
                    <a:moveTo>
                      <a:pt x="6930" y="509"/>
                    </a:moveTo>
                    <a:lnTo>
                      <a:pt x="6930" y="509"/>
                    </a:lnTo>
                    <a:lnTo>
                      <a:pt x="6930" y="512"/>
                    </a:lnTo>
                    <a:lnTo>
                      <a:pt x="6930" y="1030"/>
                    </a:lnTo>
                    <a:lnTo>
                      <a:pt x="6930" y="1030"/>
                    </a:lnTo>
                    <a:lnTo>
                      <a:pt x="6930" y="509"/>
                    </a:lnTo>
                    <a:close/>
                    <a:moveTo>
                      <a:pt x="4100" y="502"/>
                    </a:moveTo>
                    <a:lnTo>
                      <a:pt x="4097" y="502"/>
                    </a:lnTo>
                    <a:lnTo>
                      <a:pt x="4097" y="505"/>
                    </a:lnTo>
                    <a:lnTo>
                      <a:pt x="4083" y="526"/>
                    </a:lnTo>
                    <a:lnTo>
                      <a:pt x="4083" y="526"/>
                    </a:lnTo>
                    <a:lnTo>
                      <a:pt x="4100" y="502"/>
                    </a:lnTo>
                    <a:close/>
                    <a:moveTo>
                      <a:pt x="3206" y="502"/>
                    </a:moveTo>
                    <a:lnTo>
                      <a:pt x="3203" y="502"/>
                    </a:lnTo>
                    <a:lnTo>
                      <a:pt x="3203" y="502"/>
                    </a:lnTo>
                    <a:lnTo>
                      <a:pt x="3203" y="502"/>
                    </a:lnTo>
                    <a:lnTo>
                      <a:pt x="3203" y="566"/>
                    </a:lnTo>
                    <a:lnTo>
                      <a:pt x="3206" y="566"/>
                    </a:lnTo>
                    <a:lnTo>
                      <a:pt x="3206" y="564"/>
                    </a:lnTo>
                    <a:lnTo>
                      <a:pt x="3206" y="564"/>
                    </a:lnTo>
                    <a:lnTo>
                      <a:pt x="3206" y="502"/>
                    </a:lnTo>
                    <a:close/>
                    <a:moveTo>
                      <a:pt x="3941" y="455"/>
                    </a:moveTo>
                    <a:lnTo>
                      <a:pt x="3941" y="455"/>
                    </a:lnTo>
                    <a:lnTo>
                      <a:pt x="3941" y="455"/>
                    </a:lnTo>
                    <a:lnTo>
                      <a:pt x="3941" y="457"/>
                    </a:lnTo>
                    <a:lnTo>
                      <a:pt x="3941" y="490"/>
                    </a:lnTo>
                    <a:lnTo>
                      <a:pt x="3858" y="644"/>
                    </a:lnTo>
                    <a:lnTo>
                      <a:pt x="3858" y="864"/>
                    </a:lnTo>
                    <a:lnTo>
                      <a:pt x="3861" y="864"/>
                    </a:lnTo>
                    <a:lnTo>
                      <a:pt x="3861" y="642"/>
                    </a:lnTo>
                    <a:lnTo>
                      <a:pt x="3941" y="490"/>
                    </a:lnTo>
                    <a:lnTo>
                      <a:pt x="3941" y="455"/>
                    </a:lnTo>
                    <a:close/>
                    <a:moveTo>
                      <a:pt x="3234" y="433"/>
                    </a:moveTo>
                    <a:lnTo>
                      <a:pt x="3232" y="433"/>
                    </a:lnTo>
                    <a:lnTo>
                      <a:pt x="3232" y="436"/>
                    </a:lnTo>
                    <a:lnTo>
                      <a:pt x="3232" y="474"/>
                    </a:lnTo>
                    <a:lnTo>
                      <a:pt x="3234" y="474"/>
                    </a:lnTo>
                    <a:lnTo>
                      <a:pt x="3234" y="471"/>
                    </a:lnTo>
                    <a:lnTo>
                      <a:pt x="3234" y="471"/>
                    </a:lnTo>
                    <a:lnTo>
                      <a:pt x="3234" y="433"/>
                    </a:lnTo>
                    <a:close/>
                    <a:moveTo>
                      <a:pt x="3948" y="391"/>
                    </a:moveTo>
                    <a:lnTo>
                      <a:pt x="3946" y="391"/>
                    </a:lnTo>
                    <a:lnTo>
                      <a:pt x="3946" y="391"/>
                    </a:lnTo>
                    <a:lnTo>
                      <a:pt x="3946" y="393"/>
                    </a:lnTo>
                    <a:lnTo>
                      <a:pt x="3946" y="448"/>
                    </a:lnTo>
                    <a:lnTo>
                      <a:pt x="3948" y="448"/>
                    </a:lnTo>
                    <a:lnTo>
                      <a:pt x="3948" y="448"/>
                    </a:lnTo>
                    <a:lnTo>
                      <a:pt x="3948" y="448"/>
                    </a:lnTo>
                    <a:lnTo>
                      <a:pt x="3948" y="391"/>
                    </a:lnTo>
                    <a:close/>
                    <a:moveTo>
                      <a:pt x="1716" y="370"/>
                    </a:moveTo>
                    <a:lnTo>
                      <a:pt x="1714" y="370"/>
                    </a:lnTo>
                    <a:lnTo>
                      <a:pt x="1714" y="370"/>
                    </a:lnTo>
                    <a:lnTo>
                      <a:pt x="1714" y="1068"/>
                    </a:lnTo>
                    <a:lnTo>
                      <a:pt x="1716" y="1068"/>
                    </a:lnTo>
                    <a:lnTo>
                      <a:pt x="1716" y="370"/>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6" y="235"/>
                    </a:lnTo>
                    <a:lnTo>
                      <a:pt x="4549" y="445"/>
                    </a:lnTo>
                    <a:lnTo>
                      <a:pt x="4551" y="445"/>
                    </a:lnTo>
                    <a:lnTo>
                      <a:pt x="4608" y="232"/>
                    </a:lnTo>
                    <a:close/>
                    <a:moveTo>
                      <a:pt x="4757" y="0"/>
                    </a:moveTo>
                    <a:lnTo>
                      <a:pt x="4757" y="0"/>
                    </a:lnTo>
                    <a:lnTo>
                      <a:pt x="4757" y="3"/>
                    </a:lnTo>
                    <a:lnTo>
                      <a:pt x="4757" y="123"/>
                    </a:lnTo>
                    <a:lnTo>
                      <a:pt x="4757" y="123"/>
                    </a:lnTo>
                    <a:lnTo>
                      <a:pt x="4757" y="123"/>
                    </a:lnTo>
                    <a:lnTo>
                      <a:pt x="4757" y="123"/>
                    </a:lnTo>
                    <a:lnTo>
                      <a:pt x="4757" y="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2" name="Freeform 77"/>
              <p:cNvSpPr>
                <a:spLocks noEditPoints="1"/>
              </p:cNvSpPr>
              <p:nvPr/>
            </p:nvSpPr>
            <p:spPr bwMode="auto">
              <a:xfrm>
                <a:off x="78" y="1724"/>
                <a:ext cx="6930" cy="1390"/>
              </a:xfrm>
              <a:custGeom>
                <a:avLst/>
                <a:gdLst>
                  <a:gd name="T0" fmla="*/ 3615 w 6930"/>
                  <a:gd name="T1" fmla="*/ 1253 h 1390"/>
                  <a:gd name="T2" fmla="*/ 5736 w 6930"/>
                  <a:gd name="T3" fmla="*/ 1208 h 1390"/>
                  <a:gd name="T4" fmla="*/ 5736 w 6930"/>
                  <a:gd name="T5" fmla="*/ 1262 h 1390"/>
                  <a:gd name="T6" fmla="*/ 1593 w 6930"/>
                  <a:gd name="T7" fmla="*/ 1134 h 1390"/>
                  <a:gd name="T8" fmla="*/ 1593 w 6930"/>
                  <a:gd name="T9" fmla="*/ 1132 h 1390"/>
                  <a:gd name="T10" fmla="*/ 5760 w 6930"/>
                  <a:gd name="T11" fmla="*/ 1130 h 1390"/>
                  <a:gd name="T12" fmla="*/ 5762 w 6930"/>
                  <a:gd name="T13" fmla="*/ 1184 h 1390"/>
                  <a:gd name="T14" fmla="*/ 6225 w 6930"/>
                  <a:gd name="T15" fmla="*/ 1127 h 1390"/>
                  <a:gd name="T16" fmla="*/ 6228 w 6930"/>
                  <a:gd name="T17" fmla="*/ 1127 h 1390"/>
                  <a:gd name="T18" fmla="*/ 1366 w 6930"/>
                  <a:gd name="T19" fmla="*/ 1108 h 1390"/>
                  <a:gd name="T20" fmla="*/ 1369 w 6930"/>
                  <a:gd name="T21" fmla="*/ 1085 h 1390"/>
                  <a:gd name="T22" fmla="*/ 2764 w 6930"/>
                  <a:gd name="T23" fmla="*/ 1066 h 1390"/>
                  <a:gd name="T24" fmla="*/ 5835 w 6930"/>
                  <a:gd name="T25" fmla="*/ 1042 h 1390"/>
                  <a:gd name="T26" fmla="*/ 5835 w 6930"/>
                  <a:gd name="T27" fmla="*/ 1066 h 1390"/>
                  <a:gd name="T28" fmla="*/ 2780 w 6930"/>
                  <a:gd name="T29" fmla="*/ 1014 h 1390"/>
                  <a:gd name="T30" fmla="*/ 2783 w 6930"/>
                  <a:gd name="T31" fmla="*/ 1044 h 1390"/>
                  <a:gd name="T32" fmla="*/ 3674 w 6930"/>
                  <a:gd name="T33" fmla="*/ 995 h 1390"/>
                  <a:gd name="T34" fmla="*/ 3676 w 6930"/>
                  <a:gd name="T35" fmla="*/ 1160 h 1390"/>
                  <a:gd name="T36" fmla="*/ 5852 w 6930"/>
                  <a:gd name="T37" fmla="*/ 990 h 1390"/>
                  <a:gd name="T38" fmla="*/ 5854 w 6930"/>
                  <a:gd name="T39" fmla="*/ 1023 h 1390"/>
                  <a:gd name="T40" fmla="*/ 6244 w 6930"/>
                  <a:gd name="T41" fmla="*/ 935 h 1390"/>
                  <a:gd name="T42" fmla="*/ 6244 w 6930"/>
                  <a:gd name="T43" fmla="*/ 1111 h 1390"/>
                  <a:gd name="T44" fmla="*/ 3750 w 6930"/>
                  <a:gd name="T45" fmla="*/ 928 h 1390"/>
                  <a:gd name="T46" fmla="*/ 3750 w 6930"/>
                  <a:gd name="T47" fmla="*/ 928 h 1390"/>
                  <a:gd name="T48" fmla="*/ 6294 w 6930"/>
                  <a:gd name="T49" fmla="*/ 881 h 1390"/>
                  <a:gd name="T50" fmla="*/ 6294 w 6930"/>
                  <a:gd name="T51" fmla="*/ 886 h 1390"/>
                  <a:gd name="T52" fmla="*/ 6301 w 6930"/>
                  <a:gd name="T53" fmla="*/ 853 h 1390"/>
                  <a:gd name="T54" fmla="*/ 6303 w 6930"/>
                  <a:gd name="T55" fmla="*/ 869 h 1390"/>
                  <a:gd name="T56" fmla="*/ 3005 w 6930"/>
                  <a:gd name="T57" fmla="*/ 765 h 1390"/>
                  <a:gd name="T58" fmla="*/ 915 w 6930"/>
                  <a:gd name="T59" fmla="*/ 753 h 1390"/>
                  <a:gd name="T60" fmla="*/ 915 w 6930"/>
                  <a:gd name="T61" fmla="*/ 765 h 1390"/>
                  <a:gd name="T62" fmla="*/ 5036 w 6930"/>
                  <a:gd name="T63" fmla="*/ 734 h 1390"/>
                  <a:gd name="T64" fmla="*/ 3045 w 6930"/>
                  <a:gd name="T65" fmla="*/ 656 h 1390"/>
                  <a:gd name="T66" fmla="*/ 3043 w 6930"/>
                  <a:gd name="T67" fmla="*/ 725 h 1390"/>
                  <a:gd name="T68" fmla="*/ 2 w 6930"/>
                  <a:gd name="T69" fmla="*/ 616 h 1390"/>
                  <a:gd name="T70" fmla="*/ 2 w 6930"/>
                  <a:gd name="T71" fmla="*/ 1390 h 1390"/>
                  <a:gd name="T72" fmla="*/ 5157 w 6930"/>
                  <a:gd name="T73" fmla="*/ 611 h 1390"/>
                  <a:gd name="T74" fmla="*/ 3187 w 6930"/>
                  <a:gd name="T75" fmla="*/ 583 h 1390"/>
                  <a:gd name="T76" fmla="*/ 3187 w 6930"/>
                  <a:gd name="T77" fmla="*/ 594 h 1390"/>
                  <a:gd name="T78" fmla="*/ 205 w 6930"/>
                  <a:gd name="T79" fmla="*/ 547 h 1390"/>
                  <a:gd name="T80" fmla="*/ 208 w 6930"/>
                  <a:gd name="T81" fmla="*/ 547 h 1390"/>
                  <a:gd name="T82" fmla="*/ 6930 w 6930"/>
                  <a:gd name="T83" fmla="*/ 1030 h 1390"/>
                  <a:gd name="T84" fmla="*/ 4097 w 6930"/>
                  <a:gd name="T85" fmla="*/ 502 h 1390"/>
                  <a:gd name="T86" fmla="*/ 4100 w 6930"/>
                  <a:gd name="T87" fmla="*/ 502 h 1390"/>
                  <a:gd name="T88" fmla="*/ 3203 w 6930"/>
                  <a:gd name="T89" fmla="*/ 502 h 1390"/>
                  <a:gd name="T90" fmla="*/ 3206 w 6930"/>
                  <a:gd name="T91" fmla="*/ 564 h 1390"/>
                  <a:gd name="T92" fmla="*/ 3941 w 6930"/>
                  <a:gd name="T93" fmla="*/ 455 h 1390"/>
                  <a:gd name="T94" fmla="*/ 3858 w 6930"/>
                  <a:gd name="T95" fmla="*/ 864 h 1390"/>
                  <a:gd name="T96" fmla="*/ 3941 w 6930"/>
                  <a:gd name="T97" fmla="*/ 455 h 1390"/>
                  <a:gd name="T98" fmla="*/ 3232 w 6930"/>
                  <a:gd name="T99" fmla="*/ 474 h 1390"/>
                  <a:gd name="T100" fmla="*/ 3234 w 6930"/>
                  <a:gd name="T101" fmla="*/ 433 h 1390"/>
                  <a:gd name="T102" fmla="*/ 3946 w 6930"/>
                  <a:gd name="T103" fmla="*/ 393 h 1390"/>
                  <a:gd name="T104" fmla="*/ 3948 w 6930"/>
                  <a:gd name="T105" fmla="*/ 448 h 1390"/>
                  <a:gd name="T106" fmla="*/ 1714 w 6930"/>
                  <a:gd name="T107" fmla="*/ 370 h 1390"/>
                  <a:gd name="T108" fmla="*/ 3955 w 6930"/>
                  <a:gd name="T109" fmla="*/ 327 h 1390"/>
                  <a:gd name="T110" fmla="*/ 3955 w 6930"/>
                  <a:gd name="T111" fmla="*/ 384 h 1390"/>
                  <a:gd name="T112" fmla="*/ 4608 w 6930"/>
                  <a:gd name="T113" fmla="*/ 232 h 1390"/>
                  <a:gd name="T114" fmla="*/ 4551 w 6930"/>
                  <a:gd name="T115" fmla="*/ 445 h 1390"/>
                  <a:gd name="T116" fmla="*/ 4757 w 6930"/>
                  <a:gd name="T117" fmla="*/ 3 h 1390"/>
                  <a:gd name="T118" fmla="*/ 4757 w 6930"/>
                  <a:gd name="T119" fmla="*/ 123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0">
                    <a:moveTo>
                      <a:pt x="3617" y="1222"/>
                    </a:moveTo>
                    <a:lnTo>
                      <a:pt x="3615" y="1222"/>
                    </a:lnTo>
                    <a:lnTo>
                      <a:pt x="3615" y="1224"/>
                    </a:lnTo>
                    <a:lnTo>
                      <a:pt x="3615" y="1253"/>
                    </a:lnTo>
                    <a:lnTo>
                      <a:pt x="3617" y="1253"/>
                    </a:lnTo>
                    <a:lnTo>
                      <a:pt x="3617" y="1222"/>
                    </a:lnTo>
                    <a:moveTo>
                      <a:pt x="5736" y="1208"/>
                    </a:moveTo>
                    <a:lnTo>
                      <a:pt x="5736" y="1208"/>
                    </a:lnTo>
                    <a:lnTo>
                      <a:pt x="5734" y="1208"/>
                    </a:lnTo>
                    <a:lnTo>
                      <a:pt x="5734" y="1210"/>
                    </a:lnTo>
                    <a:lnTo>
                      <a:pt x="5734" y="1262"/>
                    </a:lnTo>
                    <a:lnTo>
                      <a:pt x="5736" y="1262"/>
                    </a:lnTo>
                    <a:lnTo>
                      <a:pt x="5736" y="1208"/>
                    </a:lnTo>
                    <a:moveTo>
                      <a:pt x="1593" y="1132"/>
                    </a:moveTo>
                    <a:lnTo>
                      <a:pt x="1593" y="1132"/>
                    </a:lnTo>
                    <a:lnTo>
                      <a:pt x="1593" y="1134"/>
                    </a:lnTo>
                    <a:lnTo>
                      <a:pt x="1593" y="1134"/>
                    </a:lnTo>
                    <a:lnTo>
                      <a:pt x="1593" y="1134"/>
                    </a:lnTo>
                    <a:lnTo>
                      <a:pt x="1593" y="1132"/>
                    </a:lnTo>
                    <a:lnTo>
                      <a:pt x="1593" y="1132"/>
                    </a:lnTo>
                    <a:lnTo>
                      <a:pt x="1593" y="1132"/>
                    </a:lnTo>
                    <a:moveTo>
                      <a:pt x="5762" y="1127"/>
                    </a:moveTo>
                    <a:lnTo>
                      <a:pt x="5760" y="1127"/>
                    </a:lnTo>
                    <a:lnTo>
                      <a:pt x="5760" y="1130"/>
                    </a:lnTo>
                    <a:lnTo>
                      <a:pt x="5760" y="1184"/>
                    </a:lnTo>
                    <a:lnTo>
                      <a:pt x="5760" y="1184"/>
                    </a:lnTo>
                    <a:lnTo>
                      <a:pt x="5760" y="1184"/>
                    </a:lnTo>
                    <a:lnTo>
                      <a:pt x="5762" y="1184"/>
                    </a:lnTo>
                    <a:lnTo>
                      <a:pt x="5762" y="1127"/>
                    </a:lnTo>
                    <a:moveTo>
                      <a:pt x="6228" y="1127"/>
                    </a:moveTo>
                    <a:lnTo>
                      <a:pt x="6228" y="1127"/>
                    </a:lnTo>
                    <a:lnTo>
                      <a:pt x="6225" y="1127"/>
                    </a:lnTo>
                    <a:lnTo>
                      <a:pt x="6225" y="1130"/>
                    </a:lnTo>
                    <a:lnTo>
                      <a:pt x="6225" y="1146"/>
                    </a:lnTo>
                    <a:lnTo>
                      <a:pt x="6228" y="1146"/>
                    </a:lnTo>
                    <a:lnTo>
                      <a:pt x="6228" y="1127"/>
                    </a:lnTo>
                    <a:moveTo>
                      <a:pt x="1369" y="1085"/>
                    </a:moveTo>
                    <a:lnTo>
                      <a:pt x="1366" y="1085"/>
                    </a:lnTo>
                    <a:lnTo>
                      <a:pt x="1366" y="1085"/>
                    </a:lnTo>
                    <a:lnTo>
                      <a:pt x="1366" y="1108"/>
                    </a:lnTo>
                    <a:lnTo>
                      <a:pt x="1369" y="1108"/>
                    </a:lnTo>
                    <a:lnTo>
                      <a:pt x="1369" y="1108"/>
                    </a:lnTo>
                    <a:lnTo>
                      <a:pt x="1369" y="1108"/>
                    </a:lnTo>
                    <a:lnTo>
                      <a:pt x="1369" y="1085"/>
                    </a:lnTo>
                    <a:moveTo>
                      <a:pt x="2766" y="1063"/>
                    </a:moveTo>
                    <a:lnTo>
                      <a:pt x="2764" y="1063"/>
                    </a:lnTo>
                    <a:lnTo>
                      <a:pt x="2764" y="1063"/>
                    </a:lnTo>
                    <a:lnTo>
                      <a:pt x="2764" y="1066"/>
                    </a:lnTo>
                    <a:lnTo>
                      <a:pt x="2764" y="1177"/>
                    </a:lnTo>
                    <a:lnTo>
                      <a:pt x="2766" y="1177"/>
                    </a:lnTo>
                    <a:lnTo>
                      <a:pt x="2766" y="1063"/>
                    </a:lnTo>
                    <a:moveTo>
                      <a:pt x="5835" y="1042"/>
                    </a:moveTo>
                    <a:lnTo>
                      <a:pt x="5835" y="1042"/>
                    </a:lnTo>
                    <a:lnTo>
                      <a:pt x="5835" y="1042"/>
                    </a:lnTo>
                    <a:lnTo>
                      <a:pt x="5835" y="1044"/>
                    </a:lnTo>
                    <a:lnTo>
                      <a:pt x="5835" y="1066"/>
                    </a:lnTo>
                    <a:lnTo>
                      <a:pt x="5835" y="1066"/>
                    </a:lnTo>
                    <a:lnTo>
                      <a:pt x="5835" y="1042"/>
                    </a:lnTo>
                    <a:moveTo>
                      <a:pt x="2783" y="1011"/>
                    </a:moveTo>
                    <a:lnTo>
                      <a:pt x="2780" y="1014"/>
                    </a:lnTo>
                    <a:lnTo>
                      <a:pt x="2780" y="1014"/>
                    </a:lnTo>
                    <a:lnTo>
                      <a:pt x="2780" y="1047"/>
                    </a:lnTo>
                    <a:lnTo>
                      <a:pt x="2783" y="1047"/>
                    </a:lnTo>
                    <a:lnTo>
                      <a:pt x="2783" y="1044"/>
                    </a:lnTo>
                    <a:lnTo>
                      <a:pt x="2783" y="1044"/>
                    </a:lnTo>
                    <a:lnTo>
                      <a:pt x="2783" y="1011"/>
                    </a:lnTo>
                    <a:moveTo>
                      <a:pt x="3676" y="995"/>
                    </a:moveTo>
                    <a:lnTo>
                      <a:pt x="3674" y="995"/>
                    </a:lnTo>
                    <a:lnTo>
                      <a:pt x="3674" y="995"/>
                    </a:lnTo>
                    <a:lnTo>
                      <a:pt x="3674" y="1163"/>
                    </a:lnTo>
                    <a:lnTo>
                      <a:pt x="3676" y="1163"/>
                    </a:lnTo>
                    <a:lnTo>
                      <a:pt x="3676" y="1160"/>
                    </a:lnTo>
                    <a:lnTo>
                      <a:pt x="3676" y="1160"/>
                    </a:lnTo>
                    <a:lnTo>
                      <a:pt x="3676" y="995"/>
                    </a:lnTo>
                    <a:moveTo>
                      <a:pt x="5854" y="990"/>
                    </a:moveTo>
                    <a:lnTo>
                      <a:pt x="5852" y="990"/>
                    </a:lnTo>
                    <a:lnTo>
                      <a:pt x="5852" y="992"/>
                    </a:lnTo>
                    <a:lnTo>
                      <a:pt x="5852" y="1025"/>
                    </a:lnTo>
                    <a:lnTo>
                      <a:pt x="5854" y="1025"/>
                    </a:lnTo>
                    <a:lnTo>
                      <a:pt x="5854" y="1023"/>
                    </a:lnTo>
                    <a:lnTo>
                      <a:pt x="5854" y="1023"/>
                    </a:lnTo>
                    <a:lnTo>
                      <a:pt x="5854" y="990"/>
                    </a:lnTo>
                    <a:moveTo>
                      <a:pt x="6244" y="935"/>
                    </a:moveTo>
                    <a:lnTo>
                      <a:pt x="6244" y="935"/>
                    </a:lnTo>
                    <a:lnTo>
                      <a:pt x="6244" y="938"/>
                    </a:lnTo>
                    <a:lnTo>
                      <a:pt x="6244" y="1111"/>
                    </a:lnTo>
                    <a:lnTo>
                      <a:pt x="6244" y="1111"/>
                    </a:lnTo>
                    <a:lnTo>
                      <a:pt x="6244" y="1111"/>
                    </a:lnTo>
                    <a:lnTo>
                      <a:pt x="6244" y="1111"/>
                    </a:lnTo>
                    <a:lnTo>
                      <a:pt x="6244" y="935"/>
                    </a:lnTo>
                    <a:moveTo>
                      <a:pt x="3750" y="928"/>
                    </a:moveTo>
                    <a:lnTo>
                      <a:pt x="3750" y="928"/>
                    </a:lnTo>
                    <a:lnTo>
                      <a:pt x="3750" y="931"/>
                    </a:lnTo>
                    <a:lnTo>
                      <a:pt x="3750" y="931"/>
                    </a:lnTo>
                    <a:lnTo>
                      <a:pt x="3750" y="931"/>
                    </a:lnTo>
                    <a:lnTo>
                      <a:pt x="3750" y="928"/>
                    </a:lnTo>
                    <a:moveTo>
                      <a:pt x="6294" y="879"/>
                    </a:moveTo>
                    <a:lnTo>
                      <a:pt x="6294" y="879"/>
                    </a:lnTo>
                    <a:lnTo>
                      <a:pt x="6294" y="879"/>
                    </a:lnTo>
                    <a:lnTo>
                      <a:pt x="6294" y="881"/>
                    </a:lnTo>
                    <a:lnTo>
                      <a:pt x="6294" y="888"/>
                    </a:lnTo>
                    <a:lnTo>
                      <a:pt x="6294" y="888"/>
                    </a:lnTo>
                    <a:lnTo>
                      <a:pt x="6294" y="886"/>
                    </a:lnTo>
                    <a:lnTo>
                      <a:pt x="6294" y="886"/>
                    </a:lnTo>
                    <a:lnTo>
                      <a:pt x="6294" y="879"/>
                    </a:lnTo>
                    <a:moveTo>
                      <a:pt x="6303" y="850"/>
                    </a:moveTo>
                    <a:lnTo>
                      <a:pt x="6301" y="850"/>
                    </a:lnTo>
                    <a:lnTo>
                      <a:pt x="6301" y="853"/>
                    </a:lnTo>
                    <a:lnTo>
                      <a:pt x="6301" y="871"/>
                    </a:lnTo>
                    <a:lnTo>
                      <a:pt x="6303" y="871"/>
                    </a:lnTo>
                    <a:lnTo>
                      <a:pt x="6303" y="869"/>
                    </a:lnTo>
                    <a:lnTo>
                      <a:pt x="6303" y="869"/>
                    </a:lnTo>
                    <a:lnTo>
                      <a:pt x="6303" y="850"/>
                    </a:lnTo>
                    <a:moveTo>
                      <a:pt x="3005" y="763"/>
                    </a:moveTo>
                    <a:lnTo>
                      <a:pt x="3005" y="763"/>
                    </a:lnTo>
                    <a:lnTo>
                      <a:pt x="3005" y="765"/>
                    </a:lnTo>
                    <a:lnTo>
                      <a:pt x="3005" y="916"/>
                    </a:lnTo>
                    <a:lnTo>
                      <a:pt x="3005" y="916"/>
                    </a:lnTo>
                    <a:lnTo>
                      <a:pt x="3005" y="763"/>
                    </a:lnTo>
                    <a:moveTo>
                      <a:pt x="915" y="753"/>
                    </a:moveTo>
                    <a:lnTo>
                      <a:pt x="912" y="753"/>
                    </a:lnTo>
                    <a:lnTo>
                      <a:pt x="912" y="755"/>
                    </a:lnTo>
                    <a:lnTo>
                      <a:pt x="912" y="765"/>
                    </a:lnTo>
                    <a:lnTo>
                      <a:pt x="915" y="765"/>
                    </a:lnTo>
                    <a:lnTo>
                      <a:pt x="915" y="753"/>
                    </a:lnTo>
                    <a:moveTo>
                      <a:pt x="5038" y="732"/>
                    </a:moveTo>
                    <a:lnTo>
                      <a:pt x="5036" y="732"/>
                    </a:lnTo>
                    <a:lnTo>
                      <a:pt x="5036" y="734"/>
                    </a:lnTo>
                    <a:lnTo>
                      <a:pt x="5036" y="909"/>
                    </a:lnTo>
                    <a:lnTo>
                      <a:pt x="5038" y="909"/>
                    </a:lnTo>
                    <a:lnTo>
                      <a:pt x="5038" y="732"/>
                    </a:lnTo>
                    <a:moveTo>
                      <a:pt x="3045" y="656"/>
                    </a:moveTo>
                    <a:lnTo>
                      <a:pt x="3043" y="656"/>
                    </a:lnTo>
                    <a:lnTo>
                      <a:pt x="3043" y="658"/>
                    </a:lnTo>
                    <a:lnTo>
                      <a:pt x="3043" y="725"/>
                    </a:lnTo>
                    <a:lnTo>
                      <a:pt x="3043" y="725"/>
                    </a:lnTo>
                    <a:lnTo>
                      <a:pt x="3043" y="725"/>
                    </a:lnTo>
                    <a:lnTo>
                      <a:pt x="3045" y="725"/>
                    </a:lnTo>
                    <a:lnTo>
                      <a:pt x="3045" y="656"/>
                    </a:lnTo>
                    <a:moveTo>
                      <a:pt x="2" y="616"/>
                    </a:moveTo>
                    <a:lnTo>
                      <a:pt x="0" y="616"/>
                    </a:lnTo>
                    <a:lnTo>
                      <a:pt x="0" y="618"/>
                    </a:lnTo>
                    <a:lnTo>
                      <a:pt x="0" y="1390"/>
                    </a:lnTo>
                    <a:lnTo>
                      <a:pt x="2" y="1390"/>
                    </a:lnTo>
                    <a:lnTo>
                      <a:pt x="2" y="616"/>
                    </a:lnTo>
                    <a:moveTo>
                      <a:pt x="5159" y="609"/>
                    </a:moveTo>
                    <a:lnTo>
                      <a:pt x="5157" y="609"/>
                    </a:lnTo>
                    <a:lnTo>
                      <a:pt x="5157" y="611"/>
                    </a:lnTo>
                    <a:lnTo>
                      <a:pt x="5157" y="668"/>
                    </a:lnTo>
                    <a:lnTo>
                      <a:pt x="5159" y="668"/>
                    </a:lnTo>
                    <a:lnTo>
                      <a:pt x="5159" y="609"/>
                    </a:lnTo>
                    <a:moveTo>
                      <a:pt x="3187" y="583"/>
                    </a:moveTo>
                    <a:lnTo>
                      <a:pt x="3187" y="583"/>
                    </a:lnTo>
                    <a:lnTo>
                      <a:pt x="3187" y="583"/>
                    </a:lnTo>
                    <a:lnTo>
                      <a:pt x="3187" y="585"/>
                    </a:lnTo>
                    <a:lnTo>
                      <a:pt x="3187" y="594"/>
                    </a:lnTo>
                    <a:lnTo>
                      <a:pt x="3187" y="594"/>
                    </a:lnTo>
                    <a:lnTo>
                      <a:pt x="3187" y="583"/>
                    </a:lnTo>
                    <a:moveTo>
                      <a:pt x="208" y="547"/>
                    </a:moveTo>
                    <a:lnTo>
                      <a:pt x="205" y="547"/>
                    </a:lnTo>
                    <a:lnTo>
                      <a:pt x="205" y="549"/>
                    </a:lnTo>
                    <a:lnTo>
                      <a:pt x="205" y="554"/>
                    </a:lnTo>
                    <a:lnTo>
                      <a:pt x="208" y="554"/>
                    </a:lnTo>
                    <a:lnTo>
                      <a:pt x="208" y="547"/>
                    </a:lnTo>
                    <a:moveTo>
                      <a:pt x="6930" y="509"/>
                    </a:moveTo>
                    <a:lnTo>
                      <a:pt x="6930" y="509"/>
                    </a:lnTo>
                    <a:lnTo>
                      <a:pt x="6930" y="512"/>
                    </a:lnTo>
                    <a:lnTo>
                      <a:pt x="6930" y="1030"/>
                    </a:lnTo>
                    <a:lnTo>
                      <a:pt x="6930" y="1030"/>
                    </a:lnTo>
                    <a:lnTo>
                      <a:pt x="6930" y="509"/>
                    </a:lnTo>
                    <a:moveTo>
                      <a:pt x="4100" y="502"/>
                    </a:moveTo>
                    <a:lnTo>
                      <a:pt x="4097" y="502"/>
                    </a:lnTo>
                    <a:lnTo>
                      <a:pt x="4097" y="505"/>
                    </a:lnTo>
                    <a:lnTo>
                      <a:pt x="4083" y="526"/>
                    </a:lnTo>
                    <a:lnTo>
                      <a:pt x="4083" y="526"/>
                    </a:lnTo>
                    <a:lnTo>
                      <a:pt x="4100" y="502"/>
                    </a:lnTo>
                    <a:moveTo>
                      <a:pt x="3206" y="502"/>
                    </a:moveTo>
                    <a:lnTo>
                      <a:pt x="3203" y="502"/>
                    </a:lnTo>
                    <a:lnTo>
                      <a:pt x="3203" y="502"/>
                    </a:lnTo>
                    <a:lnTo>
                      <a:pt x="3203" y="502"/>
                    </a:lnTo>
                    <a:lnTo>
                      <a:pt x="3203" y="566"/>
                    </a:lnTo>
                    <a:lnTo>
                      <a:pt x="3206" y="566"/>
                    </a:lnTo>
                    <a:lnTo>
                      <a:pt x="3206" y="564"/>
                    </a:lnTo>
                    <a:lnTo>
                      <a:pt x="3206" y="564"/>
                    </a:lnTo>
                    <a:lnTo>
                      <a:pt x="3206" y="502"/>
                    </a:lnTo>
                    <a:moveTo>
                      <a:pt x="3941" y="455"/>
                    </a:moveTo>
                    <a:lnTo>
                      <a:pt x="3941" y="455"/>
                    </a:lnTo>
                    <a:lnTo>
                      <a:pt x="3941" y="455"/>
                    </a:lnTo>
                    <a:lnTo>
                      <a:pt x="3941" y="457"/>
                    </a:lnTo>
                    <a:lnTo>
                      <a:pt x="3941" y="490"/>
                    </a:lnTo>
                    <a:lnTo>
                      <a:pt x="3858" y="644"/>
                    </a:lnTo>
                    <a:lnTo>
                      <a:pt x="3858" y="864"/>
                    </a:lnTo>
                    <a:lnTo>
                      <a:pt x="3861" y="864"/>
                    </a:lnTo>
                    <a:lnTo>
                      <a:pt x="3861" y="642"/>
                    </a:lnTo>
                    <a:lnTo>
                      <a:pt x="3941" y="490"/>
                    </a:lnTo>
                    <a:lnTo>
                      <a:pt x="3941" y="455"/>
                    </a:lnTo>
                    <a:moveTo>
                      <a:pt x="3234" y="433"/>
                    </a:moveTo>
                    <a:lnTo>
                      <a:pt x="3232" y="433"/>
                    </a:lnTo>
                    <a:lnTo>
                      <a:pt x="3232" y="436"/>
                    </a:lnTo>
                    <a:lnTo>
                      <a:pt x="3232" y="474"/>
                    </a:lnTo>
                    <a:lnTo>
                      <a:pt x="3234" y="474"/>
                    </a:lnTo>
                    <a:lnTo>
                      <a:pt x="3234" y="471"/>
                    </a:lnTo>
                    <a:lnTo>
                      <a:pt x="3234" y="471"/>
                    </a:lnTo>
                    <a:lnTo>
                      <a:pt x="3234" y="433"/>
                    </a:lnTo>
                    <a:moveTo>
                      <a:pt x="3948" y="391"/>
                    </a:moveTo>
                    <a:lnTo>
                      <a:pt x="3946" y="391"/>
                    </a:lnTo>
                    <a:lnTo>
                      <a:pt x="3946" y="391"/>
                    </a:lnTo>
                    <a:lnTo>
                      <a:pt x="3946" y="393"/>
                    </a:lnTo>
                    <a:lnTo>
                      <a:pt x="3946" y="448"/>
                    </a:lnTo>
                    <a:lnTo>
                      <a:pt x="3948" y="448"/>
                    </a:lnTo>
                    <a:lnTo>
                      <a:pt x="3948" y="448"/>
                    </a:lnTo>
                    <a:lnTo>
                      <a:pt x="3948" y="448"/>
                    </a:lnTo>
                    <a:lnTo>
                      <a:pt x="3948" y="391"/>
                    </a:lnTo>
                    <a:moveTo>
                      <a:pt x="1716" y="370"/>
                    </a:moveTo>
                    <a:lnTo>
                      <a:pt x="1714" y="370"/>
                    </a:lnTo>
                    <a:lnTo>
                      <a:pt x="1714" y="370"/>
                    </a:lnTo>
                    <a:lnTo>
                      <a:pt x="1714" y="1068"/>
                    </a:lnTo>
                    <a:lnTo>
                      <a:pt x="1716" y="1068"/>
                    </a:lnTo>
                    <a:lnTo>
                      <a:pt x="1716" y="370"/>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6" y="235"/>
                    </a:lnTo>
                    <a:lnTo>
                      <a:pt x="4549" y="445"/>
                    </a:lnTo>
                    <a:lnTo>
                      <a:pt x="4551" y="445"/>
                    </a:lnTo>
                    <a:lnTo>
                      <a:pt x="4608" y="232"/>
                    </a:lnTo>
                    <a:moveTo>
                      <a:pt x="4757" y="0"/>
                    </a:moveTo>
                    <a:lnTo>
                      <a:pt x="4757" y="0"/>
                    </a:lnTo>
                    <a:lnTo>
                      <a:pt x="4757" y="3"/>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3" name="Freeform 78"/>
              <p:cNvSpPr>
                <a:spLocks noEditPoints="1"/>
              </p:cNvSpPr>
              <p:nvPr/>
            </p:nvSpPr>
            <p:spPr bwMode="auto">
              <a:xfrm>
                <a:off x="80" y="1722"/>
                <a:ext cx="6930" cy="1392"/>
              </a:xfrm>
              <a:custGeom>
                <a:avLst/>
                <a:gdLst>
                  <a:gd name="T0" fmla="*/ 3615 w 6930"/>
                  <a:gd name="T1" fmla="*/ 1255 h 1392"/>
                  <a:gd name="T2" fmla="*/ 5736 w 6930"/>
                  <a:gd name="T3" fmla="*/ 1210 h 1392"/>
                  <a:gd name="T4" fmla="*/ 5736 w 6930"/>
                  <a:gd name="T5" fmla="*/ 1264 h 1392"/>
                  <a:gd name="T6" fmla="*/ 1591 w 6930"/>
                  <a:gd name="T7" fmla="*/ 1134 h 1392"/>
                  <a:gd name="T8" fmla="*/ 1594 w 6930"/>
                  <a:gd name="T9" fmla="*/ 1134 h 1392"/>
                  <a:gd name="T10" fmla="*/ 5760 w 6930"/>
                  <a:gd name="T11" fmla="*/ 1129 h 1392"/>
                  <a:gd name="T12" fmla="*/ 5762 w 6930"/>
                  <a:gd name="T13" fmla="*/ 1184 h 1392"/>
                  <a:gd name="T14" fmla="*/ 6226 w 6930"/>
                  <a:gd name="T15" fmla="*/ 1129 h 1392"/>
                  <a:gd name="T16" fmla="*/ 6228 w 6930"/>
                  <a:gd name="T17" fmla="*/ 1129 h 1392"/>
                  <a:gd name="T18" fmla="*/ 1367 w 6930"/>
                  <a:gd name="T19" fmla="*/ 1110 h 1392"/>
                  <a:gd name="T20" fmla="*/ 1369 w 6930"/>
                  <a:gd name="T21" fmla="*/ 1084 h 1392"/>
                  <a:gd name="T22" fmla="*/ 2764 w 6930"/>
                  <a:gd name="T23" fmla="*/ 1065 h 1392"/>
                  <a:gd name="T24" fmla="*/ 5836 w 6930"/>
                  <a:gd name="T25" fmla="*/ 1042 h 1392"/>
                  <a:gd name="T26" fmla="*/ 5833 w 6930"/>
                  <a:gd name="T27" fmla="*/ 1068 h 1392"/>
                  <a:gd name="T28" fmla="*/ 2781 w 6930"/>
                  <a:gd name="T29" fmla="*/ 1013 h 1392"/>
                  <a:gd name="T30" fmla="*/ 2783 w 6930"/>
                  <a:gd name="T31" fmla="*/ 1044 h 1392"/>
                  <a:gd name="T32" fmla="*/ 3674 w 6930"/>
                  <a:gd name="T33" fmla="*/ 994 h 1392"/>
                  <a:gd name="T34" fmla="*/ 3674 w 6930"/>
                  <a:gd name="T35" fmla="*/ 1162 h 1392"/>
                  <a:gd name="T36" fmla="*/ 5852 w 6930"/>
                  <a:gd name="T37" fmla="*/ 989 h 1392"/>
                  <a:gd name="T38" fmla="*/ 5852 w 6930"/>
                  <a:gd name="T39" fmla="*/ 1023 h 1392"/>
                  <a:gd name="T40" fmla="*/ 6242 w 6930"/>
                  <a:gd name="T41" fmla="*/ 935 h 1392"/>
                  <a:gd name="T42" fmla="*/ 6245 w 6930"/>
                  <a:gd name="T43" fmla="*/ 1110 h 1392"/>
                  <a:gd name="T44" fmla="*/ 3748 w 6930"/>
                  <a:gd name="T45" fmla="*/ 928 h 1392"/>
                  <a:gd name="T46" fmla="*/ 3750 w 6930"/>
                  <a:gd name="T47" fmla="*/ 928 h 1392"/>
                  <a:gd name="T48" fmla="*/ 6292 w 6930"/>
                  <a:gd name="T49" fmla="*/ 881 h 1392"/>
                  <a:gd name="T50" fmla="*/ 6294 w 6930"/>
                  <a:gd name="T51" fmla="*/ 885 h 1392"/>
                  <a:gd name="T52" fmla="*/ 6301 w 6930"/>
                  <a:gd name="T53" fmla="*/ 852 h 1392"/>
                  <a:gd name="T54" fmla="*/ 6304 w 6930"/>
                  <a:gd name="T55" fmla="*/ 869 h 1392"/>
                  <a:gd name="T56" fmla="*/ 3003 w 6930"/>
                  <a:gd name="T57" fmla="*/ 765 h 1392"/>
                  <a:gd name="T58" fmla="*/ 915 w 6930"/>
                  <a:gd name="T59" fmla="*/ 753 h 1392"/>
                  <a:gd name="T60" fmla="*/ 915 w 6930"/>
                  <a:gd name="T61" fmla="*/ 767 h 1392"/>
                  <a:gd name="T62" fmla="*/ 5036 w 6930"/>
                  <a:gd name="T63" fmla="*/ 734 h 1392"/>
                  <a:gd name="T64" fmla="*/ 3043 w 6930"/>
                  <a:gd name="T65" fmla="*/ 658 h 1392"/>
                  <a:gd name="T66" fmla="*/ 3043 w 6930"/>
                  <a:gd name="T67" fmla="*/ 727 h 1392"/>
                  <a:gd name="T68" fmla="*/ 2 w 6930"/>
                  <a:gd name="T69" fmla="*/ 618 h 1392"/>
                  <a:gd name="T70" fmla="*/ 2 w 6930"/>
                  <a:gd name="T71" fmla="*/ 1392 h 1392"/>
                  <a:gd name="T72" fmla="*/ 5157 w 6930"/>
                  <a:gd name="T73" fmla="*/ 611 h 1392"/>
                  <a:gd name="T74" fmla="*/ 3187 w 6930"/>
                  <a:gd name="T75" fmla="*/ 582 h 1392"/>
                  <a:gd name="T76" fmla="*/ 3185 w 6930"/>
                  <a:gd name="T77" fmla="*/ 596 h 1392"/>
                  <a:gd name="T78" fmla="*/ 206 w 6930"/>
                  <a:gd name="T79" fmla="*/ 547 h 1392"/>
                  <a:gd name="T80" fmla="*/ 208 w 6930"/>
                  <a:gd name="T81" fmla="*/ 547 h 1392"/>
                  <a:gd name="T82" fmla="*/ 6928 w 6930"/>
                  <a:gd name="T83" fmla="*/ 1032 h 1392"/>
                  <a:gd name="T84" fmla="*/ 4098 w 6930"/>
                  <a:gd name="T85" fmla="*/ 504 h 1392"/>
                  <a:gd name="T86" fmla="*/ 4098 w 6930"/>
                  <a:gd name="T87" fmla="*/ 504 h 1392"/>
                  <a:gd name="T88" fmla="*/ 3204 w 6930"/>
                  <a:gd name="T89" fmla="*/ 504 h 1392"/>
                  <a:gd name="T90" fmla="*/ 3206 w 6930"/>
                  <a:gd name="T91" fmla="*/ 563 h 1392"/>
                  <a:gd name="T92" fmla="*/ 3939 w 6930"/>
                  <a:gd name="T93" fmla="*/ 454 h 1392"/>
                  <a:gd name="T94" fmla="*/ 3859 w 6930"/>
                  <a:gd name="T95" fmla="*/ 866 h 1392"/>
                  <a:gd name="T96" fmla="*/ 3942 w 6930"/>
                  <a:gd name="T97" fmla="*/ 454 h 1392"/>
                  <a:gd name="T98" fmla="*/ 3232 w 6930"/>
                  <a:gd name="T99" fmla="*/ 473 h 1392"/>
                  <a:gd name="T100" fmla="*/ 3235 w 6930"/>
                  <a:gd name="T101" fmla="*/ 433 h 1392"/>
                  <a:gd name="T102" fmla="*/ 3946 w 6930"/>
                  <a:gd name="T103" fmla="*/ 393 h 1392"/>
                  <a:gd name="T104" fmla="*/ 3949 w 6930"/>
                  <a:gd name="T105" fmla="*/ 447 h 1392"/>
                  <a:gd name="T106" fmla="*/ 1714 w 6930"/>
                  <a:gd name="T107" fmla="*/ 372 h 1392"/>
                  <a:gd name="T108" fmla="*/ 3956 w 6930"/>
                  <a:gd name="T109" fmla="*/ 327 h 1392"/>
                  <a:gd name="T110" fmla="*/ 3956 w 6930"/>
                  <a:gd name="T111" fmla="*/ 383 h 1392"/>
                  <a:gd name="T112" fmla="*/ 4608 w 6930"/>
                  <a:gd name="T113" fmla="*/ 232 h 1392"/>
                  <a:gd name="T114" fmla="*/ 4552 w 6930"/>
                  <a:gd name="T115" fmla="*/ 445 h 1392"/>
                  <a:gd name="T116" fmla="*/ 4755 w 6930"/>
                  <a:gd name="T117" fmla="*/ 2 h 1392"/>
                  <a:gd name="T118" fmla="*/ 4757 w 6930"/>
                  <a:gd name="T119" fmla="*/ 123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2">
                    <a:moveTo>
                      <a:pt x="3615" y="1222"/>
                    </a:moveTo>
                    <a:lnTo>
                      <a:pt x="3615" y="1222"/>
                    </a:lnTo>
                    <a:lnTo>
                      <a:pt x="3615" y="1224"/>
                    </a:lnTo>
                    <a:lnTo>
                      <a:pt x="3615" y="1255"/>
                    </a:lnTo>
                    <a:lnTo>
                      <a:pt x="3615" y="1255"/>
                    </a:lnTo>
                    <a:lnTo>
                      <a:pt x="3615" y="1222"/>
                    </a:lnTo>
                    <a:close/>
                    <a:moveTo>
                      <a:pt x="5736" y="1210"/>
                    </a:moveTo>
                    <a:lnTo>
                      <a:pt x="5736" y="1210"/>
                    </a:lnTo>
                    <a:lnTo>
                      <a:pt x="5734" y="1210"/>
                    </a:lnTo>
                    <a:lnTo>
                      <a:pt x="5734" y="1210"/>
                    </a:lnTo>
                    <a:lnTo>
                      <a:pt x="5734" y="1264"/>
                    </a:lnTo>
                    <a:lnTo>
                      <a:pt x="5736" y="1264"/>
                    </a:lnTo>
                    <a:lnTo>
                      <a:pt x="5736" y="1210"/>
                    </a:lnTo>
                    <a:close/>
                    <a:moveTo>
                      <a:pt x="1594" y="1132"/>
                    </a:moveTo>
                    <a:lnTo>
                      <a:pt x="1591" y="1132"/>
                    </a:lnTo>
                    <a:lnTo>
                      <a:pt x="1591" y="1134"/>
                    </a:lnTo>
                    <a:lnTo>
                      <a:pt x="1591" y="1134"/>
                    </a:lnTo>
                    <a:lnTo>
                      <a:pt x="1594" y="1134"/>
                    </a:lnTo>
                    <a:lnTo>
                      <a:pt x="1594" y="1134"/>
                    </a:lnTo>
                    <a:lnTo>
                      <a:pt x="1594" y="1134"/>
                    </a:lnTo>
                    <a:lnTo>
                      <a:pt x="1594" y="1132"/>
                    </a:lnTo>
                    <a:close/>
                    <a:moveTo>
                      <a:pt x="5762" y="1129"/>
                    </a:moveTo>
                    <a:lnTo>
                      <a:pt x="5760" y="1129"/>
                    </a:lnTo>
                    <a:lnTo>
                      <a:pt x="5760" y="1129"/>
                    </a:lnTo>
                    <a:lnTo>
                      <a:pt x="5760" y="1186"/>
                    </a:lnTo>
                    <a:lnTo>
                      <a:pt x="5760" y="1186"/>
                    </a:lnTo>
                    <a:lnTo>
                      <a:pt x="5760" y="1184"/>
                    </a:lnTo>
                    <a:lnTo>
                      <a:pt x="5762" y="1184"/>
                    </a:lnTo>
                    <a:lnTo>
                      <a:pt x="5762" y="1129"/>
                    </a:lnTo>
                    <a:close/>
                    <a:moveTo>
                      <a:pt x="6228" y="1129"/>
                    </a:moveTo>
                    <a:lnTo>
                      <a:pt x="6226" y="1129"/>
                    </a:lnTo>
                    <a:lnTo>
                      <a:pt x="6226" y="1129"/>
                    </a:lnTo>
                    <a:lnTo>
                      <a:pt x="6226" y="1129"/>
                    </a:lnTo>
                    <a:lnTo>
                      <a:pt x="6226" y="1148"/>
                    </a:lnTo>
                    <a:lnTo>
                      <a:pt x="6228" y="1148"/>
                    </a:lnTo>
                    <a:lnTo>
                      <a:pt x="6228" y="1129"/>
                    </a:lnTo>
                    <a:close/>
                    <a:moveTo>
                      <a:pt x="1369" y="1084"/>
                    </a:moveTo>
                    <a:lnTo>
                      <a:pt x="1367" y="1084"/>
                    </a:lnTo>
                    <a:lnTo>
                      <a:pt x="1367" y="1087"/>
                    </a:lnTo>
                    <a:lnTo>
                      <a:pt x="1367" y="1110"/>
                    </a:lnTo>
                    <a:lnTo>
                      <a:pt x="1369" y="1110"/>
                    </a:lnTo>
                    <a:lnTo>
                      <a:pt x="1369" y="1108"/>
                    </a:lnTo>
                    <a:lnTo>
                      <a:pt x="1369" y="1108"/>
                    </a:lnTo>
                    <a:lnTo>
                      <a:pt x="1369" y="1084"/>
                    </a:lnTo>
                    <a:close/>
                    <a:moveTo>
                      <a:pt x="2766" y="1063"/>
                    </a:moveTo>
                    <a:lnTo>
                      <a:pt x="2764" y="1063"/>
                    </a:lnTo>
                    <a:lnTo>
                      <a:pt x="2764" y="1063"/>
                    </a:lnTo>
                    <a:lnTo>
                      <a:pt x="2764" y="1065"/>
                    </a:lnTo>
                    <a:lnTo>
                      <a:pt x="2764" y="1179"/>
                    </a:lnTo>
                    <a:lnTo>
                      <a:pt x="2766" y="1179"/>
                    </a:lnTo>
                    <a:lnTo>
                      <a:pt x="2766" y="1063"/>
                    </a:lnTo>
                    <a:close/>
                    <a:moveTo>
                      <a:pt x="5836" y="1042"/>
                    </a:moveTo>
                    <a:lnTo>
                      <a:pt x="5836" y="1042"/>
                    </a:lnTo>
                    <a:lnTo>
                      <a:pt x="5833" y="1042"/>
                    </a:lnTo>
                    <a:lnTo>
                      <a:pt x="5833" y="1044"/>
                    </a:lnTo>
                    <a:lnTo>
                      <a:pt x="5833" y="1068"/>
                    </a:lnTo>
                    <a:lnTo>
                      <a:pt x="5836" y="1068"/>
                    </a:lnTo>
                    <a:lnTo>
                      <a:pt x="5836" y="1042"/>
                    </a:lnTo>
                    <a:close/>
                    <a:moveTo>
                      <a:pt x="2783" y="1013"/>
                    </a:moveTo>
                    <a:lnTo>
                      <a:pt x="2781" y="1013"/>
                    </a:lnTo>
                    <a:lnTo>
                      <a:pt x="2781" y="1013"/>
                    </a:lnTo>
                    <a:lnTo>
                      <a:pt x="2781" y="1046"/>
                    </a:lnTo>
                    <a:lnTo>
                      <a:pt x="2783" y="1046"/>
                    </a:lnTo>
                    <a:lnTo>
                      <a:pt x="2783" y="1044"/>
                    </a:lnTo>
                    <a:lnTo>
                      <a:pt x="2783" y="1044"/>
                    </a:lnTo>
                    <a:lnTo>
                      <a:pt x="2783" y="1013"/>
                    </a:lnTo>
                    <a:close/>
                    <a:moveTo>
                      <a:pt x="3677" y="994"/>
                    </a:moveTo>
                    <a:lnTo>
                      <a:pt x="3674" y="994"/>
                    </a:lnTo>
                    <a:lnTo>
                      <a:pt x="3674" y="997"/>
                    </a:lnTo>
                    <a:lnTo>
                      <a:pt x="3674" y="1162"/>
                    </a:lnTo>
                    <a:lnTo>
                      <a:pt x="3674" y="1162"/>
                    </a:lnTo>
                    <a:lnTo>
                      <a:pt x="3674" y="1162"/>
                    </a:lnTo>
                    <a:lnTo>
                      <a:pt x="3677" y="1162"/>
                    </a:lnTo>
                    <a:lnTo>
                      <a:pt x="3677" y="994"/>
                    </a:lnTo>
                    <a:close/>
                    <a:moveTo>
                      <a:pt x="5854" y="989"/>
                    </a:moveTo>
                    <a:lnTo>
                      <a:pt x="5852" y="989"/>
                    </a:lnTo>
                    <a:lnTo>
                      <a:pt x="5852" y="992"/>
                    </a:lnTo>
                    <a:lnTo>
                      <a:pt x="5852" y="1025"/>
                    </a:lnTo>
                    <a:lnTo>
                      <a:pt x="5852" y="1025"/>
                    </a:lnTo>
                    <a:lnTo>
                      <a:pt x="5852" y="1023"/>
                    </a:lnTo>
                    <a:lnTo>
                      <a:pt x="5854" y="1023"/>
                    </a:lnTo>
                    <a:lnTo>
                      <a:pt x="5854" y="989"/>
                    </a:lnTo>
                    <a:close/>
                    <a:moveTo>
                      <a:pt x="6245" y="935"/>
                    </a:moveTo>
                    <a:lnTo>
                      <a:pt x="6242" y="935"/>
                    </a:lnTo>
                    <a:lnTo>
                      <a:pt x="6242" y="937"/>
                    </a:lnTo>
                    <a:lnTo>
                      <a:pt x="6242" y="1113"/>
                    </a:lnTo>
                    <a:lnTo>
                      <a:pt x="6245" y="1113"/>
                    </a:lnTo>
                    <a:lnTo>
                      <a:pt x="6245" y="1110"/>
                    </a:lnTo>
                    <a:lnTo>
                      <a:pt x="6245" y="1110"/>
                    </a:lnTo>
                    <a:lnTo>
                      <a:pt x="6245" y="935"/>
                    </a:lnTo>
                    <a:close/>
                    <a:moveTo>
                      <a:pt x="3750" y="928"/>
                    </a:moveTo>
                    <a:lnTo>
                      <a:pt x="3748" y="928"/>
                    </a:lnTo>
                    <a:lnTo>
                      <a:pt x="3748" y="930"/>
                    </a:lnTo>
                    <a:lnTo>
                      <a:pt x="3748" y="933"/>
                    </a:lnTo>
                    <a:lnTo>
                      <a:pt x="3750" y="933"/>
                    </a:lnTo>
                    <a:lnTo>
                      <a:pt x="3750" y="928"/>
                    </a:lnTo>
                    <a:close/>
                    <a:moveTo>
                      <a:pt x="6294" y="878"/>
                    </a:moveTo>
                    <a:lnTo>
                      <a:pt x="6294" y="878"/>
                    </a:lnTo>
                    <a:lnTo>
                      <a:pt x="6292" y="878"/>
                    </a:lnTo>
                    <a:lnTo>
                      <a:pt x="6292" y="881"/>
                    </a:lnTo>
                    <a:lnTo>
                      <a:pt x="6292" y="888"/>
                    </a:lnTo>
                    <a:lnTo>
                      <a:pt x="6294" y="888"/>
                    </a:lnTo>
                    <a:lnTo>
                      <a:pt x="6294" y="885"/>
                    </a:lnTo>
                    <a:lnTo>
                      <a:pt x="6294" y="885"/>
                    </a:lnTo>
                    <a:lnTo>
                      <a:pt x="6294" y="878"/>
                    </a:lnTo>
                    <a:close/>
                    <a:moveTo>
                      <a:pt x="6304" y="850"/>
                    </a:moveTo>
                    <a:lnTo>
                      <a:pt x="6301" y="850"/>
                    </a:lnTo>
                    <a:lnTo>
                      <a:pt x="6301" y="852"/>
                    </a:lnTo>
                    <a:lnTo>
                      <a:pt x="6301" y="871"/>
                    </a:lnTo>
                    <a:lnTo>
                      <a:pt x="6301" y="871"/>
                    </a:lnTo>
                    <a:lnTo>
                      <a:pt x="6301" y="869"/>
                    </a:lnTo>
                    <a:lnTo>
                      <a:pt x="6304" y="869"/>
                    </a:lnTo>
                    <a:lnTo>
                      <a:pt x="6304" y="850"/>
                    </a:lnTo>
                    <a:close/>
                    <a:moveTo>
                      <a:pt x="3005" y="762"/>
                    </a:moveTo>
                    <a:lnTo>
                      <a:pt x="3003" y="762"/>
                    </a:lnTo>
                    <a:lnTo>
                      <a:pt x="3003" y="765"/>
                    </a:lnTo>
                    <a:lnTo>
                      <a:pt x="3003" y="918"/>
                    </a:lnTo>
                    <a:lnTo>
                      <a:pt x="3005" y="918"/>
                    </a:lnTo>
                    <a:lnTo>
                      <a:pt x="3005" y="762"/>
                    </a:lnTo>
                    <a:close/>
                    <a:moveTo>
                      <a:pt x="915" y="753"/>
                    </a:moveTo>
                    <a:lnTo>
                      <a:pt x="913" y="753"/>
                    </a:lnTo>
                    <a:lnTo>
                      <a:pt x="913" y="755"/>
                    </a:lnTo>
                    <a:lnTo>
                      <a:pt x="913" y="767"/>
                    </a:lnTo>
                    <a:lnTo>
                      <a:pt x="915" y="767"/>
                    </a:lnTo>
                    <a:lnTo>
                      <a:pt x="915" y="753"/>
                    </a:lnTo>
                    <a:close/>
                    <a:moveTo>
                      <a:pt x="5036" y="731"/>
                    </a:moveTo>
                    <a:lnTo>
                      <a:pt x="5036" y="731"/>
                    </a:lnTo>
                    <a:lnTo>
                      <a:pt x="5036" y="734"/>
                    </a:lnTo>
                    <a:lnTo>
                      <a:pt x="5036" y="911"/>
                    </a:lnTo>
                    <a:lnTo>
                      <a:pt x="5036" y="911"/>
                    </a:lnTo>
                    <a:lnTo>
                      <a:pt x="5036" y="731"/>
                    </a:lnTo>
                    <a:close/>
                    <a:moveTo>
                      <a:pt x="3043" y="658"/>
                    </a:moveTo>
                    <a:lnTo>
                      <a:pt x="3043" y="658"/>
                    </a:lnTo>
                    <a:lnTo>
                      <a:pt x="3043" y="658"/>
                    </a:lnTo>
                    <a:lnTo>
                      <a:pt x="3043" y="727"/>
                    </a:lnTo>
                    <a:lnTo>
                      <a:pt x="3043" y="727"/>
                    </a:lnTo>
                    <a:lnTo>
                      <a:pt x="3043" y="724"/>
                    </a:lnTo>
                    <a:lnTo>
                      <a:pt x="3043" y="724"/>
                    </a:lnTo>
                    <a:lnTo>
                      <a:pt x="3043" y="658"/>
                    </a:lnTo>
                    <a:close/>
                    <a:moveTo>
                      <a:pt x="2" y="618"/>
                    </a:moveTo>
                    <a:lnTo>
                      <a:pt x="0" y="618"/>
                    </a:lnTo>
                    <a:lnTo>
                      <a:pt x="0" y="618"/>
                    </a:lnTo>
                    <a:lnTo>
                      <a:pt x="0" y="1392"/>
                    </a:lnTo>
                    <a:lnTo>
                      <a:pt x="2" y="1392"/>
                    </a:lnTo>
                    <a:lnTo>
                      <a:pt x="2" y="618"/>
                    </a:lnTo>
                    <a:close/>
                    <a:moveTo>
                      <a:pt x="5159" y="611"/>
                    </a:moveTo>
                    <a:lnTo>
                      <a:pt x="5157" y="611"/>
                    </a:lnTo>
                    <a:lnTo>
                      <a:pt x="5157" y="611"/>
                    </a:lnTo>
                    <a:lnTo>
                      <a:pt x="5157" y="670"/>
                    </a:lnTo>
                    <a:lnTo>
                      <a:pt x="5159" y="670"/>
                    </a:lnTo>
                    <a:lnTo>
                      <a:pt x="5159" y="611"/>
                    </a:lnTo>
                    <a:close/>
                    <a:moveTo>
                      <a:pt x="3187" y="582"/>
                    </a:moveTo>
                    <a:lnTo>
                      <a:pt x="3187" y="582"/>
                    </a:lnTo>
                    <a:lnTo>
                      <a:pt x="3185" y="582"/>
                    </a:lnTo>
                    <a:lnTo>
                      <a:pt x="3185" y="585"/>
                    </a:lnTo>
                    <a:lnTo>
                      <a:pt x="3185" y="596"/>
                    </a:lnTo>
                    <a:lnTo>
                      <a:pt x="3187" y="596"/>
                    </a:lnTo>
                    <a:lnTo>
                      <a:pt x="3187" y="582"/>
                    </a:lnTo>
                    <a:close/>
                    <a:moveTo>
                      <a:pt x="208" y="547"/>
                    </a:moveTo>
                    <a:lnTo>
                      <a:pt x="206" y="547"/>
                    </a:lnTo>
                    <a:lnTo>
                      <a:pt x="206" y="549"/>
                    </a:lnTo>
                    <a:lnTo>
                      <a:pt x="206" y="556"/>
                    </a:lnTo>
                    <a:lnTo>
                      <a:pt x="208" y="556"/>
                    </a:lnTo>
                    <a:lnTo>
                      <a:pt x="208" y="547"/>
                    </a:lnTo>
                    <a:close/>
                    <a:moveTo>
                      <a:pt x="6930" y="509"/>
                    </a:moveTo>
                    <a:lnTo>
                      <a:pt x="6928" y="509"/>
                    </a:lnTo>
                    <a:lnTo>
                      <a:pt x="6928" y="511"/>
                    </a:lnTo>
                    <a:lnTo>
                      <a:pt x="6928" y="1032"/>
                    </a:lnTo>
                    <a:lnTo>
                      <a:pt x="6930" y="1032"/>
                    </a:lnTo>
                    <a:lnTo>
                      <a:pt x="6930" y="509"/>
                    </a:lnTo>
                    <a:close/>
                    <a:moveTo>
                      <a:pt x="4098" y="504"/>
                    </a:moveTo>
                    <a:lnTo>
                      <a:pt x="4098" y="504"/>
                    </a:lnTo>
                    <a:lnTo>
                      <a:pt x="4098" y="504"/>
                    </a:lnTo>
                    <a:lnTo>
                      <a:pt x="4081" y="528"/>
                    </a:lnTo>
                    <a:lnTo>
                      <a:pt x="4081" y="528"/>
                    </a:lnTo>
                    <a:lnTo>
                      <a:pt x="4098" y="504"/>
                    </a:lnTo>
                    <a:close/>
                    <a:moveTo>
                      <a:pt x="3206" y="502"/>
                    </a:moveTo>
                    <a:lnTo>
                      <a:pt x="3204" y="502"/>
                    </a:lnTo>
                    <a:lnTo>
                      <a:pt x="3204" y="502"/>
                    </a:lnTo>
                    <a:lnTo>
                      <a:pt x="3204" y="504"/>
                    </a:lnTo>
                    <a:lnTo>
                      <a:pt x="3204" y="566"/>
                    </a:lnTo>
                    <a:lnTo>
                      <a:pt x="3204" y="566"/>
                    </a:lnTo>
                    <a:lnTo>
                      <a:pt x="3204" y="563"/>
                    </a:lnTo>
                    <a:lnTo>
                      <a:pt x="3206" y="563"/>
                    </a:lnTo>
                    <a:lnTo>
                      <a:pt x="3206" y="502"/>
                    </a:lnTo>
                    <a:close/>
                    <a:moveTo>
                      <a:pt x="3942" y="454"/>
                    </a:moveTo>
                    <a:lnTo>
                      <a:pt x="3939" y="454"/>
                    </a:lnTo>
                    <a:lnTo>
                      <a:pt x="3939" y="454"/>
                    </a:lnTo>
                    <a:lnTo>
                      <a:pt x="3939" y="457"/>
                    </a:lnTo>
                    <a:lnTo>
                      <a:pt x="3939" y="492"/>
                    </a:lnTo>
                    <a:lnTo>
                      <a:pt x="3859" y="644"/>
                    </a:lnTo>
                    <a:lnTo>
                      <a:pt x="3859" y="866"/>
                    </a:lnTo>
                    <a:lnTo>
                      <a:pt x="3859" y="866"/>
                    </a:lnTo>
                    <a:lnTo>
                      <a:pt x="3859" y="641"/>
                    </a:lnTo>
                    <a:lnTo>
                      <a:pt x="3942" y="490"/>
                    </a:lnTo>
                    <a:lnTo>
                      <a:pt x="3942" y="454"/>
                    </a:lnTo>
                    <a:close/>
                    <a:moveTo>
                      <a:pt x="3235" y="433"/>
                    </a:moveTo>
                    <a:lnTo>
                      <a:pt x="3232" y="433"/>
                    </a:lnTo>
                    <a:lnTo>
                      <a:pt x="3232" y="435"/>
                    </a:lnTo>
                    <a:lnTo>
                      <a:pt x="3232" y="473"/>
                    </a:lnTo>
                    <a:lnTo>
                      <a:pt x="3232" y="473"/>
                    </a:lnTo>
                    <a:lnTo>
                      <a:pt x="3232" y="471"/>
                    </a:lnTo>
                    <a:lnTo>
                      <a:pt x="3235" y="471"/>
                    </a:lnTo>
                    <a:lnTo>
                      <a:pt x="3235" y="433"/>
                    </a:lnTo>
                    <a:close/>
                    <a:moveTo>
                      <a:pt x="3949" y="390"/>
                    </a:moveTo>
                    <a:lnTo>
                      <a:pt x="3946" y="390"/>
                    </a:lnTo>
                    <a:lnTo>
                      <a:pt x="3946" y="390"/>
                    </a:lnTo>
                    <a:lnTo>
                      <a:pt x="3946" y="393"/>
                    </a:lnTo>
                    <a:lnTo>
                      <a:pt x="3946" y="450"/>
                    </a:lnTo>
                    <a:lnTo>
                      <a:pt x="3946" y="450"/>
                    </a:lnTo>
                    <a:lnTo>
                      <a:pt x="3946" y="447"/>
                    </a:lnTo>
                    <a:lnTo>
                      <a:pt x="3949" y="447"/>
                    </a:lnTo>
                    <a:lnTo>
                      <a:pt x="3949" y="390"/>
                    </a:lnTo>
                    <a:close/>
                    <a:moveTo>
                      <a:pt x="1714" y="369"/>
                    </a:moveTo>
                    <a:lnTo>
                      <a:pt x="1714" y="369"/>
                    </a:lnTo>
                    <a:lnTo>
                      <a:pt x="1714" y="372"/>
                    </a:lnTo>
                    <a:lnTo>
                      <a:pt x="1714" y="1070"/>
                    </a:lnTo>
                    <a:lnTo>
                      <a:pt x="1714" y="1070"/>
                    </a:lnTo>
                    <a:lnTo>
                      <a:pt x="1714" y="369"/>
                    </a:lnTo>
                    <a:close/>
                    <a:moveTo>
                      <a:pt x="3956" y="327"/>
                    </a:moveTo>
                    <a:lnTo>
                      <a:pt x="3953" y="327"/>
                    </a:lnTo>
                    <a:lnTo>
                      <a:pt x="3953" y="329"/>
                    </a:lnTo>
                    <a:lnTo>
                      <a:pt x="3953" y="383"/>
                    </a:lnTo>
                    <a:lnTo>
                      <a:pt x="3956" y="383"/>
                    </a:lnTo>
                    <a:lnTo>
                      <a:pt x="3956" y="381"/>
                    </a:lnTo>
                    <a:lnTo>
                      <a:pt x="3956" y="381"/>
                    </a:lnTo>
                    <a:lnTo>
                      <a:pt x="3956" y="327"/>
                    </a:lnTo>
                    <a:close/>
                    <a:moveTo>
                      <a:pt x="4608" y="232"/>
                    </a:moveTo>
                    <a:lnTo>
                      <a:pt x="4606" y="232"/>
                    </a:lnTo>
                    <a:lnTo>
                      <a:pt x="4606" y="234"/>
                    </a:lnTo>
                    <a:lnTo>
                      <a:pt x="4549" y="447"/>
                    </a:lnTo>
                    <a:lnTo>
                      <a:pt x="4552" y="445"/>
                    </a:lnTo>
                    <a:lnTo>
                      <a:pt x="4608" y="232"/>
                    </a:lnTo>
                    <a:close/>
                    <a:moveTo>
                      <a:pt x="4757" y="0"/>
                    </a:moveTo>
                    <a:lnTo>
                      <a:pt x="4755" y="0"/>
                    </a:lnTo>
                    <a:lnTo>
                      <a:pt x="4755" y="2"/>
                    </a:lnTo>
                    <a:lnTo>
                      <a:pt x="4755" y="125"/>
                    </a:lnTo>
                    <a:lnTo>
                      <a:pt x="4757" y="125"/>
                    </a:lnTo>
                    <a:lnTo>
                      <a:pt x="4757" y="123"/>
                    </a:lnTo>
                    <a:lnTo>
                      <a:pt x="4757" y="123"/>
                    </a:lnTo>
                    <a:lnTo>
                      <a:pt x="4757" y="0"/>
                    </a:ln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4" name="Freeform 79"/>
              <p:cNvSpPr>
                <a:spLocks noEditPoints="1"/>
              </p:cNvSpPr>
              <p:nvPr/>
            </p:nvSpPr>
            <p:spPr bwMode="auto">
              <a:xfrm>
                <a:off x="80" y="1722"/>
                <a:ext cx="6930" cy="1392"/>
              </a:xfrm>
              <a:custGeom>
                <a:avLst/>
                <a:gdLst>
                  <a:gd name="T0" fmla="*/ 3615 w 6930"/>
                  <a:gd name="T1" fmla="*/ 1255 h 1392"/>
                  <a:gd name="T2" fmla="*/ 5736 w 6930"/>
                  <a:gd name="T3" fmla="*/ 1210 h 1392"/>
                  <a:gd name="T4" fmla="*/ 5736 w 6930"/>
                  <a:gd name="T5" fmla="*/ 1264 h 1392"/>
                  <a:gd name="T6" fmla="*/ 1591 w 6930"/>
                  <a:gd name="T7" fmla="*/ 1134 h 1392"/>
                  <a:gd name="T8" fmla="*/ 1594 w 6930"/>
                  <a:gd name="T9" fmla="*/ 1134 h 1392"/>
                  <a:gd name="T10" fmla="*/ 5760 w 6930"/>
                  <a:gd name="T11" fmla="*/ 1129 h 1392"/>
                  <a:gd name="T12" fmla="*/ 5762 w 6930"/>
                  <a:gd name="T13" fmla="*/ 1184 h 1392"/>
                  <a:gd name="T14" fmla="*/ 6226 w 6930"/>
                  <a:gd name="T15" fmla="*/ 1129 h 1392"/>
                  <a:gd name="T16" fmla="*/ 6228 w 6930"/>
                  <a:gd name="T17" fmla="*/ 1129 h 1392"/>
                  <a:gd name="T18" fmla="*/ 1367 w 6930"/>
                  <a:gd name="T19" fmla="*/ 1110 h 1392"/>
                  <a:gd name="T20" fmla="*/ 1369 w 6930"/>
                  <a:gd name="T21" fmla="*/ 1084 h 1392"/>
                  <a:gd name="T22" fmla="*/ 2764 w 6930"/>
                  <a:gd name="T23" fmla="*/ 1065 h 1392"/>
                  <a:gd name="T24" fmla="*/ 5836 w 6930"/>
                  <a:gd name="T25" fmla="*/ 1042 h 1392"/>
                  <a:gd name="T26" fmla="*/ 5833 w 6930"/>
                  <a:gd name="T27" fmla="*/ 1068 h 1392"/>
                  <a:gd name="T28" fmla="*/ 2781 w 6930"/>
                  <a:gd name="T29" fmla="*/ 1013 h 1392"/>
                  <a:gd name="T30" fmla="*/ 2783 w 6930"/>
                  <a:gd name="T31" fmla="*/ 1044 h 1392"/>
                  <a:gd name="T32" fmla="*/ 3674 w 6930"/>
                  <a:gd name="T33" fmla="*/ 994 h 1392"/>
                  <a:gd name="T34" fmla="*/ 3674 w 6930"/>
                  <a:gd name="T35" fmla="*/ 1162 h 1392"/>
                  <a:gd name="T36" fmla="*/ 5852 w 6930"/>
                  <a:gd name="T37" fmla="*/ 989 h 1392"/>
                  <a:gd name="T38" fmla="*/ 5852 w 6930"/>
                  <a:gd name="T39" fmla="*/ 1023 h 1392"/>
                  <a:gd name="T40" fmla="*/ 6242 w 6930"/>
                  <a:gd name="T41" fmla="*/ 935 h 1392"/>
                  <a:gd name="T42" fmla="*/ 6245 w 6930"/>
                  <a:gd name="T43" fmla="*/ 1110 h 1392"/>
                  <a:gd name="T44" fmla="*/ 3748 w 6930"/>
                  <a:gd name="T45" fmla="*/ 928 h 1392"/>
                  <a:gd name="T46" fmla="*/ 3750 w 6930"/>
                  <a:gd name="T47" fmla="*/ 928 h 1392"/>
                  <a:gd name="T48" fmla="*/ 6292 w 6930"/>
                  <a:gd name="T49" fmla="*/ 881 h 1392"/>
                  <a:gd name="T50" fmla="*/ 6294 w 6930"/>
                  <a:gd name="T51" fmla="*/ 885 h 1392"/>
                  <a:gd name="T52" fmla="*/ 6301 w 6930"/>
                  <a:gd name="T53" fmla="*/ 852 h 1392"/>
                  <a:gd name="T54" fmla="*/ 6304 w 6930"/>
                  <a:gd name="T55" fmla="*/ 869 h 1392"/>
                  <a:gd name="T56" fmla="*/ 3003 w 6930"/>
                  <a:gd name="T57" fmla="*/ 765 h 1392"/>
                  <a:gd name="T58" fmla="*/ 915 w 6930"/>
                  <a:gd name="T59" fmla="*/ 753 h 1392"/>
                  <a:gd name="T60" fmla="*/ 915 w 6930"/>
                  <a:gd name="T61" fmla="*/ 767 h 1392"/>
                  <a:gd name="T62" fmla="*/ 5036 w 6930"/>
                  <a:gd name="T63" fmla="*/ 734 h 1392"/>
                  <a:gd name="T64" fmla="*/ 3043 w 6930"/>
                  <a:gd name="T65" fmla="*/ 658 h 1392"/>
                  <a:gd name="T66" fmla="*/ 3043 w 6930"/>
                  <a:gd name="T67" fmla="*/ 727 h 1392"/>
                  <a:gd name="T68" fmla="*/ 2 w 6930"/>
                  <a:gd name="T69" fmla="*/ 618 h 1392"/>
                  <a:gd name="T70" fmla="*/ 2 w 6930"/>
                  <a:gd name="T71" fmla="*/ 1392 h 1392"/>
                  <a:gd name="T72" fmla="*/ 5157 w 6930"/>
                  <a:gd name="T73" fmla="*/ 611 h 1392"/>
                  <a:gd name="T74" fmla="*/ 3187 w 6930"/>
                  <a:gd name="T75" fmla="*/ 582 h 1392"/>
                  <a:gd name="T76" fmla="*/ 3185 w 6930"/>
                  <a:gd name="T77" fmla="*/ 596 h 1392"/>
                  <a:gd name="T78" fmla="*/ 206 w 6930"/>
                  <a:gd name="T79" fmla="*/ 547 h 1392"/>
                  <a:gd name="T80" fmla="*/ 208 w 6930"/>
                  <a:gd name="T81" fmla="*/ 547 h 1392"/>
                  <a:gd name="T82" fmla="*/ 6928 w 6930"/>
                  <a:gd name="T83" fmla="*/ 1032 h 1392"/>
                  <a:gd name="T84" fmla="*/ 4098 w 6930"/>
                  <a:gd name="T85" fmla="*/ 504 h 1392"/>
                  <a:gd name="T86" fmla="*/ 4098 w 6930"/>
                  <a:gd name="T87" fmla="*/ 504 h 1392"/>
                  <a:gd name="T88" fmla="*/ 3204 w 6930"/>
                  <a:gd name="T89" fmla="*/ 504 h 1392"/>
                  <a:gd name="T90" fmla="*/ 3206 w 6930"/>
                  <a:gd name="T91" fmla="*/ 563 h 1392"/>
                  <a:gd name="T92" fmla="*/ 3939 w 6930"/>
                  <a:gd name="T93" fmla="*/ 454 h 1392"/>
                  <a:gd name="T94" fmla="*/ 3859 w 6930"/>
                  <a:gd name="T95" fmla="*/ 866 h 1392"/>
                  <a:gd name="T96" fmla="*/ 3942 w 6930"/>
                  <a:gd name="T97" fmla="*/ 454 h 1392"/>
                  <a:gd name="T98" fmla="*/ 3232 w 6930"/>
                  <a:gd name="T99" fmla="*/ 473 h 1392"/>
                  <a:gd name="T100" fmla="*/ 3235 w 6930"/>
                  <a:gd name="T101" fmla="*/ 433 h 1392"/>
                  <a:gd name="T102" fmla="*/ 3946 w 6930"/>
                  <a:gd name="T103" fmla="*/ 393 h 1392"/>
                  <a:gd name="T104" fmla="*/ 3949 w 6930"/>
                  <a:gd name="T105" fmla="*/ 447 h 1392"/>
                  <a:gd name="T106" fmla="*/ 1714 w 6930"/>
                  <a:gd name="T107" fmla="*/ 372 h 1392"/>
                  <a:gd name="T108" fmla="*/ 3956 w 6930"/>
                  <a:gd name="T109" fmla="*/ 327 h 1392"/>
                  <a:gd name="T110" fmla="*/ 3956 w 6930"/>
                  <a:gd name="T111" fmla="*/ 383 h 1392"/>
                  <a:gd name="T112" fmla="*/ 4608 w 6930"/>
                  <a:gd name="T113" fmla="*/ 232 h 1392"/>
                  <a:gd name="T114" fmla="*/ 4552 w 6930"/>
                  <a:gd name="T115" fmla="*/ 445 h 1392"/>
                  <a:gd name="T116" fmla="*/ 4755 w 6930"/>
                  <a:gd name="T117" fmla="*/ 2 h 1392"/>
                  <a:gd name="T118" fmla="*/ 4757 w 6930"/>
                  <a:gd name="T119" fmla="*/ 123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2">
                    <a:moveTo>
                      <a:pt x="3615" y="1222"/>
                    </a:moveTo>
                    <a:lnTo>
                      <a:pt x="3615" y="1222"/>
                    </a:lnTo>
                    <a:lnTo>
                      <a:pt x="3615" y="1224"/>
                    </a:lnTo>
                    <a:lnTo>
                      <a:pt x="3615" y="1255"/>
                    </a:lnTo>
                    <a:lnTo>
                      <a:pt x="3615" y="1255"/>
                    </a:lnTo>
                    <a:lnTo>
                      <a:pt x="3615" y="1222"/>
                    </a:lnTo>
                    <a:moveTo>
                      <a:pt x="5736" y="1210"/>
                    </a:moveTo>
                    <a:lnTo>
                      <a:pt x="5736" y="1210"/>
                    </a:lnTo>
                    <a:lnTo>
                      <a:pt x="5734" y="1210"/>
                    </a:lnTo>
                    <a:lnTo>
                      <a:pt x="5734" y="1210"/>
                    </a:lnTo>
                    <a:lnTo>
                      <a:pt x="5734" y="1264"/>
                    </a:lnTo>
                    <a:lnTo>
                      <a:pt x="5736" y="1264"/>
                    </a:lnTo>
                    <a:lnTo>
                      <a:pt x="5736" y="1210"/>
                    </a:lnTo>
                    <a:moveTo>
                      <a:pt x="1594" y="1132"/>
                    </a:moveTo>
                    <a:lnTo>
                      <a:pt x="1591" y="1132"/>
                    </a:lnTo>
                    <a:lnTo>
                      <a:pt x="1591" y="1134"/>
                    </a:lnTo>
                    <a:lnTo>
                      <a:pt x="1591" y="1134"/>
                    </a:lnTo>
                    <a:lnTo>
                      <a:pt x="1594" y="1134"/>
                    </a:lnTo>
                    <a:lnTo>
                      <a:pt x="1594" y="1134"/>
                    </a:lnTo>
                    <a:lnTo>
                      <a:pt x="1594" y="1134"/>
                    </a:lnTo>
                    <a:lnTo>
                      <a:pt x="1594" y="1132"/>
                    </a:lnTo>
                    <a:moveTo>
                      <a:pt x="5762" y="1129"/>
                    </a:moveTo>
                    <a:lnTo>
                      <a:pt x="5760" y="1129"/>
                    </a:lnTo>
                    <a:lnTo>
                      <a:pt x="5760" y="1129"/>
                    </a:lnTo>
                    <a:lnTo>
                      <a:pt x="5760" y="1186"/>
                    </a:lnTo>
                    <a:lnTo>
                      <a:pt x="5760" y="1186"/>
                    </a:lnTo>
                    <a:lnTo>
                      <a:pt x="5760" y="1184"/>
                    </a:lnTo>
                    <a:lnTo>
                      <a:pt x="5762" y="1184"/>
                    </a:lnTo>
                    <a:lnTo>
                      <a:pt x="5762" y="1129"/>
                    </a:lnTo>
                    <a:moveTo>
                      <a:pt x="6228" y="1129"/>
                    </a:moveTo>
                    <a:lnTo>
                      <a:pt x="6226" y="1129"/>
                    </a:lnTo>
                    <a:lnTo>
                      <a:pt x="6226" y="1129"/>
                    </a:lnTo>
                    <a:lnTo>
                      <a:pt x="6226" y="1129"/>
                    </a:lnTo>
                    <a:lnTo>
                      <a:pt x="6226" y="1148"/>
                    </a:lnTo>
                    <a:lnTo>
                      <a:pt x="6228" y="1148"/>
                    </a:lnTo>
                    <a:lnTo>
                      <a:pt x="6228" y="1129"/>
                    </a:lnTo>
                    <a:moveTo>
                      <a:pt x="1369" y="1084"/>
                    </a:moveTo>
                    <a:lnTo>
                      <a:pt x="1367" y="1084"/>
                    </a:lnTo>
                    <a:lnTo>
                      <a:pt x="1367" y="1087"/>
                    </a:lnTo>
                    <a:lnTo>
                      <a:pt x="1367" y="1110"/>
                    </a:lnTo>
                    <a:lnTo>
                      <a:pt x="1369" y="1110"/>
                    </a:lnTo>
                    <a:lnTo>
                      <a:pt x="1369" y="1108"/>
                    </a:lnTo>
                    <a:lnTo>
                      <a:pt x="1369" y="1108"/>
                    </a:lnTo>
                    <a:lnTo>
                      <a:pt x="1369" y="1084"/>
                    </a:lnTo>
                    <a:moveTo>
                      <a:pt x="2766" y="1063"/>
                    </a:moveTo>
                    <a:lnTo>
                      <a:pt x="2764" y="1063"/>
                    </a:lnTo>
                    <a:lnTo>
                      <a:pt x="2764" y="1063"/>
                    </a:lnTo>
                    <a:lnTo>
                      <a:pt x="2764" y="1065"/>
                    </a:lnTo>
                    <a:lnTo>
                      <a:pt x="2764" y="1179"/>
                    </a:lnTo>
                    <a:lnTo>
                      <a:pt x="2766" y="1179"/>
                    </a:lnTo>
                    <a:lnTo>
                      <a:pt x="2766" y="1063"/>
                    </a:lnTo>
                    <a:moveTo>
                      <a:pt x="5836" y="1042"/>
                    </a:moveTo>
                    <a:lnTo>
                      <a:pt x="5836" y="1042"/>
                    </a:lnTo>
                    <a:lnTo>
                      <a:pt x="5833" y="1042"/>
                    </a:lnTo>
                    <a:lnTo>
                      <a:pt x="5833" y="1044"/>
                    </a:lnTo>
                    <a:lnTo>
                      <a:pt x="5833" y="1068"/>
                    </a:lnTo>
                    <a:lnTo>
                      <a:pt x="5836" y="1068"/>
                    </a:lnTo>
                    <a:lnTo>
                      <a:pt x="5836" y="1042"/>
                    </a:lnTo>
                    <a:moveTo>
                      <a:pt x="2783" y="1013"/>
                    </a:moveTo>
                    <a:lnTo>
                      <a:pt x="2781" y="1013"/>
                    </a:lnTo>
                    <a:lnTo>
                      <a:pt x="2781" y="1013"/>
                    </a:lnTo>
                    <a:lnTo>
                      <a:pt x="2781" y="1046"/>
                    </a:lnTo>
                    <a:lnTo>
                      <a:pt x="2783" y="1046"/>
                    </a:lnTo>
                    <a:lnTo>
                      <a:pt x="2783" y="1044"/>
                    </a:lnTo>
                    <a:lnTo>
                      <a:pt x="2783" y="1044"/>
                    </a:lnTo>
                    <a:lnTo>
                      <a:pt x="2783" y="1013"/>
                    </a:lnTo>
                    <a:moveTo>
                      <a:pt x="3677" y="994"/>
                    </a:moveTo>
                    <a:lnTo>
                      <a:pt x="3674" y="994"/>
                    </a:lnTo>
                    <a:lnTo>
                      <a:pt x="3674" y="997"/>
                    </a:lnTo>
                    <a:lnTo>
                      <a:pt x="3674" y="1162"/>
                    </a:lnTo>
                    <a:lnTo>
                      <a:pt x="3674" y="1162"/>
                    </a:lnTo>
                    <a:lnTo>
                      <a:pt x="3674" y="1162"/>
                    </a:lnTo>
                    <a:lnTo>
                      <a:pt x="3677" y="1162"/>
                    </a:lnTo>
                    <a:lnTo>
                      <a:pt x="3677" y="994"/>
                    </a:lnTo>
                    <a:moveTo>
                      <a:pt x="5854" y="989"/>
                    </a:moveTo>
                    <a:lnTo>
                      <a:pt x="5852" y="989"/>
                    </a:lnTo>
                    <a:lnTo>
                      <a:pt x="5852" y="992"/>
                    </a:lnTo>
                    <a:lnTo>
                      <a:pt x="5852" y="1025"/>
                    </a:lnTo>
                    <a:lnTo>
                      <a:pt x="5852" y="1025"/>
                    </a:lnTo>
                    <a:lnTo>
                      <a:pt x="5852" y="1023"/>
                    </a:lnTo>
                    <a:lnTo>
                      <a:pt x="5854" y="1023"/>
                    </a:lnTo>
                    <a:lnTo>
                      <a:pt x="5854" y="989"/>
                    </a:lnTo>
                    <a:moveTo>
                      <a:pt x="6245" y="935"/>
                    </a:moveTo>
                    <a:lnTo>
                      <a:pt x="6242" y="935"/>
                    </a:lnTo>
                    <a:lnTo>
                      <a:pt x="6242" y="937"/>
                    </a:lnTo>
                    <a:lnTo>
                      <a:pt x="6242" y="1113"/>
                    </a:lnTo>
                    <a:lnTo>
                      <a:pt x="6245" y="1113"/>
                    </a:lnTo>
                    <a:lnTo>
                      <a:pt x="6245" y="1110"/>
                    </a:lnTo>
                    <a:lnTo>
                      <a:pt x="6245" y="1110"/>
                    </a:lnTo>
                    <a:lnTo>
                      <a:pt x="6245" y="935"/>
                    </a:lnTo>
                    <a:moveTo>
                      <a:pt x="3750" y="928"/>
                    </a:moveTo>
                    <a:lnTo>
                      <a:pt x="3748" y="928"/>
                    </a:lnTo>
                    <a:lnTo>
                      <a:pt x="3748" y="930"/>
                    </a:lnTo>
                    <a:lnTo>
                      <a:pt x="3748" y="933"/>
                    </a:lnTo>
                    <a:lnTo>
                      <a:pt x="3750" y="933"/>
                    </a:lnTo>
                    <a:lnTo>
                      <a:pt x="3750" y="928"/>
                    </a:lnTo>
                    <a:moveTo>
                      <a:pt x="6294" y="878"/>
                    </a:moveTo>
                    <a:lnTo>
                      <a:pt x="6294" y="878"/>
                    </a:lnTo>
                    <a:lnTo>
                      <a:pt x="6292" y="878"/>
                    </a:lnTo>
                    <a:lnTo>
                      <a:pt x="6292" y="881"/>
                    </a:lnTo>
                    <a:lnTo>
                      <a:pt x="6292" y="888"/>
                    </a:lnTo>
                    <a:lnTo>
                      <a:pt x="6294" y="888"/>
                    </a:lnTo>
                    <a:lnTo>
                      <a:pt x="6294" y="885"/>
                    </a:lnTo>
                    <a:lnTo>
                      <a:pt x="6294" y="885"/>
                    </a:lnTo>
                    <a:lnTo>
                      <a:pt x="6294" y="878"/>
                    </a:lnTo>
                    <a:moveTo>
                      <a:pt x="6304" y="850"/>
                    </a:moveTo>
                    <a:lnTo>
                      <a:pt x="6301" y="850"/>
                    </a:lnTo>
                    <a:lnTo>
                      <a:pt x="6301" y="852"/>
                    </a:lnTo>
                    <a:lnTo>
                      <a:pt x="6301" y="871"/>
                    </a:lnTo>
                    <a:lnTo>
                      <a:pt x="6301" y="871"/>
                    </a:lnTo>
                    <a:lnTo>
                      <a:pt x="6301" y="869"/>
                    </a:lnTo>
                    <a:lnTo>
                      <a:pt x="6304" y="869"/>
                    </a:lnTo>
                    <a:lnTo>
                      <a:pt x="6304" y="850"/>
                    </a:lnTo>
                    <a:moveTo>
                      <a:pt x="3005" y="762"/>
                    </a:moveTo>
                    <a:lnTo>
                      <a:pt x="3003" y="762"/>
                    </a:lnTo>
                    <a:lnTo>
                      <a:pt x="3003" y="765"/>
                    </a:lnTo>
                    <a:lnTo>
                      <a:pt x="3003" y="918"/>
                    </a:lnTo>
                    <a:lnTo>
                      <a:pt x="3005" y="918"/>
                    </a:lnTo>
                    <a:lnTo>
                      <a:pt x="3005" y="762"/>
                    </a:lnTo>
                    <a:moveTo>
                      <a:pt x="915" y="753"/>
                    </a:moveTo>
                    <a:lnTo>
                      <a:pt x="913" y="753"/>
                    </a:lnTo>
                    <a:lnTo>
                      <a:pt x="913" y="755"/>
                    </a:lnTo>
                    <a:lnTo>
                      <a:pt x="913" y="767"/>
                    </a:lnTo>
                    <a:lnTo>
                      <a:pt x="915" y="767"/>
                    </a:lnTo>
                    <a:lnTo>
                      <a:pt x="915" y="753"/>
                    </a:lnTo>
                    <a:moveTo>
                      <a:pt x="5036" y="731"/>
                    </a:moveTo>
                    <a:lnTo>
                      <a:pt x="5036" y="731"/>
                    </a:lnTo>
                    <a:lnTo>
                      <a:pt x="5036" y="734"/>
                    </a:lnTo>
                    <a:lnTo>
                      <a:pt x="5036" y="911"/>
                    </a:lnTo>
                    <a:lnTo>
                      <a:pt x="5036" y="911"/>
                    </a:lnTo>
                    <a:lnTo>
                      <a:pt x="5036" y="731"/>
                    </a:lnTo>
                    <a:moveTo>
                      <a:pt x="3043" y="658"/>
                    </a:moveTo>
                    <a:lnTo>
                      <a:pt x="3043" y="658"/>
                    </a:lnTo>
                    <a:lnTo>
                      <a:pt x="3043" y="658"/>
                    </a:lnTo>
                    <a:lnTo>
                      <a:pt x="3043" y="727"/>
                    </a:lnTo>
                    <a:lnTo>
                      <a:pt x="3043" y="727"/>
                    </a:lnTo>
                    <a:lnTo>
                      <a:pt x="3043" y="724"/>
                    </a:lnTo>
                    <a:lnTo>
                      <a:pt x="3043" y="724"/>
                    </a:lnTo>
                    <a:lnTo>
                      <a:pt x="3043" y="658"/>
                    </a:lnTo>
                    <a:moveTo>
                      <a:pt x="2" y="618"/>
                    </a:moveTo>
                    <a:lnTo>
                      <a:pt x="0" y="618"/>
                    </a:lnTo>
                    <a:lnTo>
                      <a:pt x="0" y="618"/>
                    </a:lnTo>
                    <a:lnTo>
                      <a:pt x="0" y="1392"/>
                    </a:lnTo>
                    <a:lnTo>
                      <a:pt x="2" y="1392"/>
                    </a:lnTo>
                    <a:lnTo>
                      <a:pt x="2" y="618"/>
                    </a:lnTo>
                    <a:moveTo>
                      <a:pt x="5159" y="611"/>
                    </a:moveTo>
                    <a:lnTo>
                      <a:pt x="5157" y="611"/>
                    </a:lnTo>
                    <a:lnTo>
                      <a:pt x="5157" y="611"/>
                    </a:lnTo>
                    <a:lnTo>
                      <a:pt x="5157" y="670"/>
                    </a:lnTo>
                    <a:lnTo>
                      <a:pt x="5159" y="670"/>
                    </a:lnTo>
                    <a:lnTo>
                      <a:pt x="5159" y="611"/>
                    </a:lnTo>
                    <a:moveTo>
                      <a:pt x="3187" y="582"/>
                    </a:moveTo>
                    <a:lnTo>
                      <a:pt x="3187" y="582"/>
                    </a:lnTo>
                    <a:lnTo>
                      <a:pt x="3185" y="582"/>
                    </a:lnTo>
                    <a:lnTo>
                      <a:pt x="3185" y="585"/>
                    </a:lnTo>
                    <a:lnTo>
                      <a:pt x="3185" y="596"/>
                    </a:lnTo>
                    <a:lnTo>
                      <a:pt x="3187" y="596"/>
                    </a:lnTo>
                    <a:lnTo>
                      <a:pt x="3187" y="582"/>
                    </a:lnTo>
                    <a:moveTo>
                      <a:pt x="208" y="547"/>
                    </a:moveTo>
                    <a:lnTo>
                      <a:pt x="206" y="547"/>
                    </a:lnTo>
                    <a:lnTo>
                      <a:pt x="206" y="549"/>
                    </a:lnTo>
                    <a:lnTo>
                      <a:pt x="206" y="556"/>
                    </a:lnTo>
                    <a:lnTo>
                      <a:pt x="208" y="556"/>
                    </a:lnTo>
                    <a:lnTo>
                      <a:pt x="208" y="547"/>
                    </a:lnTo>
                    <a:moveTo>
                      <a:pt x="6930" y="509"/>
                    </a:moveTo>
                    <a:lnTo>
                      <a:pt x="6928" y="509"/>
                    </a:lnTo>
                    <a:lnTo>
                      <a:pt x="6928" y="511"/>
                    </a:lnTo>
                    <a:lnTo>
                      <a:pt x="6928" y="1032"/>
                    </a:lnTo>
                    <a:lnTo>
                      <a:pt x="6930" y="1032"/>
                    </a:lnTo>
                    <a:lnTo>
                      <a:pt x="6930" y="509"/>
                    </a:lnTo>
                    <a:moveTo>
                      <a:pt x="4098" y="504"/>
                    </a:moveTo>
                    <a:lnTo>
                      <a:pt x="4098" y="504"/>
                    </a:lnTo>
                    <a:lnTo>
                      <a:pt x="4098" y="504"/>
                    </a:lnTo>
                    <a:lnTo>
                      <a:pt x="4081" y="528"/>
                    </a:lnTo>
                    <a:lnTo>
                      <a:pt x="4081" y="528"/>
                    </a:lnTo>
                    <a:lnTo>
                      <a:pt x="4098" y="504"/>
                    </a:lnTo>
                    <a:moveTo>
                      <a:pt x="3206" y="502"/>
                    </a:moveTo>
                    <a:lnTo>
                      <a:pt x="3204" y="502"/>
                    </a:lnTo>
                    <a:lnTo>
                      <a:pt x="3204" y="502"/>
                    </a:lnTo>
                    <a:lnTo>
                      <a:pt x="3204" y="504"/>
                    </a:lnTo>
                    <a:lnTo>
                      <a:pt x="3204" y="566"/>
                    </a:lnTo>
                    <a:lnTo>
                      <a:pt x="3204" y="566"/>
                    </a:lnTo>
                    <a:lnTo>
                      <a:pt x="3204" y="563"/>
                    </a:lnTo>
                    <a:lnTo>
                      <a:pt x="3206" y="563"/>
                    </a:lnTo>
                    <a:lnTo>
                      <a:pt x="3206" y="502"/>
                    </a:lnTo>
                    <a:moveTo>
                      <a:pt x="3942" y="454"/>
                    </a:moveTo>
                    <a:lnTo>
                      <a:pt x="3939" y="454"/>
                    </a:lnTo>
                    <a:lnTo>
                      <a:pt x="3939" y="454"/>
                    </a:lnTo>
                    <a:lnTo>
                      <a:pt x="3939" y="457"/>
                    </a:lnTo>
                    <a:lnTo>
                      <a:pt x="3939" y="492"/>
                    </a:lnTo>
                    <a:lnTo>
                      <a:pt x="3859" y="644"/>
                    </a:lnTo>
                    <a:lnTo>
                      <a:pt x="3859" y="866"/>
                    </a:lnTo>
                    <a:lnTo>
                      <a:pt x="3859" y="866"/>
                    </a:lnTo>
                    <a:lnTo>
                      <a:pt x="3859" y="641"/>
                    </a:lnTo>
                    <a:lnTo>
                      <a:pt x="3942" y="490"/>
                    </a:lnTo>
                    <a:lnTo>
                      <a:pt x="3942" y="454"/>
                    </a:lnTo>
                    <a:moveTo>
                      <a:pt x="3235" y="433"/>
                    </a:moveTo>
                    <a:lnTo>
                      <a:pt x="3232" y="433"/>
                    </a:lnTo>
                    <a:lnTo>
                      <a:pt x="3232" y="435"/>
                    </a:lnTo>
                    <a:lnTo>
                      <a:pt x="3232" y="473"/>
                    </a:lnTo>
                    <a:lnTo>
                      <a:pt x="3232" y="473"/>
                    </a:lnTo>
                    <a:lnTo>
                      <a:pt x="3232" y="471"/>
                    </a:lnTo>
                    <a:lnTo>
                      <a:pt x="3235" y="471"/>
                    </a:lnTo>
                    <a:lnTo>
                      <a:pt x="3235" y="433"/>
                    </a:lnTo>
                    <a:moveTo>
                      <a:pt x="3949" y="390"/>
                    </a:moveTo>
                    <a:lnTo>
                      <a:pt x="3946" y="390"/>
                    </a:lnTo>
                    <a:lnTo>
                      <a:pt x="3946" y="390"/>
                    </a:lnTo>
                    <a:lnTo>
                      <a:pt x="3946" y="393"/>
                    </a:lnTo>
                    <a:lnTo>
                      <a:pt x="3946" y="450"/>
                    </a:lnTo>
                    <a:lnTo>
                      <a:pt x="3946" y="450"/>
                    </a:lnTo>
                    <a:lnTo>
                      <a:pt x="3946" y="447"/>
                    </a:lnTo>
                    <a:lnTo>
                      <a:pt x="3949" y="447"/>
                    </a:lnTo>
                    <a:lnTo>
                      <a:pt x="3949" y="390"/>
                    </a:lnTo>
                    <a:moveTo>
                      <a:pt x="1714" y="369"/>
                    </a:moveTo>
                    <a:lnTo>
                      <a:pt x="1714" y="369"/>
                    </a:lnTo>
                    <a:lnTo>
                      <a:pt x="1714" y="372"/>
                    </a:lnTo>
                    <a:lnTo>
                      <a:pt x="1714" y="1070"/>
                    </a:lnTo>
                    <a:lnTo>
                      <a:pt x="1714" y="1070"/>
                    </a:lnTo>
                    <a:lnTo>
                      <a:pt x="1714" y="369"/>
                    </a:lnTo>
                    <a:moveTo>
                      <a:pt x="3956" y="327"/>
                    </a:moveTo>
                    <a:lnTo>
                      <a:pt x="3953" y="327"/>
                    </a:lnTo>
                    <a:lnTo>
                      <a:pt x="3953" y="329"/>
                    </a:lnTo>
                    <a:lnTo>
                      <a:pt x="3953" y="383"/>
                    </a:lnTo>
                    <a:lnTo>
                      <a:pt x="3956" y="383"/>
                    </a:lnTo>
                    <a:lnTo>
                      <a:pt x="3956" y="381"/>
                    </a:lnTo>
                    <a:lnTo>
                      <a:pt x="3956" y="381"/>
                    </a:lnTo>
                    <a:lnTo>
                      <a:pt x="3956" y="327"/>
                    </a:lnTo>
                    <a:moveTo>
                      <a:pt x="4608" y="232"/>
                    </a:moveTo>
                    <a:lnTo>
                      <a:pt x="4606" y="232"/>
                    </a:lnTo>
                    <a:lnTo>
                      <a:pt x="4606" y="234"/>
                    </a:lnTo>
                    <a:lnTo>
                      <a:pt x="4549" y="447"/>
                    </a:lnTo>
                    <a:lnTo>
                      <a:pt x="4552" y="445"/>
                    </a:lnTo>
                    <a:lnTo>
                      <a:pt x="4608" y="232"/>
                    </a:lnTo>
                    <a:moveTo>
                      <a:pt x="4757" y="0"/>
                    </a:moveTo>
                    <a:lnTo>
                      <a:pt x="4755" y="0"/>
                    </a:lnTo>
                    <a:lnTo>
                      <a:pt x="4755" y="2"/>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5" name="Freeform 80"/>
              <p:cNvSpPr>
                <a:spLocks noEditPoints="1"/>
              </p:cNvSpPr>
              <p:nvPr/>
            </p:nvSpPr>
            <p:spPr bwMode="auto">
              <a:xfrm>
                <a:off x="82" y="1719"/>
                <a:ext cx="6931" cy="1395"/>
              </a:xfrm>
              <a:custGeom>
                <a:avLst/>
                <a:gdLst>
                  <a:gd name="T0" fmla="*/ 3613 w 6931"/>
                  <a:gd name="T1" fmla="*/ 1258 h 1395"/>
                  <a:gd name="T2" fmla="*/ 5734 w 6931"/>
                  <a:gd name="T3" fmla="*/ 1210 h 1395"/>
                  <a:gd name="T4" fmla="*/ 5737 w 6931"/>
                  <a:gd name="T5" fmla="*/ 1267 h 1395"/>
                  <a:gd name="T6" fmla="*/ 1592 w 6931"/>
                  <a:gd name="T7" fmla="*/ 1135 h 1395"/>
                  <a:gd name="T8" fmla="*/ 1594 w 6931"/>
                  <a:gd name="T9" fmla="*/ 1135 h 1395"/>
                  <a:gd name="T10" fmla="*/ 5760 w 6931"/>
                  <a:gd name="T11" fmla="*/ 1132 h 1395"/>
                  <a:gd name="T12" fmla="*/ 5760 w 6931"/>
                  <a:gd name="T13" fmla="*/ 1184 h 1395"/>
                  <a:gd name="T14" fmla="*/ 6226 w 6931"/>
                  <a:gd name="T15" fmla="*/ 1130 h 1395"/>
                  <a:gd name="T16" fmla="*/ 6228 w 6931"/>
                  <a:gd name="T17" fmla="*/ 1130 h 1395"/>
                  <a:gd name="T18" fmla="*/ 1367 w 6931"/>
                  <a:gd name="T19" fmla="*/ 1111 h 1395"/>
                  <a:gd name="T20" fmla="*/ 1369 w 6931"/>
                  <a:gd name="T21" fmla="*/ 1085 h 1395"/>
                  <a:gd name="T22" fmla="*/ 2764 w 6931"/>
                  <a:gd name="T23" fmla="*/ 1066 h 1395"/>
                  <a:gd name="T24" fmla="*/ 5836 w 6931"/>
                  <a:gd name="T25" fmla="*/ 1042 h 1395"/>
                  <a:gd name="T26" fmla="*/ 5834 w 6931"/>
                  <a:gd name="T27" fmla="*/ 1071 h 1395"/>
                  <a:gd name="T28" fmla="*/ 2781 w 6931"/>
                  <a:gd name="T29" fmla="*/ 1014 h 1395"/>
                  <a:gd name="T30" fmla="*/ 2781 w 6931"/>
                  <a:gd name="T31" fmla="*/ 1045 h 1395"/>
                  <a:gd name="T32" fmla="*/ 3675 w 6931"/>
                  <a:gd name="T33" fmla="*/ 995 h 1395"/>
                  <a:gd name="T34" fmla="*/ 3675 w 6931"/>
                  <a:gd name="T35" fmla="*/ 995 h 1395"/>
                  <a:gd name="T36" fmla="*/ 5852 w 6931"/>
                  <a:gd name="T37" fmla="*/ 1026 h 1395"/>
                  <a:gd name="T38" fmla="*/ 5855 w 6931"/>
                  <a:gd name="T39" fmla="*/ 990 h 1395"/>
                  <a:gd name="T40" fmla="*/ 6243 w 6931"/>
                  <a:gd name="T41" fmla="*/ 1113 h 1395"/>
                  <a:gd name="T42" fmla="*/ 6245 w 6931"/>
                  <a:gd name="T43" fmla="*/ 938 h 1395"/>
                  <a:gd name="T44" fmla="*/ 3748 w 6931"/>
                  <a:gd name="T45" fmla="*/ 936 h 1395"/>
                  <a:gd name="T46" fmla="*/ 6292 w 6931"/>
                  <a:gd name="T47" fmla="*/ 879 h 1395"/>
                  <a:gd name="T48" fmla="*/ 6292 w 6931"/>
                  <a:gd name="T49" fmla="*/ 888 h 1395"/>
                  <a:gd name="T50" fmla="*/ 6302 w 6931"/>
                  <a:gd name="T51" fmla="*/ 850 h 1395"/>
                  <a:gd name="T52" fmla="*/ 6302 w 6931"/>
                  <a:gd name="T53" fmla="*/ 872 h 1395"/>
                  <a:gd name="T54" fmla="*/ 3006 w 6931"/>
                  <a:gd name="T55" fmla="*/ 765 h 1395"/>
                  <a:gd name="T56" fmla="*/ 3006 w 6931"/>
                  <a:gd name="T57" fmla="*/ 921 h 1395"/>
                  <a:gd name="T58" fmla="*/ 913 w 6931"/>
                  <a:gd name="T59" fmla="*/ 756 h 1395"/>
                  <a:gd name="T60" fmla="*/ 5037 w 6931"/>
                  <a:gd name="T61" fmla="*/ 734 h 1395"/>
                  <a:gd name="T62" fmla="*/ 5037 w 6931"/>
                  <a:gd name="T63" fmla="*/ 914 h 1395"/>
                  <a:gd name="T64" fmla="*/ 3041 w 6931"/>
                  <a:gd name="T65" fmla="*/ 661 h 1395"/>
                  <a:gd name="T66" fmla="*/ 3043 w 6931"/>
                  <a:gd name="T67" fmla="*/ 725 h 1395"/>
                  <a:gd name="T68" fmla="*/ 0 w 6931"/>
                  <a:gd name="T69" fmla="*/ 621 h 1395"/>
                  <a:gd name="T70" fmla="*/ 5157 w 6931"/>
                  <a:gd name="T71" fmla="*/ 611 h 1395"/>
                  <a:gd name="T72" fmla="*/ 5157 w 6931"/>
                  <a:gd name="T73" fmla="*/ 673 h 1395"/>
                  <a:gd name="T74" fmla="*/ 3185 w 6931"/>
                  <a:gd name="T75" fmla="*/ 583 h 1395"/>
                  <a:gd name="T76" fmla="*/ 3188 w 6931"/>
                  <a:gd name="T77" fmla="*/ 583 h 1395"/>
                  <a:gd name="T78" fmla="*/ 206 w 6931"/>
                  <a:gd name="T79" fmla="*/ 559 h 1395"/>
                  <a:gd name="T80" fmla="*/ 6928 w 6931"/>
                  <a:gd name="T81" fmla="*/ 510 h 1395"/>
                  <a:gd name="T82" fmla="*/ 6931 w 6931"/>
                  <a:gd name="T83" fmla="*/ 510 h 1395"/>
                  <a:gd name="T84" fmla="*/ 4079 w 6931"/>
                  <a:gd name="T85" fmla="*/ 531 h 1395"/>
                  <a:gd name="T86" fmla="*/ 3204 w 6931"/>
                  <a:gd name="T87" fmla="*/ 502 h 1395"/>
                  <a:gd name="T88" fmla="*/ 3204 w 6931"/>
                  <a:gd name="T89" fmla="*/ 566 h 1395"/>
                  <a:gd name="T90" fmla="*/ 3942 w 6931"/>
                  <a:gd name="T91" fmla="*/ 455 h 1395"/>
                  <a:gd name="T92" fmla="*/ 3940 w 6931"/>
                  <a:gd name="T93" fmla="*/ 493 h 1395"/>
                  <a:gd name="T94" fmla="*/ 3859 w 6931"/>
                  <a:gd name="T95" fmla="*/ 642 h 1395"/>
                  <a:gd name="T96" fmla="*/ 3233 w 6931"/>
                  <a:gd name="T97" fmla="*/ 436 h 1395"/>
                  <a:gd name="T98" fmla="*/ 3233 w 6931"/>
                  <a:gd name="T99" fmla="*/ 472 h 1395"/>
                  <a:gd name="T100" fmla="*/ 3947 w 6931"/>
                  <a:gd name="T101" fmla="*/ 391 h 1395"/>
                  <a:gd name="T102" fmla="*/ 3947 w 6931"/>
                  <a:gd name="T103" fmla="*/ 450 h 1395"/>
                  <a:gd name="T104" fmla="*/ 1715 w 6931"/>
                  <a:gd name="T105" fmla="*/ 370 h 1395"/>
                  <a:gd name="T106" fmla="*/ 1715 w 6931"/>
                  <a:gd name="T107" fmla="*/ 1073 h 1395"/>
                  <a:gd name="T108" fmla="*/ 3954 w 6931"/>
                  <a:gd name="T109" fmla="*/ 330 h 1395"/>
                  <a:gd name="T110" fmla="*/ 3956 w 6931"/>
                  <a:gd name="T111" fmla="*/ 384 h 1395"/>
                  <a:gd name="T112" fmla="*/ 4606 w 6931"/>
                  <a:gd name="T113" fmla="*/ 235 h 1395"/>
                  <a:gd name="T114" fmla="*/ 4708 w 6931"/>
                  <a:gd name="T115" fmla="*/ 173 h 1395"/>
                  <a:gd name="T116" fmla="*/ 4708 w 6931"/>
                  <a:gd name="T117" fmla="*/ 173 h 1395"/>
                  <a:gd name="T118" fmla="*/ 4755 w 6931"/>
                  <a:gd name="T119" fmla="*/ 126 h 1395"/>
                  <a:gd name="T120" fmla="*/ 4758 w 6931"/>
                  <a:gd name="T121" fmla="*/ 0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95">
                    <a:moveTo>
                      <a:pt x="3616" y="1225"/>
                    </a:moveTo>
                    <a:lnTo>
                      <a:pt x="3613" y="1225"/>
                    </a:lnTo>
                    <a:lnTo>
                      <a:pt x="3613" y="1225"/>
                    </a:lnTo>
                    <a:lnTo>
                      <a:pt x="3613" y="1258"/>
                    </a:lnTo>
                    <a:lnTo>
                      <a:pt x="3616" y="1258"/>
                    </a:lnTo>
                    <a:lnTo>
                      <a:pt x="3616" y="1225"/>
                    </a:lnTo>
                    <a:close/>
                    <a:moveTo>
                      <a:pt x="5737" y="1210"/>
                    </a:moveTo>
                    <a:lnTo>
                      <a:pt x="5734" y="1210"/>
                    </a:lnTo>
                    <a:lnTo>
                      <a:pt x="5734" y="1210"/>
                    </a:lnTo>
                    <a:lnTo>
                      <a:pt x="5734" y="1213"/>
                    </a:lnTo>
                    <a:lnTo>
                      <a:pt x="5734" y="1267"/>
                    </a:lnTo>
                    <a:lnTo>
                      <a:pt x="5737" y="1267"/>
                    </a:lnTo>
                    <a:lnTo>
                      <a:pt x="5737" y="1210"/>
                    </a:lnTo>
                    <a:close/>
                    <a:moveTo>
                      <a:pt x="1594" y="1132"/>
                    </a:moveTo>
                    <a:lnTo>
                      <a:pt x="1592" y="1132"/>
                    </a:lnTo>
                    <a:lnTo>
                      <a:pt x="1592" y="1135"/>
                    </a:lnTo>
                    <a:lnTo>
                      <a:pt x="1592" y="1137"/>
                    </a:lnTo>
                    <a:lnTo>
                      <a:pt x="1594" y="1137"/>
                    </a:lnTo>
                    <a:lnTo>
                      <a:pt x="1594" y="1135"/>
                    </a:lnTo>
                    <a:lnTo>
                      <a:pt x="1594" y="1135"/>
                    </a:lnTo>
                    <a:lnTo>
                      <a:pt x="1594" y="1132"/>
                    </a:lnTo>
                    <a:close/>
                    <a:moveTo>
                      <a:pt x="5760" y="1130"/>
                    </a:moveTo>
                    <a:lnTo>
                      <a:pt x="5760" y="1130"/>
                    </a:lnTo>
                    <a:lnTo>
                      <a:pt x="5760" y="1132"/>
                    </a:lnTo>
                    <a:lnTo>
                      <a:pt x="5760" y="1187"/>
                    </a:lnTo>
                    <a:lnTo>
                      <a:pt x="5760" y="1187"/>
                    </a:lnTo>
                    <a:lnTo>
                      <a:pt x="5760" y="1184"/>
                    </a:lnTo>
                    <a:lnTo>
                      <a:pt x="5760" y="1184"/>
                    </a:lnTo>
                    <a:lnTo>
                      <a:pt x="5760" y="1130"/>
                    </a:lnTo>
                    <a:close/>
                    <a:moveTo>
                      <a:pt x="6228" y="1130"/>
                    </a:moveTo>
                    <a:lnTo>
                      <a:pt x="6226" y="1130"/>
                    </a:lnTo>
                    <a:lnTo>
                      <a:pt x="6226" y="1130"/>
                    </a:lnTo>
                    <a:lnTo>
                      <a:pt x="6226" y="1132"/>
                    </a:lnTo>
                    <a:lnTo>
                      <a:pt x="6226" y="1151"/>
                    </a:lnTo>
                    <a:lnTo>
                      <a:pt x="6228" y="1151"/>
                    </a:lnTo>
                    <a:lnTo>
                      <a:pt x="6228" y="1130"/>
                    </a:lnTo>
                    <a:close/>
                    <a:moveTo>
                      <a:pt x="1369" y="1085"/>
                    </a:moveTo>
                    <a:lnTo>
                      <a:pt x="1367" y="1085"/>
                    </a:lnTo>
                    <a:lnTo>
                      <a:pt x="1367" y="1087"/>
                    </a:lnTo>
                    <a:lnTo>
                      <a:pt x="1367" y="1111"/>
                    </a:lnTo>
                    <a:lnTo>
                      <a:pt x="1369" y="1111"/>
                    </a:lnTo>
                    <a:lnTo>
                      <a:pt x="1369" y="1109"/>
                    </a:lnTo>
                    <a:lnTo>
                      <a:pt x="1369" y="1109"/>
                    </a:lnTo>
                    <a:lnTo>
                      <a:pt x="1369" y="1085"/>
                    </a:lnTo>
                    <a:close/>
                    <a:moveTo>
                      <a:pt x="2764" y="1064"/>
                    </a:moveTo>
                    <a:lnTo>
                      <a:pt x="2764" y="1064"/>
                    </a:lnTo>
                    <a:lnTo>
                      <a:pt x="2764" y="1064"/>
                    </a:lnTo>
                    <a:lnTo>
                      <a:pt x="2764" y="1066"/>
                    </a:lnTo>
                    <a:lnTo>
                      <a:pt x="2764" y="1182"/>
                    </a:lnTo>
                    <a:lnTo>
                      <a:pt x="2764" y="1182"/>
                    </a:lnTo>
                    <a:lnTo>
                      <a:pt x="2764" y="1064"/>
                    </a:lnTo>
                    <a:close/>
                    <a:moveTo>
                      <a:pt x="5836" y="1042"/>
                    </a:moveTo>
                    <a:lnTo>
                      <a:pt x="5836" y="1042"/>
                    </a:lnTo>
                    <a:lnTo>
                      <a:pt x="5834" y="1042"/>
                    </a:lnTo>
                    <a:lnTo>
                      <a:pt x="5834" y="1045"/>
                    </a:lnTo>
                    <a:lnTo>
                      <a:pt x="5834" y="1071"/>
                    </a:lnTo>
                    <a:lnTo>
                      <a:pt x="5836" y="1071"/>
                    </a:lnTo>
                    <a:lnTo>
                      <a:pt x="5836" y="1042"/>
                    </a:lnTo>
                    <a:close/>
                    <a:moveTo>
                      <a:pt x="2783" y="1014"/>
                    </a:moveTo>
                    <a:lnTo>
                      <a:pt x="2781" y="1014"/>
                    </a:lnTo>
                    <a:lnTo>
                      <a:pt x="2781" y="1016"/>
                    </a:lnTo>
                    <a:lnTo>
                      <a:pt x="2781" y="1047"/>
                    </a:lnTo>
                    <a:lnTo>
                      <a:pt x="2781" y="1047"/>
                    </a:lnTo>
                    <a:lnTo>
                      <a:pt x="2781" y="1045"/>
                    </a:lnTo>
                    <a:lnTo>
                      <a:pt x="2783" y="1045"/>
                    </a:lnTo>
                    <a:lnTo>
                      <a:pt x="2783" y="1014"/>
                    </a:lnTo>
                    <a:close/>
                    <a:moveTo>
                      <a:pt x="3675" y="995"/>
                    </a:moveTo>
                    <a:lnTo>
                      <a:pt x="3675" y="995"/>
                    </a:lnTo>
                    <a:lnTo>
                      <a:pt x="3675" y="997"/>
                    </a:lnTo>
                    <a:lnTo>
                      <a:pt x="3675" y="1165"/>
                    </a:lnTo>
                    <a:lnTo>
                      <a:pt x="3675" y="1165"/>
                    </a:lnTo>
                    <a:lnTo>
                      <a:pt x="3675" y="995"/>
                    </a:lnTo>
                    <a:close/>
                    <a:moveTo>
                      <a:pt x="5855" y="990"/>
                    </a:moveTo>
                    <a:lnTo>
                      <a:pt x="5852" y="990"/>
                    </a:lnTo>
                    <a:lnTo>
                      <a:pt x="5852" y="992"/>
                    </a:lnTo>
                    <a:lnTo>
                      <a:pt x="5852" y="1026"/>
                    </a:lnTo>
                    <a:lnTo>
                      <a:pt x="5852" y="1026"/>
                    </a:lnTo>
                    <a:lnTo>
                      <a:pt x="5852" y="1023"/>
                    </a:lnTo>
                    <a:lnTo>
                      <a:pt x="5855" y="1023"/>
                    </a:lnTo>
                    <a:lnTo>
                      <a:pt x="5855" y="990"/>
                    </a:lnTo>
                    <a:close/>
                    <a:moveTo>
                      <a:pt x="6245" y="938"/>
                    </a:moveTo>
                    <a:lnTo>
                      <a:pt x="6243" y="938"/>
                    </a:lnTo>
                    <a:lnTo>
                      <a:pt x="6243" y="938"/>
                    </a:lnTo>
                    <a:lnTo>
                      <a:pt x="6243" y="1113"/>
                    </a:lnTo>
                    <a:lnTo>
                      <a:pt x="6245" y="1113"/>
                    </a:lnTo>
                    <a:lnTo>
                      <a:pt x="6245" y="1111"/>
                    </a:lnTo>
                    <a:lnTo>
                      <a:pt x="6245" y="1111"/>
                    </a:lnTo>
                    <a:lnTo>
                      <a:pt x="6245" y="938"/>
                    </a:lnTo>
                    <a:close/>
                    <a:moveTo>
                      <a:pt x="3750" y="929"/>
                    </a:moveTo>
                    <a:lnTo>
                      <a:pt x="3748" y="929"/>
                    </a:lnTo>
                    <a:lnTo>
                      <a:pt x="3748" y="931"/>
                    </a:lnTo>
                    <a:lnTo>
                      <a:pt x="3748" y="936"/>
                    </a:lnTo>
                    <a:lnTo>
                      <a:pt x="3750" y="936"/>
                    </a:lnTo>
                    <a:lnTo>
                      <a:pt x="3750" y="929"/>
                    </a:lnTo>
                    <a:close/>
                    <a:moveTo>
                      <a:pt x="6295" y="879"/>
                    </a:moveTo>
                    <a:lnTo>
                      <a:pt x="6292" y="879"/>
                    </a:lnTo>
                    <a:lnTo>
                      <a:pt x="6292" y="879"/>
                    </a:lnTo>
                    <a:lnTo>
                      <a:pt x="6292" y="881"/>
                    </a:lnTo>
                    <a:lnTo>
                      <a:pt x="6292" y="888"/>
                    </a:lnTo>
                    <a:lnTo>
                      <a:pt x="6292" y="888"/>
                    </a:lnTo>
                    <a:lnTo>
                      <a:pt x="6292" y="886"/>
                    </a:lnTo>
                    <a:lnTo>
                      <a:pt x="6295" y="886"/>
                    </a:lnTo>
                    <a:lnTo>
                      <a:pt x="6295" y="879"/>
                    </a:lnTo>
                    <a:close/>
                    <a:moveTo>
                      <a:pt x="6302" y="850"/>
                    </a:moveTo>
                    <a:lnTo>
                      <a:pt x="6302" y="850"/>
                    </a:lnTo>
                    <a:lnTo>
                      <a:pt x="6302" y="853"/>
                    </a:lnTo>
                    <a:lnTo>
                      <a:pt x="6302" y="872"/>
                    </a:lnTo>
                    <a:lnTo>
                      <a:pt x="6302" y="872"/>
                    </a:lnTo>
                    <a:lnTo>
                      <a:pt x="6302" y="872"/>
                    </a:lnTo>
                    <a:lnTo>
                      <a:pt x="6302" y="872"/>
                    </a:lnTo>
                    <a:lnTo>
                      <a:pt x="6302" y="850"/>
                    </a:lnTo>
                    <a:close/>
                    <a:moveTo>
                      <a:pt x="3006" y="765"/>
                    </a:moveTo>
                    <a:lnTo>
                      <a:pt x="3003" y="765"/>
                    </a:lnTo>
                    <a:lnTo>
                      <a:pt x="3003" y="765"/>
                    </a:lnTo>
                    <a:lnTo>
                      <a:pt x="3003" y="921"/>
                    </a:lnTo>
                    <a:lnTo>
                      <a:pt x="3006" y="921"/>
                    </a:lnTo>
                    <a:lnTo>
                      <a:pt x="3006" y="765"/>
                    </a:lnTo>
                    <a:close/>
                    <a:moveTo>
                      <a:pt x="913" y="753"/>
                    </a:moveTo>
                    <a:lnTo>
                      <a:pt x="913" y="753"/>
                    </a:lnTo>
                    <a:lnTo>
                      <a:pt x="913" y="756"/>
                    </a:lnTo>
                    <a:lnTo>
                      <a:pt x="913" y="770"/>
                    </a:lnTo>
                    <a:lnTo>
                      <a:pt x="913" y="770"/>
                    </a:lnTo>
                    <a:lnTo>
                      <a:pt x="913" y="753"/>
                    </a:lnTo>
                    <a:close/>
                    <a:moveTo>
                      <a:pt x="5037" y="734"/>
                    </a:moveTo>
                    <a:lnTo>
                      <a:pt x="5034" y="734"/>
                    </a:lnTo>
                    <a:lnTo>
                      <a:pt x="5034" y="734"/>
                    </a:lnTo>
                    <a:lnTo>
                      <a:pt x="5034" y="914"/>
                    </a:lnTo>
                    <a:lnTo>
                      <a:pt x="5037" y="914"/>
                    </a:lnTo>
                    <a:lnTo>
                      <a:pt x="5037" y="734"/>
                    </a:lnTo>
                    <a:close/>
                    <a:moveTo>
                      <a:pt x="3043" y="659"/>
                    </a:moveTo>
                    <a:lnTo>
                      <a:pt x="3041" y="659"/>
                    </a:lnTo>
                    <a:lnTo>
                      <a:pt x="3041" y="661"/>
                    </a:lnTo>
                    <a:lnTo>
                      <a:pt x="3041" y="727"/>
                    </a:lnTo>
                    <a:lnTo>
                      <a:pt x="3043" y="727"/>
                    </a:lnTo>
                    <a:lnTo>
                      <a:pt x="3043" y="725"/>
                    </a:lnTo>
                    <a:lnTo>
                      <a:pt x="3043" y="725"/>
                    </a:lnTo>
                    <a:lnTo>
                      <a:pt x="3043" y="659"/>
                    </a:lnTo>
                    <a:close/>
                    <a:moveTo>
                      <a:pt x="3" y="618"/>
                    </a:moveTo>
                    <a:lnTo>
                      <a:pt x="0" y="618"/>
                    </a:lnTo>
                    <a:lnTo>
                      <a:pt x="0" y="621"/>
                    </a:lnTo>
                    <a:lnTo>
                      <a:pt x="0" y="1395"/>
                    </a:lnTo>
                    <a:lnTo>
                      <a:pt x="3" y="1395"/>
                    </a:lnTo>
                    <a:lnTo>
                      <a:pt x="3" y="618"/>
                    </a:lnTo>
                    <a:close/>
                    <a:moveTo>
                      <a:pt x="5157" y="611"/>
                    </a:moveTo>
                    <a:lnTo>
                      <a:pt x="5157" y="611"/>
                    </a:lnTo>
                    <a:lnTo>
                      <a:pt x="5157" y="614"/>
                    </a:lnTo>
                    <a:lnTo>
                      <a:pt x="5157" y="673"/>
                    </a:lnTo>
                    <a:lnTo>
                      <a:pt x="5157" y="673"/>
                    </a:lnTo>
                    <a:lnTo>
                      <a:pt x="5157" y="611"/>
                    </a:lnTo>
                    <a:close/>
                    <a:moveTo>
                      <a:pt x="3188" y="583"/>
                    </a:moveTo>
                    <a:lnTo>
                      <a:pt x="3185" y="583"/>
                    </a:lnTo>
                    <a:lnTo>
                      <a:pt x="3185" y="583"/>
                    </a:lnTo>
                    <a:lnTo>
                      <a:pt x="3185" y="585"/>
                    </a:lnTo>
                    <a:lnTo>
                      <a:pt x="3185" y="599"/>
                    </a:lnTo>
                    <a:lnTo>
                      <a:pt x="3188" y="599"/>
                    </a:lnTo>
                    <a:lnTo>
                      <a:pt x="3188" y="583"/>
                    </a:lnTo>
                    <a:close/>
                    <a:moveTo>
                      <a:pt x="208" y="550"/>
                    </a:moveTo>
                    <a:lnTo>
                      <a:pt x="206" y="550"/>
                    </a:lnTo>
                    <a:lnTo>
                      <a:pt x="206" y="550"/>
                    </a:lnTo>
                    <a:lnTo>
                      <a:pt x="206" y="559"/>
                    </a:lnTo>
                    <a:lnTo>
                      <a:pt x="208" y="559"/>
                    </a:lnTo>
                    <a:lnTo>
                      <a:pt x="208" y="550"/>
                    </a:lnTo>
                    <a:close/>
                    <a:moveTo>
                      <a:pt x="6931" y="510"/>
                    </a:moveTo>
                    <a:lnTo>
                      <a:pt x="6928" y="510"/>
                    </a:lnTo>
                    <a:lnTo>
                      <a:pt x="6928" y="512"/>
                    </a:lnTo>
                    <a:lnTo>
                      <a:pt x="6928" y="1035"/>
                    </a:lnTo>
                    <a:lnTo>
                      <a:pt x="6931" y="1035"/>
                    </a:lnTo>
                    <a:lnTo>
                      <a:pt x="6931" y="510"/>
                    </a:lnTo>
                    <a:close/>
                    <a:moveTo>
                      <a:pt x="4098" y="505"/>
                    </a:moveTo>
                    <a:lnTo>
                      <a:pt x="4098" y="505"/>
                    </a:lnTo>
                    <a:lnTo>
                      <a:pt x="4096" y="507"/>
                    </a:lnTo>
                    <a:lnTo>
                      <a:pt x="4079" y="531"/>
                    </a:lnTo>
                    <a:lnTo>
                      <a:pt x="4079" y="531"/>
                    </a:lnTo>
                    <a:lnTo>
                      <a:pt x="4098" y="505"/>
                    </a:lnTo>
                    <a:close/>
                    <a:moveTo>
                      <a:pt x="3204" y="502"/>
                    </a:moveTo>
                    <a:lnTo>
                      <a:pt x="3204" y="502"/>
                    </a:lnTo>
                    <a:lnTo>
                      <a:pt x="3204" y="502"/>
                    </a:lnTo>
                    <a:lnTo>
                      <a:pt x="3204" y="505"/>
                    </a:lnTo>
                    <a:lnTo>
                      <a:pt x="3204" y="566"/>
                    </a:lnTo>
                    <a:lnTo>
                      <a:pt x="3204" y="566"/>
                    </a:lnTo>
                    <a:lnTo>
                      <a:pt x="3204" y="564"/>
                    </a:lnTo>
                    <a:lnTo>
                      <a:pt x="3204" y="564"/>
                    </a:lnTo>
                    <a:lnTo>
                      <a:pt x="3204" y="502"/>
                    </a:lnTo>
                    <a:close/>
                    <a:moveTo>
                      <a:pt x="3942" y="455"/>
                    </a:moveTo>
                    <a:lnTo>
                      <a:pt x="3940" y="455"/>
                    </a:lnTo>
                    <a:lnTo>
                      <a:pt x="3940" y="455"/>
                    </a:lnTo>
                    <a:lnTo>
                      <a:pt x="3940" y="457"/>
                    </a:lnTo>
                    <a:lnTo>
                      <a:pt x="3940" y="493"/>
                    </a:lnTo>
                    <a:lnTo>
                      <a:pt x="3857" y="644"/>
                    </a:lnTo>
                    <a:lnTo>
                      <a:pt x="3857" y="869"/>
                    </a:lnTo>
                    <a:lnTo>
                      <a:pt x="3859" y="869"/>
                    </a:lnTo>
                    <a:lnTo>
                      <a:pt x="3859" y="642"/>
                    </a:lnTo>
                    <a:lnTo>
                      <a:pt x="3942" y="491"/>
                    </a:lnTo>
                    <a:lnTo>
                      <a:pt x="3942" y="455"/>
                    </a:lnTo>
                    <a:close/>
                    <a:moveTo>
                      <a:pt x="3235" y="436"/>
                    </a:moveTo>
                    <a:lnTo>
                      <a:pt x="3233" y="436"/>
                    </a:lnTo>
                    <a:lnTo>
                      <a:pt x="3233" y="436"/>
                    </a:lnTo>
                    <a:lnTo>
                      <a:pt x="3233" y="474"/>
                    </a:lnTo>
                    <a:lnTo>
                      <a:pt x="3233" y="474"/>
                    </a:lnTo>
                    <a:lnTo>
                      <a:pt x="3233" y="472"/>
                    </a:lnTo>
                    <a:lnTo>
                      <a:pt x="3235" y="472"/>
                    </a:lnTo>
                    <a:lnTo>
                      <a:pt x="3235" y="436"/>
                    </a:lnTo>
                    <a:close/>
                    <a:moveTo>
                      <a:pt x="3947" y="391"/>
                    </a:moveTo>
                    <a:lnTo>
                      <a:pt x="3947" y="391"/>
                    </a:lnTo>
                    <a:lnTo>
                      <a:pt x="3947" y="391"/>
                    </a:lnTo>
                    <a:lnTo>
                      <a:pt x="3947" y="393"/>
                    </a:lnTo>
                    <a:lnTo>
                      <a:pt x="3947" y="450"/>
                    </a:lnTo>
                    <a:lnTo>
                      <a:pt x="3947" y="450"/>
                    </a:lnTo>
                    <a:lnTo>
                      <a:pt x="3947" y="448"/>
                    </a:lnTo>
                    <a:lnTo>
                      <a:pt x="3947" y="448"/>
                    </a:lnTo>
                    <a:lnTo>
                      <a:pt x="3947" y="391"/>
                    </a:lnTo>
                    <a:close/>
                    <a:moveTo>
                      <a:pt x="1715" y="370"/>
                    </a:moveTo>
                    <a:lnTo>
                      <a:pt x="1712" y="370"/>
                    </a:lnTo>
                    <a:lnTo>
                      <a:pt x="1712" y="372"/>
                    </a:lnTo>
                    <a:lnTo>
                      <a:pt x="1712" y="1073"/>
                    </a:lnTo>
                    <a:lnTo>
                      <a:pt x="1715" y="1073"/>
                    </a:lnTo>
                    <a:lnTo>
                      <a:pt x="1715" y="370"/>
                    </a:lnTo>
                    <a:close/>
                    <a:moveTo>
                      <a:pt x="3956" y="330"/>
                    </a:moveTo>
                    <a:lnTo>
                      <a:pt x="3954" y="330"/>
                    </a:lnTo>
                    <a:lnTo>
                      <a:pt x="3954" y="330"/>
                    </a:lnTo>
                    <a:lnTo>
                      <a:pt x="3954" y="384"/>
                    </a:lnTo>
                    <a:lnTo>
                      <a:pt x="3954" y="384"/>
                    </a:lnTo>
                    <a:lnTo>
                      <a:pt x="3954" y="384"/>
                    </a:lnTo>
                    <a:lnTo>
                      <a:pt x="3956" y="384"/>
                    </a:lnTo>
                    <a:lnTo>
                      <a:pt x="3956" y="330"/>
                    </a:lnTo>
                    <a:close/>
                    <a:moveTo>
                      <a:pt x="4609" y="233"/>
                    </a:moveTo>
                    <a:lnTo>
                      <a:pt x="4606" y="233"/>
                    </a:lnTo>
                    <a:lnTo>
                      <a:pt x="4606" y="235"/>
                    </a:lnTo>
                    <a:lnTo>
                      <a:pt x="4550" y="448"/>
                    </a:lnTo>
                    <a:lnTo>
                      <a:pt x="4550" y="448"/>
                    </a:lnTo>
                    <a:lnTo>
                      <a:pt x="4609" y="233"/>
                    </a:lnTo>
                    <a:close/>
                    <a:moveTo>
                      <a:pt x="4708" y="173"/>
                    </a:moveTo>
                    <a:lnTo>
                      <a:pt x="4706" y="173"/>
                    </a:lnTo>
                    <a:lnTo>
                      <a:pt x="4706" y="173"/>
                    </a:lnTo>
                    <a:lnTo>
                      <a:pt x="4708" y="173"/>
                    </a:lnTo>
                    <a:lnTo>
                      <a:pt x="4708" y="173"/>
                    </a:lnTo>
                    <a:close/>
                    <a:moveTo>
                      <a:pt x="4758" y="0"/>
                    </a:moveTo>
                    <a:lnTo>
                      <a:pt x="4755" y="0"/>
                    </a:lnTo>
                    <a:lnTo>
                      <a:pt x="4755" y="3"/>
                    </a:lnTo>
                    <a:lnTo>
                      <a:pt x="4755" y="126"/>
                    </a:lnTo>
                    <a:lnTo>
                      <a:pt x="4758" y="126"/>
                    </a:lnTo>
                    <a:lnTo>
                      <a:pt x="4758" y="124"/>
                    </a:lnTo>
                    <a:lnTo>
                      <a:pt x="4758" y="124"/>
                    </a:lnTo>
                    <a:lnTo>
                      <a:pt x="4758" y="0"/>
                    </a:lnTo>
                    <a:close/>
                  </a:path>
                </a:pathLst>
              </a:custGeom>
              <a:solidFill>
                <a:srgbClr val="E4E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6" name="Freeform 81"/>
              <p:cNvSpPr>
                <a:spLocks noEditPoints="1"/>
              </p:cNvSpPr>
              <p:nvPr/>
            </p:nvSpPr>
            <p:spPr bwMode="auto">
              <a:xfrm>
                <a:off x="82" y="1719"/>
                <a:ext cx="6931" cy="1395"/>
              </a:xfrm>
              <a:custGeom>
                <a:avLst/>
                <a:gdLst>
                  <a:gd name="T0" fmla="*/ 3613 w 6931"/>
                  <a:gd name="T1" fmla="*/ 1258 h 1395"/>
                  <a:gd name="T2" fmla="*/ 5734 w 6931"/>
                  <a:gd name="T3" fmla="*/ 1210 h 1395"/>
                  <a:gd name="T4" fmla="*/ 5737 w 6931"/>
                  <a:gd name="T5" fmla="*/ 1267 h 1395"/>
                  <a:gd name="T6" fmla="*/ 1592 w 6931"/>
                  <a:gd name="T7" fmla="*/ 1135 h 1395"/>
                  <a:gd name="T8" fmla="*/ 1594 w 6931"/>
                  <a:gd name="T9" fmla="*/ 1135 h 1395"/>
                  <a:gd name="T10" fmla="*/ 5760 w 6931"/>
                  <a:gd name="T11" fmla="*/ 1132 h 1395"/>
                  <a:gd name="T12" fmla="*/ 5760 w 6931"/>
                  <a:gd name="T13" fmla="*/ 1184 h 1395"/>
                  <a:gd name="T14" fmla="*/ 6226 w 6931"/>
                  <a:gd name="T15" fmla="*/ 1130 h 1395"/>
                  <a:gd name="T16" fmla="*/ 6228 w 6931"/>
                  <a:gd name="T17" fmla="*/ 1130 h 1395"/>
                  <a:gd name="T18" fmla="*/ 1367 w 6931"/>
                  <a:gd name="T19" fmla="*/ 1111 h 1395"/>
                  <a:gd name="T20" fmla="*/ 1369 w 6931"/>
                  <a:gd name="T21" fmla="*/ 1085 h 1395"/>
                  <a:gd name="T22" fmla="*/ 2764 w 6931"/>
                  <a:gd name="T23" fmla="*/ 1066 h 1395"/>
                  <a:gd name="T24" fmla="*/ 5836 w 6931"/>
                  <a:gd name="T25" fmla="*/ 1042 h 1395"/>
                  <a:gd name="T26" fmla="*/ 5834 w 6931"/>
                  <a:gd name="T27" fmla="*/ 1071 h 1395"/>
                  <a:gd name="T28" fmla="*/ 2781 w 6931"/>
                  <a:gd name="T29" fmla="*/ 1014 h 1395"/>
                  <a:gd name="T30" fmla="*/ 2781 w 6931"/>
                  <a:gd name="T31" fmla="*/ 1045 h 1395"/>
                  <a:gd name="T32" fmla="*/ 3675 w 6931"/>
                  <a:gd name="T33" fmla="*/ 995 h 1395"/>
                  <a:gd name="T34" fmla="*/ 3675 w 6931"/>
                  <a:gd name="T35" fmla="*/ 995 h 1395"/>
                  <a:gd name="T36" fmla="*/ 5852 w 6931"/>
                  <a:gd name="T37" fmla="*/ 1026 h 1395"/>
                  <a:gd name="T38" fmla="*/ 5855 w 6931"/>
                  <a:gd name="T39" fmla="*/ 990 h 1395"/>
                  <a:gd name="T40" fmla="*/ 6243 w 6931"/>
                  <a:gd name="T41" fmla="*/ 1113 h 1395"/>
                  <a:gd name="T42" fmla="*/ 6245 w 6931"/>
                  <a:gd name="T43" fmla="*/ 938 h 1395"/>
                  <a:gd name="T44" fmla="*/ 3748 w 6931"/>
                  <a:gd name="T45" fmla="*/ 936 h 1395"/>
                  <a:gd name="T46" fmla="*/ 6292 w 6931"/>
                  <a:gd name="T47" fmla="*/ 879 h 1395"/>
                  <a:gd name="T48" fmla="*/ 6292 w 6931"/>
                  <a:gd name="T49" fmla="*/ 888 h 1395"/>
                  <a:gd name="T50" fmla="*/ 6302 w 6931"/>
                  <a:gd name="T51" fmla="*/ 850 h 1395"/>
                  <a:gd name="T52" fmla="*/ 6302 w 6931"/>
                  <a:gd name="T53" fmla="*/ 872 h 1395"/>
                  <a:gd name="T54" fmla="*/ 3006 w 6931"/>
                  <a:gd name="T55" fmla="*/ 765 h 1395"/>
                  <a:gd name="T56" fmla="*/ 3006 w 6931"/>
                  <a:gd name="T57" fmla="*/ 921 h 1395"/>
                  <a:gd name="T58" fmla="*/ 913 w 6931"/>
                  <a:gd name="T59" fmla="*/ 756 h 1395"/>
                  <a:gd name="T60" fmla="*/ 5037 w 6931"/>
                  <a:gd name="T61" fmla="*/ 734 h 1395"/>
                  <a:gd name="T62" fmla="*/ 5037 w 6931"/>
                  <a:gd name="T63" fmla="*/ 914 h 1395"/>
                  <a:gd name="T64" fmla="*/ 3041 w 6931"/>
                  <a:gd name="T65" fmla="*/ 661 h 1395"/>
                  <a:gd name="T66" fmla="*/ 3043 w 6931"/>
                  <a:gd name="T67" fmla="*/ 725 h 1395"/>
                  <a:gd name="T68" fmla="*/ 0 w 6931"/>
                  <a:gd name="T69" fmla="*/ 621 h 1395"/>
                  <a:gd name="T70" fmla="*/ 5157 w 6931"/>
                  <a:gd name="T71" fmla="*/ 611 h 1395"/>
                  <a:gd name="T72" fmla="*/ 5157 w 6931"/>
                  <a:gd name="T73" fmla="*/ 673 h 1395"/>
                  <a:gd name="T74" fmla="*/ 3185 w 6931"/>
                  <a:gd name="T75" fmla="*/ 583 h 1395"/>
                  <a:gd name="T76" fmla="*/ 3188 w 6931"/>
                  <a:gd name="T77" fmla="*/ 583 h 1395"/>
                  <a:gd name="T78" fmla="*/ 206 w 6931"/>
                  <a:gd name="T79" fmla="*/ 559 h 1395"/>
                  <a:gd name="T80" fmla="*/ 6928 w 6931"/>
                  <a:gd name="T81" fmla="*/ 510 h 1395"/>
                  <a:gd name="T82" fmla="*/ 6931 w 6931"/>
                  <a:gd name="T83" fmla="*/ 510 h 1395"/>
                  <a:gd name="T84" fmla="*/ 4079 w 6931"/>
                  <a:gd name="T85" fmla="*/ 531 h 1395"/>
                  <a:gd name="T86" fmla="*/ 3204 w 6931"/>
                  <a:gd name="T87" fmla="*/ 502 h 1395"/>
                  <a:gd name="T88" fmla="*/ 3204 w 6931"/>
                  <a:gd name="T89" fmla="*/ 566 h 1395"/>
                  <a:gd name="T90" fmla="*/ 3942 w 6931"/>
                  <a:gd name="T91" fmla="*/ 455 h 1395"/>
                  <a:gd name="T92" fmla="*/ 3940 w 6931"/>
                  <a:gd name="T93" fmla="*/ 493 h 1395"/>
                  <a:gd name="T94" fmla="*/ 3859 w 6931"/>
                  <a:gd name="T95" fmla="*/ 642 h 1395"/>
                  <a:gd name="T96" fmla="*/ 3233 w 6931"/>
                  <a:gd name="T97" fmla="*/ 436 h 1395"/>
                  <a:gd name="T98" fmla="*/ 3233 w 6931"/>
                  <a:gd name="T99" fmla="*/ 472 h 1395"/>
                  <a:gd name="T100" fmla="*/ 3947 w 6931"/>
                  <a:gd name="T101" fmla="*/ 391 h 1395"/>
                  <a:gd name="T102" fmla="*/ 3947 w 6931"/>
                  <a:gd name="T103" fmla="*/ 450 h 1395"/>
                  <a:gd name="T104" fmla="*/ 1715 w 6931"/>
                  <a:gd name="T105" fmla="*/ 370 h 1395"/>
                  <a:gd name="T106" fmla="*/ 1715 w 6931"/>
                  <a:gd name="T107" fmla="*/ 1073 h 1395"/>
                  <a:gd name="T108" fmla="*/ 3954 w 6931"/>
                  <a:gd name="T109" fmla="*/ 330 h 1395"/>
                  <a:gd name="T110" fmla="*/ 3956 w 6931"/>
                  <a:gd name="T111" fmla="*/ 384 h 1395"/>
                  <a:gd name="T112" fmla="*/ 4606 w 6931"/>
                  <a:gd name="T113" fmla="*/ 235 h 1395"/>
                  <a:gd name="T114" fmla="*/ 4708 w 6931"/>
                  <a:gd name="T115" fmla="*/ 173 h 1395"/>
                  <a:gd name="T116" fmla="*/ 4708 w 6931"/>
                  <a:gd name="T117" fmla="*/ 173 h 1395"/>
                  <a:gd name="T118" fmla="*/ 4755 w 6931"/>
                  <a:gd name="T119" fmla="*/ 126 h 1395"/>
                  <a:gd name="T120" fmla="*/ 4758 w 6931"/>
                  <a:gd name="T121" fmla="*/ 0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95">
                    <a:moveTo>
                      <a:pt x="3616" y="1225"/>
                    </a:moveTo>
                    <a:lnTo>
                      <a:pt x="3613" y="1225"/>
                    </a:lnTo>
                    <a:lnTo>
                      <a:pt x="3613" y="1225"/>
                    </a:lnTo>
                    <a:lnTo>
                      <a:pt x="3613" y="1258"/>
                    </a:lnTo>
                    <a:lnTo>
                      <a:pt x="3616" y="1258"/>
                    </a:lnTo>
                    <a:lnTo>
                      <a:pt x="3616" y="1225"/>
                    </a:lnTo>
                    <a:moveTo>
                      <a:pt x="5737" y="1210"/>
                    </a:moveTo>
                    <a:lnTo>
                      <a:pt x="5734" y="1210"/>
                    </a:lnTo>
                    <a:lnTo>
                      <a:pt x="5734" y="1210"/>
                    </a:lnTo>
                    <a:lnTo>
                      <a:pt x="5734" y="1213"/>
                    </a:lnTo>
                    <a:lnTo>
                      <a:pt x="5734" y="1267"/>
                    </a:lnTo>
                    <a:lnTo>
                      <a:pt x="5737" y="1267"/>
                    </a:lnTo>
                    <a:lnTo>
                      <a:pt x="5737" y="1210"/>
                    </a:lnTo>
                    <a:moveTo>
                      <a:pt x="1594" y="1132"/>
                    </a:moveTo>
                    <a:lnTo>
                      <a:pt x="1592" y="1132"/>
                    </a:lnTo>
                    <a:lnTo>
                      <a:pt x="1592" y="1135"/>
                    </a:lnTo>
                    <a:lnTo>
                      <a:pt x="1592" y="1137"/>
                    </a:lnTo>
                    <a:lnTo>
                      <a:pt x="1594" y="1137"/>
                    </a:lnTo>
                    <a:lnTo>
                      <a:pt x="1594" y="1135"/>
                    </a:lnTo>
                    <a:lnTo>
                      <a:pt x="1594" y="1135"/>
                    </a:lnTo>
                    <a:lnTo>
                      <a:pt x="1594" y="1132"/>
                    </a:lnTo>
                    <a:moveTo>
                      <a:pt x="5760" y="1130"/>
                    </a:moveTo>
                    <a:lnTo>
                      <a:pt x="5760" y="1130"/>
                    </a:lnTo>
                    <a:lnTo>
                      <a:pt x="5760" y="1132"/>
                    </a:lnTo>
                    <a:lnTo>
                      <a:pt x="5760" y="1187"/>
                    </a:lnTo>
                    <a:lnTo>
                      <a:pt x="5760" y="1187"/>
                    </a:lnTo>
                    <a:lnTo>
                      <a:pt x="5760" y="1184"/>
                    </a:lnTo>
                    <a:lnTo>
                      <a:pt x="5760" y="1184"/>
                    </a:lnTo>
                    <a:lnTo>
                      <a:pt x="5760" y="1130"/>
                    </a:lnTo>
                    <a:moveTo>
                      <a:pt x="6228" y="1130"/>
                    </a:moveTo>
                    <a:lnTo>
                      <a:pt x="6226" y="1130"/>
                    </a:lnTo>
                    <a:lnTo>
                      <a:pt x="6226" y="1130"/>
                    </a:lnTo>
                    <a:lnTo>
                      <a:pt x="6226" y="1132"/>
                    </a:lnTo>
                    <a:lnTo>
                      <a:pt x="6226" y="1151"/>
                    </a:lnTo>
                    <a:lnTo>
                      <a:pt x="6228" y="1151"/>
                    </a:lnTo>
                    <a:lnTo>
                      <a:pt x="6228" y="1130"/>
                    </a:lnTo>
                    <a:moveTo>
                      <a:pt x="1369" y="1085"/>
                    </a:moveTo>
                    <a:lnTo>
                      <a:pt x="1367" y="1085"/>
                    </a:lnTo>
                    <a:lnTo>
                      <a:pt x="1367" y="1087"/>
                    </a:lnTo>
                    <a:lnTo>
                      <a:pt x="1367" y="1111"/>
                    </a:lnTo>
                    <a:lnTo>
                      <a:pt x="1369" y="1111"/>
                    </a:lnTo>
                    <a:lnTo>
                      <a:pt x="1369" y="1109"/>
                    </a:lnTo>
                    <a:lnTo>
                      <a:pt x="1369" y="1109"/>
                    </a:lnTo>
                    <a:lnTo>
                      <a:pt x="1369" y="1085"/>
                    </a:lnTo>
                    <a:moveTo>
                      <a:pt x="2764" y="1064"/>
                    </a:moveTo>
                    <a:lnTo>
                      <a:pt x="2764" y="1064"/>
                    </a:lnTo>
                    <a:lnTo>
                      <a:pt x="2764" y="1064"/>
                    </a:lnTo>
                    <a:lnTo>
                      <a:pt x="2764" y="1066"/>
                    </a:lnTo>
                    <a:lnTo>
                      <a:pt x="2764" y="1182"/>
                    </a:lnTo>
                    <a:lnTo>
                      <a:pt x="2764" y="1182"/>
                    </a:lnTo>
                    <a:lnTo>
                      <a:pt x="2764" y="1064"/>
                    </a:lnTo>
                    <a:moveTo>
                      <a:pt x="5836" y="1042"/>
                    </a:moveTo>
                    <a:lnTo>
                      <a:pt x="5836" y="1042"/>
                    </a:lnTo>
                    <a:lnTo>
                      <a:pt x="5834" y="1042"/>
                    </a:lnTo>
                    <a:lnTo>
                      <a:pt x="5834" y="1045"/>
                    </a:lnTo>
                    <a:lnTo>
                      <a:pt x="5834" y="1071"/>
                    </a:lnTo>
                    <a:lnTo>
                      <a:pt x="5836" y="1071"/>
                    </a:lnTo>
                    <a:lnTo>
                      <a:pt x="5836" y="1042"/>
                    </a:lnTo>
                    <a:moveTo>
                      <a:pt x="2783" y="1014"/>
                    </a:moveTo>
                    <a:lnTo>
                      <a:pt x="2781" y="1014"/>
                    </a:lnTo>
                    <a:lnTo>
                      <a:pt x="2781" y="1016"/>
                    </a:lnTo>
                    <a:lnTo>
                      <a:pt x="2781" y="1047"/>
                    </a:lnTo>
                    <a:lnTo>
                      <a:pt x="2781" y="1047"/>
                    </a:lnTo>
                    <a:lnTo>
                      <a:pt x="2781" y="1045"/>
                    </a:lnTo>
                    <a:lnTo>
                      <a:pt x="2783" y="1045"/>
                    </a:lnTo>
                    <a:lnTo>
                      <a:pt x="2783" y="1014"/>
                    </a:lnTo>
                    <a:moveTo>
                      <a:pt x="3675" y="995"/>
                    </a:moveTo>
                    <a:lnTo>
                      <a:pt x="3675" y="995"/>
                    </a:lnTo>
                    <a:lnTo>
                      <a:pt x="3675" y="997"/>
                    </a:lnTo>
                    <a:lnTo>
                      <a:pt x="3675" y="1165"/>
                    </a:lnTo>
                    <a:lnTo>
                      <a:pt x="3675" y="1165"/>
                    </a:lnTo>
                    <a:lnTo>
                      <a:pt x="3675" y="995"/>
                    </a:lnTo>
                    <a:moveTo>
                      <a:pt x="5855" y="990"/>
                    </a:moveTo>
                    <a:lnTo>
                      <a:pt x="5852" y="990"/>
                    </a:lnTo>
                    <a:lnTo>
                      <a:pt x="5852" y="992"/>
                    </a:lnTo>
                    <a:lnTo>
                      <a:pt x="5852" y="1026"/>
                    </a:lnTo>
                    <a:lnTo>
                      <a:pt x="5852" y="1026"/>
                    </a:lnTo>
                    <a:lnTo>
                      <a:pt x="5852" y="1023"/>
                    </a:lnTo>
                    <a:lnTo>
                      <a:pt x="5855" y="1023"/>
                    </a:lnTo>
                    <a:lnTo>
                      <a:pt x="5855" y="990"/>
                    </a:lnTo>
                    <a:moveTo>
                      <a:pt x="6245" y="938"/>
                    </a:moveTo>
                    <a:lnTo>
                      <a:pt x="6243" y="938"/>
                    </a:lnTo>
                    <a:lnTo>
                      <a:pt x="6243" y="938"/>
                    </a:lnTo>
                    <a:lnTo>
                      <a:pt x="6243" y="1113"/>
                    </a:lnTo>
                    <a:lnTo>
                      <a:pt x="6245" y="1113"/>
                    </a:lnTo>
                    <a:lnTo>
                      <a:pt x="6245" y="1111"/>
                    </a:lnTo>
                    <a:lnTo>
                      <a:pt x="6245" y="1111"/>
                    </a:lnTo>
                    <a:lnTo>
                      <a:pt x="6245" y="938"/>
                    </a:lnTo>
                    <a:moveTo>
                      <a:pt x="3750" y="929"/>
                    </a:moveTo>
                    <a:lnTo>
                      <a:pt x="3748" y="929"/>
                    </a:lnTo>
                    <a:lnTo>
                      <a:pt x="3748" y="931"/>
                    </a:lnTo>
                    <a:lnTo>
                      <a:pt x="3748" y="936"/>
                    </a:lnTo>
                    <a:lnTo>
                      <a:pt x="3750" y="936"/>
                    </a:lnTo>
                    <a:lnTo>
                      <a:pt x="3750" y="929"/>
                    </a:lnTo>
                    <a:moveTo>
                      <a:pt x="6295" y="879"/>
                    </a:moveTo>
                    <a:lnTo>
                      <a:pt x="6292" y="879"/>
                    </a:lnTo>
                    <a:lnTo>
                      <a:pt x="6292" y="879"/>
                    </a:lnTo>
                    <a:lnTo>
                      <a:pt x="6292" y="881"/>
                    </a:lnTo>
                    <a:lnTo>
                      <a:pt x="6292" y="888"/>
                    </a:lnTo>
                    <a:lnTo>
                      <a:pt x="6292" y="888"/>
                    </a:lnTo>
                    <a:lnTo>
                      <a:pt x="6292" y="886"/>
                    </a:lnTo>
                    <a:lnTo>
                      <a:pt x="6295" y="886"/>
                    </a:lnTo>
                    <a:lnTo>
                      <a:pt x="6295" y="879"/>
                    </a:lnTo>
                    <a:moveTo>
                      <a:pt x="6302" y="850"/>
                    </a:moveTo>
                    <a:lnTo>
                      <a:pt x="6302" y="850"/>
                    </a:lnTo>
                    <a:lnTo>
                      <a:pt x="6302" y="853"/>
                    </a:lnTo>
                    <a:lnTo>
                      <a:pt x="6302" y="872"/>
                    </a:lnTo>
                    <a:lnTo>
                      <a:pt x="6302" y="872"/>
                    </a:lnTo>
                    <a:lnTo>
                      <a:pt x="6302" y="872"/>
                    </a:lnTo>
                    <a:lnTo>
                      <a:pt x="6302" y="872"/>
                    </a:lnTo>
                    <a:lnTo>
                      <a:pt x="6302" y="850"/>
                    </a:lnTo>
                    <a:moveTo>
                      <a:pt x="3006" y="765"/>
                    </a:moveTo>
                    <a:lnTo>
                      <a:pt x="3003" y="765"/>
                    </a:lnTo>
                    <a:lnTo>
                      <a:pt x="3003" y="765"/>
                    </a:lnTo>
                    <a:lnTo>
                      <a:pt x="3003" y="921"/>
                    </a:lnTo>
                    <a:lnTo>
                      <a:pt x="3006" y="921"/>
                    </a:lnTo>
                    <a:lnTo>
                      <a:pt x="3006" y="765"/>
                    </a:lnTo>
                    <a:moveTo>
                      <a:pt x="913" y="753"/>
                    </a:moveTo>
                    <a:lnTo>
                      <a:pt x="913" y="753"/>
                    </a:lnTo>
                    <a:lnTo>
                      <a:pt x="913" y="756"/>
                    </a:lnTo>
                    <a:lnTo>
                      <a:pt x="913" y="770"/>
                    </a:lnTo>
                    <a:lnTo>
                      <a:pt x="913" y="770"/>
                    </a:lnTo>
                    <a:lnTo>
                      <a:pt x="913" y="753"/>
                    </a:lnTo>
                    <a:moveTo>
                      <a:pt x="5037" y="734"/>
                    </a:moveTo>
                    <a:lnTo>
                      <a:pt x="5034" y="734"/>
                    </a:lnTo>
                    <a:lnTo>
                      <a:pt x="5034" y="734"/>
                    </a:lnTo>
                    <a:lnTo>
                      <a:pt x="5034" y="914"/>
                    </a:lnTo>
                    <a:lnTo>
                      <a:pt x="5037" y="914"/>
                    </a:lnTo>
                    <a:lnTo>
                      <a:pt x="5037" y="734"/>
                    </a:lnTo>
                    <a:moveTo>
                      <a:pt x="3043" y="659"/>
                    </a:moveTo>
                    <a:lnTo>
                      <a:pt x="3041" y="659"/>
                    </a:lnTo>
                    <a:lnTo>
                      <a:pt x="3041" y="661"/>
                    </a:lnTo>
                    <a:lnTo>
                      <a:pt x="3041" y="727"/>
                    </a:lnTo>
                    <a:lnTo>
                      <a:pt x="3043" y="727"/>
                    </a:lnTo>
                    <a:lnTo>
                      <a:pt x="3043" y="725"/>
                    </a:lnTo>
                    <a:lnTo>
                      <a:pt x="3043" y="725"/>
                    </a:lnTo>
                    <a:lnTo>
                      <a:pt x="3043" y="659"/>
                    </a:lnTo>
                    <a:moveTo>
                      <a:pt x="3" y="618"/>
                    </a:moveTo>
                    <a:lnTo>
                      <a:pt x="0" y="618"/>
                    </a:lnTo>
                    <a:lnTo>
                      <a:pt x="0" y="621"/>
                    </a:lnTo>
                    <a:lnTo>
                      <a:pt x="0" y="1395"/>
                    </a:lnTo>
                    <a:lnTo>
                      <a:pt x="3" y="1395"/>
                    </a:lnTo>
                    <a:lnTo>
                      <a:pt x="3" y="618"/>
                    </a:lnTo>
                    <a:moveTo>
                      <a:pt x="5157" y="611"/>
                    </a:moveTo>
                    <a:lnTo>
                      <a:pt x="5157" y="611"/>
                    </a:lnTo>
                    <a:lnTo>
                      <a:pt x="5157" y="614"/>
                    </a:lnTo>
                    <a:lnTo>
                      <a:pt x="5157" y="673"/>
                    </a:lnTo>
                    <a:lnTo>
                      <a:pt x="5157" y="673"/>
                    </a:lnTo>
                    <a:lnTo>
                      <a:pt x="5157" y="611"/>
                    </a:lnTo>
                    <a:moveTo>
                      <a:pt x="3188" y="583"/>
                    </a:moveTo>
                    <a:lnTo>
                      <a:pt x="3185" y="583"/>
                    </a:lnTo>
                    <a:lnTo>
                      <a:pt x="3185" y="583"/>
                    </a:lnTo>
                    <a:lnTo>
                      <a:pt x="3185" y="585"/>
                    </a:lnTo>
                    <a:lnTo>
                      <a:pt x="3185" y="599"/>
                    </a:lnTo>
                    <a:lnTo>
                      <a:pt x="3188" y="599"/>
                    </a:lnTo>
                    <a:lnTo>
                      <a:pt x="3188" y="583"/>
                    </a:lnTo>
                    <a:moveTo>
                      <a:pt x="208" y="550"/>
                    </a:moveTo>
                    <a:lnTo>
                      <a:pt x="206" y="550"/>
                    </a:lnTo>
                    <a:lnTo>
                      <a:pt x="206" y="550"/>
                    </a:lnTo>
                    <a:lnTo>
                      <a:pt x="206" y="559"/>
                    </a:lnTo>
                    <a:lnTo>
                      <a:pt x="208" y="559"/>
                    </a:lnTo>
                    <a:lnTo>
                      <a:pt x="208" y="550"/>
                    </a:lnTo>
                    <a:moveTo>
                      <a:pt x="6931" y="510"/>
                    </a:moveTo>
                    <a:lnTo>
                      <a:pt x="6928" y="510"/>
                    </a:lnTo>
                    <a:lnTo>
                      <a:pt x="6928" y="512"/>
                    </a:lnTo>
                    <a:lnTo>
                      <a:pt x="6928" y="1035"/>
                    </a:lnTo>
                    <a:lnTo>
                      <a:pt x="6931" y="1035"/>
                    </a:lnTo>
                    <a:lnTo>
                      <a:pt x="6931" y="510"/>
                    </a:lnTo>
                    <a:moveTo>
                      <a:pt x="4098" y="505"/>
                    </a:moveTo>
                    <a:lnTo>
                      <a:pt x="4098" y="505"/>
                    </a:lnTo>
                    <a:lnTo>
                      <a:pt x="4096" y="507"/>
                    </a:lnTo>
                    <a:lnTo>
                      <a:pt x="4079" y="531"/>
                    </a:lnTo>
                    <a:lnTo>
                      <a:pt x="4079" y="531"/>
                    </a:lnTo>
                    <a:lnTo>
                      <a:pt x="4098" y="505"/>
                    </a:lnTo>
                    <a:moveTo>
                      <a:pt x="3204" y="502"/>
                    </a:moveTo>
                    <a:lnTo>
                      <a:pt x="3204" y="502"/>
                    </a:lnTo>
                    <a:lnTo>
                      <a:pt x="3204" y="502"/>
                    </a:lnTo>
                    <a:lnTo>
                      <a:pt x="3204" y="505"/>
                    </a:lnTo>
                    <a:lnTo>
                      <a:pt x="3204" y="566"/>
                    </a:lnTo>
                    <a:lnTo>
                      <a:pt x="3204" y="566"/>
                    </a:lnTo>
                    <a:lnTo>
                      <a:pt x="3204" y="564"/>
                    </a:lnTo>
                    <a:lnTo>
                      <a:pt x="3204" y="564"/>
                    </a:lnTo>
                    <a:lnTo>
                      <a:pt x="3204" y="502"/>
                    </a:lnTo>
                    <a:moveTo>
                      <a:pt x="3942" y="455"/>
                    </a:moveTo>
                    <a:lnTo>
                      <a:pt x="3940" y="455"/>
                    </a:lnTo>
                    <a:lnTo>
                      <a:pt x="3940" y="455"/>
                    </a:lnTo>
                    <a:lnTo>
                      <a:pt x="3940" y="457"/>
                    </a:lnTo>
                    <a:lnTo>
                      <a:pt x="3940" y="493"/>
                    </a:lnTo>
                    <a:lnTo>
                      <a:pt x="3857" y="644"/>
                    </a:lnTo>
                    <a:lnTo>
                      <a:pt x="3857" y="869"/>
                    </a:lnTo>
                    <a:lnTo>
                      <a:pt x="3859" y="869"/>
                    </a:lnTo>
                    <a:lnTo>
                      <a:pt x="3859" y="642"/>
                    </a:lnTo>
                    <a:lnTo>
                      <a:pt x="3942" y="491"/>
                    </a:lnTo>
                    <a:lnTo>
                      <a:pt x="3942" y="455"/>
                    </a:lnTo>
                    <a:moveTo>
                      <a:pt x="3235" y="436"/>
                    </a:moveTo>
                    <a:lnTo>
                      <a:pt x="3233" y="436"/>
                    </a:lnTo>
                    <a:lnTo>
                      <a:pt x="3233" y="436"/>
                    </a:lnTo>
                    <a:lnTo>
                      <a:pt x="3233" y="474"/>
                    </a:lnTo>
                    <a:lnTo>
                      <a:pt x="3233" y="474"/>
                    </a:lnTo>
                    <a:lnTo>
                      <a:pt x="3233" y="472"/>
                    </a:lnTo>
                    <a:lnTo>
                      <a:pt x="3235" y="472"/>
                    </a:lnTo>
                    <a:lnTo>
                      <a:pt x="3235" y="436"/>
                    </a:lnTo>
                    <a:moveTo>
                      <a:pt x="3947" y="391"/>
                    </a:moveTo>
                    <a:lnTo>
                      <a:pt x="3947" y="391"/>
                    </a:lnTo>
                    <a:lnTo>
                      <a:pt x="3947" y="391"/>
                    </a:lnTo>
                    <a:lnTo>
                      <a:pt x="3947" y="393"/>
                    </a:lnTo>
                    <a:lnTo>
                      <a:pt x="3947" y="450"/>
                    </a:lnTo>
                    <a:lnTo>
                      <a:pt x="3947" y="450"/>
                    </a:lnTo>
                    <a:lnTo>
                      <a:pt x="3947" y="448"/>
                    </a:lnTo>
                    <a:lnTo>
                      <a:pt x="3947" y="448"/>
                    </a:lnTo>
                    <a:lnTo>
                      <a:pt x="3947" y="391"/>
                    </a:lnTo>
                    <a:moveTo>
                      <a:pt x="1715" y="370"/>
                    </a:moveTo>
                    <a:lnTo>
                      <a:pt x="1712" y="370"/>
                    </a:lnTo>
                    <a:lnTo>
                      <a:pt x="1712" y="372"/>
                    </a:lnTo>
                    <a:lnTo>
                      <a:pt x="1712" y="1073"/>
                    </a:lnTo>
                    <a:lnTo>
                      <a:pt x="1715" y="1073"/>
                    </a:lnTo>
                    <a:lnTo>
                      <a:pt x="1715" y="370"/>
                    </a:lnTo>
                    <a:moveTo>
                      <a:pt x="3956" y="330"/>
                    </a:moveTo>
                    <a:lnTo>
                      <a:pt x="3954" y="330"/>
                    </a:lnTo>
                    <a:lnTo>
                      <a:pt x="3954" y="330"/>
                    </a:lnTo>
                    <a:lnTo>
                      <a:pt x="3954" y="384"/>
                    </a:lnTo>
                    <a:lnTo>
                      <a:pt x="3954" y="384"/>
                    </a:lnTo>
                    <a:lnTo>
                      <a:pt x="3954" y="384"/>
                    </a:lnTo>
                    <a:lnTo>
                      <a:pt x="3956" y="384"/>
                    </a:lnTo>
                    <a:lnTo>
                      <a:pt x="3956" y="330"/>
                    </a:lnTo>
                    <a:moveTo>
                      <a:pt x="4609" y="233"/>
                    </a:moveTo>
                    <a:lnTo>
                      <a:pt x="4606" y="233"/>
                    </a:lnTo>
                    <a:lnTo>
                      <a:pt x="4606" y="235"/>
                    </a:lnTo>
                    <a:lnTo>
                      <a:pt x="4550" y="448"/>
                    </a:lnTo>
                    <a:lnTo>
                      <a:pt x="4550" y="448"/>
                    </a:lnTo>
                    <a:lnTo>
                      <a:pt x="4609" y="233"/>
                    </a:lnTo>
                    <a:moveTo>
                      <a:pt x="4708" y="173"/>
                    </a:moveTo>
                    <a:lnTo>
                      <a:pt x="4706" y="173"/>
                    </a:lnTo>
                    <a:lnTo>
                      <a:pt x="4706" y="173"/>
                    </a:lnTo>
                    <a:lnTo>
                      <a:pt x="4708" y="173"/>
                    </a:lnTo>
                    <a:lnTo>
                      <a:pt x="4708" y="173"/>
                    </a:lnTo>
                    <a:moveTo>
                      <a:pt x="4758" y="0"/>
                    </a:moveTo>
                    <a:lnTo>
                      <a:pt x="4755" y="0"/>
                    </a:lnTo>
                    <a:lnTo>
                      <a:pt x="4755" y="3"/>
                    </a:lnTo>
                    <a:lnTo>
                      <a:pt x="4755" y="126"/>
                    </a:lnTo>
                    <a:lnTo>
                      <a:pt x="4758" y="126"/>
                    </a:lnTo>
                    <a:lnTo>
                      <a:pt x="4758" y="124"/>
                    </a:lnTo>
                    <a:lnTo>
                      <a:pt x="4758" y="124"/>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7" name="Freeform 82"/>
              <p:cNvSpPr>
                <a:spLocks noEditPoints="1"/>
              </p:cNvSpPr>
              <p:nvPr/>
            </p:nvSpPr>
            <p:spPr bwMode="auto">
              <a:xfrm>
                <a:off x="85" y="1719"/>
                <a:ext cx="6930" cy="1395"/>
              </a:xfrm>
              <a:custGeom>
                <a:avLst/>
                <a:gdLst>
                  <a:gd name="T0" fmla="*/ 3613 w 6930"/>
                  <a:gd name="T1" fmla="*/ 1258 h 1395"/>
                  <a:gd name="T2" fmla="*/ 5734 w 6930"/>
                  <a:gd name="T3" fmla="*/ 1208 h 1395"/>
                  <a:gd name="T4" fmla="*/ 5736 w 6930"/>
                  <a:gd name="T5" fmla="*/ 1267 h 1395"/>
                  <a:gd name="T6" fmla="*/ 1591 w 6930"/>
                  <a:gd name="T7" fmla="*/ 1132 h 1395"/>
                  <a:gd name="T8" fmla="*/ 1593 w 6930"/>
                  <a:gd name="T9" fmla="*/ 1132 h 1395"/>
                  <a:gd name="T10" fmla="*/ 5757 w 6930"/>
                  <a:gd name="T11" fmla="*/ 1130 h 1395"/>
                  <a:gd name="T12" fmla="*/ 5760 w 6930"/>
                  <a:gd name="T13" fmla="*/ 1182 h 1395"/>
                  <a:gd name="T14" fmla="*/ 6225 w 6930"/>
                  <a:gd name="T15" fmla="*/ 1127 h 1395"/>
                  <a:gd name="T16" fmla="*/ 6225 w 6930"/>
                  <a:gd name="T17" fmla="*/ 1127 h 1395"/>
                  <a:gd name="T18" fmla="*/ 1366 w 6930"/>
                  <a:gd name="T19" fmla="*/ 1109 h 1395"/>
                  <a:gd name="T20" fmla="*/ 1369 w 6930"/>
                  <a:gd name="T21" fmla="*/ 1082 h 1395"/>
                  <a:gd name="T22" fmla="*/ 2761 w 6930"/>
                  <a:gd name="T23" fmla="*/ 1064 h 1395"/>
                  <a:gd name="T24" fmla="*/ 5835 w 6930"/>
                  <a:gd name="T25" fmla="*/ 1040 h 1395"/>
                  <a:gd name="T26" fmla="*/ 5833 w 6930"/>
                  <a:gd name="T27" fmla="*/ 1071 h 1395"/>
                  <a:gd name="T28" fmla="*/ 2780 w 6930"/>
                  <a:gd name="T29" fmla="*/ 1011 h 1395"/>
                  <a:gd name="T30" fmla="*/ 2780 w 6930"/>
                  <a:gd name="T31" fmla="*/ 1045 h 1395"/>
                  <a:gd name="T32" fmla="*/ 3672 w 6930"/>
                  <a:gd name="T33" fmla="*/ 992 h 1395"/>
                  <a:gd name="T34" fmla="*/ 3674 w 6930"/>
                  <a:gd name="T35" fmla="*/ 992 h 1395"/>
                  <a:gd name="T36" fmla="*/ 5852 w 6930"/>
                  <a:gd name="T37" fmla="*/ 1023 h 1395"/>
                  <a:gd name="T38" fmla="*/ 5854 w 6930"/>
                  <a:gd name="T39" fmla="*/ 990 h 1395"/>
                  <a:gd name="T40" fmla="*/ 6242 w 6930"/>
                  <a:gd name="T41" fmla="*/ 1111 h 1395"/>
                  <a:gd name="T42" fmla="*/ 6244 w 6930"/>
                  <a:gd name="T43" fmla="*/ 936 h 1395"/>
                  <a:gd name="T44" fmla="*/ 3747 w 6930"/>
                  <a:gd name="T45" fmla="*/ 936 h 1395"/>
                  <a:gd name="T46" fmla="*/ 6292 w 6930"/>
                  <a:gd name="T47" fmla="*/ 879 h 1395"/>
                  <a:gd name="T48" fmla="*/ 6292 w 6930"/>
                  <a:gd name="T49" fmla="*/ 886 h 1395"/>
                  <a:gd name="T50" fmla="*/ 6301 w 6930"/>
                  <a:gd name="T51" fmla="*/ 850 h 1395"/>
                  <a:gd name="T52" fmla="*/ 6301 w 6930"/>
                  <a:gd name="T53" fmla="*/ 872 h 1395"/>
                  <a:gd name="T54" fmla="*/ 3005 w 6930"/>
                  <a:gd name="T55" fmla="*/ 763 h 1395"/>
                  <a:gd name="T56" fmla="*/ 3003 w 6930"/>
                  <a:gd name="T57" fmla="*/ 921 h 1395"/>
                  <a:gd name="T58" fmla="*/ 910 w 6930"/>
                  <a:gd name="T59" fmla="*/ 753 h 1395"/>
                  <a:gd name="T60" fmla="*/ 912 w 6930"/>
                  <a:gd name="T61" fmla="*/ 753 h 1395"/>
                  <a:gd name="T62" fmla="*/ 5034 w 6930"/>
                  <a:gd name="T63" fmla="*/ 914 h 1395"/>
                  <a:gd name="T64" fmla="*/ 3040 w 6930"/>
                  <a:gd name="T65" fmla="*/ 656 h 1395"/>
                  <a:gd name="T66" fmla="*/ 3040 w 6930"/>
                  <a:gd name="T67" fmla="*/ 723 h 1395"/>
                  <a:gd name="T68" fmla="*/ 0 w 6930"/>
                  <a:gd name="T69" fmla="*/ 616 h 1395"/>
                  <a:gd name="T70" fmla="*/ 0 w 6930"/>
                  <a:gd name="T71" fmla="*/ 616 h 1395"/>
                  <a:gd name="T72" fmla="*/ 5154 w 6930"/>
                  <a:gd name="T73" fmla="*/ 673 h 1395"/>
                  <a:gd name="T74" fmla="*/ 3185 w 6930"/>
                  <a:gd name="T75" fmla="*/ 581 h 1395"/>
                  <a:gd name="T76" fmla="*/ 3187 w 6930"/>
                  <a:gd name="T77" fmla="*/ 599 h 1395"/>
                  <a:gd name="T78" fmla="*/ 205 w 6930"/>
                  <a:gd name="T79" fmla="*/ 550 h 1395"/>
                  <a:gd name="T80" fmla="*/ 6930 w 6930"/>
                  <a:gd name="T81" fmla="*/ 510 h 1395"/>
                  <a:gd name="T82" fmla="*/ 6930 w 6930"/>
                  <a:gd name="T83" fmla="*/ 1035 h 1395"/>
                  <a:gd name="T84" fmla="*/ 4095 w 6930"/>
                  <a:gd name="T85" fmla="*/ 505 h 1395"/>
                  <a:gd name="T86" fmla="*/ 3204 w 6930"/>
                  <a:gd name="T87" fmla="*/ 500 h 1395"/>
                  <a:gd name="T88" fmla="*/ 3201 w 6930"/>
                  <a:gd name="T89" fmla="*/ 564 h 1395"/>
                  <a:gd name="T90" fmla="*/ 3204 w 6930"/>
                  <a:gd name="T91" fmla="*/ 500 h 1395"/>
                  <a:gd name="T92" fmla="*/ 3939 w 6930"/>
                  <a:gd name="T93" fmla="*/ 455 h 1395"/>
                  <a:gd name="T94" fmla="*/ 3859 w 6930"/>
                  <a:gd name="T95" fmla="*/ 869 h 1395"/>
                  <a:gd name="T96" fmla="*/ 3232 w 6930"/>
                  <a:gd name="T97" fmla="*/ 434 h 1395"/>
                  <a:gd name="T98" fmla="*/ 3232 w 6930"/>
                  <a:gd name="T99" fmla="*/ 472 h 1395"/>
                  <a:gd name="T100" fmla="*/ 3946 w 6930"/>
                  <a:gd name="T101" fmla="*/ 391 h 1395"/>
                  <a:gd name="T102" fmla="*/ 3944 w 6930"/>
                  <a:gd name="T103" fmla="*/ 448 h 1395"/>
                  <a:gd name="T104" fmla="*/ 3946 w 6930"/>
                  <a:gd name="T105" fmla="*/ 391 h 1395"/>
                  <a:gd name="T106" fmla="*/ 1712 w 6930"/>
                  <a:gd name="T107" fmla="*/ 1073 h 1395"/>
                  <a:gd name="T108" fmla="*/ 3953 w 6930"/>
                  <a:gd name="T109" fmla="*/ 327 h 1395"/>
                  <a:gd name="T110" fmla="*/ 3953 w 6930"/>
                  <a:gd name="T111" fmla="*/ 382 h 1395"/>
                  <a:gd name="T112" fmla="*/ 4606 w 6930"/>
                  <a:gd name="T113" fmla="*/ 233 h 1395"/>
                  <a:gd name="T114" fmla="*/ 4608 w 6930"/>
                  <a:gd name="T115" fmla="*/ 233 h 1395"/>
                  <a:gd name="T116" fmla="*/ 4705 w 6930"/>
                  <a:gd name="T117" fmla="*/ 173 h 1395"/>
                  <a:gd name="T118" fmla="*/ 4755 w 6930"/>
                  <a:gd name="T119" fmla="*/ 0 h 1395"/>
                  <a:gd name="T120" fmla="*/ 4755 w 6930"/>
                  <a:gd name="T121" fmla="*/ 121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5">
                    <a:moveTo>
                      <a:pt x="3615" y="1222"/>
                    </a:moveTo>
                    <a:lnTo>
                      <a:pt x="3613" y="1222"/>
                    </a:lnTo>
                    <a:lnTo>
                      <a:pt x="3613" y="1225"/>
                    </a:lnTo>
                    <a:lnTo>
                      <a:pt x="3613" y="1258"/>
                    </a:lnTo>
                    <a:lnTo>
                      <a:pt x="3615" y="1258"/>
                    </a:lnTo>
                    <a:lnTo>
                      <a:pt x="3615" y="1222"/>
                    </a:lnTo>
                    <a:close/>
                    <a:moveTo>
                      <a:pt x="5736" y="1208"/>
                    </a:moveTo>
                    <a:lnTo>
                      <a:pt x="5734" y="1208"/>
                    </a:lnTo>
                    <a:lnTo>
                      <a:pt x="5734" y="1208"/>
                    </a:lnTo>
                    <a:lnTo>
                      <a:pt x="5734" y="1210"/>
                    </a:lnTo>
                    <a:lnTo>
                      <a:pt x="5734" y="1267"/>
                    </a:lnTo>
                    <a:lnTo>
                      <a:pt x="5736" y="1267"/>
                    </a:lnTo>
                    <a:lnTo>
                      <a:pt x="5736" y="1208"/>
                    </a:lnTo>
                    <a:close/>
                    <a:moveTo>
                      <a:pt x="1593" y="1132"/>
                    </a:moveTo>
                    <a:lnTo>
                      <a:pt x="1591" y="1132"/>
                    </a:lnTo>
                    <a:lnTo>
                      <a:pt x="1591" y="1132"/>
                    </a:lnTo>
                    <a:lnTo>
                      <a:pt x="1591" y="1135"/>
                    </a:lnTo>
                    <a:lnTo>
                      <a:pt x="1591" y="1135"/>
                    </a:lnTo>
                    <a:lnTo>
                      <a:pt x="1591" y="1132"/>
                    </a:lnTo>
                    <a:lnTo>
                      <a:pt x="1593" y="1132"/>
                    </a:lnTo>
                    <a:lnTo>
                      <a:pt x="1593" y="1132"/>
                    </a:lnTo>
                    <a:close/>
                    <a:moveTo>
                      <a:pt x="5760" y="1127"/>
                    </a:moveTo>
                    <a:lnTo>
                      <a:pt x="5757" y="1127"/>
                    </a:lnTo>
                    <a:lnTo>
                      <a:pt x="5757" y="1130"/>
                    </a:lnTo>
                    <a:lnTo>
                      <a:pt x="5757" y="1184"/>
                    </a:lnTo>
                    <a:lnTo>
                      <a:pt x="5760" y="1184"/>
                    </a:lnTo>
                    <a:lnTo>
                      <a:pt x="5760" y="1182"/>
                    </a:lnTo>
                    <a:lnTo>
                      <a:pt x="5760" y="1182"/>
                    </a:lnTo>
                    <a:lnTo>
                      <a:pt x="5760" y="1127"/>
                    </a:lnTo>
                    <a:close/>
                    <a:moveTo>
                      <a:pt x="6225" y="1127"/>
                    </a:moveTo>
                    <a:lnTo>
                      <a:pt x="6225" y="1127"/>
                    </a:lnTo>
                    <a:lnTo>
                      <a:pt x="6225" y="1127"/>
                    </a:lnTo>
                    <a:lnTo>
                      <a:pt x="6225" y="1130"/>
                    </a:lnTo>
                    <a:lnTo>
                      <a:pt x="6225" y="1151"/>
                    </a:lnTo>
                    <a:lnTo>
                      <a:pt x="6225" y="1151"/>
                    </a:lnTo>
                    <a:lnTo>
                      <a:pt x="6225" y="1127"/>
                    </a:lnTo>
                    <a:close/>
                    <a:moveTo>
                      <a:pt x="1369" y="1082"/>
                    </a:moveTo>
                    <a:lnTo>
                      <a:pt x="1366" y="1082"/>
                    </a:lnTo>
                    <a:lnTo>
                      <a:pt x="1366" y="1085"/>
                    </a:lnTo>
                    <a:lnTo>
                      <a:pt x="1366" y="1109"/>
                    </a:lnTo>
                    <a:lnTo>
                      <a:pt x="1366" y="1109"/>
                    </a:lnTo>
                    <a:lnTo>
                      <a:pt x="1366" y="1106"/>
                    </a:lnTo>
                    <a:lnTo>
                      <a:pt x="1369" y="1106"/>
                    </a:lnTo>
                    <a:lnTo>
                      <a:pt x="1369" y="1082"/>
                    </a:lnTo>
                    <a:close/>
                    <a:moveTo>
                      <a:pt x="2764" y="1061"/>
                    </a:moveTo>
                    <a:lnTo>
                      <a:pt x="2764" y="1061"/>
                    </a:lnTo>
                    <a:lnTo>
                      <a:pt x="2761" y="1061"/>
                    </a:lnTo>
                    <a:lnTo>
                      <a:pt x="2761" y="1064"/>
                    </a:lnTo>
                    <a:lnTo>
                      <a:pt x="2761" y="1182"/>
                    </a:lnTo>
                    <a:lnTo>
                      <a:pt x="2764" y="1182"/>
                    </a:lnTo>
                    <a:lnTo>
                      <a:pt x="2764" y="1061"/>
                    </a:lnTo>
                    <a:close/>
                    <a:moveTo>
                      <a:pt x="5835" y="1040"/>
                    </a:moveTo>
                    <a:lnTo>
                      <a:pt x="5835" y="1040"/>
                    </a:lnTo>
                    <a:lnTo>
                      <a:pt x="5833" y="1040"/>
                    </a:lnTo>
                    <a:lnTo>
                      <a:pt x="5833" y="1042"/>
                    </a:lnTo>
                    <a:lnTo>
                      <a:pt x="5833" y="1071"/>
                    </a:lnTo>
                    <a:lnTo>
                      <a:pt x="5835" y="1071"/>
                    </a:lnTo>
                    <a:lnTo>
                      <a:pt x="5835" y="1040"/>
                    </a:lnTo>
                    <a:close/>
                    <a:moveTo>
                      <a:pt x="2780" y="1011"/>
                    </a:moveTo>
                    <a:lnTo>
                      <a:pt x="2780" y="1011"/>
                    </a:lnTo>
                    <a:lnTo>
                      <a:pt x="2780" y="1014"/>
                    </a:lnTo>
                    <a:lnTo>
                      <a:pt x="2780" y="1045"/>
                    </a:lnTo>
                    <a:lnTo>
                      <a:pt x="2780" y="1045"/>
                    </a:lnTo>
                    <a:lnTo>
                      <a:pt x="2780" y="1045"/>
                    </a:lnTo>
                    <a:lnTo>
                      <a:pt x="2780" y="1045"/>
                    </a:lnTo>
                    <a:lnTo>
                      <a:pt x="2780" y="1011"/>
                    </a:lnTo>
                    <a:close/>
                    <a:moveTo>
                      <a:pt x="3674" y="992"/>
                    </a:moveTo>
                    <a:lnTo>
                      <a:pt x="3672" y="992"/>
                    </a:lnTo>
                    <a:lnTo>
                      <a:pt x="3672" y="995"/>
                    </a:lnTo>
                    <a:lnTo>
                      <a:pt x="3672" y="1165"/>
                    </a:lnTo>
                    <a:lnTo>
                      <a:pt x="3674" y="1165"/>
                    </a:lnTo>
                    <a:lnTo>
                      <a:pt x="3674" y="992"/>
                    </a:lnTo>
                    <a:close/>
                    <a:moveTo>
                      <a:pt x="5854" y="990"/>
                    </a:moveTo>
                    <a:lnTo>
                      <a:pt x="5852" y="990"/>
                    </a:lnTo>
                    <a:lnTo>
                      <a:pt x="5852" y="990"/>
                    </a:lnTo>
                    <a:lnTo>
                      <a:pt x="5852" y="1023"/>
                    </a:lnTo>
                    <a:lnTo>
                      <a:pt x="5852" y="1023"/>
                    </a:lnTo>
                    <a:lnTo>
                      <a:pt x="5852" y="1023"/>
                    </a:lnTo>
                    <a:lnTo>
                      <a:pt x="5854" y="1023"/>
                    </a:lnTo>
                    <a:lnTo>
                      <a:pt x="5854" y="990"/>
                    </a:lnTo>
                    <a:close/>
                    <a:moveTo>
                      <a:pt x="6244" y="936"/>
                    </a:moveTo>
                    <a:lnTo>
                      <a:pt x="6242" y="936"/>
                    </a:lnTo>
                    <a:lnTo>
                      <a:pt x="6242" y="938"/>
                    </a:lnTo>
                    <a:lnTo>
                      <a:pt x="6242" y="1111"/>
                    </a:lnTo>
                    <a:lnTo>
                      <a:pt x="6244" y="1111"/>
                    </a:lnTo>
                    <a:lnTo>
                      <a:pt x="6244" y="1109"/>
                    </a:lnTo>
                    <a:lnTo>
                      <a:pt x="6244" y="1109"/>
                    </a:lnTo>
                    <a:lnTo>
                      <a:pt x="6244" y="936"/>
                    </a:lnTo>
                    <a:close/>
                    <a:moveTo>
                      <a:pt x="3750" y="929"/>
                    </a:moveTo>
                    <a:lnTo>
                      <a:pt x="3747" y="929"/>
                    </a:lnTo>
                    <a:lnTo>
                      <a:pt x="3747" y="929"/>
                    </a:lnTo>
                    <a:lnTo>
                      <a:pt x="3747" y="936"/>
                    </a:lnTo>
                    <a:lnTo>
                      <a:pt x="3750" y="936"/>
                    </a:lnTo>
                    <a:lnTo>
                      <a:pt x="3750" y="929"/>
                    </a:lnTo>
                    <a:close/>
                    <a:moveTo>
                      <a:pt x="6294" y="879"/>
                    </a:moveTo>
                    <a:lnTo>
                      <a:pt x="6292" y="879"/>
                    </a:lnTo>
                    <a:lnTo>
                      <a:pt x="6292" y="879"/>
                    </a:lnTo>
                    <a:lnTo>
                      <a:pt x="6292" y="879"/>
                    </a:lnTo>
                    <a:lnTo>
                      <a:pt x="6292" y="886"/>
                    </a:lnTo>
                    <a:lnTo>
                      <a:pt x="6292" y="886"/>
                    </a:lnTo>
                    <a:lnTo>
                      <a:pt x="6292" y="886"/>
                    </a:lnTo>
                    <a:lnTo>
                      <a:pt x="6294" y="886"/>
                    </a:lnTo>
                    <a:lnTo>
                      <a:pt x="6294" y="879"/>
                    </a:lnTo>
                    <a:close/>
                    <a:moveTo>
                      <a:pt x="6301" y="850"/>
                    </a:moveTo>
                    <a:lnTo>
                      <a:pt x="6299" y="850"/>
                    </a:lnTo>
                    <a:lnTo>
                      <a:pt x="6299" y="850"/>
                    </a:lnTo>
                    <a:lnTo>
                      <a:pt x="6299" y="872"/>
                    </a:lnTo>
                    <a:lnTo>
                      <a:pt x="6301" y="872"/>
                    </a:lnTo>
                    <a:lnTo>
                      <a:pt x="6301" y="869"/>
                    </a:lnTo>
                    <a:lnTo>
                      <a:pt x="6301" y="869"/>
                    </a:lnTo>
                    <a:lnTo>
                      <a:pt x="6301" y="850"/>
                    </a:lnTo>
                    <a:close/>
                    <a:moveTo>
                      <a:pt x="3005" y="763"/>
                    </a:moveTo>
                    <a:lnTo>
                      <a:pt x="3003" y="763"/>
                    </a:lnTo>
                    <a:lnTo>
                      <a:pt x="3003" y="763"/>
                    </a:lnTo>
                    <a:lnTo>
                      <a:pt x="3003" y="765"/>
                    </a:lnTo>
                    <a:lnTo>
                      <a:pt x="3003" y="921"/>
                    </a:lnTo>
                    <a:lnTo>
                      <a:pt x="3005" y="921"/>
                    </a:lnTo>
                    <a:lnTo>
                      <a:pt x="3005" y="763"/>
                    </a:lnTo>
                    <a:close/>
                    <a:moveTo>
                      <a:pt x="912" y="753"/>
                    </a:moveTo>
                    <a:lnTo>
                      <a:pt x="910" y="753"/>
                    </a:lnTo>
                    <a:lnTo>
                      <a:pt x="910" y="753"/>
                    </a:lnTo>
                    <a:lnTo>
                      <a:pt x="910" y="770"/>
                    </a:lnTo>
                    <a:lnTo>
                      <a:pt x="912" y="770"/>
                    </a:lnTo>
                    <a:lnTo>
                      <a:pt x="912" y="753"/>
                    </a:lnTo>
                    <a:close/>
                    <a:moveTo>
                      <a:pt x="5036" y="732"/>
                    </a:moveTo>
                    <a:lnTo>
                      <a:pt x="5034" y="732"/>
                    </a:lnTo>
                    <a:lnTo>
                      <a:pt x="5034" y="734"/>
                    </a:lnTo>
                    <a:lnTo>
                      <a:pt x="5034" y="914"/>
                    </a:lnTo>
                    <a:lnTo>
                      <a:pt x="5036" y="914"/>
                    </a:lnTo>
                    <a:lnTo>
                      <a:pt x="5036" y="732"/>
                    </a:lnTo>
                    <a:close/>
                    <a:moveTo>
                      <a:pt x="3043" y="656"/>
                    </a:moveTo>
                    <a:lnTo>
                      <a:pt x="3040" y="656"/>
                    </a:lnTo>
                    <a:lnTo>
                      <a:pt x="3040" y="659"/>
                    </a:lnTo>
                    <a:lnTo>
                      <a:pt x="3040" y="725"/>
                    </a:lnTo>
                    <a:lnTo>
                      <a:pt x="3040" y="725"/>
                    </a:lnTo>
                    <a:lnTo>
                      <a:pt x="3040" y="723"/>
                    </a:lnTo>
                    <a:lnTo>
                      <a:pt x="3043" y="723"/>
                    </a:lnTo>
                    <a:lnTo>
                      <a:pt x="3043" y="656"/>
                    </a:lnTo>
                    <a:close/>
                    <a:moveTo>
                      <a:pt x="0" y="616"/>
                    </a:moveTo>
                    <a:lnTo>
                      <a:pt x="0" y="616"/>
                    </a:lnTo>
                    <a:lnTo>
                      <a:pt x="0" y="618"/>
                    </a:lnTo>
                    <a:lnTo>
                      <a:pt x="0" y="1395"/>
                    </a:lnTo>
                    <a:lnTo>
                      <a:pt x="0" y="1395"/>
                    </a:lnTo>
                    <a:lnTo>
                      <a:pt x="0" y="616"/>
                    </a:lnTo>
                    <a:close/>
                    <a:moveTo>
                      <a:pt x="5157" y="609"/>
                    </a:moveTo>
                    <a:lnTo>
                      <a:pt x="5154" y="609"/>
                    </a:lnTo>
                    <a:lnTo>
                      <a:pt x="5154" y="611"/>
                    </a:lnTo>
                    <a:lnTo>
                      <a:pt x="5154" y="673"/>
                    </a:lnTo>
                    <a:lnTo>
                      <a:pt x="5157" y="673"/>
                    </a:lnTo>
                    <a:lnTo>
                      <a:pt x="5157" y="609"/>
                    </a:lnTo>
                    <a:close/>
                    <a:moveTo>
                      <a:pt x="3187" y="581"/>
                    </a:moveTo>
                    <a:lnTo>
                      <a:pt x="3185" y="581"/>
                    </a:lnTo>
                    <a:lnTo>
                      <a:pt x="3185" y="581"/>
                    </a:lnTo>
                    <a:lnTo>
                      <a:pt x="3185" y="583"/>
                    </a:lnTo>
                    <a:lnTo>
                      <a:pt x="3185" y="599"/>
                    </a:lnTo>
                    <a:lnTo>
                      <a:pt x="3187" y="599"/>
                    </a:lnTo>
                    <a:lnTo>
                      <a:pt x="3187" y="581"/>
                    </a:lnTo>
                    <a:close/>
                    <a:moveTo>
                      <a:pt x="205" y="547"/>
                    </a:moveTo>
                    <a:lnTo>
                      <a:pt x="205" y="547"/>
                    </a:lnTo>
                    <a:lnTo>
                      <a:pt x="205" y="550"/>
                    </a:lnTo>
                    <a:lnTo>
                      <a:pt x="205" y="559"/>
                    </a:lnTo>
                    <a:lnTo>
                      <a:pt x="205" y="559"/>
                    </a:lnTo>
                    <a:lnTo>
                      <a:pt x="205" y="547"/>
                    </a:lnTo>
                    <a:close/>
                    <a:moveTo>
                      <a:pt x="6930" y="510"/>
                    </a:moveTo>
                    <a:lnTo>
                      <a:pt x="6928" y="510"/>
                    </a:lnTo>
                    <a:lnTo>
                      <a:pt x="6928" y="510"/>
                    </a:lnTo>
                    <a:lnTo>
                      <a:pt x="6928" y="1035"/>
                    </a:lnTo>
                    <a:lnTo>
                      <a:pt x="6930" y="1035"/>
                    </a:lnTo>
                    <a:lnTo>
                      <a:pt x="6930" y="510"/>
                    </a:lnTo>
                    <a:close/>
                    <a:moveTo>
                      <a:pt x="4097" y="502"/>
                    </a:moveTo>
                    <a:lnTo>
                      <a:pt x="4097" y="502"/>
                    </a:lnTo>
                    <a:lnTo>
                      <a:pt x="4095" y="505"/>
                    </a:lnTo>
                    <a:lnTo>
                      <a:pt x="4076" y="531"/>
                    </a:lnTo>
                    <a:lnTo>
                      <a:pt x="4076" y="531"/>
                    </a:lnTo>
                    <a:lnTo>
                      <a:pt x="4097" y="502"/>
                    </a:lnTo>
                    <a:close/>
                    <a:moveTo>
                      <a:pt x="3204" y="500"/>
                    </a:moveTo>
                    <a:lnTo>
                      <a:pt x="3204" y="500"/>
                    </a:lnTo>
                    <a:lnTo>
                      <a:pt x="3201" y="500"/>
                    </a:lnTo>
                    <a:lnTo>
                      <a:pt x="3201" y="502"/>
                    </a:lnTo>
                    <a:lnTo>
                      <a:pt x="3201" y="564"/>
                    </a:lnTo>
                    <a:lnTo>
                      <a:pt x="3204" y="564"/>
                    </a:lnTo>
                    <a:lnTo>
                      <a:pt x="3204" y="564"/>
                    </a:lnTo>
                    <a:lnTo>
                      <a:pt x="3204" y="564"/>
                    </a:lnTo>
                    <a:lnTo>
                      <a:pt x="3204" y="500"/>
                    </a:lnTo>
                    <a:close/>
                    <a:moveTo>
                      <a:pt x="3941" y="453"/>
                    </a:moveTo>
                    <a:lnTo>
                      <a:pt x="3939" y="453"/>
                    </a:lnTo>
                    <a:lnTo>
                      <a:pt x="3939" y="453"/>
                    </a:lnTo>
                    <a:lnTo>
                      <a:pt x="3939" y="455"/>
                    </a:lnTo>
                    <a:lnTo>
                      <a:pt x="3939" y="491"/>
                    </a:lnTo>
                    <a:lnTo>
                      <a:pt x="3856" y="642"/>
                    </a:lnTo>
                    <a:lnTo>
                      <a:pt x="3856" y="869"/>
                    </a:lnTo>
                    <a:lnTo>
                      <a:pt x="3859" y="869"/>
                    </a:lnTo>
                    <a:lnTo>
                      <a:pt x="3859" y="642"/>
                    </a:lnTo>
                    <a:lnTo>
                      <a:pt x="3941" y="488"/>
                    </a:lnTo>
                    <a:lnTo>
                      <a:pt x="3941" y="453"/>
                    </a:lnTo>
                    <a:close/>
                    <a:moveTo>
                      <a:pt x="3232" y="434"/>
                    </a:moveTo>
                    <a:lnTo>
                      <a:pt x="3232" y="434"/>
                    </a:lnTo>
                    <a:lnTo>
                      <a:pt x="3232" y="436"/>
                    </a:lnTo>
                    <a:lnTo>
                      <a:pt x="3232" y="472"/>
                    </a:lnTo>
                    <a:lnTo>
                      <a:pt x="3232" y="472"/>
                    </a:lnTo>
                    <a:lnTo>
                      <a:pt x="3232" y="472"/>
                    </a:lnTo>
                    <a:lnTo>
                      <a:pt x="3232" y="472"/>
                    </a:lnTo>
                    <a:lnTo>
                      <a:pt x="3232" y="434"/>
                    </a:lnTo>
                    <a:close/>
                    <a:moveTo>
                      <a:pt x="3946" y="391"/>
                    </a:moveTo>
                    <a:lnTo>
                      <a:pt x="3946" y="391"/>
                    </a:lnTo>
                    <a:lnTo>
                      <a:pt x="3944" y="391"/>
                    </a:lnTo>
                    <a:lnTo>
                      <a:pt x="3944" y="391"/>
                    </a:lnTo>
                    <a:lnTo>
                      <a:pt x="3944" y="448"/>
                    </a:lnTo>
                    <a:lnTo>
                      <a:pt x="3946" y="448"/>
                    </a:lnTo>
                    <a:lnTo>
                      <a:pt x="3946" y="446"/>
                    </a:lnTo>
                    <a:lnTo>
                      <a:pt x="3946" y="446"/>
                    </a:lnTo>
                    <a:lnTo>
                      <a:pt x="3946" y="391"/>
                    </a:lnTo>
                    <a:close/>
                    <a:moveTo>
                      <a:pt x="1714" y="367"/>
                    </a:moveTo>
                    <a:lnTo>
                      <a:pt x="1712" y="367"/>
                    </a:lnTo>
                    <a:lnTo>
                      <a:pt x="1712" y="370"/>
                    </a:lnTo>
                    <a:lnTo>
                      <a:pt x="1712" y="1073"/>
                    </a:lnTo>
                    <a:lnTo>
                      <a:pt x="1714" y="1073"/>
                    </a:lnTo>
                    <a:lnTo>
                      <a:pt x="1714" y="367"/>
                    </a:lnTo>
                    <a:close/>
                    <a:moveTo>
                      <a:pt x="3953" y="327"/>
                    </a:moveTo>
                    <a:lnTo>
                      <a:pt x="3953" y="327"/>
                    </a:lnTo>
                    <a:lnTo>
                      <a:pt x="3953" y="330"/>
                    </a:lnTo>
                    <a:lnTo>
                      <a:pt x="3953" y="384"/>
                    </a:lnTo>
                    <a:lnTo>
                      <a:pt x="3953" y="384"/>
                    </a:lnTo>
                    <a:lnTo>
                      <a:pt x="3953" y="382"/>
                    </a:lnTo>
                    <a:lnTo>
                      <a:pt x="3953" y="382"/>
                    </a:lnTo>
                    <a:lnTo>
                      <a:pt x="3953" y="327"/>
                    </a:lnTo>
                    <a:close/>
                    <a:moveTo>
                      <a:pt x="4608" y="233"/>
                    </a:moveTo>
                    <a:lnTo>
                      <a:pt x="4606" y="233"/>
                    </a:lnTo>
                    <a:lnTo>
                      <a:pt x="4606" y="233"/>
                    </a:lnTo>
                    <a:lnTo>
                      <a:pt x="4547" y="448"/>
                    </a:lnTo>
                    <a:lnTo>
                      <a:pt x="4549" y="446"/>
                    </a:lnTo>
                    <a:lnTo>
                      <a:pt x="4608" y="233"/>
                    </a:lnTo>
                    <a:close/>
                    <a:moveTo>
                      <a:pt x="4707" y="171"/>
                    </a:moveTo>
                    <a:lnTo>
                      <a:pt x="4705" y="171"/>
                    </a:lnTo>
                    <a:lnTo>
                      <a:pt x="4705" y="173"/>
                    </a:lnTo>
                    <a:lnTo>
                      <a:pt x="4705" y="173"/>
                    </a:lnTo>
                    <a:lnTo>
                      <a:pt x="4707" y="173"/>
                    </a:lnTo>
                    <a:lnTo>
                      <a:pt x="4707" y="171"/>
                    </a:lnTo>
                    <a:close/>
                    <a:moveTo>
                      <a:pt x="4757" y="0"/>
                    </a:moveTo>
                    <a:lnTo>
                      <a:pt x="4755" y="0"/>
                    </a:lnTo>
                    <a:lnTo>
                      <a:pt x="4755" y="0"/>
                    </a:lnTo>
                    <a:lnTo>
                      <a:pt x="4755" y="124"/>
                    </a:lnTo>
                    <a:lnTo>
                      <a:pt x="4755" y="124"/>
                    </a:lnTo>
                    <a:lnTo>
                      <a:pt x="4755" y="121"/>
                    </a:lnTo>
                    <a:lnTo>
                      <a:pt x="4757" y="121"/>
                    </a:lnTo>
                    <a:lnTo>
                      <a:pt x="4757"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8" name="Freeform 83"/>
              <p:cNvSpPr>
                <a:spLocks noEditPoints="1"/>
              </p:cNvSpPr>
              <p:nvPr/>
            </p:nvSpPr>
            <p:spPr bwMode="auto">
              <a:xfrm>
                <a:off x="85" y="1719"/>
                <a:ext cx="6930" cy="1395"/>
              </a:xfrm>
              <a:custGeom>
                <a:avLst/>
                <a:gdLst>
                  <a:gd name="T0" fmla="*/ 3613 w 6930"/>
                  <a:gd name="T1" fmla="*/ 1258 h 1395"/>
                  <a:gd name="T2" fmla="*/ 5734 w 6930"/>
                  <a:gd name="T3" fmla="*/ 1208 h 1395"/>
                  <a:gd name="T4" fmla="*/ 5736 w 6930"/>
                  <a:gd name="T5" fmla="*/ 1267 h 1395"/>
                  <a:gd name="T6" fmla="*/ 1591 w 6930"/>
                  <a:gd name="T7" fmla="*/ 1132 h 1395"/>
                  <a:gd name="T8" fmla="*/ 1593 w 6930"/>
                  <a:gd name="T9" fmla="*/ 1132 h 1395"/>
                  <a:gd name="T10" fmla="*/ 5757 w 6930"/>
                  <a:gd name="T11" fmla="*/ 1130 h 1395"/>
                  <a:gd name="T12" fmla="*/ 5760 w 6930"/>
                  <a:gd name="T13" fmla="*/ 1182 h 1395"/>
                  <a:gd name="T14" fmla="*/ 6225 w 6930"/>
                  <a:gd name="T15" fmla="*/ 1127 h 1395"/>
                  <a:gd name="T16" fmla="*/ 6225 w 6930"/>
                  <a:gd name="T17" fmla="*/ 1127 h 1395"/>
                  <a:gd name="T18" fmla="*/ 1366 w 6930"/>
                  <a:gd name="T19" fmla="*/ 1109 h 1395"/>
                  <a:gd name="T20" fmla="*/ 1369 w 6930"/>
                  <a:gd name="T21" fmla="*/ 1082 h 1395"/>
                  <a:gd name="T22" fmla="*/ 2761 w 6930"/>
                  <a:gd name="T23" fmla="*/ 1064 h 1395"/>
                  <a:gd name="T24" fmla="*/ 5835 w 6930"/>
                  <a:gd name="T25" fmla="*/ 1040 h 1395"/>
                  <a:gd name="T26" fmla="*/ 5833 w 6930"/>
                  <a:gd name="T27" fmla="*/ 1071 h 1395"/>
                  <a:gd name="T28" fmla="*/ 2780 w 6930"/>
                  <a:gd name="T29" fmla="*/ 1011 h 1395"/>
                  <a:gd name="T30" fmla="*/ 2780 w 6930"/>
                  <a:gd name="T31" fmla="*/ 1045 h 1395"/>
                  <a:gd name="T32" fmla="*/ 3672 w 6930"/>
                  <a:gd name="T33" fmla="*/ 992 h 1395"/>
                  <a:gd name="T34" fmla="*/ 3674 w 6930"/>
                  <a:gd name="T35" fmla="*/ 992 h 1395"/>
                  <a:gd name="T36" fmla="*/ 5852 w 6930"/>
                  <a:gd name="T37" fmla="*/ 1023 h 1395"/>
                  <a:gd name="T38" fmla="*/ 5854 w 6930"/>
                  <a:gd name="T39" fmla="*/ 990 h 1395"/>
                  <a:gd name="T40" fmla="*/ 6242 w 6930"/>
                  <a:gd name="T41" fmla="*/ 1111 h 1395"/>
                  <a:gd name="T42" fmla="*/ 6244 w 6930"/>
                  <a:gd name="T43" fmla="*/ 936 h 1395"/>
                  <a:gd name="T44" fmla="*/ 3747 w 6930"/>
                  <a:gd name="T45" fmla="*/ 936 h 1395"/>
                  <a:gd name="T46" fmla="*/ 6292 w 6930"/>
                  <a:gd name="T47" fmla="*/ 879 h 1395"/>
                  <a:gd name="T48" fmla="*/ 6292 w 6930"/>
                  <a:gd name="T49" fmla="*/ 886 h 1395"/>
                  <a:gd name="T50" fmla="*/ 6301 w 6930"/>
                  <a:gd name="T51" fmla="*/ 850 h 1395"/>
                  <a:gd name="T52" fmla="*/ 6301 w 6930"/>
                  <a:gd name="T53" fmla="*/ 872 h 1395"/>
                  <a:gd name="T54" fmla="*/ 3005 w 6930"/>
                  <a:gd name="T55" fmla="*/ 763 h 1395"/>
                  <a:gd name="T56" fmla="*/ 3003 w 6930"/>
                  <a:gd name="T57" fmla="*/ 921 h 1395"/>
                  <a:gd name="T58" fmla="*/ 910 w 6930"/>
                  <a:gd name="T59" fmla="*/ 753 h 1395"/>
                  <a:gd name="T60" fmla="*/ 912 w 6930"/>
                  <a:gd name="T61" fmla="*/ 753 h 1395"/>
                  <a:gd name="T62" fmla="*/ 5034 w 6930"/>
                  <a:gd name="T63" fmla="*/ 914 h 1395"/>
                  <a:gd name="T64" fmla="*/ 3040 w 6930"/>
                  <a:gd name="T65" fmla="*/ 656 h 1395"/>
                  <a:gd name="T66" fmla="*/ 3040 w 6930"/>
                  <a:gd name="T67" fmla="*/ 723 h 1395"/>
                  <a:gd name="T68" fmla="*/ 0 w 6930"/>
                  <a:gd name="T69" fmla="*/ 616 h 1395"/>
                  <a:gd name="T70" fmla="*/ 0 w 6930"/>
                  <a:gd name="T71" fmla="*/ 616 h 1395"/>
                  <a:gd name="T72" fmla="*/ 5154 w 6930"/>
                  <a:gd name="T73" fmla="*/ 673 h 1395"/>
                  <a:gd name="T74" fmla="*/ 3185 w 6930"/>
                  <a:gd name="T75" fmla="*/ 581 h 1395"/>
                  <a:gd name="T76" fmla="*/ 3187 w 6930"/>
                  <a:gd name="T77" fmla="*/ 599 h 1395"/>
                  <a:gd name="T78" fmla="*/ 205 w 6930"/>
                  <a:gd name="T79" fmla="*/ 550 h 1395"/>
                  <a:gd name="T80" fmla="*/ 6930 w 6930"/>
                  <a:gd name="T81" fmla="*/ 510 h 1395"/>
                  <a:gd name="T82" fmla="*/ 6930 w 6930"/>
                  <a:gd name="T83" fmla="*/ 1035 h 1395"/>
                  <a:gd name="T84" fmla="*/ 4095 w 6930"/>
                  <a:gd name="T85" fmla="*/ 505 h 1395"/>
                  <a:gd name="T86" fmla="*/ 3204 w 6930"/>
                  <a:gd name="T87" fmla="*/ 500 h 1395"/>
                  <a:gd name="T88" fmla="*/ 3201 w 6930"/>
                  <a:gd name="T89" fmla="*/ 564 h 1395"/>
                  <a:gd name="T90" fmla="*/ 3204 w 6930"/>
                  <a:gd name="T91" fmla="*/ 500 h 1395"/>
                  <a:gd name="T92" fmla="*/ 3939 w 6930"/>
                  <a:gd name="T93" fmla="*/ 455 h 1395"/>
                  <a:gd name="T94" fmla="*/ 3859 w 6930"/>
                  <a:gd name="T95" fmla="*/ 869 h 1395"/>
                  <a:gd name="T96" fmla="*/ 3232 w 6930"/>
                  <a:gd name="T97" fmla="*/ 434 h 1395"/>
                  <a:gd name="T98" fmla="*/ 3232 w 6930"/>
                  <a:gd name="T99" fmla="*/ 472 h 1395"/>
                  <a:gd name="T100" fmla="*/ 3946 w 6930"/>
                  <a:gd name="T101" fmla="*/ 391 h 1395"/>
                  <a:gd name="T102" fmla="*/ 3944 w 6930"/>
                  <a:gd name="T103" fmla="*/ 448 h 1395"/>
                  <a:gd name="T104" fmla="*/ 3946 w 6930"/>
                  <a:gd name="T105" fmla="*/ 391 h 1395"/>
                  <a:gd name="T106" fmla="*/ 1712 w 6930"/>
                  <a:gd name="T107" fmla="*/ 1073 h 1395"/>
                  <a:gd name="T108" fmla="*/ 3953 w 6930"/>
                  <a:gd name="T109" fmla="*/ 327 h 1395"/>
                  <a:gd name="T110" fmla="*/ 3953 w 6930"/>
                  <a:gd name="T111" fmla="*/ 382 h 1395"/>
                  <a:gd name="T112" fmla="*/ 4606 w 6930"/>
                  <a:gd name="T113" fmla="*/ 233 h 1395"/>
                  <a:gd name="T114" fmla="*/ 4608 w 6930"/>
                  <a:gd name="T115" fmla="*/ 233 h 1395"/>
                  <a:gd name="T116" fmla="*/ 4705 w 6930"/>
                  <a:gd name="T117" fmla="*/ 173 h 1395"/>
                  <a:gd name="T118" fmla="*/ 4755 w 6930"/>
                  <a:gd name="T119" fmla="*/ 0 h 1395"/>
                  <a:gd name="T120" fmla="*/ 4755 w 6930"/>
                  <a:gd name="T121" fmla="*/ 121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5">
                    <a:moveTo>
                      <a:pt x="3615" y="1222"/>
                    </a:moveTo>
                    <a:lnTo>
                      <a:pt x="3613" y="1222"/>
                    </a:lnTo>
                    <a:lnTo>
                      <a:pt x="3613" y="1225"/>
                    </a:lnTo>
                    <a:lnTo>
                      <a:pt x="3613" y="1258"/>
                    </a:lnTo>
                    <a:lnTo>
                      <a:pt x="3615" y="1258"/>
                    </a:lnTo>
                    <a:lnTo>
                      <a:pt x="3615" y="1222"/>
                    </a:lnTo>
                    <a:moveTo>
                      <a:pt x="5736" y="1208"/>
                    </a:moveTo>
                    <a:lnTo>
                      <a:pt x="5734" y="1208"/>
                    </a:lnTo>
                    <a:lnTo>
                      <a:pt x="5734" y="1208"/>
                    </a:lnTo>
                    <a:lnTo>
                      <a:pt x="5734" y="1210"/>
                    </a:lnTo>
                    <a:lnTo>
                      <a:pt x="5734" y="1267"/>
                    </a:lnTo>
                    <a:lnTo>
                      <a:pt x="5736" y="1267"/>
                    </a:lnTo>
                    <a:lnTo>
                      <a:pt x="5736" y="1208"/>
                    </a:lnTo>
                    <a:moveTo>
                      <a:pt x="1593" y="1132"/>
                    </a:moveTo>
                    <a:lnTo>
                      <a:pt x="1591" y="1132"/>
                    </a:lnTo>
                    <a:lnTo>
                      <a:pt x="1591" y="1132"/>
                    </a:lnTo>
                    <a:lnTo>
                      <a:pt x="1591" y="1135"/>
                    </a:lnTo>
                    <a:lnTo>
                      <a:pt x="1591" y="1135"/>
                    </a:lnTo>
                    <a:lnTo>
                      <a:pt x="1591" y="1132"/>
                    </a:lnTo>
                    <a:lnTo>
                      <a:pt x="1593" y="1132"/>
                    </a:lnTo>
                    <a:lnTo>
                      <a:pt x="1593" y="1132"/>
                    </a:lnTo>
                    <a:moveTo>
                      <a:pt x="5760" y="1127"/>
                    </a:moveTo>
                    <a:lnTo>
                      <a:pt x="5757" y="1127"/>
                    </a:lnTo>
                    <a:lnTo>
                      <a:pt x="5757" y="1130"/>
                    </a:lnTo>
                    <a:lnTo>
                      <a:pt x="5757" y="1184"/>
                    </a:lnTo>
                    <a:lnTo>
                      <a:pt x="5760" y="1184"/>
                    </a:lnTo>
                    <a:lnTo>
                      <a:pt x="5760" y="1182"/>
                    </a:lnTo>
                    <a:lnTo>
                      <a:pt x="5760" y="1182"/>
                    </a:lnTo>
                    <a:lnTo>
                      <a:pt x="5760" y="1127"/>
                    </a:lnTo>
                    <a:moveTo>
                      <a:pt x="6225" y="1127"/>
                    </a:moveTo>
                    <a:lnTo>
                      <a:pt x="6225" y="1127"/>
                    </a:lnTo>
                    <a:lnTo>
                      <a:pt x="6225" y="1127"/>
                    </a:lnTo>
                    <a:lnTo>
                      <a:pt x="6225" y="1130"/>
                    </a:lnTo>
                    <a:lnTo>
                      <a:pt x="6225" y="1151"/>
                    </a:lnTo>
                    <a:lnTo>
                      <a:pt x="6225" y="1151"/>
                    </a:lnTo>
                    <a:lnTo>
                      <a:pt x="6225" y="1127"/>
                    </a:lnTo>
                    <a:moveTo>
                      <a:pt x="1369" y="1082"/>
                    </a:moveTo>
                    <a:lnTo>
                      <a:pt x="1366" y="1082"/>
                    </a:lnTo>
                    <a:lnTo>
                      <a:pt x="1366" y="1085"/>
                    </a:lnTo>
                    <a:lnTo>
                      <a:pt x="1366" y="1109"/>
                    </a:lnTo>
                    <a:lnTo>
                      <a:pt x="1366" y="1109"/>
                    </a:lnTo>
                    <a:lnTo>
                      <a:pt x="1366" y="1106"/>
                    </a:lnTo>
                    <a:lnTo>
                      <a:pt x="1369" y="1106"/>
                    </a:lnTo>
                    <a:lnTo>
                      <a:pt x="1369" y="1082"/>
                    </a:lnTo>
                    <a:moveTo>
                      <a:pt x="2764" y="1061"/>
                    </a:moveTo>
                    <a:lnTo>
                      <a:pt x="2764" y="1061"/>
                    </a:lnTo>
                    <a:lnTo>
                      <a:pt x="2761" y="1061"/>
                    </a:lnTo>
                    <a:lnTo>
                      <a:pt x="2761" y="1064"/>
                    </a:lnTo>
                    <a:lnTo>
                      <a:pt x="2761" y="1182"/>
                    </a:lnTo>
                    <a:lnTo>
                      <a:pt x="2764" y="1182"/>
                    </a:lnTo>
                    <a:lnTo>
                      <a:pt x="2764" y="1061"/>
                    </a:lnTo>
                    <a:moveTo>
                      <a:pt x="5835" y="1040"/>
                    </a:moveTo>
                    <a:lnTo>
                      <a:pt x="5835" y="1040"/>
                    </a:lnTo>
                    <a:lnTo>
                      <a:pt x="5833" y="1040"/>
                    </a:lnTo>
                    <a:lnTo>
                      <a:pt x="5833" y="1042"/>
                    </a:lnTo>
                    <a:lnTo>
                      <a:pt x="5833" y="1071"/>
                    </a:lnTo>
                    <a:lnTo>
                      <a:pt x="5835" y="1071"/>
                    </a:lnTo>
                    <a:lnTo>
                      <a:pt x="5835" y="1040"/>
                    </a:lnTo>
                    <a:moveTo>
                      <a:pt x="2780" y="1011"/>
                    </a:moveTo>
                    <a:lnTo>
                      <a:pt x="2780" y="1011"/>
                    </a:lnTo>
                    <a:lnTo>
                      <a:pt x="2780" y="1014"/>
                    </a:lnTo>
                    <a:lnTo>
                      <a:pt x="2780" y="1045"/>
                    </a:lnTo>
                    <a:lnTo>
                      <a:pt x="2780" y="1045"/>
                    </a:lnTo>
                    <a:lnTo>
                      <a:pt x="2780" y="1045"/>
                    </a:lnTo>
                    <a:lnTo>
                      <a:pt x="2780" y="1045"/>
                    </a:lnTo>
                    <a:lnTo>
                      <a:pt x="2780" y="1011"/>
                    </a:lnTo>
                    <a:moveTo>
                      <a:pt x="3674" y="992"/>
                    </a:moveTo>
                    <a:lnTo>
                      <a:pt x="3672" y="992"/>
                    </a:lnTo>
                    <a:lnTo>
                      <a:pt x="3672" y="995"/>
                    </a:lnTo>
                    <a:lnTo>
                      <a:pt x="3672" y="1165"/>
                    </a:lnTo>
                    <a:lnTo>
                      <a:pt x="3674" y="1165"/>
                    </a:lnTo>
                    <a:lnTo>
                      <a:pt x="3674" y="992"/>
                    </a:lnTo>
                    <a:moveTo>
                      <a:pt x="5854" y="990"/>
                    </a:moveTo>
                    <a:lnTo>
                      <a:pt x="5852" y="990"/>
                    </a:lnTo>
                    <a:lnTo>
                      <a:pt x="5852" y="990"/>
                    </a:lnTo>
                    <a:lnTo>
                      <a:pt x="5852" y="1023"/>
                    </a:lnTo>
                    <a:lnTo>
                      <a:pt x="5852" y="1023"/>
                    </a:lnTo>
                    <a:lnTo>
                      <a:pt x="5852" y="1023"/>
                    </a:lnTo>
                    <a:lnTo>
                      <a:pt x="5854" y="1023"/>
                    </a:lnTo>
                    <a:lnTo>
                      <a:pt x="5854" y="990"/>
                    </a:lnTo>
                    <a:moveTo>
                      <a:pt x="6244" y="936"/>
                    </a:moveTo>
                    <a:lnTo>
                      <a:pt x="6242" y="936"/>
                    </a:lnTo>
                    <a:lnTo>
                      <a:pt x="6242" y="938"/>
                    </a:lnTo>
                    <a:lnTo>
                      <a:pt x="6242" y="1111"/>
                    </a:lnTo>
                    <a:lnTo>
                      <a:pt x="6244" y="1111"/>
                    </a:lnTo>
                    <a:lnTo>
                      <a:pt x="6244" y="1109"/>
                    </a:lnTo>
                    <a:lnTo>
                      <a:pt x="6244" y="1109"/>
                    </a:lnTo>
                    <a:lnTo>
                      <a:pt x="6244" y="936"/>
                    </a:lnTo>
                    <a:moveTo>
                      <a:pt x="3750" y="929"/>
                    </a:moveTo>
                    <a:lnTo>
                      <a:pt x="3747" y="929"/>
                    </a:lnTo>
                    <a:lnTo>
                      <a:pt x="3747" y="929"/>
                    </a:lnTo>
                    <a:lnTo>
                      <a:pt x="3747" y="936"/>
                    </a:lnTo>
                    <a:lnTo>
                      <a:pt x="3750" y="936"/>
                    </a:lnTo>
                    <a:lnTo>
                      <a:pt x="3750" y="929"/>
                    </a:lnTo>
                    <a:moveTo>
                      <a:pt x="6294" y="879"/>
                    </a:moveTo>
                    <a:lnTo>
                      <a:pt x="6292" y="879"/>
                    </a:lnTo>
                    <a:lnTo>
                      <a:pt x="6292" y="879"/>
                    </a:lnTo>
                    <a:lnTo>
                      <a:pt x="6292" y="879"/>
                    </a:lnTo>
                    <a:lnTo>
                      <a:pt x="6292" y="886"/>
                    </a:lnTo>
                    <a:lnTo>
                      <a:pt x="6292" y="886"/>
                    </a:lnTo>
                    <a:lnTo>
                      <a:pt x="6292" y="886"/>
                    </a:lnTo>
                    <a:lnTo>
                      <a:pt x="6294" y="886"/>
                    </a:lnTo>
                    <a:lnTo>
                      <a:pt x="6294" y="879"/>
                    </a:lnTo>
                    <a:moveTo>
                      <a:pt x="6301" y="850"/>
                    </a:moveTo>
                    <a:lnTo>
                      <a:pt x="6299" y="850"/>
                    </a:lnTo>
                    <a:lnTo>
                      <a:pt x="6299" y="850"/>
                    </a:lnTo>
                    <a:lnTo>
                      <a:pt x="6299" y="872"/>
                    </a:lnTo>
                    <a:lnTo>
                      <a:pt x="6301" y="872"/>
                    </a:lnTo>
                    <a:lnTo>
                      <a:pt x="6301" y="869"/>
                    </a:lnTo>
                    <a:lnTo>
                      <a:pt x="6301" y="869"/>
                    </a:lnTo>
                    <a:lnTo>
                      <a:pt x="6301" y="850"/>
                    </a:lnTo>
                    <a:moveTo>
                      <a:pt x="3005" y="763"/>
                    </a:moveTo>
                    <a:lnTo>
                      <a:pt x="3003" y="763"/>
                    </a:lnTo>
                    <a:lnTo>
                      <a:pt x="3003" y="763"/>
                    </a:lnTo>
                    <a:lnTo>
                      <a:pt x="3003" y="765"/>
                    </a:lnTo>
                    <a:lnTo>
                      <a:pt x="3003" y="921"/>
                    </a:lnTo>
                    <a:lnTo>
                      <a:pt x="3005" y="921"/>
                    </a:lnTo>
                    <a:lnTo>
                      <a:pt x="3005" y="763"/>
                    </a:lnTo>
                    <a:moveTo>
                      <a:pt x="912" y="753"/>
                    </a:moveTo>
                    <a:lnTo>
                      <a:pt x="910" y="753"/>
                    </a:lnTo>
                    <a:lnTo>
                      <a:pt x="910" y="753"/>
                    </a:lnTo>
                    <a:lnTo>
                      <a:pt x="910" y="770"/>
                    </a:lnTo>
                    <a:lnTo>
                      <a:pt x="912" y="770"/>
                    </a:lnTo>
                    <a:lnTo>
                      <a:pt x="912" y="753"/>
                    </a:lnTo>
                    <a:moveTo>
                      <a:pt x="5036" y="732"/>
                    </a:moveTo>
                    <a:lnTo>
                      <a:pt x="5034" y="732"/>
                    </a:lnTo>
                    <a:lnTo>
                      <a:pt x="5034" y="734"/>
                    </a:lnTo>
                    <a:lnTo>
                      <a:pt x="5034" y="914"/>
                    </a:lnTo>
                    <a:lnTo>
                      <a:pt x="5036" y="914"/>
                    </a:lnTo>
                    <a:lnTo>
                      <a:pt x="5036" y="732"/>
                    </a:lnTo>
                    <a:moveTo>
                      <a:pt x="3043" y="656"/>
                    </a:moveTo>
                    <a:lnTo>
                      <a:pt x="3040" y="656"/>
                    </a:lnTo>
                    <a:lnTo>
                      <a:pt x="3040" y="659"/>
                    </a:lnTo>
                    <a:lnTo>
                      <a:pt x="3040" y="725"/>
                    </a:lnTo>
                    <a:lnTo>
                      <a:pt x="3040" y="725"/>
                    </a:lnTo>
                    <a:lnTo>
                      <a:pt x="3040" y="723"/>
                    </a:lnTo>
                    <a:lnTo>
                      <a:pt x="3043" y="723"/>
                    </a:lnTo>
                    <a:lnTo>
                      <a:pt x="3043" y="656"/>
                    </a:lnTo>
                    <a:moveTo>
                      <a:pt x="0" y="616"/>
                    </a:moveTo>
                    <a:lnTo>
                      <a:pt x="0" y="616"/>
                    </a:lnTo>
                    <a:lnTo>
                      <a:pt x="0" y="618"/>
                    </a:lnTo>
                    <a:lnTo>
                      <a:pt x="0" y="1395"/>
                    </a:lnTo>
                    <a:lnTo>
                      <a:pt x="0" y="1395"/>
                    </a:lnTo>
                    <a:lnTo>
                      <a:pt x="0" y="616"/>
                    </a:lnTo>
                    <a:moveTo>
                      <a:pt x="5157" y="609"/>
                    </a:moveTo>
                    <a:lnTo>
                      <a:pt x="5154" y="609"/>
                    </a:lnTo>
                    <a:lnTo>
                      <a:pt x="5154" y="611"/>
                    </a:lnTo>
                    <a:lnTo>
                      <a:pt x="5154" y="673"/>
                    </a:lnTo>
                    <a:lnTo>
                      <a:pt x="5157" y="673"/>
                    </a:lnTo>
                    <a:lnTo>
                      <a:pt x="5157" y="609"/>
                    </a:lnTo>
                    <a:moveTo>
                      <a:pt x="3187" y="581"/>
                    </a:moveTo>
                    <a:lnTo>
                      <a:pt x="3185" y="581"/>
                    </a:lnTo>
                    <a:lnTo>
                      <a:pt x="3185" y="581"/>
                    </a:lnTo>
                    <a:lnTo>
                      <a:pt x="3185" y="583"/>
                    </a:lnTo>
                    <a:lnTo>
                      <a:pt x="3185" y="599"/>
                    </a:lnTo>
                    <a:lnTo>
                      <a:pt x="3187" y="599"/>
                    </a:lnTo>
                    <a:lnTo>
                      <a:pt x="3187" y="581"/>
                    </a:lnTo>
                    <a:moveTo>
                      <a:pt x="205" y="547"/>
                    </a:moveTo>
                    <a:lnTo>
                      <a:pt x="205" y="547"/>
                    </a:lnTo>
                    <a:lnTo>
                      <a:pt x="205" y="550"/>
                    </a:lnTo>
                    <a:lnTo>
                      <a:pt x="205" y="559"/>
                    </a:lnTo>
                    <a:lnTo>
                      <a:pt x="205" y="559"/>
                    </a:lnTo>
                    <a:lnTo>
                      <a:pt x="205" y="547"/>
                    </a:lnTo>
                    <a:moveTo>
                      <a:pt x="6930" y="510"/>
                    </a:moveTo>
                    <a:lnTo>
                      <a:pt x="6928" y="510"/>
                    </a:lnTo>
                    <a:lnTo>
                      <a:pt x="6928" y="510"/>
                    </a:lnTo>
                    <a:lnTo>
                      <a:pt x="6928" y="1035"/>
                    </a:lnTo>
                    <a:lnTo>
                      <a:pt x="6930" y="1035"/>
                    </a:lnTo>
                    <a:lnTo>
                      <a:pt x="6930" y="510"/>
                    </a:lnTo>
                    <a:moveTo>
                      <a:pt x="4097" y="502"/>
                    </a:moveTo>
                    <a:lnTo>
                      <a:pt x="4097" y="502"/>
                    </a:lnTo>
                    <a:lnTo>
                      <a:pt x="4095" y="505"/>
                    </a:lnTo>
                    <a:lnTo>
                      <a:pt x="4076" y="531"/>
                    </a:lnTo>
                    <a:lnTo>
                      <a:pt x="4076" y="531"/>
                    </a:lnTo>
                    <a:lnTo>
                      <a:pt x="4097" y="502"/>
                    </a:lnTo>
                    <a:moveTo>
                      <a:pt x="3204" y="500"/>
                    </a:moveTo>
                    <a:lnTo>
                      <a:pt x="3204" y="500"/>
                    </a:lnTo>
                    <a:lnTo>
                      <a:pt x="3201" y="500"/>
                    </a:lnTo>
                    <a:lnTo>
                      <a:pt x="3201" y="502"/>
                    </a:lnTo>
                    <a:lnTo>
                      <a:pt x="3201" y="564"/>
                    </a:lnTo>
                    <a:lnTo>
                      <a:pt x="3204" y="564"/>
                    </a:lnTo>
                    <a:lnTo>
                      <a:pt x="3204" y="564"/>
                    </a:lnTo>
                    <a:lnTo>
                      <a:pt x="3204" y="564"/>
                    </a:lnTo>
                    <a:lnTo>
                      <a:pt x="3204" y="500"/>
                    </a:lnTo>
                    <a:moveTo>
                      <a:pt x="3941" y="453"/>
                    </a:moveTo>
                    <a:lnTo>
                      <a:pt x="3939" y="453"/>
                    </a:lnTo>
                    <a:lnTo>
                      <a:pt x="3939" y="453"/>
                    </a:lnTo>
                    <a:lnTo>
                      <a:pt x="3939" y="455"/>
                    </a:lnTo>
                    <a:lnTo>
                      <a:pt x="3939" y="491"/>
                    </a:lnTo>
                    <a:lnTo>
                      <a:pt x="3856" y="642"/>
                    </a:lnTo>
                    <a:lnTo>
                      <a:pt x="3856" y="869"/>
                    </a:lnTo>
                    <a:lnTo>
                      <a:pt x="3859" y="869"/>
                    </a:lnTo>
                    <a:lnTo>
                      <a:pt x="3859" y="642"/>
                    </a:lnTo>
                    <a:lnTo>
                      <a:pt x="3941" y="488"/>
                    </a:lnTo>
                    <a:lnTo>
                      <a:pt x="3941" y="453"/>
                    </a:lnTo>
                    <a:moveTo>
                      <a:pt x="3232" y="434"/>
                    </a:moveTo>
                    <a:lnTo>
                      <a:pt x="3232" y="434"/>
                    </a:lnTo>
                    <a:lnTo>
                      <a:pt x="3232" y="436"/>
                    </a:lnTo>
                    <a:lnTo>
                      <a:pt x="3232" y="472"/>
                    </a:lnTo>
                    <a:lnTo>
                      <a:pt x="3232" y="472"/>
                    </a:lnTo>
                    <a:lnTo>
                      <a:pt x="3232" y="472"/>
                    </a:lnTo>
                    <a:lnTo>
                      <a:pt x="3232" y="472"/>
                    </a:lnTo>
                    <a:lnTo>
                      <a:pt x="3232" y="434"/>
                    </a:lnTo>
                    <a:moveTo>
                      <a:pt x="3946" y="391"/>
                    </a:moveTo>
                    <a:lnTo>
                      <a:pt x="3946" y="391"/>
                    </a:lnTo>
                    <a:lnTo>
                      <a:pt x="3944" y="391"/>
                    </a:lnTo>
                    <a:lnTo>
                      <a:pt x="3944" y="391"/>
                    </a:lnTo>
                    <a:lnTo>
                      <a:pt x="3944" y="448"/>
                    </a:lnTo>
                    <a:lnTo>
                      <a:pt x="3946" y="448"/>
                    </a:lnTo>
                    <a:lnTo>
                      <a:pt x="3946" y="446"/>
                    </a:lnTo>
                    <a:lnTo>
                      <a:pt x="3946" y="446"/>
                    </a:lnTo>
                    <a:lnTo>
                      <a:pt x="3946" y="391"/>
                    </a:lnTo>
                    <a:moveTo>
                      <a:pt x="1714" y="367"/>
                    </a:moveTo>
                    <a:lnTo>
                      <a:pt x="1712" y="367"/>
                    </a:lnTo>
                    <a:lnTo>
                      <a:pt x="1712" y="370"/>
                    </a:lnTo>
                    <a:lnTo>
                      <a:pt x="1712" y="1073"/>
                    </a:lnTo>
                    <a:lnTo>
                      <a:pt x="1714" y="1073"/>
                    </a:lnTo>
                    <a:lnTo>
                      <a:pt x="1714" y="367"/>
                    </a:lnTo>
                    <a:moveTo>
                      <a:pt x="3953" y="327"/>
                    </a:moveTo>
                    <a:lnTo>
                      <a:pt x="3953" y="327"/>
                    </a:lnTo>
                    <a:lnTo>
                      <a:pt x="3953" y="330"/>
                    </a:lnTo>
                    <a:lnTo>
                      <a:pt x="3953" y="384"/>
                    </a:lnTo>
                    <a:lnTo>
                      <a:pt x="3953" y="384"/>
                    </a:lnTo>
                    <a:lnTo>
                      <a:pt x="3953" y="382"/>
                    </a:lnTo>
                    <a:lnTo>
                      <a:pt x="3953" y="382"/>
                    </a:lnTo>
                    <a:lnTo>
                      <a:pt x="3953" y="327"/>
                    </a:lnTo>
                    <a:moveTo>
                      <a:pt x="4608" y="233"/>
                    </a:moveTo>
                    <a:lnTo>
                      <a:pt x="4606" y="233"/>
                    </a:lnTo>
                    <a:lnTo>
                      <a:pt x="4606" y="233"/>
                    </a:lnTo>
                    <a:lnTo>
                      <a:pt x="4547" y="448"/>
                    </a:lnTo>
                    <a:lnTo>
                      <a:pt x="4549" y="446"/>
                    </a:lnTo>
                    <a:lnTo>
                      <a:pt x="4608" y="233"/>
                    </a:lnTo>
                    <a:moveTo>
                      <a:pt x="4707" y="171"/>
                    </a:moveTo>
                    <a:lnTo>
                      <a:pt x="4705" y="171"/>
                    </a:lnTo>
                    <a:lnTo>
                      <a:pt x="4705" y="173"/>
                    </a:lnTo>
                    <a:lnTo>
                      <a:pt x="4705" y="173"/>
                    </a:lnTo>
                    <a:lnTo>
                      <a:pt x="4707" y="173"/>
                    </a:lnTo>
                    <a:lnTo>
                      <a:pt x="4707" y="171"/>
                    </a:lnTo>
                    <a:moveTo>
                      <a:pt x="4757" y="0"/>
                    </a:moveTo>
                    <a:lnTo>
                      <a:pt x="4755" y="0"/>
                    </a:lnTo>
                    <a:lnTo>
                      <a:pt x="4755" y="0"/>
                    </a:lnTo>
                    <a:lnTo>
                      <a:pt x="4755" y="124"/>
                    </a:lnTo>
                    <a:lnTo>
                      <a:pt x="4755" y="124"/>
                    </a:lnTo>
                    <a:lnTo>
                      <a:pt x="4755" y="121"/>
                    </a:lnTo>
                    <a:lnTo>
                      <a:pt x="4757" y="121"/>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69" name="Freeform 84"/>
              <p:cNvSpPr>
                <a:spLocks noEditPoints="1"/>
              </p:cNvSpPr>
              <p:nvPr/>
            </p:nvSpPr>
            <p:spPr bwMode="auto">
              <a:xfrm>
                <a:off x="85" y="1717"/>
                <a:ext cx="6932" cy="1397"/>
              </a:xfrm>
              <a:custGeom>
                <a:avLst/>
                <a:gdLst>
                  <a:gd name="T0" fmla="*/ 3615 w 6932"/>
                  <a:gd name="T1" fmla="*/ 1260 h 1397"/>
                  <a:gd name="T2" fmla="*/ 5736 w 6932"/>
                  <a:gd name="T3" fmla="*/ 1208 h 1397"/>
                  <a:gd name="T4" fmla="*/ 5736 w 6932"/>
                  <a:gd name="T5" fmla="*/ 1269 h 1397"/>
                  <a:gd name="T6" fmla="*/ 1593 w 6932"/>
                  <a:gd name="T7" fmla="*/ 1134 h 1397"/>
                  <a:gd name="T8" fmla="*/ 1593 w 6932"/>
                  <a:gd name="T9" fmla="*/ 1132 h 1397"/>
                  <a:gd name="T10" fmla="*/ 5760 w 6932"/>
                  <a:gd name="T11" fmla="*/ 1129 h 1397"/>
                  <a:gd name="T12" fmla="*/ 5762 w 6932"/>
                  <a:gd name="T13" fmla="*/ 1182 h 1397"/>
                  <a:gd name="T14" fmla="*/ 6225 w 6932"/>
                  <a:gd name="T15" fmla="*/ 1127 h 1397"/>
                  <a:gd name="T16" fmla="*/ 6228 w 6932"/>
                  <a:gd name="T17" fmla="*/ 1127 h 1397"/>
                  <a:gd name="T18" fmla="*/ 1369 w 6932"/>
                  <a:gd name="T19" fmla="*/ 1108 h 1397"/>
                  <a:gd name="T20" fmla="*/ 1369 w 6932"/>
                  <a:gd name="T21" fmla="*/ 1084 h 1397"/>
                  <a:gd name="T22" fmla="*/ 2764 w 6932"/>
                  <a:gd name="T23" fmla="*/ 1063 h 1397"/>
                  <a:gd name="T24" fmla="*/ 5838 w 6932"/>
                  <a:gd name="T25" fmla="*/ 1042 h 1397"/>
                  <a:gd name="T26" fmla="*/ 5835 w 6932"/>
                  <a:gd name="T27" fmla="*/ 1073 h 1397"/>
                  <a:gd name="T28" fmla="*/ 2780 w 6932"/>
                  <a:gd name="T29" fmla="*/ 1013 h 1397"/>
                  <a:gd name="T30" fmla="*/ 2783 w 6932"/>
                  <a:gd name="T31" fmla="*/ 1044 h 1397"/>
                  <a:gd name="T32" fmla="*/ 3674 w 6932"/>
                  <a:gd name="T33" fmla="*/ 992 h 1397"/>
                  <a:gd name="T34" fmla="*/ 3676 w 6932"/>
                  <a:gd name="T35" fmla="*/ 992 h 1397"/>
                  <a:gd name="T36" fmla="*/ 5854 w 6932"/>
                  <a:gd name="T37" fmla="*/ 1025 h 1397"/>
                  <a:gd name="T38" fmla="*/ 5854 w 6932"/>
                  <a:gd name="T39" fmla="*/ 990 h 1397"/>
                  <a:gd name="T40" fmla="*/ 6244 w 6932"/>
                  <a:gd name="T41" fmla="*/ 1111 h 1397"/>
                  <a:gd name="T42" fmla="*/ 6247 w 6932"/>
                  <a:gd name="T43" fmla="*/ 935 h 1397"/>
                  <a:gd name="T44" fmla="*/ 3750 w 6932"/>
                  <a:gd name="T45" fmla="*/ 938 h 1397"/>
                  <a:gd name="T46" fmla="*/ 6294 w 6932"/>
                  <a:gd name="T47" fmla="*/ 878 h 1397"/>
                  <a:gd name="T48" fmla="*/ 6294 w 6932"/>
                  <a:gd name="T49" fmla="*/ 888 h 1397"/>
                  <a:gd name="T50" fmla="*/ 6303 w 6932"/>
                  <a:gd name="T51" fmla="*/ 850 h 1397"/>
                  <a:gd name="T52" fmla="*/ 6303 w 6932"/>
                  <a:gd name="T53" fmla="*/ 871 h 1397"/>
                  <a:gd name="T54" fmla="*/ 3005 w 6932"/>
                  <a:gd name="T55" fmla="*/ 762 h 1397"/>
                  <a:gd name="T56" fmla="*/ 3005 w 6932"/>
                  <a:gd name="T57" fmla="*/ 923 h 1397"/>
                  <a:gd name="T58" fmla="*/ 912 w 6932"/>
                  <a:gd name="T59" fmla="*/ 753 h 1397"/>
                  <a:gd name="T60" fmla="*/ 915 w 6932"/>
                  <a:gd name="T61" fmla="*/ 753 h 1397"/>
                  <a:gd name="T62" fmla="*/ 5036 w 6932"/>
                  <a:gd name="T63" fmla="*/ 916 h 1397"/>
                  <a:gd name="T64" fmla="*/ 3043 w 6932"/>
                  <a:gd name="T65" fmla="*/ 656 h 1397"/>
                  <a:gd name="T66" fmla="*/ 3043 w 6932"/>
                  <a:gd name="T67" fmla="*/ 722 h 1397"/>
                  <a:gd name="T68" fmla="*/ 0 w 6932"/>
                  <a:gd name="T69" fmla="*/ 616 h 1397"/>
                  <a:gd name="T70" fmla="*/ 2 w 6932"/>
                  <a:gd name="T71" fmla="*/ 616 h 1397"/>
                  <a:gd name="T72" fmla="*/ 5157 w 6932"/>
                  <a:gd name="T73" fmla="*/ 675 h 1397"/>
                  <a:gd name="T74" fmla="*/ 3187 w 6932"/>
                  <a:gd name="T75" fmla="*/ 583 h 1397"/>
                  <a:gd name="T76" fmla="*/ 3189 w 6932"/>
                  <a:gd name="T77" fmla="*/ 601 h 1397"/>
                  <a:gd name="T78" fmla="*/ 205 w 6932"/>
                  <a:gd name="T79" fmla="*/ 549 h 1397"/>
                  <a:gd name="T80" fmla="*/ 6932 w 6932"/>
                  <a:gd name="T81" fmla="*/ 509 h 1397"/>
                  <a:gd name="T82" fmla="*/ 6932 w 6932"/>
                  <a:gd name="T83" fmla="*/ 1037 h 1397"/>
                  <a:gd name="T84" fmla="*/ 4097 w 6932"/>
                  <a:gd name="T85" fmla="*/ 504 h 1397"/>
                  <a:gd name="T86" fmla="*/ 3206 w 6932"/>
                  <a:gd name="T87" fmla="*/ 500 h 1397"/>
                  <a:gd name="T88" fmla="*/ 3204 w 6932"/>
                  <a:gd name="T89" fmla="*/ 566 h 1397"/>
                  <a:gd name="T90" fmla="*/ 3206 w 6932"/>
                  <a:gd name="T91" fmla="*/ 500 h 1397"/>
                  <a:gd name="T92" fmla="*/ 3941 w 6932"/>
                  <a:gd name="T93" fmla="*/ 455 h 1397"/>
                  <a:gd name="T94" fmla="*/ 3861 w 6932"/>
                  <a:gd name="T95" fmla="*/ 871 h 1397"/>
                  <a:gd name="T96" fmla="*/ 3234 w 6932"/>
                  <a:gd name="T97" fmla="*/ 433 h 1397"/>
                  <a:gd name="T98" fmla="*/ 3234 w 6932"/>
                  <a:gd name="T99" fmla="*/ 474 h 1397"/>
                  <a:gd name="T100" fmla="*/ 3948 w 6932"/>
                  <a:gd name="T101" fmla="*/ 391 h 1397"/>
                  <a:gd name="T102" fmla="*/ 3946 w 6932"/>
                  <a:gd name="T103" fmla="*/ 448 h 1397"/>
                  <a:gd name="T104" fmla="*/ 3948 w 6932"/>
                  <a:gd name="T105" fmla="*/ 391 h 1397"/>
                  <a:gd name="T106" fmla="*/ 1714 w 6932"/>
                  <a:gd name="T107" fmla="*/ 1075 h 1397"/>
                  <a:gd name="T108" fmla="*/ 3953 w 6932"/>
                  <a:gd name="T109" fmla="*/ 327 h 1397"/>
                  <a:gd name="T110" fmla="*/ 3955 w 6932"/>
                  <a:gd name="T111" fmla="*/ 381 h 1397"/>
                  <a:gd name="T112" fmla="*/ 4608 w 6932"/>
                  <a:gd name="T113" fmla="*/ 232 h 1397"/>
                  <a:gd name="T114" fmla="*/ 4608 w 6932"/>
                  <a:gd name="T115" fmla="*/ 232 h 1397"/>
                  <a:gd name="T116" fmla="*/ 4707 w 6932"/>
                  <a:gd name="T117" fmla="*/ 175 h 1397"/>
                  <a:gd name="T118" fmla="*/ 4757 w 6932"/>
                  <a:gd name="T119" fmla="*/ 0 h 1397"/>
                  <a:gd name="T120" fmla="*/ 4757 w 6932"/>
                  <a:gd name="T121" fmla="*/ 121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97">
                    <a:moveTo>
                      <a:pt x="3617" y="1222"/>
                    </a:moveTo>
                    <a:lnTo>
                      <a:pt x="3615" y="1222"/>
                    </a:lnTo>
                    <a:lnTo>
                      <a:pt x="3615" y="1224"/>
                    </a:lnTo>
                    <a:lnTo>
                      <a:pt x="3615" y="1260"/>
                    </a:lnTo>
                    <a:lnTo>
                      <a:pt x="3617" y="1260"/>
                    </a:lnTo>
                    <a:lnTo>
                      <a:pt x="3617" y="1222"/>
                    </a:lnTo>
                    <a:close/>
                    <a:moveTo>
                      <a:pt x="5736" y="1208"/>
                    </a:moveTo>
                    <a:lnTo>
                      <a:pt x="5736" y="1208"/>
                    </a:lnTo>
                    <a:lnTo>
                      <a:pt x="5736" y="1208"/>
                    </a:lnTo>
                    <a:lnTo>
                      <a:pt x="5736" y="1210"/>
                    </a:lnTo>
                    <a:lnTo>
                      <a:pt x="5736" y="1269"/>
                    </a:lnTo>
                    <a:lnTo>
                      <a:pt x="5736" y="1269"/>
                    </a:lnTo>
                    <a:lnTo>
                      <a:pt x="5736" y="1208"/>
                    </a:lnTo>
                    <a:close/>
                    <a:moveTo>
                      <a:pt x="1593" y="1132"/>
                    </a:moveTo>
                    <a:lnTo>
                      <a:pt x="1593" y="1132"/>
                    </a:lnTo>
                    <a:lnTo>
                      <a:pt x="1593" y="1134"/>
                    </a:lnTo>
                    <a:lnTo>
                      <a:pt x="1593" y="1134"/>
                    </a:lnTo>
                    <a:lnTo>
                      <a:pt x="1593" y="1134"/>
                    </a:lnTo>
                    <a:lnTo>
                      <a:pt x="1593" y="1132"/>
                    </a:lnTo>
                    <a:lnTo>
                      <a:pt x="1593" y="1132"/>
                    </a:lnTo>
                    <a:lnTo>
                      <a:pt x="1593" y="1132"/>
                    </a:lnTo>
                    <a:close/>
                    <a:moveTo>
                      <a:pt x="5762" y="1127"/>
                    </a:moveTo>
                    <a:lnTo>
                      <a:pt x="5760" y="1127"/>
                    </a:lnTo>
                    <a:lnTo>
                      <a:pt x="5760" y="1129"/>
                    </a:lnTo>
                    <a:lnTo>
                      <a:pt x="5760" y="1184"/>
                    </a:lnTo>
                    <a:lnTo>
                      <a:pt x="5762" y="1184"/>
                    </a:lnTo>
                    <a:lnTo>
                      <a:pt x="5762" y="1182"/>
                    </a:lnTo>
                    <a:lnTo>
                      <a:pt x="5762" y="1182"/>
                    </a:lnTo>
                    <a:lnTo>
                      <a:pt x="5762" y="1127"/>
                    </a:lnTo>
                    <a:close/>
                    <a:moveTo>
                      <a:pt x="6228" y="1127"/>
                    </a:moveTo>
                    <a:lnTo>
                      <a:pt x="6228" y="1127"/>
                    </a:lnTo>
                    <a:lnTo>
                      <a:pt x="6225" y="1127"/>
                    </a:lnTo>
                    <a:lnTo>
                      <a:pt x="6225" y="1129"/>
                    </a:lnTo>
                    <a:lnTo>
                      <a:pt x="6225" y="1153"/>
                    </a:lnTo>
                    <a:lnTo>
                      <a:pt x="6228" y="1153"/>
                    </a:lnTo>
                    <a:lnTo>
                      <a:pt x="6228" y="1127"/>
                    </a:lnTo>
                    <a:close/>
                    <a:moveTo>
                      <a:pt x="1369" y="1084"/>
                    </a:moveTo>
                    <a:lnTo>
                      <a:pt x="1369" y="1084"/>
                    </a:lnTo>
                    <a:lnTo>
                      <a:pt x="1369" y="1084"/>
                    </a:lnTo>
                    <a:lnTo>
                      <a:pt x="1369" y="1108"/>
                    </a:lnTo>
                    <a:lnTo>
                      <a:pt x="1369" y="1108"/>
                    </a:lnTo>
                    <a:lnTo>
                      <a:pt x="1369" y="1106"/>
                    </a:lnTo>
                    <a:lnTo>
                      <a:pt x="1369" y="1106"/>
                    </a:lnTo>
                    <a:lnTo>
                      <a:pt x="1369" y="1084"/>
                    </a:lnTo>
                    <a:close/>
                    <a:moveTo>
                      <a:pt x="2766" y="1063"/>
                    </a:moveTo>
                    <a:lnTo>
                      <a:pt x="2764" y="1063"/>
                    </a:lnTo>
                    <a:lnTo>
                      <a:pt x="2764" y="1063"/>
                    </a:lnTo>
                    <a:lnTo>
                      <a:pt x="2764" y="1063"/>
                    </a:lnTo>
                    <a:lnTo>
                      <a:pt x="2764" y="1184"/>
                    </a:lnTo>
                    <a:lnTo>
                      <a:pt x="2766" y="1184"/>
                    </a:lnTo>
                    <a:lnTo>
                      <a:pt x="2766" y="1063"/>
                    </a:lnTo>
                    <a:close/>
                    <a:moveTo>
                      <a:pt x="5838" y="1042"/>
                    </a:moveTo>
                    <a:lnTo>
                      <a:pt x="5835" y="1042"/>
                    </a:lnTo>
                    <a:lnTo>
                      <a:pt x="5835" y="1042"/>
                    </a:lnTo>
                    <a:lnTo>
                      <a:pt x="5835" y="1042"/>
                    </a:lnTo>
                    <a:lnTo>
                      <a:pt x="5835" y="1073"/>
                    </a:lnTo>
                    <a:lnTo>
                      <a:pt x="5838" y="1073"/>
                    </a:lnTo>
                    <a:lnTo>
                      <a:pt x="5838" y="1042"/>
                    </a:lnTo>
                    <a:close/>
                    <a:moveTo>
                      <a:pt x="2783" y="1011"/>
                    </a:moveTo>
                    <a:lnTo>
                      <a:pt x="2780" y="1013"/>
                    </a:lnTo>
                    <a:lnTo>
                      <a:pt x="2780" y="1013"/>
                    </a:lnTo>
                    <a:lnTo>
                      <a:pt x="2780" y="1047"/>
                    </a:lnTo>
                    <a:lnTo>
                      <a:pt x="2783" y="1047"/>
                    </a:lnTo>
                    <a:lnTo>
                      <a:pt x="2783" y="1044"/>
                    </a:lnTo>
                    <a:lnTo>
                      <a:pt x="2783" y="1044"/>
                    </a:lnTo>
                    <a:lnTo>
                      <a:pt x="2783" y="1011"/>
                    </a:lnTo>
                    <a:close/>
                    <a:moveTo>
                      <a:pt x="3676" y="992"/>
                    </a:moveTo>
                    <a:lnTo>
                      <a:pt x="3674" y="992"/>
                    </a:lnTo>
                    <a:lnTo>
                      <a:pt x="3674" y="994"/>
                    </a:lnTo>
                    <a:lnTo>
                      <a:pt x="3674" y="1167"/>
                    </a:lnTo>
                    <a:lnTo>
                      <a:pt x="3676" y="1167"/>
                    </a:lnTo>
                    <a:lnTo>
                      <a:pt x="3676" y="992"/>
                    </a:lnTo>
                    <a:close/>
                    <a:moveTo>
                      <a:pt x="5854" y="990"/>
                    </a:moveTo>
                    <a:lnTo>
                      <a:pt x="5854" y="990"/>
                    </a:lnTo>
                    <a:lnTo>
                      <a:pt x="5854" y="992"/>
                    </a:lnTo>
                    <a:lnTo>
                      <a:pt x="5854" y="1025"/>
                    </a:lnTo>
                    <a:lnTo>
                      <a:pt x="5854" y="1025"/>
                    </a:lnTo>
                    <a:lnTo>
                      <a:pt x="5854" y="1023"/>
                    </a:lnTo>
                    <a:lnTo>
                      <a:pt x="5854" y="1023"/>
                    </a:lnTo>
                    <a:lnTo>
                      <a:pt x="5854" y="990"/>
                    </a:lnTo>
                    <a:close/>
                    <a:moveTo>
                      <a:pt x="6247" y="935"/>
                    </a:moveTo>
                    <a:lnTo>
                      <a:pt x="6244" y="935"/>
                    </a:lnTo>
                    <a:lnTo>
                      <a:pt x="6244" y="938"/>
                    </a:lnTo>
                    <a:lnTo>
                      <a:pt x="6244" y="1111"/>
                    </a:lnTo>
                    <a:lnTo>
                      <a:pt x="6244" y="1111"/>
                    </a:lnTo>
                    <a:lnTo>
                      <a:pt x="6244" y="1108"/>
                    </a:lnTo>
                    <a:lnTo>
                      <a:pt x="6247" y="1108"/>
                    </a:lnTo>
                    <a:lnTo>
                      <a:pt x="6247" y="935"/>
                    </a:lnTo>
                    <a:close/>
                    <a:moveTo>
                      <a:pt x="3752" y="928"/>
                    </a:moveTo>
                    <a:lnTo>
                      <a:pt x="3750" y="928"/>
                    </a:lnTo>
                    <a:lnTo>
                      <a:pt x="3750" y="931"/>
                    </a:lnTo>
                    <a:lnTo>
                      <a:pt x="3750" y="938"/>
                    </a:lnTo>
                    <a:lnTo>
                      <a:pt x="3752" y="938"/>
                    </a:lnTo>
                    <a:lnTo>
                      <a:pt x="3752" y="928"/>
                    </a:lnTo>
                    <a:close/>
                    <a:moveTo>
                      <a:pt x="6296" y="878"/>
                    </a:moveTo>
                    <a:lnTo>
                      <a:pt x="6294" y="878"/>
                    </a:lnTo>
                    <a:lnTo>
                      <a:pt x="6294" y="878"/>
                    </a:lnTo>
                    <a:lnTo>
                      <a:pt x="6294" y="881"/>
                    </a:lnTo>
                    <a:lnTo>
                      <a:pt x="6294" y="888"/>
                    </a:lnTo>
                    <a:lnTo>
                      <a:pt x="6294" y="888"/>
                    </a:lnTo>
                    <a:lnTo>
                      <a:pt x="6294" y="886"/>
                    </a:lnTo>
                    <a:lnTo>
                      <a:pt x="6296" y="886"/>
                    </a:lnTo>
                    <a:lnTo>
                      <a:pt x="6296" y="878"/>
                    </a:lnTo>
                    <a:close/>
                    <a:moveTo>
                      <a:pt x="6303" y="850"/>
                    </a:moveTo>
                    <a:lnTo>
                      <a:pt x="6301" y="850"/>
                    </a:lnTo>
                    <a:lnTo>
                      <a:pt x="6301" y="852"/>
                    </a:lnTo>
                    <a:lnTo>
                      <a:pt x="6301" y="871"/>
                    </a:lnTo>
                    <a:lnTo>
                      <a:pt x="6303" y="871"/>
                    </a:lnTo>
                    <a:lnTo>
                      <a:pt x="6303" y="869"/>
                    </a:lnTo>
                    <a:lnTo>
                      <a:pt x="6303" y="869"/>
                    </a:lnTo>
                    <a:lnTo>
                      <a:pt x="6303" y="850"/>
                    </a:lnTo>
                    <a:close/>
                    <a:moveTo>
                      <a:pt x="3005" y="762"/>
                    </a:moveTo>
                    <a:lnTo>
                      <a:pt x="3005" y="762"/>
                    </a:lnTo>
                    <a:lnTo>
                      <a:pt x="3005" y="762"/>
                    </a:lnTo>
                    <a:lnTo>
                      <a:pt x="3005" y="765"/>
                    </a:lnTo>
                    <a:lnTo>
                      <a:pt x="3005" y="923"/>
                    </a:lnTo>
                    <a:lnTo>
                      <a:pt x="3005" y="923"/>
                    </a:lnTo>
                    <a:lnTo>
                      <a:pt x="3005" y="762"/>
                    </a:lnTo>
                    <a:close/>
                    <a:moveTo>
                      <a:pt x="915" y="753"/>
                    </a:moveTo>
                    <a:lnTo>
                      <a:pt x="912" y="753"/>
                    </a:lnTo>
                    <a:lnTo>
                      <a:pt x="912" y="755"/>
                    </a:lnTo>
                    <a:lnTo>
                      <a:pt x="912" y="772"/>
                    </a:lnTo>
                    <a:lnTo>
                      <a:pt x="915" y="772"/>
                    </a:lnTo>
                    <a:lnTo>
                      <a:pt x="915" y="753"/>
                    </a:lnTo>
                    <a:close/>
                    <a:moveTo>
                      <a:pt x="5038" y="732"/>
                    </a:moveTo>
                    <a:lnTo>
                      <a:pt x="5036" y="732"/>
                    </a:lnTo>
                    <a:lnTo>
                      <a:pt x="5036" y="734"/>
                    </a:lnTo>
                    <a:lnTo>
                      <a:pt x="5036" y="916"/>
                    </a:lnTo>
                    <a:lnTo>
                      <a:pt x="5038" y="916"/>
                    </a:lnTo>
                    <a:lnTo>
                      <a:pt x="5038" y="732"/>
                    </a:lnTo>
                    <a:close/>
                    <a:moveTo>
                      <a:pt x="3045" y="656"/>
                    </a:moveTo>
                    <a:lnTo>
                      <a:pt x="3043" y="656"/>
                    </a:lnTo>
                    <a:lnTo>
                      <a:pt x="3043" y="658"/>
                    </a:lnTo>
                    <a:lnTo>
                      <a:pt x="3043" y="725"/>
                    </a:lnTo>
                    <a:lnTo>
                      <a:pt x="3043" y="725"/>
                    </a:lnTo>
                    <a:lnTo>
                      <a:pt x="3043" y="722"/>
                    </a:lnTo>
                    <a:lnTo>
                      <a:pt x="3045" y="722"/>
                    </a:lnTo>
                    <a:lnTo>
                      <a:pt x="3045" y="656"/>
                    </a:lnTo>
                    <a:close/>
                    <a:moveTo>
                      <a:pt x="2" y="616"/>
                    </a:moveTo>
                    <a:lnTo>
                      <a:pt x="0" y="616"/>
                    </a:lnTo>
                    <a:lnTo>
                      <a:pt x="0" y="618"/>
                    </a:lnTo>
                    <a:lnTo>
                      <a:pt x="0" y="1397"/>
                    </a:lnTo>
                    <a:lnTo>
                      <a:pt x="2" y="1397"/>
                    </a:lnTo>
                    <a:lnTo>
                      <a:pt x="2" y="616"/>
                    </a:lnTo>
                    <a:close/>
                    <a:moveTo>
                      <a:pt x="5159" y="609"/>
                    </a:moveTo>
                    <a:lnTo>
                      <a:pt x="5157" y="609"/>
                    </a:lnTo>
                    <a:lnTo>
                      <a:pt x="5157" y="611"/>
                    </a:lnTo>
                    <a:lnTo>
                      <a:pt x="5157" y="675"/>
                    </a:lnTo>
                    <a:lnTo>
                      <a:pt x="5159" y="675"/>
                    </a:lnTo>
                    <a:lnTo>
                      <a:pt x="5159" y="609"/>
                    </a:lnTo>
                    <a:close/>
                    <a:moveTo>
                      <a:pt x="3189" y="583"/>
                    </a:moveTo>
                    <a:lnTo>
                      <a:pt x="3187" y="583"/>
                    </a:lnTo>
                    <a:lnTo>
                      <a:pt x="3187" y="583"/>
                    </a:lnTo>
                    <a:lnTo>
                      <a:pt x="3187" y="583"/>
                    </a:lnTo>
                    <a:lnTo>
                      <a:pt x="3187" y="601"/>
                    </a:lnTo>
                    <a:lnTo>
                      <a:pt x="3189" y="601"/>
                    </a:lnTo>
                    <a:lnTo>
                      <a:pt x="3189" y="583"/>
                    </a:lnTo>
                    <a:close/>
                    <a:moveTo>
                      <a:pt x="208" y="547"/>
                    </a:moveTo>
                    <a:lnTo>
                      <a:pt x="205" y="547"/>
                    </a:lnTo>
                    <a:lnTo>
                      <a:pt x="205" y="549"/>
                    </a:lnTo>
                    <a:lnTo>
                      <a:pt x="205" y="561"/>
                    </a:lnTo>
                    <a:lnTo>
                      <a:pt x="208" y="561"/>
                    </a:lnTo>
                    <a:lnTo>
                      <a:pt x="208" y="547"/>
                    </a:lnTo>
                    <a:close/>
                    <a:moveTo>
                      <a:pt x="6932" y="509"/>
                    </a:moveTo>
                    <a:lnTo>
                      <a:pt x="6930" y="509"/>
                    </a:lnTo>
                    <a:lnTo>
                      <a:pt x="6930" y="512"/>
                    </a:lnTo>
                    <a:lnTo>
                      <a:pt x="6930" y="1037"/>
                    </a:lnTo>
                    <a:lnTo>
                      <a:pt x="6932" y="1037"/>
                    </a:lnTo>
                    <a:lnTo>
                      <a:pt x="6932" y="509"/>
                    </a:lnTo>
                    <a:close/>
                    <a:moveTo>
                      <a:pt x="4100" y="502"/>
                    </a:moveTo>
                    <a:lnTo>
                      <a:pt x="4100" y="502"/>
                    </a:lnTo>
                    <a:lnTo>
                      <a:pt x="4097" y="504"/>
                    </a:lnTo>
                    <a:lnTo>
                      <a:pt x="4076" y="533"/>
                    </a:lnTo>
                    <a:lnTo>
                      <a:pt x="4076" y="535"/>
                    </a:lnTo>
                    <a:lnTo>
                      <a:pt x="4100" y="502"/>
                    </a:lnTo>
                    <a:close/>
                    <a:moveTo>
                      <a:pt x="3206" y="500"/>
                    </a:moveTo>
                    <a:lnTo>
                      <a:pt x="3206" y="500"/>
                    </a:lnTo>
                    <a:lnTo>
                      <a:pt x="3204" y="500"/>
                    </a:lnTo>
                    <a:lnTo>
                      <a:pt x="3204" y="502"/>
                    </a:lnTo>
                    <a:lnTo>
                      <a:pt x="3204" y="566"/>
                    </a:lnTo>
                    <a:lnTo>
                      <a:pt x="3206" y="566"/>
                    </a:lnTo>
                    <a:lnTo>
                      <a:pt x="3206" y="564"/>
                    </a:lnTo>
                    <a:lnTo>
                      <a:pt x="3206" y="564"/>
                    </a:lnTo>
                    <a:lnTo>
                      <a:pt x="3206" y="500"/>
                    </a:lnTo>
                    <a:close/>
                    <a:moveTo>
                      <a:pt x="3941" y="455"/>
                    </a:moveTo>
                    <a:lnTo>
                      <a:pt x="3941" y="455"/>
                    </a:lnTo>
                    <a:lnTo>
                      <a:pt x="3941" y="455"/>
                    </a:lnTo>
                    <a:lnTo>
                      <a:pt x="3941" y="455"/>
                    </a:lnTo>
                    <a:lnTo>
                      <a:pt x="3941" y="490"/>
                    </a:lnTo>
                    <a:lnTo>
                      <a:pt x="3859" y="644"/>
                    </a:lnTo>
                    <a:lnTo>
                      <a:pt x="3859" y="871"/>
                    </a:lnTo>
                    <a:lnTo>
                      <a:pt x="3861" y="871"/>
                    </a:lnTo>
                    <a:lnTo>
                      <a:pt x="3861" y="642"/>
                    </a:lnTo>
                    <a:lnTo>
                      <a:pt x="3941" y="488"/>
                    </a:lnTo>
                    <a:lnTo>
                      <a:pt x="3941" y="455"/>
                    </a:lnTo>
                    <a:close/>
                    <a:moveTo>
                      <a:pt x="3234" y="433"/>
                    </a:moveTo>
                    <a:lnTo>
                      <a:pt x="3232" y="433"/>
                    </a:lnTo>
                    <a:lnTo>
                      <a:pt x="3232" y="436"/>
                    </a:lnTo>
                    <a:lnTo>
                      <a:pt x="3232" y="474"/>
                    </a:lnTo>
                    <a:lnTo>
                      <a:pt x="3234" y="474"/>
                    </a:lnTo>
                    <a:lnTo>
                      <a:pt x="3234" y="471"/>
                    </a:lnTo>
                    <a:lnTo>
                      <a:pt x="3234" y="471"/>
                    </a:lnTo>
                    <a:lnTo>
                      <a:pt x="3234" y="433"/>
                    </a:lnTo>
                    <a:close/>
                    <a:moveTo>
                      <a:pt x="3948" y="391"/>
                    </a:moveTo>
                    <a:lnTo>
                      <a:pt x="3946" y="391"/>
                    </a:lnTo>
                    <a:lnTo>
                      <a:pt x="3946" y="391"/>
                    </a:lnTo>
                    <a:lnTo>
                      <a:pt x="3946" y="393"/>
                    </a:lnTo>
                    <a:lnTo>
                      <a:pt x="3946" y="448"/>
                    </a:lnTo>
                    <a:lnTo>
                      <a:pt x="3948" y="448"/>
                    </a:lnTo>
                    <a:lnTo>
                      <a:pt x="3948" y="448"/>
                    </a:lnTo>
                    <a:lnTo>
                      <a:pt x="3948" y="448"/>
                    </a:lnTo>
                    <a:lnTo>
                      <a:pt x="3948" y="391"/>
                    </a:lnTo>
                    <a:close/>
                    <a:moveTo>
                      <a:pt x="1716" y="367"/>
                    </a:moveTo>
                    <a:lnTo>
                      <a:pt x="1714" y="367"/>
                    </a:lnTo>
                    <a:lnTo>
                      <a:pt x="1714" y="369"/>
                    </a:lnTo>
                    <a:lnTo>
                      <a:pt x="1714" y="1075"/>
                    </a:lnTo>
                    <a:lnTo>
                      <a:pt x="1716" y="1075"/>
                    </a:lnTo>
                    <a:lnTo>
                      <a:pt x="1716" y="367"/>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8" y="235"/>
                    </a:lnTo>
                    <a:lnTo>
                      <a:pt x="4549" y="448"/>
                    </a:lnTo>
                    <a:lnTo>
                      <a:pt x="4551" y="448"/>
                    </a:lnTo>
                    <a:lnTo>
                      <a:pt x="4608" y="232"/>
                    </a:lnTo>
                    <a:close/>
                    <a:moveTo>
                      <a:pt x="4710" y="173"/>
                    </a:moveTo>
                    <a:lnTo>
                      <a:pt x="4707" y="173"/>
                    </a:lnTo>
                    <a:lnTo>
                      <a:pt x="4707" y="173"/>
                    </a:lnTo>
                    <a:lnTo>
                      <a:pt x="4707" y="175"/>
                    </a:lnTo>
                    <a:lnTo>
                      <a:pt x="4710" y="175"/>
                    </a:lnTo>
                    <a:lnTo>
                      <a:pt x="4710" y="173"/>
                    </a:lnTo>
                    <a:close/>
                    <a:moveTo>
                      <a:pt x="4759" y="0"/>
                    </a:moveTo>
                    <a:lnTo>
                      <a:pt x="4757" y="0"/>
                    </a:lnTo>
                    <a:lnTo>
                      <a:pt x="4757" y="2"/>
                    </a:lnTo>
                    <a:lnTo>
                      <a:pt x="4757" y="123"/>
                    </a:lnTo>
                    <a:lnTo>
                      <a:pt x="4757" y="123"/>
                    </a:lnTo>
                    <a:lnTo>
                      <a:pt x="4757" y="121"/>
                    </a:lnTo>
                    <a:lnTo>
                      <a:pt x="4759" y="121"/>
                    </a:lnTo>
                    <a:lnTo>
                      <a:pt x="4759"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0" name="Freeform 85"/>
              <p:cNvSpPr>
                <a:spLocks noEditPoints="1"/>
              </p:cNvSpPr>
              <p:nvPr/>
            </p:nvSpPr>
            <p:spPr bwMode="auto">
              <a:xfrm>
                <a:off x="85" y="1717"/>
                <a:ext cx="6932" cy="1397"/>
              </a:xfrm>
              <a:custGeom>
                <a:avLst/>
                <a:gdLst>
                  <a:gd name="T0" fmla="*/ 3615 w 6932"/>
                  <a:gd name="T1" fmla="*/ 1260 h 1397"/>
                  <a:gd name="T2" fmla="*/ 5736 w 6932"/>
                  <a:gd name="T3" fmla="*/ 1208 h 1397"/>
                  <a:gd name="T4" fmla="*/ 5736 w 6932"/>
                  <a:gd name="T5" fmla="*/ 1269 h 1397"/>
                  <a:gd name="T6" fmla="*/ 1593 w 6932"/>
                  <a:gd name="T7" fmla="*/ 1134 h 1397"/>
                  <a:gd name="T8" fmla="*/ 1593 w 6932"/>
                  <a:gd name="T9" fmla="*/ 1132 h 1397"/>
                  <a:gd name="T10" fmla="*/ 5760 w 6932"/>
                  <a:gd name="T11" fmla="*/ 1129 h 1397"/>
                  <a:gd name="T12" fmla="*/ 5762 w 6932"/>
                  <a:gd name="T13" fmla="*/ 1182 h 1397"/>
                  <a:gd name="T14" fmla="*/ 6225 w 6932"/>
                  <a:gd name="T15" fmla="*/ 1127 h 1397"/>
                  <a:gd name="T16" fmla="*/ 6228 w 6932"/>
                  <a:gd name="T17" fmla="*/ 1127 h 1397"/>
                  <a:gd name="T18" fmla="*/ 1369 w 6932"/>
                  <a:gd name="T19" fmla="*/ 1108 h 1397"/>
                  <a:gd name="T20" fmla="*/ 1369 w 6932"/>
                  <a:gd name="T21" fmla="*/ 1084 h 1397"/>
                  <a:gd name="T22" fmla="*/ 2764 w 6932"/>
                  <a:gd name="T23" fmla="*/ 1063 h 1397"/>
                  <a:gd name="T24" fmla="*/ 5838 w 6932"/>
                  <a:gd name="T25" fmla="*/ 1042 h 1397"/>
                  <a:gd name="T26" fmla="*/ 5835 w 6932"/>
                  <a:gd name="T27" fmla="*/ 1073 h 1397"/>
                  <a:gd name="T28" fmla="*/ 2780 w 6932"/>
                  <a:gd name="T29" fmla="*/ 1013 h 1397"/>
                  <a:gd name="T30" fmla="*/ 2783 w 6932"/>
                  <a:gd name="T31" fmla="*/ 1044 h 1397"/>
                  <a:gd name="T32" fmla="*/ 3674 w 6932"/>
                  <a:gd name="T33" fmla="*/ 992 h 1397"/>
                  <a:gd name="T34" fmla="*/ 3676 w 6932"/>
                  <a:gd name="T35" fmla="*/ 992 h 1397"/>
                  <a:gd name="T36" fmla="*/ 5854 w 6932"/>
                  <a:gd name="T37" fmla="*/ 1025 h 1397"/>
                  <a:gd name="T38" fmla="*/ 5854 w 6932"/>
                  <a:gd name="T39" fmla="*/ 990 h 1397"/>
                  <a:gd name="T40" fmla="*/ 6244 w 6932"/>
                  <a:gd name="T41" fmla="*/ 1111 h 1397"/>
                  <a:gd name="T42" fmla="*/ 6247 w 6932"/>
                  <a:gd name="T43" fmla="*/ 935 h 1397"/>
                  <a:gd name="T44" fmla="*/ 3750 w 6932"/>
                  <a:gd name="T45" fmla="*/ 938 h 1397"/>
                  <a:gd name="T46" fmla="*/ 6294 w 6932"/>
                  <a:gd name="T47" fmla="*/ 878 h 1397"/>
                  <a:gd name="T48" fmla="*/ 6294 w 6932"/>
                  <a:gd name="T49" fmla="*/ 888 h 1397"/>
                  <a:gd name="T50" fmla="*/ 6303 w 6932"/>
                  <a:gd name="T51" fmla="*/ 850 h 1397"/>
                  <a:gd name="T52" fmla="*/ 6303 w 6932"/>
                  <a:gd name="T53" fmla="*/ 871 h 1397"/>
                  <a:gd name="T54" fmla="*/ 3005 w 6932"/>
                  <a:gd name="T55" fmla="*/ 762 h 1397"/>
                  <a:gd name="T56" fmla="*/ 3005 w 6932"/>
                  <a:gd name="T57" fmla="*/ 923 h 1397"/>
                  <a:gd name="T58" fmla="*/ 912 w 6932"/>
                  <a:gd name="T59" fmla="*/ 753 h 1397"/>
                  <a:gd name="T60" fmla="*/ 915 w 6932"/>
                  <a:gd name="T61" fmla="*/ 753 h 1397"/>
                  <a:gd name="T62" fmla="*/ 5036 w 6932"/>
                  <a:gd name="T63" fmla="*/ 916 h 1397"/>
                  <a:gd name="T64" fmla="*/ 3043 w 6932"/>
                  <a:gd name="T65" fmla="*/ 656 h 1397"/>
                  <a:gd name="T66" fmla="*/ 3043 w 6932"/>
                  <a:gd name="T67" fmla="*/ 722 h 1397"/>
                  <a:gd name="T68" fmla="*/ 0 w 6932"/>
                  <a:gd name="T69" fmla="*/ 616 h 1397"/>
                  <a:gd name="T70" fmla="*/ 2 w 6932"/>
                  <a:gd name="T71" fmla="*/ 616 h 1397"/>
                  <a:gd name="T72" fmla="*/ 5157 w 6932"/>
                  <a:gd name="T73" fmla="*/ 675 h 1397"/>
                  <a:gd name="T74" fmla="*/ 3187 w 6932"/>
                  <a:gd name="T75" fmla="*/ 583 h 1397"/>
                  <a:gd name="T76" fmla="*/ 3189 w 6932"/>
                  <a:gd name="T77" fmla="*/ 601 h 1397"/>
                  <a:gd name="T78" fmla="*/ 205 w 6932"/>
                  <a:gd name="T79" fmla="*/ 549 h 1397"/>
                  <a:gd name="T80" fmla="*/ 6932 w 6932"/>
                  <a:gd name="T81" fmla="*/ 509 h 1397"/>
                  <a:gd name="T82" fmla="*/ 6932 w 6932"/>
                  <a:gd name="T83" fmla="*/ 1037 h 1397"/>
                  <a:gd name="T84" fmla="*/ 4097 w 6932"/>
                  <a:gd name="T85" fmla="*/ 504 h 1397"/>
                  <a:gd name="T86" fmla="*/ 3206 w 6932"/>
                  <a:gd name="T87" fmla="*/ 500 h 1397"/>
                  <a:gd name="T88" fmla="*/ 3204 w 6932"/>
                  <a:gd name="T89" fmla="*/ 566 h 1397"/>
                  <a:gd name="T90" fmla="*/ 3206 w 6932"/>
                  <a:gd name="T91" fmla="*/ 500 h 1397"/>
                  <a:gd name="T92" fmla="*/ 3941 w 6932"/>
                  <a:gd name="T93" fmla="*/ 455 h 1397"/>
                  <a:gd name="T94" fmla="*/ 3861 w 6932"/>
                  <a:gd name="T95" fmla="*/ 871 h 1397"/>
                  <a:gd name="T96" fmla="*/ 3234 w 6932"/>
                  <a:gd name="T97" fmla="*/ 433 h 1397"/>
                  <a:gd name="T98" fmla="*/ 3234 w 6932"/>
                  <a:gd name="T99" fmla="*/ 474 h 1397"/>
                  <a:gd name="T100" fmla="*/ 3948 w 6932"/>
                  <a:gd name="T101" fmla="*/ 391 h 1397"/>
                  <a:gd name="T102" fmla="*/ 3946 w 6932"/>
                  <a:gd name="T103" fmla="*/ 448 h 1397"/>
                  <a:gd name="T104" fmla="*/ 3948 w 6932"/>
                  <a:gd name="T105" fmla="*/ 391 h 1397"/>
                  <a:gd name="T106" fmla="*/ 1714 w 6932"/>
                  <a:gd name="T107" fmla="*/ 1075 h 1397"/>
                  <a:gd name="T108" fmla="*/ 3953 w 6932"/>
                  <a:gd name="T109" fmla="*/ 327 h 1397"/>
                  <a:gd name="T110" fmla="*/ 3955 w 6932"/>
                  <a:gd name="T111" fmla="*/ 381 h 1397"/>
                  <a:gd name="T112" fmla="*/ 4608 w 6932"/>
                  <a:gd name="T113" fmla="*/ 232 h 1397"/>
                  <a:gd name="T114" fmla="*/ 4608 w 6932"/>
                  <a:gd name="T115" fmla="*/ 232 h 1397"/>
                  <a:gd name="T116" fmla="*/ 4707 w 6932"/>
                  <a:gd name="T117" fmla="*/ 175 h 1397"/>
                  <a:gd name="T118" fmla="*/ 4757 w 6932"/>
                  <a:gd name="T119" fmla="*/ 0 h 1397"/>
                  <a:gd name="T120" fmla="*/ 4757 w 6932"/>
                  <a:gd name="T121" fmla="*/ 121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97">
                    <a:moveTo>
                      <a:pt x="3617" y="1222"/>
                    </a:moveTo>
                    <a:lnTo>
                      <a:pt x="3615" y="1222"/>
                    </a:lnTo>
                    <a:lnTo>
                      <a:pt x="3615" y="1224"/>
                    </a:lnTo>
                    <a:lnTo>
                      <a:pt x="3615" y="1260"/>
                    </a:lnTo>
                    <a:lnTo>
                      <a:pt x="3617" y="1260"/>
                    </a:lnTo>
                    <a:lnTo>
                      <a:pt x="3617" y="1222"/>
                    </a:lnTo>
                    <a:moveTo>
                      <a:pt x="5736" y="1208"/>
                    </a:moveTo>
                    <a:lnTo>
                      <a:pt x="5736" y="1208"/>
                    </a:lnTo>
                    <a:lnTo>
                      <a:pt x="5736" y="1208"/>
                    </a:lnTo>
                    <a:lnTo>
                      <a:pt x="5736" y="1210"/>
                    </a:lnTo>
                    <a:lnTo>
                      <a:pt x="5736" y="1269"/>
                    </a:lnTo>
                    <a:lnTo>
                      <a:pt x="5736" y="1269"/>
                    </a:lnTo>
                    <a:lnTo>
                      <a:pt x="5736" y="1208"/>
                    </a:lnTo>
                    <a:moveTo>
                      <a:pt x="1593" y="1132"/>
                    </a:moveTo>
                    <a:lnTo>
                      <a:pt x="1593" y="1132"/>
                    </a:lnTo>
                    <a:lnTo>
                      <a:pt x="1593" y="1134"/>
                    </a:lnTo>
                    <a:lnTo>
                      <a:pt x="1593" y="1134"/>
                    </a:lnTo>
                    <a:lnTo>
                      <a:pt x="1593" y="1134"/>
                    </a:lnTo>
                    <a:lnTo>
                      <a:pt x="1593" y="1132"/>
                    </a:lnTo>
                    <a:lnTo>
                      <a:pt x="1593" y="1132"/>
                    </a:lnTo>
                    <a:lnTo>
                      <a:pt x="1593" y="1132"/>
                    </a:lnTo>
                    <a:moveTo>
                      <a:pt x="5762" y="1127"/>
                    </a:moveTo>
                    <a:lnTo>
                      <a:pt x="5760" y="1127"/>
                    </a:lnTo>
                    <a:lnTo>
                      <a:pt x="5760" y="1129"/>
                    </a:lnTo>
                    <a:lnTo>
                      <a:pt x="5760" y="1184"/>
                    </a:lnTo>
                    <a:lnTo>
                      <a:pt x="5762" y="1184"/>
                    </a:lnTo>
                    <a:lnTo>
                      <a:pt x="5762" y="1182"/>
                    </a:lnTo>
                    <a:lnTo>
                      <a:pt x="5762" y="1182"/>
                    </a:lnTo>
                    <a:lnTo>
                      <a:pt x="5762" y="1127"/>
                    </a:lnTo>
                    <a:moveTo>
                      <a:pt x="6228" y="1127"/>
                    </a:moveTo>
                    <a:lnTo>
                      <a:pt x="6228" y="1127"/>
                    </a:lnTo>
                    <a:lnTo>
                      <a:pt x="6225" y="1127"/>
                    </a:lnTo>
                    <a:lnTo>
                      <a:pt x="6225" y="1129"/>
                    </a:lnTo>
                    <a:lnTo>
                      <a:pt x="6225" y="1153"/>
                    </a:lnTo>
                    <a:lnTo>
                      <a:pt x="6228" y="1153"/>
                    </a:lnTo>
                    <a:lnTo>
                      <a:pt x="6228" y="1127"/>
                    </a:lnTo>
                    <a:moveTo>
                      <a:pt x="1369" y="1084"/>
                    </a:moveTo>
                    <a:lnTo>
                      <a:pt x="1369" y="1084"/>
                    </a:lnTo>
                    <a:lnTo>
                      <a:pt x="1369" y="1084"/>
                    </a:lnTo>
                    <a:lnTo>
                      <a:pt x="1369" y="1108"/>
                    </a:lnTo>
                    <a:lnTo>
                      <a:pt x="1369" y="1108"/>
                    </a:lnTo>
                    <a:lnTo>
                      <a:pt x="1369" y="1106"/>
                    </a:lnTo>
                    <a:lnTo>
                      <a:pt x="1369" y="1106"/>
                    </a:lnTo>
                    <a:lnTo>
                      <a:pt x="1369" y="1084"/>
                    </a:lnTo>
                    <a:moveTo>
                      <a:pt x="2766" y="1063"/>
                    </a:moveTo>
                    <a:lnTo>
                      <a:pt x="2764" y="1063"/>
                    </a:lnTo>
                    <a:lnTo>
                      <a:pt x="2764" y="1063"/>
                    </a:lnTo>
                    <a:lnTo>
                      <a:pt x="2764" y="1063"/>
                    </a:lnTo>
                    <a:lnTo>
                      <a:pt x="2764" y="1184"/>
                    </a:lnTo>
                    <a:lnTo>
                      <a:pt x="2766" y="1184"/>
                    </a:lnTo>
                    <a:lnTo>
                      <a:pt x="2766" y="1063"/>
                    </a:lnTo>
                    <a:moveTo>
                      <a:pt x="5838" y="1042"/>
                    </a:moveTo>
                    <a:lnTo>
                      <a:pt x="5835" y="1042"/>
                    </a:lnTo>
                    <a:lnTo>
                      <a:pt x="5835" y="1042"/>
                    </a:lnTo>
                    <a:lnTo>
                      <a:pt x="5835" y="1042"/>
                    </a:lnTo>
                    <a:lnTo>
                      <a:pt x="5835" y="1073"/>
                    </a:lnTo>
                    <a:lnTo>
                      <a:pt x="5838" y="1073"/>
                    </a:lnTo>
                    <a:lnTo>
                      <a:pt x="5838" y="1042"/>
                    </a:lnTo>
                    <a:moveTo>
                      <a:pt x="2783" y="1011"/>
                    </a:moveTo>
                    <a:lnTo>
                      <a:pt x="2780" y="1013"/>
                    </a:lnTo>
                    <a:lnTo>
                      <a:pt x="2780" y="1013"/>
                    </a:lnTo>
                    <a:lnTo>
                      <a:pt x="2780" y="1047"/>
                    </a:lnTo>
                    <a:lnTo>
                      <a:pt x="2783" y="1047"/>
                    </a:lnTo>
                    <a:lnTo>
                      <a:pt x="2783" y="1044"/>
                    </a:lnTo>
                    <a:lnTo>
                      <a:pt x="2783" y="1044"/>
                    </a:lnTo>
                    <a:lnTo>
                      <a:pt x="2783" y="1011"/>
                    </a:lnTo>
                    <a:moveTo>
                      <a:pt x="3676" y="992"/>
                    </a:moveTo>
                    <a:lnTo>
                      <a:pt x="3674" y="992"/>
                    </a:lnTo>
                    <a:lnTo>
                      <a:pt x="3674" y="994"/>
                    </a:lnTo>
                    <a:lnTo>
                      <a:pt x="3674" y="1167"/>
                    </a:lnTo>
                    <a:lnTo>
                      <a:pt x="3676" y="1167"/>
                    </a:lnTo>
                    <a:lnTo>
                      <a:pt x="3676" y="992"/>
                    </a:lnTo>
                    <a:moveTo>
                      <a:pt x="5854" y="990"/>
                    </a:moveTo>
                    <a:lnTo>
                      <a:pt x="5854" y="990"/>
                    </a:lnTo>
                    <a:lnTo>
                      <a:pt x="5854" y="992"/>
                    </a:lnTo>
                    <a:lnTo>
                      <a:pt x="5854" y="1025"/>
                    </a:lnTo>
                    <a:lnTo>
                      <a:pt x="5854" y="1025"/>
                    </a:lnTo>
                    <a:lnTo>
                      <a:pt x="5854" y="1023"/>
                    </a:lnTo>
                    <a:lnTo>
                      <a:pt x="5854" y="1023"/>
                    </a:lnTo>
                    <a:lnTo>
                      <a:pt x="5854" y="990"/>
                    </a:lnTo>
                    <a:moveTo>
                      <a:pt x="6247" y="935"/>
                    </a:moveTo>
                    <a:lnTo>
                      <a:pt x="6244" y="935"/>
                    </a:lnTo>
                    <a:lnTo>
                      <a:pt x="6244" y="938"/>
                    </a:lnTo>
                    <a:lnTo>
                      <a:pt x="6244" y="1111"/>
                    </a:lnTo>
                    <a:lnTo>
                      <a:pt x="6244" y="1111"/>
                    </a:lnTo>
                    <a:lnTo>
                      <a:pt x="6244" y="1108"/>
                    </a:lnTo>
                    <a:lnTo>
                      <a:pt x="6247" y="1108"/>
                    </a:lnTo>
                    <a:lnTo>
                      <a:pt x="6247" y="935"/>
                    </a:lnTo>
                    <a:moveTo>
                      <a:pt x="3752" y="928"/>
                    </a:moveTo>
                    <a:lnTo>
                      <a:pt x="3750" y="928"/>
                    </a:lnTo>
                    <a:lnTo>
                      <a:pt x="3750" y="931"/>
                    </a:lnTo>
                    <a:lnTo>
                      <a:pt x="3750" y="938"/>
                    </a:lnTo>
                    <a:lnTo>
                      <a:pt x="3752" y="938"/>
                    </a:lnTo>
                    <a:lnTo>
                      <a:pt x="3752" y="928"/>
                    </a:lnTo>
                    <a:moveTo>
                      <a:pt x="6296" y="878"/>
                    </a:moveTo>
                    <a:lnTo>
                      <a:pt x="6294" y="878"/>
                    </a:lnTo>
                    <a:lnTo>
                      <a:pt x="6294" y="878"/>
                    </a:lnTo>
                    <a:lnTo>
                      <a:pt x="6294" y="881"/>
                    </a:lnTo>
                    <a:lnTo>
                      <a:pt x="6294" y="888"/>
                    </a:lnTo>
                    <a:lnTo>
                      <a:pt x="6294" y="888"/>
                    </a:lnTo>
                    <a:lnTo>
                      <a:pt x="6294" y="886"/>
                    </a:lnTo>
                    <a:lnTo>
                      <a:pt x="6296" y="886"/>
                    </a:lnTo>
                    <a:lnTo>
                      <a:pt x="6296" y="878"/>
                    </a:lnTo>
                    <a:moveTo>
                      <a:pt x="6303" y="850"/>
                    </a:moveTo>
                    <a:lnTo>
                      <a:pt x="6301" y="850"/>
                    </a:lnTo>
                    <a:lnTo>
                      <a:pt x="6301" y="852"/>
                    </a:lnTo>
                    <a:lnTo>
                      <a:pt x="6301" y="871"/>
                    </a:lnTo>
                    <a:lnTo>
                      <a:pt x="6303" y="871"/>
                    </a:lnTo>
                    <a:lnTo>
                      <a:pt x="6303" y="869"/>
                    </a:lnTo>
                    <a:lnTo>
                      <a:pt x="6303" y="869"/>
                    </a:lnTo>
                    <a:lnTo>
                      <a:pt x="6303" y="850"/>
                    </a:lnTo>
                    <a:moveTo>
                      <a:pt x="3005" y="762"/>
                    </a:moveTo>
                    <a:lnTo>
                      <a:pt x="3005" y="762"/>
                    </a:lnTo>
                    <a:lnTo>
                      <a:pt x="3005" y="762"/>
                    </a:lnTo>
                    <a:lnTo>
                      <a:pt x="3005" y="765"/>
                    </a:lnTo>
                    <a:lnTo>
                      <a:pt x="3005" y="923"/>
                    </a:lnTo>
                    <a:lnTo>
                      <a:pt x="3005" y="923"/>
                    </a:lnTo>
                    <a:lnTo>
                      <a:pt x="3005" y="762"/>
                    </a:lnTo>
                    <a:moveTo>
                      <a:pt x="915" y="753"/>
                    </a:moveTo>
                    <a:lnTo>
                      <a:pt x="912" y="753"/>
                    </a:lnTo>
                    <a:lnTo>
                      <a:pt x="912" y="755"/>
                    </a:lnTo>
                    <a:lnTo>
                      <a:pt x="912" y="772"/>
                    </a:lnTo>
                    <a:lnTo>
                      <a:pt x="915" y="772"/>
                    </a:lnTo>
                    <a:lnTo>
                      <a:pt x="915" y="753"/>
                    </a:lnTo>
                    <a:moveTo>
                      <a:pt x="5038" y="732"/>
                    </a:moveTo>
                    <a:lnTo>
                      <a:pt x="5036" y="732"/>
                    </a:lnTo>
                    <a:lnTo>
                      <a:pt x="5036" y="734"/>
                    </a:lnTo>
                    <a:lnTo>
                      <a:pt x="5036" y="916"/>
                    </a:lnTo>
                    <a:lnTo>
                      <a:pt x="5038" y="916"/>
                    </a:lnTo>
                    <a:lnTo>
                      <a:pt x="5038" y="732"/>
                    </a:lnTo>
                    <a:moveTo>
                      <a:pt x="3045" y="656"/>
                    </a:moveTo>
                    <a:lnTo>
                      <a:pt x="3043" y="656"/>
                    </a:lnTo>
                    <a:lnTo>
                      <a:pt x="3043" y="658"/>
                    </a:lnTo>
                    <a:lnTo>
                      <a:pt x="3043" y="725"/>
                    </a:lnTo>
                    <a:lnTo>
                      <a:pt x="3043" y="725"/>
                    </a:lnTo>
                    <a:lnTo>
                      <a:pt x="3043" y="722"/>
                    </a:lnTo>
                    <a:lnTo>
                      <a:pt x="3045" y="722"/>
                    </a:lnTo>
                    <a:lnTo>
                      <a:pt x="3045" y="656"/>
                    </a:lnTo>
                    <a:moveTo>
                      <a:pt x="2" y="616"/>
                    </a:moveTo>
                    <a:lnTo>
                      <a:pt x="0" y="616"/>
                    </a:lnTo>
                    <a:lnTo>
                      <a:pt x="0" y="618"/>
                    </a:lnTo>
                    <a:lnTo>
                      <a:pt x="0" y="1397"/>
                    </a:lnTo>
                    <a:lnTo>
                      <a:pt x="2" y="1397"/>
                    </a:lnTo>
                    <a:lnTo>
                      <a:pt x="2" y="616"/>
                    </a:lnTo>
                    <a:moveTo>
                      <a:pt x="5159" y="609"/>
                    </a:moveTo>
                    <a:lnTo>
                      <a:pt x="5157" y="609"/>
                    </a:lnTo>
                    <a:lnTo>
                      <a:pt x="5157" y="611"/>
                    </a:lnTo>
                    <a:lnTo>
                      <a:pt x="5157" y="675"/>
                    </a:lnTo>
                    <a:lnTo>
                      <a:pt x="5159" y="675"/>
                    </a:lnTo>
                    <a:lnTo>
                      <a:pt x="5159" y="609"/>
                    </a:lnTo>
                    <a:moveTo>
                      <a:pt x="3189" y="583"/>
                    </a:moveTo>
                    <a:lnTo>
                      <a:pt x="3187" y="583"/>
                    </a:lnTo>
                    <a:lnTo>
                      <a:pt x="3187" y="583"/>
                    </a:lnTo>
                    <a:lnTo>
                      <a:pt x="3187" y="583"/>
                    </a:lnTo>
                    <a:lnTo>
                      <a:pt x="3187" y="601"/>
                    </a:lnTo>
                    <a:lnTo>
                      <a:pt x="3189" y="601"/>
                    </a:lnTo>
                    <a:lnTo>
                      <a:pt x="3189" y="583"/>
                    </a:lnTo>
                    <a:moveTo>
                      <a:pt x="208" y="547"/>
                    </a:moveTo>
                    <a:lnTo>
                      <a:pt x="205" y="547"/>
                    </a:lnTo>
                    <a:lnTo>
                      <a:pt x="205" y="549"/>
                    </a:lnTo>
                    <a:lnTo>
                      <a:pt x="205" y="561"/>
                    </a:lnTo>
                    <a:lnTo>
                      <a:pt x="208" y="561"/>
                    </a:lnTo>
                    <a:lnTo>
                      <a:pt x="208" y="547"/>
                    </a:lnTo>
                    <a:moveTo>
                      <a:pt x="6932" y="509"/>
                    </a:moveTo>
                    <a:lnTo>
                      <a:pt x="6930" y="509"/>
                    </a:lnTo>
                    <a:lnTo>
                      <a:pt x="6930" y="512"/>
                    </a:lnTo>
                    <a:lnTo>
                      <a:pt x="6930" y="1037"/>
                    </a:lnTo>
                    <a:lnTo>
                      <a:pt x="6932" y="1037"/>
                    </a:lnTo>
                    <a:lnTo>
                      <a:pt x="6932" y="509"/>
                    </a:lnTo>
                    <a:moveTo>
                      <a:pt x="4100" y="502"/>
                    </a:moveTo>
                    <a:lnTo>
                      <a:pt x="4100" y="502"/>
                    </a:lnTo>
                    <a:lnTo>
                      <a:pt x="4097" y="504"/>
                    </a:lnTo>
                    <a:lnTo>
                      <a:pt x="4076" y="533"/>
                    </a:lnTo>
                    <a:lnTo>
                      <a:pt x="4076" y="535"/>
                    </a:lnTo>
                    <a:lnTo>
                      <a:pt x="4100" y="502"/>
                    </a:lnTo>
                    <a:moveTo>
                      <a:pt x="3206" y="500"/>
                    </a:moveTo>
                    <a:lnTo>
                      <a:pt x="3206" y="500"/>
                    </a:lnTo>
                    <a:lnTo>
                      <a:pt x="3204" y="500"/>
                    </a:lnTo>
                    <a:lnTo>
                      <a:pt x="3204" y="502"/>
                    </a:lnTo>
                    <a:lnTo>
                      <a:pt x="3204" y="566"/>
                    </a:lnTo>
                    <a:lnTo>
                      <a:pt x="3206" y="566"/>
                    </a:lnTo>
                    <a:lnTo>
                      <a:pt x="3206" y="564"/>
                    </a:lnTo>
                    <a:lnTo>
                      <a:pt x="3206" y="564"/>
                    </a:lnTo>
                    <a:lnTo>
                      <a:pt x="3206" y="500"/>
                    </a:lnTo>
                    <a:moveTo>
                      <a:pt x="3941" y="455"/>
                    </a:moveTo>
                    <a:lnTo>
                      <a:pt x="3941" y="455"/>
                    </a:lnTo>
                    <a:lnTo>
                      <a:pt x="3941" y="455"/>
                    </a:lnTo>
                    <a:lnTo>
                      <a:pt x="3941" y="455"/>
                    </a:lnTo>
                    <a:lnTo>
                      <a:pt x="3941" y="490"/>
                    </a:lnTo>
                    <a:lnTo>
                      <a:pt x="3859" y="644"/>
                    </a:lnTo>
                    <a:lnTo>
                      <a:pt x="3859" y="871"/>
                    </a:lnTo>
                    <a:lnTo>
                      <a:pt x="3861" y="871"/>
                    </a:lnTo>
                    <a:lnTo>
                      <a:pt x="3861" y="642"/>
                    </a:lnTo>
                    <a:lnTo>
                      <a:pt x="3941" y="488"/>
                    </a:lnTo>
                    <a:lnTo>
                      <a:pt x="3941" y="455"/>
                    </a:lnTo>
                    <a:moveTo>
                      <a:pt x="3234" y="433"/>
                    </a:moveTo>
                    <a:lnTo>
                      <a:pt x="3232" y="433"/>
                    </a:lnTo>
                    <a:lnTo>
                      <a:pt x="3232" y="436"/>
                    </a:lnTo>
                    <a:lnTo>
                      <a:pt x="3232" y="474"/>
                    </a:lnTo>
                    <a:lnTo>
                      <a:pt x="3234" y="474"/>
                    </a:lnTo>
                    <a:lnTo>
                      <a:pt x="3234" y="471"/>
                    </a:lnTo>
                    <a:lnTo>
                      <a:pt x="3234" y="471"/>
                    </a:lnTo>
                    <a:lnTo>
                      <a:pt x="3234" y="433"/>
                    </a:lnTo>
                    <a:moveTo>
                      <a:pt x="3948" y="391"/>
                    </a:moveTo>
                    <a:lnTo>
                      <a:pt x="3946" y="391"/>
                    </a:lnTo>
                    <a:lnTo>
                      <a:pt x="3946" y="391"/>
                    </a:lnTo>
                    <a:lnTo>
                      <a:pt x="3946" y="393"/>
                    </a:lnTo>
                    <a:lnTo>
                      <a:pt x="3946" y="448"/>
                    </a:lnTo>
                    <a:lnTo>
                      <a:pt x="3948" y="448"/>
                    </a:lnTo>
                    <a:lnTo>
                      <a:pt x="3948" y="448"/>
                    </a:lnTo>
                    <a:lnTo>
                      <a:pt x="3948" y="448"/>
                    </a:lnTo>
                    <a:lnTo>
                      <a:pt x="3948" y="391"/>
                    </a:lnTo>
                    <a:moveTo>
                      <a:pt x="1716" y="367"/>
                    </a:moveTo>
                    <a:lnTo>
                      <a:pt x="1714" y="367"/>
                    </a:lnTo>
                    <a:lnTo>
                      <a:pt x="1714" y="369"/>
                    </a:lnTo>
                    <a:lnTo>
                      <a:pt x="1714" y="1075"/>
                    </a:lnTo>
                    <a:lnTo>
                      <a:pt x="1716" y="1075"/>
                    </a:lnTo>
                    <a:lnTo>
                      <a:pt x="1716" y="367"/>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8" y="235"/>
                    </a:lnTo>
                    <a:lnTo>
                      <a:pt x="4549" y="448"/>
                    </a:lnTo>
                    <a:lnTo>
                      <a:pt x="4551" y="448"/>
                    </a:lnTo>
                    <a:lnTo>
                      <a:pt x="4608" y="232"/>
                    </a:lnTo>
                    <a:moveTo>
                      <a:pt x="4710" y="173"/>
                    </a:moveTo>
                    <a:lnTo>
                      <a:pt x="4707" y="173"/>
                    </a:lnTo>
                    <a:lnTo>
                      <a:pt x="4707" y="173"/>
                    </a:lnTo>
                    <a:lnTo>
                      <a:pt x="4707" y="175"/>
                    </a:lnTo>
                    <a:lnTo>
                      <a:pt x="4710" y="175"/>
                    </a:lnTo>
                    <a:lnTo>
                      <a:pt x="4710" y="173"/>
                    </a:lnTo>
                    <a:moveTo>
                      <a:pt x="4759" y="0"/>
                    </a:moveTo>
                    <a:lnTo>
                      <a:pt x="4757" y="0"/>
                    </a:lnTo>
                    <a:lnTo>
                      <a:pt x="4757" y="2"/>
                    </a:lnTo>
                    <a:lnTo>
                      <a:pt x="4757" y="123"/>
                    </a:lnTo>
                    <a:lnTo>
                      <a:pt x="4757" y="123"/>
                    </a:lnTo>
                    <a:lnTo>
                      <a:pt x="4757" y="121"/>
                    </a:lnTo>
                    <a:lnTo>
                      <a:pt x="4759" y="121"/>
                    </a:lnTo>
                    <a:lnTo>
                      <a:pt x="47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1" name="Freeform 86"/>
              <p:cNvSpPr>
                <a:spLocks noEditPoints="1"/>
              </p:cNvSpPr>
              <p:nvPr/>
            </p:nvSpPr>
            <p:spPr bwMode="auto">
              <a:xfrm>
                <a:off x="87" y="1715"/>
                <a:ext cx="6930" cy="1399"/>
              </a:xfrm>
              <a:custGeom>
                <a:avLst/>
                <a:gdLst>
                  <a:gd name="T0" fmla="*/ 3615 w 6930"/>
                  <a:gd name="T1" fmla="*/ 1262 h 1399"/>
                  <a:gd name="T2" fmla="*/ 5736 w 6930"/>
                  <a:gd name="T3" fmla="*/ 1210 h 1399"/>
                  <a:gd name="T4" fmla="*/ 5736 w 6930"/>
                  <a:gd name="T5" fmla="*/ 1271 h 1399"/>
                  <a:gd name="T6" fmla="*/ 1591 w 6930"/>
                  <a:gd name="T7" fmla="*/ 1134 h 1399"/>
                  <a:gd name="T8" fmla="*/ 1594 w 6930"/>
                  <a:gd name="T9" fmla="*/ 1131 h 1399"/>
                  <a:gd name="T10" fmla="*/ 5760 w 6930"/>
                  <a:gd name="T11" fmla="*/ 1129 h 1399"/>
                  <a:gd name="T12" fmla="*/ 5762 w 6930"/>
                  <a:gd name="T13" fmla="*/ 1184 h 1399"/>
                  <a:gd name="T14" fmla="*/ 6226 w 6930"/>
                  <a:gd name="T15" fmla="*/ 1127 h 1399"/>
                  <a:gd name="T16" fmla="*/ 6228 w 6930"/>
                  <a:gd name="T17" fmla="*/ 1127 h 1399"/>
                  <a:gd name="T18" fmla="*/ 1367 w 6930"/>
                  <a:gd name="T19" fmla="*/ 1108 h 1399"/>
                  <a:gd name="T20" fmla="*/ 1369 w 6930"/>
                  <a:gd name="T21" fmla="*/ 1084 h 1399"/>
                  <a:gd name="T22" fmla="*/ 2764 w 6930"/>
                  <a:gd name="T23" fmla="*/ 1065 h 1399"/>
                  <a:gd name="T24" fmla="*/ 5836 w 6930"/>
                  <a:gd name="T25" fmla="*/ 1041 h 1399"/>
                  <a:gd name="T26" fmla="*/ 5836 w 6930"/>
                  <a:gd name="T27" fmla="*/ 1075 h 1399"/>
                  <a:gd name="T28" fmla="*/ 2781 w 6930"/>
                  <a:gd name="T29" fmla="*/ 1013 h 1399"/>
                  <a:gd name="T30" fmla="*/ 2783 w 6930"/>
                  <a:gd name="T31" fmla="*/ 1044 h 1399"/>
                  <a:gd name="T32" fmla="*/ 3674 w 6930"/>
                  <a:gd name="T33" fmla="*/ 994 h 1399"/>
                  <a:gd name="T34" fmla="*/ 3677 w 6930"/>
                  <a:gd name="T35" fmla="*/ 994 h 1399"/>
                  <a:gd name="T36" fmla="*/ 5852 w 6930"/>
                  <a:gd name="T37" fmla="*/ 1025 h 1399"/>
                  <a:gd name="T38" fmla="*/ 5855 w 6930"/>
                  <a:gd name="T39" fmla="*/ 989 h 1399"/>
                  <a:gd name="T40" fmla="*/ 6245 w 6930"/>
                  <a:gd name="T41" fmla="*/ 1110 h 1399"/>
                  <a:gd name="T42" fmla="*/ 6245 w 6930"/>
                  <a:gd name="T43" fmla="*/ 935 h 1399"/>
                  <a:gd name="T44" fmla="*/ 3750 w 6930"/>
                  <a:gd name="T45" fmla="*/ 940 h 1399"/>
                  <a:gd name="T46" fmla="*/ 6294 w 6930"/>
                  <a:gd name="T47" fmla="*/ 878 h 1399"/>
                  <a:gd name="T48" fmla="*/ 6294 w 6930"/>
                  <a:gd name="T49" fmla="*/ 888 h 1399"/>
                  <a:gd name="T50" fmla="*/ 6304 w 6930"/>
                  <a:gd name="T51" fmla="*/ 850 h 1399"/>
                  <a:gd name="T52" fmla="*/ 6304 w 6930"/>
                  <a:gd name="T53" fmla="*/ 871 h 1399"/>
                  <a:gd name="T54" fmla="*/ 3005 w 6930"/>
                  <a:gd name="T55" fmla="*/ 762 h 1399"/>
                  <a:gd name="T56" fmla="*/ 3003 w 6930"/>
                  <a:gd name="T57" fmla="*/ 925 h 1399"/>
                  <a:gd name="T58" fmla="*/ 913 w 6930"/>
                  <a:gd name="T59" fmla="*/ 753 h 1399"/>
                  <a:gd name="T60" fmla="*/ 915 w 6930"/>
                  <a:gd name="T61" fmla="*/ 753 h 1399"/>
                  <a:gd name="T62" fmla="*/ 5036 w 6930"/>
                  <a:gd name="T63" fmla="*/ 918 h 1399"/>
                  <a:gd name="T64" fmla="*/ 3043 w 6930"/>
                  <a:gd name="T65" fmla="*/ 656 h 1399"/>
                  <a:gd name="T66" fmla="*/ 3043 w 6930"/>
                  <a:gd name="T67" fmla="*/ 724 h 1399"/>
                  <a:gd name="T68" fmla="*/ 0 w 6930"/>
                  <a:gd name="T69" fmla="*/ 615 h 1399"/>
                  <a:gd name="T70" fmla="*/ 2 w 6930"/>
                  <a:gd name="T71" fmla="*/ 615 h 1399"/>
                  <a:gd name="T72" fmla="*/ 5157 w 6930"/>
                  <a:gd name="T73" fmla="*/ 677 h 1399"/>
                  <a:gd name="T74" fmla="*/ 3187 w 6930"/>
                  <a:gd name="T75" fmla="*/ 582 h 1399"/>
                  <a:gd name="T76" fmla="*/ 3187 w 6930"/>
                  <a:gd name="T77" fmla="*/ 603 h 1399"/>
                  <a:gd name="T78" fmla="*/ 206 w 6930"/>
                  <a:gd name="T79" fmla="*/ 549 h 1399"/>
                  <a:gd name="T80" fmla="*/ 6930 w 6930"/>
                  <a:gd name="T81" fmla="*/ 509 h 1399"/>
                  <a:gd name="T82" fmla="*/ 6930 w 6930"/>
                  <a:gd name="T83" fmla="*/ 1039 h 1399"/>
                  <a:gd name="T84" fmla="*/ 4098 w 6930"/>
                  <a:gd name="T85" fmla="*/ 504 h 1399"/>
                  <a:gd name="T86" fmla="*/ 3206 w 6930"/>
                  <a:gd name="T87" fmla="*/ 502 h 1399"/>
                  <a:gd name="T88" fmla="*/ 3204 w 6930"/>
                  <a:gd name="T89" fmla="*/ 566 h 1399"/>
                  <a:gd name="T90" fmla="*/ 3206 w 6930"/>
                  <a:gd name="T91" fmla="*/ 502 h 1399"/>
                  <a:gd name="T92" fmla="*/ 3939 w 6930"/>
                  <a:gd name="T93" fmla="*/ 457 h 1399"/>
                  <a:gd name="T94" fmla="*/ 3861 w 6930"/>
                  <a:gd name="T95" fmla="*/ 873 h 1399"/>
                  <a:gd name="T96" fmla="*/ 3235 w 6930"/>
                  <a:gd name="T97" fmla="*/ 433 h 1399"/>
                  <a:gd name="T98" fmla="*/ 3232 w 6930"/>
                  <a:gd name="T99" fmla="*/ 473 h 1399"/>
                  <a:gd name="T100" fmla="*/ 3949 w 6930"/>
                  <a:gd name="T101" fmla="*/ 390 h 1399"/>
                  <a:gd name="T102" fmla="*/ 3946 w 6930"/>
                  <a:gd name="T103" fmla="*/ 450 h 1399"/>
                  <a:gd name="T104" fmla="*/ 3949 w 6930"/>
                  <a:gd name="T105" fmla="*/ 390 h 1399"/>
                  <a:gd name="T106" fmla="*/ 1714 w 6930"/>
                  <a:gd name="T107" fmla="*/ 1077 h 1399"/>
                  <a:gd name="T108" fmla="*/ 3953 w 6930"/>
                  <a:gd name="T109" fmla="*/ 326 h 1399"/>
                  <a:gd name="T110" fmla="*/ 3956 w 6930"/>
                  <a:gd name="T111" fmla="*/ 381 h 1399"/>
                  <a:gd name="T112" fmla="*/ 4608 w 6930"/>
                  <a:gd name="T113" fmla="*/ 232 h 1399"/>
                  <a:gd name="T114" fmla="*/ 4608 w 6930"/>
                  <a:gd name="T115" fmla="*/ 232 h 1399"/>
                  <a:gd name="T116" fmla="*/ 4708 w 6930"/>
                  <a:gd name="T117" fmla="*/ 177 h 1399"/>
                  <a:gd name="T118" fmla="*/ 4757 w 6930"/>
                  <a:gd name="T119" fmla="*/ 0 h 1399"/>
                  <a:gd name="T120" fmla="*/ 4757 w 6930"/>
                  <a:gd name="T121" fmla="*/ 123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9">
                    <a:moveTo>
                      <a:pt x="3615" y="1221"/>
                    </a:moveTo>
                    <a:lnTo>
                      <a:pt x="3615" y="1221"/>
                    </a:lnTo>
                    <a:lnTo>
                      <a:pt x="3615" y="1224"/>
                    </a:lnTo>
                    <a:lnTo>
                      <a:pt x="3615" y="1262"/>
                    </a:lnTo>
                    <a:lnTo>
                      <a:pt x="3615" y="1262"/>
                    </a:lnTo>
                    <a:lnTo>
                      <a:pt x="3615" y="1221"/>
                    </a:lnTo>
                    <a:close/>
                    <a:moveTo>
                      <a:pt x="5736" y="1210"/>
                    </a:moveTo>
                    <a:lnTo>
                      <a:pt x="5736" y="1210"/>
                    </a:lnTo>
                    <a:lnTo>
                      <a:pt x="5734" y="1210"/>
                    </a:lnTo>
                    <a:lnTo>
                      <a:pt x="5734" y="1210"/>
                    </a:lnTo>
                    <a:lnTo>
                      <a:pt x="5734" y="1271"/>
                    </a:lnTo>
                    <a:lnTo>
                      <a:pt x="5736" y="1271"/>
                    </a:lnTo>
                    <a:lnTo>
                      <a:pt x="5736" y="1210"/>
                    </a:lnTo>
                    <a:close/>
                    <a:moveTo>
                      <a:pt x="1594" y="1131"/>
                    </a:moveTo>
                    <a:lnTo>
                      <a:pt x="1591" y="1131"/>
                    </a:lnTo>
                    <a:lnTo>
                      <a:pt x="1591" y="1134"/>
                    </a:lnTo>
                    <a:lnTo>
                      <a:pt x="1591" y="1134"/>
                    </a:lnTo>
                    <a:lnTo>
                      <a:pt x="1594" y="1134"/>
                    </a:lnTo>
                    <a:lnTo>
                      <a:pt x="1594" y="1131"/>
                    </a:lnTo>
                    <a:lnTo>
                      <a:pt x="1594" y="1131"/>
                    </a:lnTo>
                    <a:lnTo>
                      <a:pt x="1594" y="1131"/>
                    </a:lnTo>
                    <a:close/>
                    <a:moveTo>
                      <a:pt x="5762" y="1127"/>
                    </a:moveTo>
                    <a:lnTo>
                      <a:pt x="5760" y="1127"/>
                    </a:lnTo>
                    <a:lnTo>
                      <a:pt x="5760" y="1129"/>
                    </a:lnTo>
                    <a:lnTo>
                      <a:pt x="5760" y="1184"/>
                    </a:lnTo>
                    <a:lnTo>
                      <a:pt x="5760" y="1184"/>
                    </a:lnTo>
                    <a:lnTo>
                      <a:pt x="5760" y="1184"/>
                    </a:lnTo>
                    <a:lnTo>
                      <a:pt x="5762" y="1184"/>
                    </a:lnTo>
                    <a:lnTo>
                      <a:pt x="5762" y="1127"/>
                    </a:lnTo>
                    <a:close/>
                    <a:moveTo>
                      <a:pt x="6228" y="1127"/>
                    </a:moveTo>
                    <a:lnTo>
                      <a:pt x="6228" y="1127"/>
                    </a:lnTo>
                    <a:lnTo>
                      <a:pt x="6226" y="1127"/>
                    </a:lnTo>
                    <a:lnTo>
                      <a:pt x="6226" y="1129"/>
                    </a:lnTo>
                    <a:lnTo>
                      <a:pt x="6226" y="1155"/>
                    </a:lnTo>
                    <a:lnTo>
                      <a:pt x="6228" y="1155"/>
                    </a:lnTo>
                    <a:lnTo>
                      <a:pt x="6228" y="1127"/>
                    </a:lnTo>
                    <a:close/>
                    <a:moveTo>
                      <a:pt x="1369" y="1084"/>
                    </a:moveTo>
                    <a:lnTo>
                      <a:pt x="1367" y="1084"/>
                    </a:lnTo>
                    <a:lnTo>
                      <a:pt x="1367" y="1086"/>
                    </a:lnTo>
                    <a:lnTo>
                      <a:pt x="1367" y="1108"/>
                    </a:lnTo>
                    <a:lnTo>
                      <a:pt x="1369" y="1108"/>
                    </a:lnTo>
                    <a:lnTo>
                      <a:pt x="1369" y="1108"/>
                    </a:lnTo>
                    <a:lnTo>
                      <a:pt x="1369" y="1108"/>
                    </a:lnTo>
                    <a:lnTo>
                      <a:pt x="1369" y="1084"/>
                    </a:lnTo>
                    <a:close/>
                    <a:moveTo>
                      <a:pt x="2767" y="1063"/>
                    </a:moveTo>
                    <a:lnTo>
                      <a:pt x="2764" y="1063"/>
                    </a:lnTo>
                    <a:lnTo>
                      <a:pt x="2764" y="1063"/>
                    </a:lnTo>
                    <a:lnTo>
                      <a:pt x="2764" y="1065"/>
                    </a:lnTo>
                    <a:lnTo>
                      <a:pt x="2764" y="1186"/>
                    </a:lnTo>
                    <a:lnTo>
                      <a:pt x="2767" y="1186"/>
                    </a:lnTo>
                    <a:lnTo>
                      <a:pt x="2767" y="1063"/>
                    </a:lnTo>
                    <a:close/>
                    <a:moveTo>
                      <a:pt x="5836" y="1041"/>
                    </a:moveTo>
                    <a:lnTo>
                      <a:pt x="5836" y="1041"/>
                    </a:lnTo>
                    <a:lnTo>
                      <a:pt x="5836" y="1041"/>
                    </a:lnTo>
                    <a:lnTo>
                      <a:pt x="5836" y="1044"/>
                    </a:lnTo>
                    <a:lnTo>
                      <a:pt x="5836" y="1075"/>
                    </a:lnTo>
                    <a:lnTo>
                      <a:pt x="5836" y="1075"/>
                    </a:lnTo>
                    <a:lnTo>
                      <a:pt x="5836" y="1041"/>
                    </a:lnTo>
                    <a:close/>
                    <a:moveTo>
                      <a:pt x="2783" y="1011"/>
                    </a:moveTo>
                    <a:lnTo>
                      <a:pt x="2781" y="1013"/>
                    </a:lnTo>
                    <a:lnTo>
                      <a:pt x="2781" y="1013"/>
                    </a:lnTo>
                    <a:lnTo>
                      <a:pt x="2781" y="1046"/>
                    </a:lnTo>
                    <a:lnTo>
                      <a:pt x="2783" y="1046"/>
                    </a:lnTo>
                    <a:lnTo>
                      <a:pt x="2783" y="1044"/>
                    </a:lnTo>
                    <a:lnTo>
                      <a:pt x="2783" y="1044"/>
                    </a:lnTo>
                    <a:lnTo>
                      <a:pt x="2783" y="1011"/>
                    </a:lnTo>
                    <a:close/>
                    <a:moveTo>
                      <a:pt x="3677" y="994"/>
                    </a:moveTo>
                    <a:lnTo>
                      <a:pt x="3674" y="994"/>
                    </a:lnTo>
                    <a:lnTo>
                      <a:pt x="3674" y="994"/>
                    </a:lnTo>
                    <a:lnTo>
                      <a:pt x="3674" y="1169"/>
                    </a:lnTo>
                    <a:lnTo>
                      <a:pt x="3677" y="1169"/>
                    </a:lnTo>
                    <a:lnTo>
                      <a:pt x="3677" y="994"/>
                    </a:lnTo>
                    <a:close/>
                    <a:moveTo>
                      <a:pt x="5855" y="989"/>
                    </a:moveTo>
                    <a:lnTo>
                      <a:pt x="5852" y="989"/>
                    </a:lnTo>
                    <a:lnTo>
                      <a:pt x="5852" y="992"/>
                    </a:lnTo>
                    <a:lnTo>
                      <a:pt x="5852" y="1025"/>
                    </a:lnTo>
                    <a:lnTo>
                      <a:pt x="5852" y="1025"/>
                    </a:lnTo>
                    <a:lnTo>
                      <a:pt x="5852" y="1023"/>
                    </a:lnTo>
                    <a:lnTo>
                      <a:pt x="5855" y="1023"/>
                    </a:lnTo>
                    <a:lnTo>
                      <a:pt x="5855" y="989"/>
                    </a:lnTo>
                    <a:close/>
                    <a:moveTo>
                      <a:pt x="6245" y="935"/>
                    </a:moveTo>
                    <a:lnTo>
                      <a:pt x="6245" y="935"/>
                    </a:lnTo>
                    <a:lnTo>
                      <a:pt x="6245" y="937"/>
                    </a:lnTo>
                    <a:lnTo>
                      <a:pt x="6245" y="1110"/>
                    </a:lnTo>
                    <a:lnTo>
                      <a:pt x="6245" y="1110"/>
                    </a:lnTo>
                    <a:lnTo>
                      <a:pt x="6245" y="1110"/>
                    </a:lnTo>
                    <a:lnTo>
                      <a:pt x="6245" y="1110"/>
                    </a:lnTo>
                    <a:lnTo>
                      <a:pt x="6245" y="935"/>
                    </a:lnTo>
                    <a:close/>
                    <a:moveTo>
                      <a:pt x="3750" y="928"/>
                    </a:moveTo>
                    <a:lnTo>
                      <a:pt x="3750" y="928"/>
                    </a:lnTo>
                    <a:lnTo>
                      <a:pt x="3750" y="930"/>
                    </a:lnTo>
                    <a:lnTo>
                      <a:pt x="3750" y="940"/>
                    </a:lnTo>
                    <a:lnTo>
                      <a:pt x="3750" y="940"/>
                    </a:lnTo>
                    <a:lnTo>
                      <a:pt x="3750" y="928"/>
                    </a:lnTo>
                    <a:close/>
                    <a:moveTo>
                      <a:pt x="6294" y="878"/>
                    </a:moveTo>
                    <a:lnTo>
                      <a:pt x="6294" y="878"/>
                    </a:lnTo>
                    <a:lnTo>
                      <a:pt x="6294" y="878"/>
                    </a:lnTo>
                    <a:lnTo>
                      <a:pt x="6294" y="880"/>
                    </a:lnTo>
                    <a:lnTo>
                      <a:pt x="6294" y="888"/>
                    </a:lnTo>
                    <a:lnTo>
                      <a:pt x="6294" y="888"/>
                    </a:lnTo>
                    <a:lnTo>
                      <a:pt x="6294" y="885"/>
                    </a:lnTo>
                    <a:lnTo>
                      <a:pt x="6294" y="885"/>
                    </a:lnTo>
                    <a:lnTo>
                      <a:pt x="6294" y="878"/>
                    </a:lnTo>
                    <a:close/>
                    <a:moveTo>
                      <a:pt x="6304" y="850"/>
                    </a:moveTo>
                    <a:lnTo>
                      <a:pt x="6301" y="850"/>
                    </a:lnTo>
                    <a:lnTo>
                      <a:pt x="6301" y="852"/>
                    </a:lnTo>
                    <a:lnTo>
                      <a:pt x="6301" y="871"/>
                    </a:lnTo>
                    <a:lnTo>
                      <a:pt x="6304" y="871"/>
                    </a:lnTo>
                    <a:lnTo>
                      <a:pt x="6304" y="869"/>
                    </a:lnTo>
                    <a:lnTo>
                      <a:pt x="6304" y="869"/>
                    </a:lnTo>
                    <a:lnTo>
                      <a:pt x="6304" y="850"/>
                    </a:lnTo>
                    <a:close/>
                    <a:moveTo>
                      <a:pt x="3005" y="762"/>
                    </a:moveTo>
                    <a:lnTo>
                      <a:pt x="3005" y="762"/>
                    </a:lnTo>
                    <a:lnTo>
                      <a:pt x="3003" y="762"/>
                    </a:lnTo>
                    <a:lnTo>
                      <a:pt x="3003" y="764"/>
                    </a:lnTo>
                    <a:lnTo>
                      <a:pt x="3003" y="925"/>
                    </a:lnTo>
                    <a:lnTo>
                      <a:pt x="3005" y="925"/>
                    </a:lnTo>
                    <a:lnTo>
                      <a:pt x="3005" y="762"/>
                    </a:lnTo>
                    <a:close/>
                    <a:moveTo>
                      <a:pt x="915" y="753"/>
                    </a:moveTo>
                    <a:lnTo>
                      <a:pt x="913" y="753"/>
                    </a:lnTo>
                    <a:lnTo>
                      <a:pt x="913" y="755"/>
                    </a:lnTo>
                    <a:lnTo>
                      <a:pt x="913" y="774"/>
                    </a:lnTo>
                    <a:lnTo>
                      <a:pt x="915" y="774"/>
                    </a:lnTo>
                    <a:lnTo>
                      <a:pt x="915" y="753"/>
                    </a:lnTo>
                    <a:close/>
                    <a:moveTo>
                      <a:pt x="5036" y="731"/>
                    </a:moveTo>
                    <a:lnTo>
                      <a:pt x="5036" y="731"/>
                    </a:lnTo>
                    <a:lnTo>
                      <a:pt x="5036" y="734"/>
                    </a:lnTo>
                    <a:lnTo>
                      <a:pt x="5036" y="918"/>
                    </a:lnTo>
                    <a:lnTo>
                      <a:pt x="5036" y="918"/>
                    </a:lnTo>
                    <a:lnTo>
                      <a:pt x="5036" y="731"/>
                    </a:lnTo>
                    <a:close/>
                    <a:moveTo>
                      <a:pt x="3043" y="656"/>
                    </a:moveTo>
                    <a:lnTo>
                      <a:pt x="3043" y="656"/>
                    </a:lnTo>
                    <a:lnTo>
                      <a:pt x="3043" y="658"/>
                    </a:lnTo>
                    <a:lnTo>
                      <a:pt x="3043" y="724"/>
                    </a:lnTo>
                    <a:lnTo>
                      <a:pt x="3043" y="724"/>
                    </a:lnTo>
                    <a:lnTo>
                      <a:pt x="3043" y="724"/>
                    </a:lnTo>
                    <a:lnTo>
                      <a:pt x="3043" y="724"/>
                    </a:lnTo>
                    <a:lnTo>
                      <a:pt x="3043" y="656"/>
                    </a:lnTo>
                    <a:close/>
                    <a:moveTo>
                      <a:pt x="2" y="615"/>
                    </a:moveTo>
                    <a:lnTo>
                      <a:pt x="0" y="615"/>
                    </a:lnTo>
                    <a:lnTo>
                      <a:pt x="0" y="618"/>
                    </a:lnTo>
                    <a:lnTo>
                      <a:pt x="0" y="1399"/>
                    </a:lnTo>
                    <a:lnTo>
                      <a:pt x="2" y="1399"/>
                    </a:lnTo>
                    <a:lnTo>
                      <a:pt x="2" y="615"/>
                    </a:lnTo>
                    <a:close/>
                    <a:moveTo>
                      <a:pt x="5159" y="608"/>
                    </a:moveTo>
                    <a:lnTo>
                      <a:pt x="5157" y="608"/>
                    </a:lnTo>
                    <a:lnTo>
                      <a:pt x="5157" y="611"/>
                    </a:lnTo>
                    <a:lnTo>
                      <a:pt x="5157" y="677"/>
                    </a:lnTo>
                    <a:lnTo>
                      <a:pt x="5159" y="677"/>
                    </a:lnTo>
                    <a:lnTo>
                      <a:pt x="5159" y="608"/>
                    </a:lnTo>
                    <a:close/>
                    <a:moveTo>
                      <a:pt x="3187" y="582"/>
                    </a:moveTo>
                    <a:lnTo>
                      <a:pt x="3187" y="582"/>
                    </a:lnTo>
                    <a:lnTo>
                      <a:pt x="3187" y="582"/>
                    </a:lnTo>
                    <a:lnTo>
                      <a:pt x="3187" y="585"/>
                    </a:lnTo>
                    <a:lnTo>
                      <a:pt x="3187" y="603"/>
                    </a:lnTo>
                    <a:lnTo>
                      <a:pt x="3187" y="603"/>
                    </a:lnTo>
                    <a:lnTo>
                      <a:pt x="3187" y="582"/>
                    </a:lnTo>
                    <a:close/>
                    <a:moveTo>
                      <a:pt x="208" y="547"/>
                    </a:moveTo>
                    <a:lnTo>
                      <a:pt x="206" y="547"/>
                    </a:lnTo>
                    <a:lnTo>
                      <a:pt x="206" y="549"/>
                    </a:lnTo>
                    <a:lnTo>
                      <a:pt x="206" y="563"/>
                    </a:lnTo>
                    <a:lnTo>
                      <a:pt x="208" y="563"/>
                    </a:lnTo>
                    <a:lnTo>
                      <a:pt x="208" y="547"/>
                    </a:lnTo>
                    <a:close/>
                    <a:moveTo>
                      <a:pt x="6930" y="509"/>
                    </a:moveTo>
                    <a:lnTo>
                      <a:pt x="6930" y="509"/>
                    </a:lnTo>
                    <a:lnTo>
                      <a:pt x="6930" y="511"/>
                    </a:lnTo>
                    <a:lnTo>
                      <a:pt x="6930" y="1039"/>
                    </a:lnTo>
                    <a:lnTo>
                      <a:pt x="6930" y="1039"/>
                    </a:lnTo>
                    <a:lnTo>
                      <a:pt x="6930" y="509"/>
                    </a:lnTo>
                    <a:close/>
                    <a:moveTo>
                      <a:pt x="4100" y="504"/>
                    </a:moveTo>
                    <a:lnTo>
                      <a:pt x="4098" y="504"/>
                    </a:lnTo>
                    <a:lnTo>
                      <a:pt x="4098" y="504"/>
                    </a:lnTo>
                    <a:lnTo>
                      <a:pt x="4074" y="537"/>
                    </a:lnTo>
                    <a:lnTo>
                      <a:pt x="4074" y="537"/>
                    </a:lnTo>
                    <a:lnTo>
                      <a:pt x="4100" y="504"/>
                    </a:lnTo>
                    <a:close/>
                    <a:moveTo>
                      <a:pt x="3206" y="502"/>
                    </a:moveTo>
                    <a:lnTo>
                      <a:pt x="3204" y="502"/>
                    </a:lnTo>
                    <a:lnTo>
                      <a:pt x="3204" y="502"/>
                    </a:lnTo>
                    <a:lnTo>
                      <a:pt x="3204" y="502"/>
                    </a:lnTo>
                    <a:lnTo>
                      <a:pt x="3204" y="566"/>
                    </a:lnTo>
                    <a:lnTo>
                      <a:pt x="3204" y="566"/>
                    </a:lnTo>
                    <a:lnTo>
                      <a:pt x="3204" y="563"/>
                    </a:lnTo>
                    <a:lnTo>
                      <a:pt x="3206" y="563"/>
                    </a:lnTo>
                    <a:lnTo>
                      <a:pt x="3206" y="502"/>
                    </a:lnTo>
                    <a:close/>
                    <a:moveTo>
                      <a:pt x="3942" y="454"/>
                    </a:moveTo>
                    <a:lnTo>
                      <a:pt x="3942" y="454"/>
                    </a:lnTo>
                    <a:lnTo>
                      <a:pt x="3939" y="454"/>
                    </a:lnTo>
                    <a:lnTo>
                      <a:pt x="3939" y="457"/>
                    </a:lnTo>
                    <a:lnTo>
                      <a:pt x="3939" y="490"/>
                    </a:lnTo>
                    <a:lnTo>
                      <a:pt x="3859" y="644"/>
                    </a:lnTo>
                    <a:lnTo>
                      <a:pt x="3859" y="873"/>
                    </a:lnTo>
                    <a:lnTo>
                      <a:pt x="3861" y="873"/>
                    </a:lnTo>
                    <a:lnTo>
                      <a:pt x="3861" y="641"/>
                    </a:lnTo>
                    <a:lnTo>
                      <a:pt x="3942" y="490"/>
                    </a:lnTo>
                    <a:lnTo>
                      <a:pt x="3942" y="454"/>
                    </a:lnTo>
                    <a:close/>
                    <a:moveTo>
                      <a:pt x="3235" y="433"/>
                    </a:moveTo>
                    <a:lnTo>
                      <a:pt x="3232" y="433"/>
                    </a:lnTo>
                    <a:lnTo>
                      <a:pt x="3232" y="435"/>
                    </a:lnTo>
                    <a:lnTo>
                      <a:pt x="3232" y="473"/>
                    </a:lnTo>
                    <a:lnTo>
                      <a:pt x="3232" y="473"/>
                    </a:lnTo>
                    <a:lnTo>
                      <a:pt x="3232" y="471"/>
                    </a:lnTo>
                    <a:lnTo>
                      <a:pt x="3235" y="471"/>
                    </a:lnTo>
                    <a:lnTo>
                      <a:pt x="3235" y="433"/>
                    </a:lnTo>
                    <a:close/>
                    <a:moveTo>
                      <a:pt x="3949" y="390"/>
                    </a:moveTo>
                    <a:lnTo>
                      <a:pt x="3946" y="390"/>
                    </a:lnTo>
                    <a:lnTo>
                      <a:pt x="3946" y="390"/>
                    </a:lnTo>
                    <a:lnTo>
                      <a:pt x="3946" y="393"/>
                    </a:lnTo>
                    <a:lnTo>
                      <a:pt x="3946" y="450"/>
                    </a:lnTo>
                    <a:lnTo>
                      <a:pt x="3949" y="450"/>
                    </a:lnTo>
                    <a:lnTo>
                      <a:pt x="3949" y="447"/>
                    </a:lnTo>
                    <a:lnTo>
                      <a:pt x="3949" y="447"/>
                    </a:lnTo>
                    <a:lnTo>
                      <a:pt x="3949" y="390"/>
                    </a:lnTo>
                    <a:close/>
                    <a:moveTo>
                      <a:pt x="1714" y="369"/>
                    </a:moveTo>
                    <a:lnTo>
                      <a:pt x="1714" y="369"/>
                    </a:lnTo>
                    <a:lnTo>
                      <a:pt x="1714" y="369"/>
                    </a:lnTo>
                    <a:lnTo>
                      <a:pt x="1714" y="1077"/>
                    </a:lnTo>
                    <a:lnTo>
                      <a:pt x="1714" y="1077"/>
                    </a:lnTo>
                    <a:lnTo>
                      <a:pt x="1714" y="369"/>
                    </a:lnTo>
                    <a:close/>
                    <a:moveTo>
                      <a:pt x="3956" y="326"/>
                    </a:moveTo>
                    <a:lnTo>
                      <a:pt x="3953" y="326"/>
                    </a:lnTo>
                    <a:lnTo>
                      <a:pt x="3953" y="329"/>
                    </a:lnTo>
                    <a:lnTo>
                      <a:pt x="3953" y="383"/>
                    </a:lnTo>
                    <a:lnTo>
                      <a:pt x="3956" y="383"/>
                    </a:lnTo>
                    <a:lnTo>
                      <a:pt x="3956" y="381"/>
                    </a:lnTo>
                    <a:lnTo>
                      <a:pt x="3956" y="381"/>
                    </a:lnTo>
                    <a:lnTo>
                      <a:pt x="3956" y="326"/>
                    </a:lnTo>
                    <a:close/>
                    <a:moveTo>
                      <a:pt x="4608" y="232"/>
                    </a:moveTo>
                    <a:lnTo>
                      <a:pt x="4608" y="232"/>
                    </a:lnTo>
                    <a:lnTo>
                      <a:pt x="4606" y="234"/>
                    </a:lnTo>
                    <a:lnTo>
                      <a:pt x="4549" y="450"/>
                    </a:lnTo>
                    <a:lnTo>
                      <a:pt x="4549" y="447"/>
                    </a:lnTo>
                    <a:lnTo>
                      <a:pt x="4608" y="232"/>
                    </a:lnTo>
                    <a:close/>
                    <a:moveTo>
                      <a:pt x="4710" y="173"/>
                    </a:moveTo>
                    <a:lnTo>
                      <a:pt x="4708" y="173"/>
                    </a:lnTo>
                    <a:lnTo>
                      <a:pt x="4708" y="175"/>
                    </a:lnTo>
                    <a:lnTo>
                      <a:pt x="4708" y="177"/>
                    </a:lnTo>
                    <a:lnTo>
                      <a:pt x="4710" y="177"/>
                    </a:lnTo>
                    <a:lnTo>
                      <a:pt x="4710" y="173"/>
                    </a:lnTo>
                    <a:close/>
                    <a:moveTo>
                      <a:pt x="4757" y="0"/>
                    </a:moveTo>
                    <a:lnTo>
                      <a:pt x="4757" y="0"/>
                    </a:lnTo>
                    <a:lnTo>
                      <a:pt x="4757" y="2"/>
                    </a:lnTo>
                    <a:lnTo>
                      <a:pt x="4757" y="123"/>
                    </a:lnTo>
                    <a:lnTo>
                      <a:pt x="4757" y="123"/>
                    </a:lnTo>
                    <a:lnTo>
                      <a:pt x="4757" y="123"/>
                    </a:lnTo>
                    <a:lnTo>
                      <a:pt x="4757" y="123"/>
                    </a:lnTo>
                    <a:lnTo>
                      <a:pt x="475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2" name="Freeform 87"/>
              <p:cNvSpPr>
                <a:spLocks noEditPoints="1"/>
              </p:cNvSpPr>
              <p:nvPr/>
            </p:nvSpPr>
            <p:spPr bwMode="auto">
              <a:xfrm>
                <a:off x="87" y="1715"/>
                <a:ext cx="6930" cy="1399"/>
              </a:xfrm>
              <a:custGeom>
                <a:avLst/>
                <a:gdLst>
                  <a:gd name="T0" fmla="*/ 3615 w 6930"/>
                  <a:gd name="T1" fmla="*/ 1262 h 1399"/>
                  <a:gd name="T2" fmla="*/ 5736 w 6930"/>
                  <a:gd name="T3" fmla="*/ 1210 h 1399"/>
                  <a:gd name="T4" fmla="*/ 5736 w 6930"/>
                  <a:gd name="T5" fmla="*/ 1271 h 1399"/>
                  <a:gd name="T6" fmla="*/ 1591 w 6930"/>
                  <a:gd name="T7" fmla="*/ 1134 h 1399"/>
                  <a:gd name="T8" fmla="*/ 1594 w 6930"/>
                  <a:gd name="T9" fmla="*/ 1131 h 1399"/>
                  <a:gd name="T10" fmla="*/ 5760 w 6930"/>
                  <a:gd name="T11" fmla="*/ 1129 h 1399"/>
                  <a:gd name="T12" fmla="*/ 5762 w 6930"/>
                  <a:gd name="T13" fmla="*/ 1184 h 1399"/>
                  <a:gd name="T14" fmla="*/ 6226 w 6930"/>
                  <a:gd name="T15" fmla="*/ 1127 h 1399"/>
                  <a:gd name="T16" fmla="*/ 6228 w 6930"/>
                  <a:gd name="T17" fmla="*/ 1127 h 1399"/>
                  <a:gd name="T18" fmla="*/ 1367 w 6930"/>
                  <a:gd name="T19" fmla="*/ 1108 h 1399"/>
                  <a:gd name="T20" fmla="*/ 1369 w 6930"/>
                  <a:gd name="T21" fmla="*/ 1084 h 1399"/>
                  <a:gd name="T22" fmla="*/ 2764 w 6930"/>
                  <a:gd name="T23" fmla="*/ 1065 h 1399"/>
                  <a:gd name="T24" fmla="*/ 5836 w 6930"/>
                  <a:gd name="T25" fmla="*/ 1041 h 1399"/>
                  <a:gd name="T26" fmla="*/ 5836 w 6930"/>
                  <a:gd name="T27" fmla="*/ 1075 h 1399"/>
                  <a:gd name="T28" fmla="*/ 2781 w 6930"/>
                  <a:gd name="T29" fmla="*/ 1013 h 1399"/>
                  <a:gd name="T30" fmla="*/ 2783 w 6930"/>
                  <a:gd name="T31" fmla="*/ 1044 h 1399"/>
                  <a:gd name="T32" fmla="*/ 3674 w 6930"/>
                  <a:gd name="T33" fmla="*/ 994 h 1399"/>
                  <a:gd name="T34" fmla="*/ 3677 w 6930"/>
                  <a:gd name="T35" fmla="*/ 994 h 1399"/>
                  <a:gd name="T36" fmla="*/ 5852 w 6930"/>
                  <a:gd name="T37" fmla="*/ 1025 h 1399"/>
                  <a:gd name="T38" fmla="*/ 5855 w 6930"/>
                  <a:gd name="T39" fmla="*/ 989 h 1399"/>
                  <a:gd name="T40" fmla="*/ 6245 w 6930"/>
                  <a:gd name="T41" fmla="*/ 1110 h 1399"/>
                  <a:gd name="T42" fmla="*/ 6245 w 6930"/>
                  <a:gd name="T43" fmla="*/ 935 h 1399"/>
                  <a:gd name="T44" fmla="*/ 3750 w 6930"/>
                  <a:gd name="T45" fmla="*/ 940 h 1399"/>
                  <a:gd name="T46" fmla="*/ 6294 w 6930"/>
                  <a:gd name="T47" fmla="*/ 878 h 1399"/>
                  <a:gd name="T48" fmla="*/ 6294 w 6930"/>
                  <a:gd name="T49" fmla="*/ 888 h 1399"/>
                  <a:gd name="T50" fmla="*/ 6304 w 6930"/>
                  <a:gd name="T51" fmla="*/ 850 h 1399"/>
                  <a:gd name="T52" fmla="*/ 6304 w 6930"/>
                  <a:gd name="T53" fmla="*/ 871 h 1399"/>
                  <a:gd name="T54" fmla="*/ 3005 w 6930"/>
                  <a:gd name="T55" fmla="*/ 762 h 1399"/>
                  <a:gd name="T56" fmla="*/ 3003 w 6930"/>
                  <a:gd name="T57" fmla="*/ 925 h 1399"/>
                  <a:gd name="T58" fmla="*/ 913 w 6930"/>
                  <a:gd name="T59" fmla="*/ 753 h 1399"/>
                  <a:gd name="T60" fmla="*/ 915 w 6930"/>
                  <a:gd name="T61" fmla="*/ 753 h 1399"/>
                  <a:gd name="T62" fmla="*/ 5036 w 6930"/>
                  <a:gd name="T63" fmla="*/ 918 h 1399"/>
                  <a:gd name="T64" fmla="*/ 3043 w 6930"/>
                  <a:gd name="T65" fmla="*/ 656 h 1399"/>
                  <a:gd name="T66" fmla="*/ 3043 w 6930"/>
                  <a:gd name="T67" fmla="*/ 724 h 1399"/>
                  <a:gd name="T68" fmla="*/ 0 w 6930"/>
                  <a:gd name="T69" fmla="*/ 615 h 1399"/>
                  <a:gd name="T70" fmla="*/ 2 w 6930"/>
                  <a:gd name="T71" fmla="*/ 615 h 1399"/>
                  <a:gd name="T72" fmla="*/ 5157 w 6930"/>
                  <a:gd name="T73" fmla="*/ 677 h 1399"/>
                  <a:gd name="T74" fmla="*/ 3187 w 6930"/>
                  <a:gd name="T75" fmla="*/ 582 h 1399"/>
                  <a:gd name="T76" fmla="*/ 3187 w 6930"/>
                  <a:gd name="T77" fmla="*/ 603 h 1399"/>
                  <a:gd name="T78" fmla="*/ 206 w 6930"/>
                  <a:gd name="T79" fmla="*/ 549 h 1399"/>
                  <a:gd name="T80" fmla="*/ 6930 w 6930"/>
                  <a:gd name="T81" fmla="*/ 509 h 1399"/>
                  <a:gd name="T82" fmla="*/ 6930 w 6930"/>
                  <a:gd name="T83" fmla="*/ 1039 h 1399"/>
                  <a:gd name="T84" fmla="*/ 4098 w 6930"/>
                  <a:gd name="T85" fmla="*/ 504 h 1399"/>
                  <a:gd name="T86" fmla="*/ 3206 w 6930"/>
                  <a:gd name="T87" fmla="*/ 502 h 1399"/>
                  <a:gd name="T88" fmla="*/ 3204 w 6930"/>
                  <a:gd name="T89" fmla="*/ 566 h 1399"/>
                  <a:gd name="T90" fmla="*/ 3206 w 6930"/>
                  <a:gd name="T91" fmla="*/ 502 h 1399"/>
                  <a:gd name="T92" fmla="*/ 3939 w 6930"/>
                  <a:gd name="T93" fmla="*/ 457 h 1399"/>
                  <a:gd name="T94" fmla="*/ 3861 w 6930"/>
                  <a:gd name="T95" fmla="*/ 873 h 1399"/>
                  <a:gd name="T96" fmla="*/ 3235 w 6930"/>
                  <a:gd name="T97" fmla="*/ 433 h 1399"/>
                  <a:gd name="T98" fmla="*/ 3232 w 6930"/>
                  <a:gd name="T99" fmla="*/ 473 h 1399"/>
                  <a:gd name="T100" fmla="*/ 3949 w 6930"/>
                  <a:gd name="T101" fmla="*/ 390 h 1399"/>
                  <a:gd name="T102" fmla="*/ 3946 w 6930"/>
                  <a:gd name="T103" fmla="*/ 450 h 1399"/>
                  <a:gd name="T104" fmla="*/ 3949 w 6930"/>
                  <a:gd name="T105" fmla="*/ 390 h 1399"/>
                  <a:gd name="T106" fmla="*/ 1714 w 6930"/>
                  <a:gd name="T107" fmla="*/ 1077 h 1399"/>
                  <a:gd name="T108" fmla="*/ 3953 w 6930"/>
                  <a:gd name="T109" fmla="*/ 326 h 1399"/>
                  <a:gd name="T110" fmla="*/ 3956 w 6930"/>
                  <a:gd name="T111" fmla="*/ 381 h 1399"/>
                  <a:gd name="T112" fmla="*/ 4608 w 6930"/>
                  <a:gd name="T113" fmla="*/ 232 h 1399"/>
                  <a:gd name="T114" fmla="*/ 4608 w 6930"/>
                  <a:gd name="T115" fmla="*/ 232 h 1399"/>
                  <a:gd name="T116" fmla="*/ 4708 w 6930"/>
                  <a:gd name="T117" fmla="*/ 177 h 1399"/>
                  <a:gd name="T118" fmla="*/ 4757 w 6930"/>
                  <a:gd name="T119" fmla="*/ 0 h 1399"/>
                  <a:gd name="T120" fmla="*/ 4757 w 6930"/>
                  <a:gd name="T121" fmla="*/ 123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9">
                    <a:moveTo>
                      <a:pt x="3615" y="1221"/>
                    </a:moveTo>
                    <a:lnTo>
                      <a:pt x="3615" y="1221"/>
                    </a:lnTo>
                    <a:lnTo>
                      <a:pt x="3615" y="1224"/>
                    </a:lnTo>
                    <a:lnTo>
                      <a:pt x="3615" y="1262"/>
                    </a:lnTo>
                    <a:lnTo>
                      <a:pt x="3615" y="1262"/>
                    </a:lnTo>
                    <a:lnTo>
                      <a:pt x="3615" y="1221"/>
                    </a:lnTo>
                    <a:moveTo>
                      <a:pt x="5736" y="1210"/>
                    </a:moveTo>
                    <a:lnTo>
                      <a:pt x="5736" y="1210"/>
                    </a:lnTo>
                    <a:lnTo>
                      <a:pt x="5734" y="1210"/>
                    </a:lnTo>
                    <a:lnTo>
                      <a:pt x="5734" y="1210"/>
                    </a:lnTo>
                    <a:lnTo>
                      <a:pt x="5734" y="1271"/>
                    </a:lnTo>
                    <a:lnTo>
                      <a:pt x="5736" y="1271"/>
                    </a:lnTo>
                    <a:lnTo>
                      <a:pt x="5736" y="1210"/>
                    </a:lnTo>
                    <a:moveTo>
                      <a:pt x="1594" y="1131"/>
                    </a:moveTo>
                    <a:lnTo>
                      <a:pt x="1591" y="1131"/>
                    </a:lnTo>
                    <a:lnTo>
                      <a:pt x="1591" y="1134"/>
                    </a:lnTo>
                    <a:lnTo>
                      <a:pt x="1591" y="1134"/>
                    </a:lnTo>
                    <a:lnTo>
                      <a:pt x="1594" y="1134"/>
                    </a:lnTo>
                    <a:lnTo>
                      <a:pt x="1594" y="1131"/>
                    </a:lnTo>
                    <a:lnTo>
                      <a:pt x="1594" y="1131"/>
                    </a:lnTo>
                    <a:lnTo>
                      <a:pt x="1594" y="1131"/>
                    </a:lnTo>
                    <a:moveTo>
                      <a:pt x="5762" y="1127"/>
                    </a:moveTo>
                    <a:lnTo>
                      <a:pt x="5760" y="1127"/>
                    </a:lnTo>
                    <a:lnTo>
                      <a:pt x="5760" y="1129"/>
                    </a:lnTo>
                    <a:lnTo>
                      <a:pt x="5760" y="1184"/>
                    </a:lnTo>
                    <a:lnTo>
                      <a:pt x="5760" y="1184"/>
                    </a:lnTo>
                    <a:lnTo>
                      <a:pt x="5760" y="1184"/>
                    </a:lnTo>
                    <a:lnTo>
                      <a:pt x="5762" y="1184"/>
                    </a:lnTo>
                    <a:lnTo>
                      <a:pt x="5762" y="1127"/>
                    </a:lnTo>
                    <a:moveTo>
                      <a:pt x="6228" y="1127"/>
                    </a:moveTo>
                    <a:lnTo>
                      <a:pt x="6228" y="1127"/>
                    </a:lnTo>
                    <a:lnTo>
                      <a:pt x="6226" y="1127"/>
                    </a:lnTo>
                    <a:lnTo>
                      <a:pt x="6226" y="1129"/>
                    </a:lnTo>
                    <a:lnTo>
                      <a:pt x="6226" y="1155"/>
                    </a:lnTo>
                    <a:lnTo>
                      <a:pt x="6228" y="1155"/>
                    </a:lnTo>
                    <a:lnTo>
                      <a:pt x="6228" y="1127"/>
                    </a:lnTo>
                    <a:moveTo>
                      <a:pt x="1369" y="1084"/>
                    </a:moveTo>
                    <a:lnTo>
                      <a:pt x="1367" y="1084"/>
                    </a:lnTo>
                    <a:lnTo>
                      <a:pt x="1367" y="1086"/>
                    </a:lnTo>
                    <a:lnTo>
                      <a:pt x="1367" y="1108"/>
                    </a:lnTo>
                    <a:lnTo>
                      <a:pt x="1369" y="1108"/>
                    </a:lnTo>
                    <a:lnTo>
                      <a:pt x="1369" y="1108"/>
                    </a:lnTo>
                    <a:lnTo>
                      <a:pt x="1369" y="1108"/>
                    </a:lnTo>
                    <a:lnTo>
                      <a:pt x="1369" y="1084"/>
                    </a:lnTo>
                    <a:moveTo>
                      <a:pt x="2767" y="1063"/>
                    </a:moveTo>
                    <a:lnTo>
                      <a:pt x="2764" y="1063"/>
                    </a:lnTo>
                    <a:lnTo>
                      <a:pt x="2764" y="1063"/>
                    </a:lnTo>
                    <a:lnTo>
                      <a:pt x="2764" y="1065"/>
                    </a:lnTo>
                    <a:lnTo>
                      <a:pt x="2764" y="1186"/>
                    </a:lnTo>
                    <a:lnTo>
                      <a:pt x="2767" y="1186"/>
                    </a:lnTo>
                    <a:lnTo>
                      <a:pt x="2767" y="1063"/>
                    </a:lnTo>
                    <a:moveTo>
                      <a:pt x="5836" y="1041"/>
                    </a:moveTo>
                    <a:lnTo>
                      <a:pt x="5836" y="1041"/>
                    </a:lnTo>
                    <a:lnTo>
                      <a:pt x="5836" y="1041"/>
                    </a:lnTo>
                    <a:lnTo>
                      <a:pt x="5836" y="1044"/>
                    </a:lnTo>
                    <a:lnTo>
                      <a:pt x="5836" y="1075"/>
                    </a:lnTo>
                    <a:lnTo>
                      <a:pt x="5836" y="1075"/>
                    </a:lnTo>
                    <a:lnTo>
                      <a:pt x="5836" y="1041"/>
                    </a:lnTo>
                    <a:moveTo>
                      <a:pt x="2783" y="1011"/>
                    </a:moveTo>
                    <a:lnTo>
                      <a:pt x="2781" y="1013"/>
                    </a:lnTo>
                    <a:lnTo>
                      <a:pt x="2781" y="1013"/>
                    </a:lnTo>
                    <a:lnTo>
                      <a:pt x="2781" y="1046"/>
                    </a:lnTo>
                    <a:lnTo>
                      <a:pt x="2783" y="1046"/>
                    </a:lnTo>
                    <a:lnTo>
                      <a:pt x="2783" y="1044"/>
                    </a:lnTo>
                    <a:lnTo>
                      <a:pt x="2783" y="1044"/>
                    </a:lnTo>
                    <a:lnTo>
                      <a:pt x="2783" y="1011"/>
                    </a:lnTo>
                    <a:moveTo>
                      <a:pt x="3677" y="994"/>
                    </a:moveTo>
                    <a:lnTo>
                      <a:pt x="3674" y="994"/>
                    </a:lnTo>
                    <a:lnTo>
                      <a:pt x="3674" y="994"/>
                    </a:lnTo>
                    <a:lnTo>
                      <a:pt x="3674" y="1169"/>
                    </a:lnTo>
                    <a:lnTo>
                      <a:pt x="3677" y="1169"/>
                    </a:lnTo>
                    <a:lnTo>
                      <a:pt x="3677" y="994"/>
                    </a:lnTo>
                    <a:moveTo>
                      <a:pt x="5855" y="989"/>
                    </a:moveTo>
                    <a:lnTo>
                      <a:pt x="5852" y="989"/>
                    </a:lnTo>
                    <a:lnTo>
                      <a:pt x="5852" y="992"/>
                    </a:lnTo>
                    <a:lnTo>
                      <a:pt x="5852" y="1025"/>
                    </a:lnTo>
                    <a:lnTo>
                      <a:pt x="5852" y="1025"/>
                    </a:lnTo>
                    <a:lnTo>
                      <a:pt x="5852" y="1023"/>
                    </a:lnTo>
                    <a:lnTo>
                      <a:pt x="5855" y="1023"/>
                    </a:lnTo>
                    <a:lnTo>
                      <a:pt x="5855" y="989"/>
                    </a:lnTo>
                    <a:moveTo>
                      <a:pt x="6245" y="935"/>
                    </a:moveTo>
                    <a:lnTo>
                      <a:pt x="6245" y="935"/>
                    </a:lnTo>
                    <a:lnTo>
                      <a:pt x="6245" y="937"/>
                    </a:lnTo>
                    <a:lnTo>
                      <a:pt x="6245" y="1110"/>
                    </a:lnTo>
                    <a:lnTo>
                      <a:pt x="6245" y="1110"/>
                    </a:lnTo>
                    <a:lnTo>
                      <a:pt x="6245" y="1110"/>
                    </a:lnTo>
                    <a:lnTo>
                      <a:pt x="6245" y="1110"/>
                    </a:lnTo>
                    <a:lnTo>
                      <a:pt x="6245" y="935"/>
                    </a:lnTo>
                    <a:moveTo>
                      <a:pt x="3750" y="928"/>
                    </a:moveTo>
                    <a:lnTo>
                      <a:pt x="3750" y="928"/>
                    </a:lnTo>
                    <a:lnTo>
                      <a:pt x="3750" y="930"/>
                    </a:lnTo>
                    <a:lnTo>
                      <a:pt x="3750" y="940"/>
                    </a:lnTo>
                    <a:lnTo>
                      <a:pt x="3750" y="940"/>
                    </a:lnTo>
                    <a:lnTo>
                      <a:pt x="3750" y="928"/>
                    </a:lnTo>
                    <a:moveTo>
                      <a:pt x="6294" y="878"/>
                    </a:moveTo>
                    <a:lnTo>
                      <a:pt x="6294" y="878"/>
                    </a:lnTo>
                    <a:lnTo>
                      <a:pt x="6294" y="878"/>
                    </a:lnTo>
                    <a:lnTo>
                      <a:pt x="6294" y="880"/>
                    </a:lnTo>
                    <a:lnTo>
                      <a:pt x="6294" y="888"/>
                    </a:lnTo>
                    <a:lnTo>
                      <a:pt x="6294" y="888"/>
                    </a:lnTo>
                    <a:lnTo>
                      <a:pt x="6294" y="885"/>
                    </a:lnTo>
                    <a:lnTo>
                      <a:pt x="6294" y="885"/>
                    </a:lnTo>
                    <a:lnTo>
                      <a:pt x="6294" y="878"/>
                    </a:lnTo>
                    <a:moveTo>
                      <a:pt x="6304" y="850"/>
                    </a:moveTo>
                    <a:lnTo>
                      <a:pt x="6301" y="850"/>
                    </a:lnTo>
                    <a:lnTo>
                      <a:pt x="6301" y="852"/>
                    </a:lnTo>
                    <a:lnTo>
                      <a:pt x="6301" y="871"/>
                    </a:lnTo>
                    <a:lnTo>
                      <a:pt x="6304" y="871"/>
                    </a:lnTo>
                    <a:lnTo>
                      <a:pt x="6304" y="869"/>
                    </a:lnTo>
                    <a:lnTo>
                      <a:pt x="6304" y="869"/>
                    </a:lnTo>
                    <a:lnTo>
                      <a:pt x="6304" y="850"/>
                    </a:lnTo>
                    <a:moveTo>
                      <a:pt x="3005" y="762"/>
                    </a:moveTo>
                    <a:lnTo>
                      <a:pt x="3005" y="762"/>
                    </a:lnTo>
                    <a:lnTo>
                      <a:pt x="3003" y="762"/>
                    </a:lnTo>
                    <a:lnTo>
                      <a:pt x="3003" y="764"/>
                    </a:lnTo>
                    <a:lnTo>
                      <a:pt x="3003" y="925"/>
                    </a:lnTo>
                    <a:lnTo>
                      <a:pt x="3005" y="925"/>
                    </a:lnTo>
                    <a:lnTo>
                      <a:pt x="3005" y="762"/>
                    </a:lnTo>
                    <a:moveTo>
                      <a:pt x="915" y="753"/>
                    </a:moveTo>
                    <a:lnTo>
                      <a:pt x="913" y="753"/>
                    </a:lnTo>
                    <a:lnTo>
                      <a:pt x="913" y="755"/>
                    </a:lnTo>
                    <a:lnTo>
                      <a:pt x="913" y="774"/>
                    </a:lnTo>
                    <a:lnTo>
                      <a:pt x="915" y="774"/>
                    </a:lnTo>
                    <a:lnTo>
                      <a:pt x="915" y="753"/>
                    </a:lnTo>
                    <a:moveTo>
                      <a:pt x="5036" y="731"/>
                    </a:moveTo>
                    <a:lnTo>
                      <a:pt x="5036" y="731"/>
                    </a:lnTo>
                    <a:lnTo>
                      <a:pt x="5036" y="734"/>
                    </a:lnTo>
                    <a:lnTo>
                      <a:pt x="5036" y="918"/>
                    </a:lnTo>
                    <a:lnTo>
                      <a:pt x="5036" y="918"/>
                    </a:lnTo>
                    <a:lnTo>
                      <a:pt x="5036" y="731"/>
                    </a:lnTo>
                    <a:moveTo>
                      <a:pt x="3043" y="656"/>
                    </a:moveTo>
                    <a:lnTo>
                      <a:pt x="3043" y="656"/>
                    </a:lnTo>
                    <a:lnTo>
                      <a:pt x="3043" y="658"/>
                    </a:lnTo>
                    <a:lnTo>
                      <a:pt x="3043" y="724"/>
                    </a:lnTo>
                    <a:lnTo>
                      <a:pt x="3043" y="724"/>
                    </a:lnTo>
                    <a:lnTo>
                      <a:pt x="3043" y="724"/>
                    </a:lnTo>
                    <a:lnTo>
                      <a:pt x="3043" y="724"/>
                    </a:lnTo>
                    <a:lnTo>
                      <a:pt x="3043" y="656"/>
                    </a:lnTo>
                    <a:moveTo>
                      <a:pt x="2" y="615"/>
                    </a:moveTo>
                    <a:lnTo>
                      <a:pt x="0" y="615"/>
                    </a:lnTo>
                    <a:lnTo>
                      <a:pt x="0" y="618"/>
                    </a:lnTo>
                    <a:lnTo>
                      <a:pt x="0" y="1399"/>
                    </a:lnTo>
                    <a:lnTo>
                      <a:pt x="2" y="1399"/>
                    </a:lnTo>
                    <a:lnTo>
                      <a:pt x="2" y="615"/>
                    </a:lnTo>
                    <a:moveTo>
                      <a:pt x="5159" y="608"/>
                    </a:moveTo>
                    <a:lnTo>
                      <a:pt x="5157" y="608"/>
                    </a:lnTo>
                    <a:lnTo>
                      <a:pt x="5157" y="611"/>
                    </a:lnTo>
                    <a:lnTo>
                      <a:pt x="5157" y="677"/>
                    </a:lnTo>
                    <a:lnTo>
                      <a:pt x="5159" y="677"/>
                    </a:lnTo>
                    <a:lnTo>
                      <a:pt x="5159" y="608"/>
                    </a:lnTo>
                    <a:moveTo>
                      <a:pt x="3187" y="582"/>
                    </a:moveTo>
                    <a:lnTo>
                      <a:pt x="3187" y="582"/>
                    </a:lnTo>
                    <a:lnTo>
                      <a:pt x="3187" y="582"/>
                    </a:lnTo>
                    <a:lnTo>
                      <a:pt x="3187" y="585"/>
                    </a:lnTo>
                    <a:lnTo>
                      <a:pt x="3187" y="603"/>
                    </a:lnTo>
                    <a:lnTo>
                      <a:pt x="3187" y="603"/>
                    </a:lnTo>
                    <a:lnTo>
                      <a:pt x="3187" y="582"/>
                    </a:lnTo>
                    <a:moveTo>
                      <a:pt x="208" y="547"/>
                    </a:moveTo>
                    <a:lnTo>
                      <a:pt x="206" y="547"/>
                    </a:lnTo>
                    <a:lnTo>
                      <a:pt x="206" y="549"/>
                    </a:lnTo>
                    <a:lnTo>
                      <a:pt x="206" y="563"/>
                    </a:lnTo>
                    <a:lnTo>
                      <a:pt x="208" y="563"/>
                    </a:lnTo>
                    <a:lnTo>
                      <a:pt x="208" y="547"/>
                    </a:lnTo>
                    <a:moveTo>
                      <a:pt x="6930" y="509"/>
                    </a:moveTo>
                    <a:lnTo>
                      <a:pt x="6930" y="509"/>
                    </a:lnTo>
                    <a:lnTo>
                      <a:pt x="6930" y="511"/>
                    </a:lnTo>
                    <a:lnTo>
                      <a:pt x="6930" y="1039"/>
                    </a:lnTo>
                    <a:lnTo>
                      <a:pt x="6930" y="1039"/>
                    </a:lnTo>
                    <a:lnTo>
                      <a:pt x="6930" y="509"/>
                    </a:lnTo>
                    <a:moveTo>
                      <a:pt x="4100" y="504"/>
                    </a:moveTo>
                    <a:lnTo>
                      <a:pt x="4098" y="504"/>
                    </a:lnTo>
                    <a:lnTo>
                      <a:pt x="4098" y="504"/>
                    </a:lnTo>
                    <a:lnTo>
                      <a:pt x="4074" y="537"/>
                    </a:lnTo>
                    <a:lnTo>
                      <a:pt x="4074" y="537"/>
                    </a:lnTo>
                    <a:lnTo>
                      <a:pt x="4100" y="504"/>
                    </a:lnTo>
                    <a:moveTo>
                      <a:pt x="3206" y="502"/>
                    </a:moveTo>
                    <a:lnTo>
                      <a:pt x="3204" y="502"/>
                    </a:lnTo>
                    <a:lnTo>
                      <a:pt x="3204" y="502"/>
                    </a:lnTo>
                    <a:lnTo>
                      <a:pt x="3204" y="502"/>
                    </a:lnTo>
                    <a:lnTo>
                      <a:pt x="3204" y="566"/>
                    </a:lnTo>
                    <a:lnTo>
                      <a:pt x="3204" y="566"/>
                    </a:lnTo>
                    <a:lnTo>
                      <a:pt x="3204" y="563"/>
                    </a:lnTo>
                    <a:lnTo>
                      <a:pt x="3206" y="563"/>
                    </a:lnTo>
                    <a:lnTo>
                      <a:pt x="3206" y="502"/>
                    </a:lnTo>
                    <a:moveTo>
                      <a:pt x="3942" y="454"/>
                    </a:moveTo>
                    <a:lnTo>
                      <a:pt x="3942" y="454"/>
                    </a:lnTo>
                    <a:lnTo>
                      <a:pt x="3939" y="454"/>
                    </a:lnTo>
                    <a:lnTo>
                      <a:pt x="3939" y="457"/>
                    </a:lnTo>
                    <a:lnTo>
                      <a:pt x="3939" y="490"/>
                    </a:lnTo>
                    <a:lnTo>
                      <a:pt x="3859" y="644"/>
                    </a:lnTo>
                    <a:lnTo>
                      <a:pt x="3859" y="873"/>
                    </a:lnTo>
                    <a:lnTo>
                      <a:pt x="3861" y="873"/>
                    </a:lnTo>
                    <a:lnTo>
                      <a:pt x="3861" y="641"/>
                    </a:lnTo>
                    <a:lnTo>
                      <a:pt x="3942" y="490"/>
                    </a:lnTo>
                    <a:lnTo>
                      <a:pt x="3942" y="454"/>
                    </a:lnTo>
                    <a:moveTo>
                      <a:pt x="3235" y="433"/>
                    </a:moveTo>
                    <a:lnTo>
                      <a:pt x="3232" y="433"/>
                    </a:lnTo>
                    <a:lnTo>
                      <a:pt x="3232" y="435"/>
                    </a:lnTo>
                    <a:lnTo>
                      <a:pt x="3232" y="473"/>
                    </a:lnTo>
                    <a:lnTo>
                      <a:pt x="3232" y="473"/>
                    </a:lnTo>
                    <a:lnTo>
                      <a:pt x="3232" y="471"/>
                    </a:lnTo>
                    <a:lnTo>
                      <a:pt x="3235" y="471"/>
                    </a:lnTo>
                    <a:lnTo>
                      <a:pt x="3235" y="433"/>
                    </a:lnTo>
                    <a:moveTo>
                      <a:pt x="3949" y="390"/>
                    </a:moveTo>
                    <a:lnTo>
                      <a:pt x="3946" y="390"/>
                    </a:lnTo>
                    <a:lnTo>
                      <a:pt x="3946" y="390"/>
                    </a:lnTo>
                    <a:lnTo>
                      <a:pt x="3946" y="393"/>
                    </a:lnTo>
                    <a:lnTo>
                      <a:pt x="3946" y="450"/>
                    </a:lnTo>
                    <a:lnTo>
                      <a:pt x="3949" y="450"/>
                    </a:lnTo>
                    <a:lnTo>
                      <a:pt x="3949" y="447"/>
                    </a:lnTo>
                    <a:lnTo>
                      <a:pt x="3949" y="447"/>
                    </a:lnTo>
                    <a:lnTo>
                      <a:pt x="3949" y="390"/>
                    </a:lnTo>
                    <a:moveTo>
                      <a:pt x="1714" y="369"/>
                    </a:moveTo>
                    <a:lnTo>
                      <a:pt x="1714" y="369"/>
                    </a:lnTo>
                    <a:lnTo>
                      <a:pt x="1714" y="369"/>
                    </a:lnTo>
                    <a:lnTo>
                      <a:pt x="1714" y="1077"/>
                    </a:lnTo>
                    <a:lnTo>
                      <a:pt x="1714" y="1077"/>
                    </a:lnTo>
                    <a:lnTo>
                      <a:pt x="1714" y="369"/>
                    </a:lnTo>
                    <a:moveTo>
                      <a:pt x="3956" y="326"/>
                    </a:moveTo>
                    <a:lnTo>
                      <a:pt x="3953" y="326"/>
                    </a:lnTo>
                    <a:lnTo>
                      <a:pt x="3953" y="329"/>
                    </a:lnTo>
                    <a:lnTo>
                      <a:pt x="3953" y="383"/>
                    </a:lnTo>
                    <a:lnTo>
                      <a:pt x="3956" y="383"/>
                    </a:lnTo>
                    <a:lnTo>
                      <a:pt x="3956" y="381"/>
                    </a:lnTo>
                    <a:lnTo>
                      <a:pt x="3956" y="381"/>
                    </a:lnTo>
                    <a:lnTo>
                      <a:pt x="3956" y="326"/>
                    </a:lnTo>
                    <a:moveTo>
                      <a:pt x="4608" y="232"/>
                    </a:moveTo>
                    <a:lnTo>
                      <a:pt x="4608" y="232"/>
                    </a:lnTo>
                    <a:lnTo>
                      <a:pt x="4606" y="234"/>
                    </a:lnTo>
                    <a:lnTo>
                      <a:pt x="4549" y="450"/>
                    </a:lnTo>
                    <a:lnTo>
                      <a:pt x="4549" y="447"/>
                    </a:lnTo>
                    <a:lnTo>
                      <a:pt x="4608" y="232"/>
                    </a:lnTo>
                    <a:moveTo>
                      <a:pt x="4710" y="173"/>
                    </a:moveTo>
                    <a:lnTo>
                      <a:pt x="4708" y="173"/>
                    </a:lnTo>
                    <a:lnTo>
                      <a:pt x="4708" y="175"/>
                    </a:lnTo>
                    <a:lnTo>
                      <a:pt x="4708" y="177"/>
                    </a:lnTo>
                    <a:lnTo>
                      <a:pt x="4710" y="177"/>
                    </a:lnTo>
                    <a:lnTo>
                      <a:pt x="4710" y="173"/>
                    </a:lnTo>
                    <a:moveTo>
                      <a:pt x="4757" y="0"/>
                    </a:moveTo>
                    <a:lnTo>
                      <a:pt x="4757" y="0"/>
                    </a:lnTo>
                    <a:lnTo>
                      <a:pt x="4757" y="2"/>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3" name="Freeform 88"/>
              <p:cNvSpPr>
                <a:spLocks noEditPoints="1"/>
              </p:cNvSpPr>
              <p:nvPr/>
            </p:nvSpPr>
            <p:spPr bwMode="auto">
              <a:xfrm>
                <a:off x="89" y="1712"/>
                <a:ext cx="6931" cy="1402"/>
              </a:xfrm>
              <a:custGeom>
                <a:avLst/>
                <a:gdLst>
                  <a:gd name="T0" fmla="*/ 3613 w 6931"/>
                  <a:gd name="T1" fmla="*/ 1265 h 1402"/>
                  <a:gd name="T2" fmla="*/ 5734 w 6931"/>
                  <a:gd name="T3" fmla="*/ 1210 h 1402"/>
                  <a:gd name="T4" fmla="*/ 5737 w 6931"/>
                  <a:gd name="T5" fmla="*/ 1274 h 1402"/>
                  <a:gd name="T6" fmla="*/ 1592 w 6931"/>
                  <a:gd name="T7" fmla="*/ 1134 h 1402"/>
                  <a:gd name="T8" fmla="*/ 1594 w 6931"/>
                  <a:gd name="T9" fmla="*/ 1134 h 1402"/>
                  <a:gd name="T10" fmla="*/ 5760 w 6931"/>
                  <a:gd name="T11" fmla="*/ 1130 h 1402"/>
                  <a:gd name="T12" fmla="*/ 5760 w 6931"/>
                  <a:gd name="T13" fmla="*/ 1184 h 1402"/>
                  <a:gd name="T14" fmla="*/ 6226 w 6931"/>
                  <a:gd name="T15" fmla="*/ 1130 h 1402"/>
                  <a:gd name="T16" fmla="*/ 6229 w 6931"/>
                  <a:gd name="T17" fmla="*/ 1130 h 1402"/>
                  <a:gd name="T18" fmla="*/ 1367 w 6931"/>
                  <a:gd name="T19" fmla="*/ 1111 h 1402"/>
                  <a:gd name="T20" fmla="*/ 1369 w 6931"/>
                  <a:gd name="T21" fmla="*/ 1085 h 1402"/>
                  <a:gd name="T22" fmla="*/ 2765 w 6931"/>
                  <a:gd name="T23" fmla="*/ 1066 h 1402"/>
                  <a:gd name="T24" fmla="*/ 5836 w 6931"/>
                  <a:gd name="T25" fmla="*/ 1042 h 1402"/>
                  <a:gd name="T26" fmla="*/ 5834 w 6931"/>
                  <a:gd name="T27" fmla="*/ 1078 h 1402"/>
                  <a:gd name="T28" fmla="*/ 2781 w 6931"/>
                  <a:gd name="T29" fmla="*/ 1014 h 1402"/>
                  <a:gd name="T30" fmla="*/ 2783 w 6931"/>
                  <a:gd name="T31" fmla="*/ 1044 h 1402"/>
                  <a:gd name="T32" fmla="*/ 3675 w 6931"/>
                  <a:gd name="T33" fmla="*/ 995 h 1402"/>
                  <a:gd name="T34" fmla="*/ 3675 w 6931"/>
                  <a:gd name="T35" fmla="*/ 995 h 1402"/>
                  <a:gd name="T36" fmla="*/ 5853 w 6931"/>
                  <a:gd name="T37" fmla="*/ 1026 h 1402"/>
                  <a:gd name="T38" fmla="*/ 5855 w 6931"/>
                  <a:gd name="T39" fmla="*/ 990 h 1402"/>
                  <a:gd name="T40" fmla="*/ 6243 w 6931"/>
                  <a:gd name="T41" fmla="*/ 1113 h 1402"/>
                  <a:gd name="T42" fmla="*/ 6245 w 6931"/>
                  <a:gd name="T43" fmla="*/ 936 h 1402"/>
                  <a:gd name="T44" fmla="*/ 3748 w 6931"/>
                  <a:gd name="T45" fmla="*/ 943 h 1402"/>
                  <a:gd name="T46" fmla="*/ 6295 w 6931"/>
                  <a:gd name="T47" fmla="*/ 879 h 1402"/>
                  <a:gd name="T48" fmla="*/ 6295 w 6931"/>
                  <a:gd name="T49" fmla="*/ 888 h 1402"/>
                  <a:gd name="T50" fmla="*/ 6304 w 6931"/>
                  <a:gd name="T51" fmla="*/ 850 h 1402"/>
                  <a:gd name="T52" fmla="*/ 6302 w 6931"/>
                  <a:gd name="T53" fmla="*/ 872 h 1402"/>
                  <a:gd name="T54" fmla="*/ 3006 w 6931"/>
                  <a:gd name="T55" fmla="*/ 763 h 1402"/>
                  <a:gd name="T56" fmla="*/ 3003 w 6931"/>
                  <a:gd name="T57" fmla="*/ 928 h 1402"/>
                  <a:gd name="T58" fmla="*/ 913 w 6931"/>
                  <a:gd name="T59" fmla="*/ 753 h 1402"/>
                  <a:gd name="T60" fmla="*/ 915 w 6931"/>
                  <a:gd name="T61" fmla="*/ 753 h 1402"/>
                  <a:gd name="T62" fmla="*/ 5034 w 6931"/>
                  <a:gd name="T63" fmla="*/ 921 h 1402"/>
                  <a:gd name="T64" fmla="*/ 3041 w 6931"/>
                  <a:gd name="T65" fmla="*/ 659 h 1402"/>
                  <a:gd name="T66" fmla="*/ 3044 w 6931"/>
                  <a:gd name="T67" fmla="*/ 725 h 1402"/>
                  <a:gd name="T68" fmla="*/ 0 w 6931"/>
                  <a:gd name="T69" fmla="*/ 618 h 1402"/>
                  <a:gd name="T70" fmla="*/ 3 w 6931"/>
                  <a:gd name="T71" fmla="*/ 618 h 1402"/>
                  <a:gd name="T72" fmla="*/ 5157 w 6931"/>
                  <a:gd name="T73" fmla="*/ 680 h 1402"/>
                  <a:gd name="T74" fmla="*/ 3188 w 6931"/>
                  <a:gd name="T75" fmla="*/ 583 h 1402"/>
                  <a:gd name="T76" fmla="*/ 3188 w 6931"/>
                  <a:gd name="T77" fmla="*/ 606 h 1402"/>
                  <a:gd name="T78" fmla="*/ 206 w 6931"/>
                  <a:gd name="T79" fmla="*/ 550 h 1402"/>
                  <a:gd name="T80" fmla="*/ 6931 w 6931"/>
                  <a:gd name="T81" fmla="*/ 509 h 1402"/>
                  <a:gd name="T82" fmla="*/ 6931 w 6931"/>
                  <a:gd name="T83" fmla="*/ 1042 h 1402"/>
                  <a:gd name="T84" fmla="*/ 4098 w 6931"/>
                  <a:gd name="T85" fmla="*/ 507 h 1402"/>
                  <a:gd name="T86" fmla="*/ 3204 w 6931"/>
                  <a:gd name="T87" fmla="*/ 502 h 1402"/>
                  <a:gd name="T88" fmla="*/ 3204 w 6931"/>
                  <a:gd name="T89" fmla="*/ 566 h 1402"/>
                  <a:gd name="T90" fmla="*/ 3204 w 6931"/>
                  <a:gd name="T91" fmla="*/ 502 h 1402"/>
                  <a:gd name="T92" fmla="*/ 3940 w 6931"/>
                  <a:gd name="T93" fmla="*/ 457 h 1402"/>
                  <a:gd name="T94" fmla="*/ 3859 w 6931"/>
                  <a:gd name="T95" fmla="*/ 876 h 1402"/>
                  <a:gd name="T96" fmla="*/ 3235 w 6931"/>
                  <a:gd name="T97" fmla="*/ 434 h 1402"/>
                  <a:gd name="T98" fmla="*/ 3233 w 6931"/>
                  <a:gd name="T99" fmla="*/ 474 h 1402"/>
                  <a:gd name="T100" fmla="*/ 3947 w 6931"/>
                  <a:gd name="T101" fmla="*/ 391 h 1402"/>
                  <a:gd name="T102" fmla="*/ 3947 w 6931"/>
                  <a:gd name="T103" fmla="*/ 450 h 1402"/>
                  <a:gd name="T104" fmla="*/ 3947 w 6931"/>
                  <a:gd name="T105" fmla="*/ 391 h 1402"/>
                  <a:gd name="T106" fmla="*/ 1712 w 6931"/>
                  <a:gd name="T107" fmla="*/ 1080 h 1402"/>
                  <a:gd name="T108" fmla="*/ 3954 w 6931"/>
                  <a:gd name="T109" fmla="*/ 329 h 1402"/>
                  <a:gd name="T110" fmla="*/ 3956 w 6931"/>
                  <a:gd name="T111" fmla="*/ 382 h 1402"/>
                  <a:gd name="T112" fmla="*/ 4606 w 6931"/>
                  <a:gd name="T113" fmla="*/ 232 h 1402"/>
                  <a:gd name="T114" fmla="*/ 4609 w 6931"/>
                  <a:gd name="T115" fmla="*/ 232 h 1402"/>
                  <a:gd name="T116" fmla="*/ 4708 w 6931"/>
                  <a:gd name="T117" fmla="*/ 180 h 1402"/>
                  <a:gd name="T118" fmla="*/ 4755 w 6931"/>
                  <a:gd name="T119" fmla="*/ 0 h 1402"/>
                  <a:gd name="T120" fmla="*/ 4758 w 6931"/>
                  <a:gd name="T121" fmla="*/ 123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402">
                    <a:moveTo>
                      <a:pt x="3616" y="1222"/>
                    </a:moveTo>
                    <a:lnTo>
                      <a:pt x="3613" y="1222"/>
                    </a:lnTo>
                    <a:lnTo>
                      <a:pt x="3613" y="1224"/>
                    </a:lnTo>
                    <a:lnTo>
                      <a:pt x="3613" y="1265"/>
                    </a:lnTo>
                    <a:lnTo>
                      <a:pt x="3616" y="1265"/>
                    </a:lnTo>
                    <a:lnTo>
                      <a:pt x="3616" y="1222"/>
                    </a:lnTo>
                    <a:close/>
                    <a:moveTo>
                      <a:pt x="5737" y="1210"/>
                    </a:moveTo>
                    <a:lnTo>
                      <a:pt x="5734" y="1210"/>
                    </a:lnTo>
                    <a:lnTo>
                      <a:pt x="5734" y="1210"/>
                    </a:lnTo>
                    <a:lnTo>
                      <a:pt x="5734" y="1213"/>
                    </a:lnTo>
                    <a:lnTo>
                      <a:pt x="5734" y="1274"/>
                    </a:lnTo>
                    <a:lnTo>
                      <a:pt x="5737" y="1274"/>
                    </a:lnTo>
                    <a:lnTo>
                      <a:pt x="5737" y="1210"/>
                    </a:lnTo>
                    <a:close/>
                    <a:moveTo>
                      <a:pt x="1594" y="1132"/>
                    </a:moveTo>
                    <a:lnTo>
                      <a:pt x="1592" y="1132"/>
                    </a:lnTo>
                    <a:lnTo>
                      <a:pt x="1592" y="1134"/>
                    </a:lnTo>
                    <a:lnTo>
                      <a:pt x="1592" y="1134"/>
                    </a:lnTo>
                    <a:lnTo>
                      <a:pt x="1594" y="1134"/>
                    </a:lnTo>
                    <a:lnTo>
                      <a:pt x="1594" y="1134"/>
                    </a:lnTo>
                    <a:lnTo>
                      <a:pt x="1594" y="1134"/>
                    </a:lnTo>
                    <a:lnTo>
                      <a:pt x="1594" y="1132"/>
                    </a:lnTo>
                    <a:close/>
                    <a:moveTo>
                      <a:pt x="5760" y="1130"/>
                    </a:moveTo>
                    <a:lnTo>
                      <a:pt x="5760" y="1130"/>
                    </a:lnTo>
                    <a:lnTo>
                      <a:pt x="5760" y="1130"/>
                    </a:lnTo>
                    <a:lnTo>
                      <a:pt x="5760" y="1187"/>
                    </a:lnTo>
                    <a:lnTo>
                      <a:pt x="5760" y="1187"/>
                    </a:lnTo>
                    <a:lnTo>
                      <a:pt x="5760" y="1184"/>
                    </a:lnTo>
                    <a:lnTo>
                      <a:pt x="5760" y="1184"/>
                    </a:lnTo>
                    <a:lnTo>
                      <a:pt x="5760" y="1130"/>
                    </a:lnTo>
                    <a:close/>
                    <a:moveTo>
                      <a:pt x="6229" y="1130"/>
                    </a:moveTo>
                    <a:lnTo>
                      <a:pt x="6226" y="1130"/>
                    </a:lnTo>
                    <a:lnTo>
                      <a:pt x="6226" y="1130"/>
                    </a:lnTo>
                    <a:lnTo>
                      <a:pt x="6226" y="1130"/>
                    </a:lnTo>
                    <a:lnTo>
                      <a:pt x="6226" y="1158"/>
                    </a:lnTo>
                    <a:lnTo>
                      <a:pt x="6229" y="1158"/>
                    </a:lnTo>
                    <a:lnTo>
                      <a:pt x="6229" y="1130"/>
                    </a:lnTo>
                    <a:close/>
                    <a:moveTo>
                      <a:pt x="1369" y="1085"/>
                    </a:moveTo>
                    <a:lnTo>
                      <a:pt x="1367" y="1085"/>
                    </a:lnTo>
                    <a:lnTo>
                      <a:pt x="1367" y="1087"/>
                    </a:lnTo>
                    <a:lnTo>
                      <a:pt x="1367" y="1111"/>
                    </a:lnTo>
                    <a:lnTo>
                      <a:pt x="1369" y="1111"/>
                    </a:lnTo>
                    <a:lnTo>
                      <a:pt x="1369" y="1108"/>
                    </a:lnTo>
                    <a:lnTo>
                      <a:pt x="1369" y="1108"/>
                    </a:lnTo>
                    <a:lnTo>
                      <a:pt x="1369" y="1085"/>
                    </a:lnTo>
                    <a:close/>
                    <a:moveTo>
                      <a:pt x="2765" y="1063"/>
                    </a:moveTo>
                    <a:lnTo>
                      <a:pt x="2765" y="1063"/>
                    </a:lnTo>
                    <a:lnTo>
                      <a:pt x="2765" y="1063"/>
                    </a:lnTo>
                    <a:lnTo>
                      <a:pt x="2765" y="1066"/>
                    </a:lnTo>
                    <a:lnTo>
                      <a:pt x="2765" y="1189"/>
                    </a:lnTo>
                    <a:lnTo>
                      <a:pt x="2765" y="1189"/>
                    </a:lnTo>
                    <a:lnTo>
                      <a:pt x="2765" y="1063"/>
                    </a:lnTo>
                    <a:close/>
                    <a:moveTo>
                      <a:pt x="5836" y="1042"/>
                    </a:moveTo>
                    <a:lnTo>
                      <a:pt x="5836" y="1042"/>
                    </a:lnTo>
                    <a:lnTo>
                      <a:pt x="5834" y="1042"/>
                    </a:lnTo>
                    <a:lnTo>
                      <a:pt x="5834" y="1044"/>
                    </a:lnTo>
                    <a:lnTo>
                      <a:pt x="5834" y="1078"/>
                    </a:lnTo>
                    <a:lnTo>
                      <a:pt x="5836" y="1078"/>
                    </a:lnTo>
                    <a:lnTo>
                      <a:pt x="5836" y="1042"/>
                    </a:lnTo>
                    <a:close/>
                    <a:moveTo>
                      <a:pt x="2783" y="1014"/>
                    </a:moveTo>
                    <a:lnTo>
                      <a:pt x="2781" y="1014"/>
                    </a:lnTo>
                    <a:lnTo>
                      <a:pt x="2781" y="1014"/>
                    </a:lnTo>
                    <a:lnTo>
                      <a:pt x="2781" y="1047"/>
                    </a:lnTo>
                    <a:lnTo>
                      <a:pt x="2783" y="1047"/>
                    </a:lnTo>
                    <a:lnTo>
                      <a:pt x="2783" y="1044"/>
                    </a:lnTo>
                    <a:lnTo>
                      <a:pt x="2783" y="1044"/>
                    </a:lnTo>
                    <a:lnTo>
                      <a:pt x="2783" y="1014"/>
                    </a:lnTo>
                    <a:close/>
                    <a:moveTo>
                      <a:pt x="3675" y="995"/>
                    </a:moveTo>
                    <a:lnTo>
                      <a:pt x="3675" y="995"/>
                    </a:lnTo>
                    <a:lnTo>
                      <a:pt x="3675" y="997"/>
                    </a:lnTo>
                    <a:lnTo>
                      <a:pt x="3675" y="1172"/>
                    </a:lnTo>
                    <a:lnTo>
                      <a:pt x="3675" y="1172"/>
                    </a:lnTo>
                    <a:lnTo>
                      <a:pt x="3675" y="995"/>
                    </a:lnTo>
                    <a:close/>
                    <a:moveTo>
                      <a:pt x="5855" y="990"/>
                    </a:moveTo>
                    <a:lnTo>
                      <a:pt x="5853" y="990"/>
                    </a:lnTo>
                    <a:lnTo>
                      <a:pt x="5853" y="992"/>
                    </a:lnTo>
                    <a:lnTo>
                      <a:pt x="5853" y="1026"/>
                    </a:lnTo>
                    <a:lnTo>
                      <a:pt x="5853" y="1026"/>
                    </a:lnTo>
                    <a:lnTo>
                      <a:pt x="5853" y="1023"/>
                    </a:lnTo>
                    <a:lnTo>
                      <a:pt x="5855" y="1023"/>
                    </a:lnTo>
                    <a:lnTo>
                      <a:pt x="5855" y="990"/>
                    </a:lnTo>
                    <a:close/>
                    <a:moveTo>
                      <a:pt x="6245" y="936"/>
                    </a:moveTo>
                    <a:lnTo>
                      <a:pt x="6243" y="936"/>
                    </a:lnTo>
                    <a:lnTo>
                      <a:pt x="6243" y="938"/>
                    </a:lnTo>
                    <a:lnTo>
                      <a:pt x="6243" y="1113"/>
                    </a:lnTo>
                    <a:lnTo>
                      <a:pt x="6245" y="1113"/>
                    </a:lnTo>
                    <a:lnTo>
                      <a:pt x="6245" y="1111"/>
                    </a:lnTo>
                    <a:lnTo>
                      <a:pt x="6245" y="1111"/>
                    </a:lnTo>
                    <a:lnTo>
                      <a:pt x="6245" y="936"/>
                    </a:lnTo>
                    <a:close/>
                    <a:moveTo>
                      <a:pt x="3751" y="928"/>
                    </a:moveTo>
                    <a:lnTo>
                      <a:pt x="3748" y="928"/>
                    </a:lnTo>
                    <a:lnTo>
                      <a:pt x="3748" y="931"/>
                    </a:lnTo>
                    <a:lnTo>
                      <a:pt x="3748" y="943"/>
                    </a:lnTo>
                    <a:lnTo>
                      <a:pt x="3751" y="943"/>
                    </a:lnTo>
                    <a:lnTo>
                      <a:pt x="3751" y="928"/>
                    </a:lnTo>
                    <a:close/>
                    <a:moveTo>
                      <a:pt x="6295" y="879"/>
                    </a:moveTo>
                    <a:lnTo>
                      <a:pt x="6295" y="879"/>
                    </a:lnTo>
                    <a:lnTo>
                      <a:pt x="6292" y="879"/>
                    </a:lnTo>
                    <a:lnTo>
                      <a:pt x="6292" y="881"/>
                    </a:lnTo>
                    <a:lnTo>
                      <a:pt x="6292" y="888"/>
                    </a:lnTo>
                    <a:lnTo>
                      <a:pt x="6295" y="888"/>
                    </a:lnTo>
                    <a:lnTo>
                      <a:pt x="6295" y="886"/>
                    </a:lnTo>
                    <a:lnTo>
                      <a:pt x="6295" y="886"/>
                    </a:lnTo>
                    <a:lnTo>
                      <a:pt x="6295" y="879"/>
                    </a:lnTo>
                    <a:close/>
                    <a:moveTo>
                      <a:pt x="6304" y="850"/>
                    </a:moveTo>
                    <a:lnTo>
                      <a:pt x="6302" y="850"/>
                    </a:lnTo>
                    <a:lnTo>
                      <a:pt x="6302" y="853"/>
                    </a:lnTo>
                    <a:lnTo>
                      <a:pt x="6302" y="872"/>
                    </a:lnTo>
                    <a:lnTo>
                      <a:pt x="6302" y="872"/>
                    </a:lnTo>
                    <a:lnTo>
                      <a:pt x="6302" y="869"/>
                    </a:lnTo>
                    <a:lnTo>
                      <a:pt x="6304" y="869"/>
                    </a:lnTo>
                    <a:lnTo>
                      <a:pt x="6304" y="850"/>
                    </a:lnTo>
                    <a:close/>
                    <a:moveTo>
                      <a:pt x="3006" y="763"/>
                    </a:moveTo>
                    <a:lnTo>
                      <a:pt x="3006" y="763"/>
                    </a:lnTo>
                    <a:lnTo>
                      <a:pt x="3003" y="763"/>
                    </a:lnTo>
                    <a:lnTo>
                      <a:pt x="3003" y="765"/>
                    </a:lnTo>
                    <a:lnTo>
                      <a:pt x="3003" y="928"/>
                    </a:lnTo>
                    <a:lnTo>
                      <a:pt x="3006" y="928"/>
                    </a:lnTo>
                    <a:lnTo>
                      <a:pt x="3006" y="763"/>
                    </a:lnTo>
                    <a:close/>
                    <a:moveTo>
                      <a:pt x="915" y="753"/>
                    </a:moveTo>
                    <a:lnTo>
                      <a:pt x="913" y="753"/>
                    </a:lnTo>
                    <a:lnTo>
                      <a:pt x="913" y="756"/>
                    </a:lnTo>
                    <a:lnTo>
                      <a:pt x="913" y="777"/>
                    </a:lnTo>
                    <a:lnTo>
                      <a:pt x="915" y="777"/>
                    </a:lnTo>
                    <a:lnTo>
                      <a:pt x="915" y="753"/>
                    </a:lnTo>
                    <a:close/>
                    <a:moveTo>
                      <a:pt x="5037" y="732"/>
                    </a:moveTo>
                    <a:lnTo>
                      <a:pt x="5034" y="732"/>
                    </a:lnTo>
                    <a:lnTo>
                      <a:pt x="5034" y="734"/>
                    </a:lnTo>
                    <a:lnTo>
                      <a:pt x="5034" y="921"/>
                    </a:lnTo>
                    <a:lnTo>
                      <a:pt x="5037" y="921"/>
                    </a:lnTo>
                    <a:lnTo>
                      <a:pt x="5037" y="732"/>
                    </a:lnTo>
                    <a:close/>
                    <a:moveTo>
                      <a:pt x="3044" y="659"/>
                    </a:moveTo>
                    <a:lnTo>
                      <a:pt x="3041" y="659"/>
                    </a:lnTo>
                    <a:lnTo>
                      <a:pt x="3041" y="659"/>
                    </a:lnTo>
                    <a:lnTo>
                      <a:pt x="3041" y="727"/>
                    </a:lnTo>
                    <a:lnTo>
                      <a:pt x="3044" y="727"/>
                    </a:lnTo>
                    <a:lnTo>
                      <a:pt x="3044" y="725"/>
                    </a:lnTo>
                    <a:lnTo>
                      <a:pt x="3044" y="725"/>
                    </a:lnTo>
                    <a:lnTo>
                      <a:pt x="3044" y="659"/>
                    </a:lnTo>
                    <a:close/>
                    <a:moveTo>
                      <a:pt x="3" y="618"/>
                    </a:moveTo>
                    <a:lnTo>
                      <a:pt x="0" y="618"/>
                    </a:lnTo>
                    <a:lnTo>
                      <a:pt x="0" y="618"/>
                    </a:lnTo>
                    <a:lnTo>
                      <a:pt x="0" y="1402"/>
                    </a:lnTo>
                    <a:lnTo>
                      <a:pt x="3" y="1402"/>
                    </a:lnTo>
                    <a:lnTo>
                      <a:pt x="3" y="618"/>
                    </a:lnTo>
                    <a:close/>
                    <a:moveTo>
                      <a:pt x="5157" y="611"/>
                    </a:moveTo>
                    <a:lnTo>
                      <a:pt x="5157" y="611"/>
                    </a:lnTo>
                    <a:lnTo>
                      <a:pt x="5157" y="611"/>
                    </a:lnTo>
                    <a:lnTo>
                      <a:pt x="5157" y="680"/>
                    </a:lnTo>
                    <a:lnTo>
                      <a:pt x="5157" y="680"/>
                    </a:lnTo>
                    <a:lnTo>
                      <a:pt x="5157" y="611"/>
                    </a:lnTo>
                    <a:close/>
                    <a:moveTo>
                      <a:pt x="3188" y="583"/>
                    </a:moveTo>
                    <a:lnTo>
                      <a:pt x="3188" y="583"/>
                    </a:lnTo>
                    <a:lnTo>
                      <a:pt x="3185" y="583"/>
                    </a:lnTo>
                    <a:lnTo>
                      <a:pt x="3185" y="585"/>
                    </a:lnTo>
                    <a:lnTo>
                      <a:pt x="3185" y="606"/>
                    </a:lnTo>
                    <a:lnTo>
                      <a:pt x="3188" y="606"/>
                    </a:lnTo>
                    <a:lnTo>
                      <a:pt x="3188" y="583"/>
                    </a:lnTo>
                    <a:close/>
                    <a:moveTo>
                      <a:pt x="208" y="547"/>
                    </a:moveTo>
                    <a:lnTo>
                      <a:pt x="206" y="547"/>
                    </a:lnTo>
                    <a:lnTo>
                      <a:pt x="206" y="550"/>
                    </a:lnTo>
                    <a:lnTo>
                      <a:pt x="206" y="566"/>
                    </a:lnTo>
                    <a:lnTo>
                      <a:pt x="208" y="566"/>
                    </a:lnTo>
                    <a:lnTo>
                      <a:pt x="208" y="547"/>
                    </a:lnTo>
                    <a:close/>
                    <a:moveTo>
                      <a:pt x="6931" y="509"/>
                    </a:moveTo>
                    <a:lnTo>
                      <a:pt x="6928" y="509"/>
                    </a:lnTo>
                    <a:lnTo>
                      <a:pt x="6928" y="512"/>
                    </a:lnTo>
                    <a:lnTo>
                      <a:pt x="6928" y="1042"/>
                    </a:lnTo>
                    <a:lnTo>
                      <a:pt x="6931" y="1042"/>
                    </a:lnTo>
                    <a:lnTo>
                      <a:pt x="6931" y="509"/>
                    </a:lnTo>
                    <a:close/>
                    <a:moveTo>
                      <a:pt x="4098" y="505"/>
                    </a:moveTo>
                    <a:lnTo>
                      <a:pt x="4098" y="505"/>
                    </a:lnTo>
                    <a:lnTo>
                      <a:pt x="4098" y="507"/>
                    </a:lnTo>
                    <a:lnTo>
                      <a:pt x="4072" y="540"/>
                    </a:lnTo>
                    <a:lnTo>
                      <a:pt x="4072" y="540"/>
                    </a:lnTo>
                    <a:lnTo>
                      <a:pt x="4098" y="505"/>
                    </a:lnTo>
                    <a:close/>
                    <a:moveTo>
                      <a:pt x="3204" y="502"/>
                    </a:moveTo>
                    <a:lnTo>
                      <a:pt x="3204" y="502"/>
                    </a:lnTo>
                    <a:lnTo>
                      <a:pt x="3204" y="502"/>
                    </a:lnTo>
                    <a:lnTo>
                      <a:pt x="3204" y="505"/>
                    </a:lnTo>
                    <a:lnTo>
                      <a:pt x="3204" y="566"/>
                    </a:lnTo>
                    <a:lnTo>
                      <a:pt x="3204" y="566"/>
                    </a:lnTo>
                    <a:lnTo>
                      <a:pt x="3204" y="564"/>
                    </a:lnTo>
                    <a:lnTo>
                      <a:pt x="3204" y="564"/>
                    </a:lnTo>
                    <a:lnTo>
                      <a:pt x="3204" y="502"/>
                    </a:lnTo>
                    <a:close/>
                    <a:moveTo>
                      <a:pt x="3942" y="455"/>
                    </a:moveTo>
                    <a:lnTo>
                      <a:pt x="3940" y="455"/>
                    </a:lnTo>
                    <a:lnTo>
                      <a:pt x="3940" y="455"/>
                    </a:lnTo>
                    <a:lnTo>
                      <a:pt x="3940" y="457"/>
                    </a:lnTo>
                    <a:lnTo>
                      <a:pt x="3940" y="493"/>
                    </a:lnTo>
                    <a:lnTo>
                      <a:pt x="3859" y="644"/>
                    </a:lnTo>
                    <a:lnTo>
                      <a:pt x="3859" y="876"/>
                    </a:lnTo>
                    <a:lnTo>
                      <a:pt x="3859" y="876"/>
                    </a:lnTo>
                    <a:lnTo>
                      <a:pt x="3859" y="642"/>
                    </a:lnTo>
                    <a:lnTo>
                      <a:pt x="3942" y="490"/>
                    </a:lnTo>
                    <a:lnTo>
                      <a:pt x="3942" y="455"/>
                    </a:lnTo>
                    <a:close/>
                    <a:moveTo>
                      <a:pt x="3235" y="434"/>
                    </a:moveTo>
                    <a:lnTo>
                      <a:pt x="3233" y="434"/>
                    </a:lnTo>
                    <a:lnTo>
                      <a:pt x="3233" y="436"/>
                    </a:lnTo>
                    <a:lnTo>
                      <a:pt x="3233" y="474"/>
                    </a:lnTo>
                    <a:lnTo>
                      <a:pt x="3233" y="474"/>
                    </a:lnTo>
                    <a:lnTo>
                      <a:pt x="3233" y="472"/>
                    </a:lnTo>
                    <a:lnTo>
                      <a:pt x="3235" y="472"/>
                    </a:lnTo>
                    <a:lnTo>
                      <a:pt x="3235" y="434"/>
                    </a:lnTo>
                    <a:close/>
                    <a:moveTo>
                      <a:pt x="3947" y="391"/>
                    </a:moveTo>
                    <a:lnTo>
                      <a:pt x="3947" y="391"/>
                    </a:lnTo>
                    <a:lnTo>
                      <a:pt x="3947" y="391"/>
                    </a:lnTo>
                    <a:lnTo>
                      <a:pt x="3947" y="393"/>
                    </a:lnTo>
                    <a:lnTo>
                      <a:pt x="3947" y="450"/>
                    </a:lnTo>
                    <a:lnTo>
                      <a:pt x="3947" y="450"/>
                    </a:lnTo>
                    <a:lnTo>
                      <a:pt x="3947" y="448"/>
                    </a:lnTo>
                    <a:lnTo>
                      <a:pt x="3947" y="448"/>
                    </a:lnTo>
                    <a:lnTo>
                      <a:pt x="3947" y="391"/>
                    </a:lnTo>
                    <a:close/>
                    <a:moveTo>
                      <a:pt x="1715" y="370"/>
                    </a:moveTo>
                    <a:lnTo>
                      <a:pt x="1712" y="370"/>
                    </a:lnTo>
                    <a:lnTo>
                      <a:pt x="1712" y="372"/>
                    </a:lnTo>
                    <a:lnTo>
                      <a:pt x="1712" y="1080"/>
                    </a:lnTo>
                    <a:lnTo>
                      <a:pt x="1715" y="1080"/>
                    </a:lnTo>
                    <a:lnTo>
                      <a:pt x="1715" y="370"/>
                    </a:lnTo>
                    <a:close/>
                    <a:moveTo>
                      <a:pt x="3956" y="329"/>
                    </a:moveTo>
                    <a:lnTo>
                      <a:pt x="3954" y="329"/>
                    </a:lnTo>
                    <a:lnTo>
                      <a:pt x="3954" y="329"/>
                    </a:lnTo>
                    <a:lnTo>
                      <a:pt x="3954" y="384"/>
                    </a:lnTo>
                    <a:lnTo>
                      <a:pt x="3956" y="384"/>
                    </a:lnTo>
                    <a:lnTo>
                      <a:pt x="3956" y="382"/>
                    </a:lnTo>
                    <a:lnTo>
                      <a:pt x="3956" y="382"/>
                    </a:lnTo>
                    <a:lnTo>
                      <a:pt x="3956" y="329"/>
                    </a:lnTo>
                    <a:close/>
                    <a:moveTo>
                      <a:pt x="4609" y="232"/>
                    </a:moveTo>
                    <a:lnTo>
                      <a:pt x="4606" y="232"/>
                    </a:lnTo>
                    <a:lnTo>
                      <a:pt x="4606" y="235"/>
                    </a:lnTo>
                    <a:lnTo>
                      <a:pt x="4547" y="450"/>
                    </a:lnTo>
                    <a:lnTo>
                      <a:pt x="4550" y="450"/>
                    </a:lnTo>
                    <a:lnTo>
                      <a:pt x="4609" y="232"/>
                    </a:lnTo>
                    <a:close/>
                    <a:moveTo>
                      <a:pt x="4708" y="173"/>
                    </a:moveTo>
                    <a:lnTo>
                      <a:pt x="4708" y="173"/>
                    </a:lnTo>
                    <a:lnTo>
                      <a:pt x="4708" y="176"/>
                    </a:lnTo>
                    <a:lnTo>
                      <a:pt x="4708" y="180"/>
                    </a:lnTo>
                    <a:lnTo>
                      <a:pt x="4708" y="180"/>
                    </a:lnTo>
                    <a:lnTo>
                      <a:pt x="4708" y="173"/>
                    </a:lnTo>
                    <a:close/>
                    <a:moveTo>
                      <a:pt x="4758" y="0"/>
                    </a:moveTo>
                    <a:lnTo>
                      <a:pt x="4755" y="0"/>
                    </a:lnTo>
                    <a:lnTo>
                      <a:pt x="4755" y="3"/>
                    </a:lnTo>
                    <a:lnTo>
                      <a:pt x="4755" y="126"/>
                    </a:lnTo>
                    <a:lnTo>
                      <a:pt x="4758" y="126"/>
                    </a:lnTo>
                    <a:lnTo>
                      <a:pt x="4758" y="123"/>
                    </a:lnTo>
                    <a:lnTo>
                      <a:pt x="4758" y="123"/>
                    </a:lnTo>
                    <a:lnTo>
                      <a:pt x="4758" y="0"/>
                    </a:lnTo>
                    <a:close/>
                  </a:path>
                </a:pathLst>
              </a:custGeom>
              <a:solidFill>
                <a:srgbClr val="DF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4" name="Freeform 89"/>
              <p:cNvSpPr>
                <a:spLocks noEditPoints="1"/>
              </p:cNvSpPr>
              <p:nvPr/>
            </p:nvSpPr>
            <p:spPr bwMode="auto">
              <a:xfrm>
                <a:off x="89" y="1712"/>
                <a:ext cx="6931" cy="1402"/>
              </a:xfrm>
              <a:custGeom>
                <a:avLst/>
                <a:gdLst>
                  <a:gd name="T0" fmla="*/ 3613 w 6931"/>
                  <a:gd name="T1" fmla="*/ 1265 h 1402"/>
                  <a:gd name="T2" fmla="*/ 5734 w 6931"/>
                  <a:gd name="T3" fmla="*/ 1210 h 1402"/>
                  <a:gd name="T4" fmla="*/ 5737 w 6931"/>
                  <a:gd name="T5" fmla="*/ 1274 h 1402"/>
                  <a:gd name="T6" fmla="*/ 1592 w 6931"/>
                  <a:gd name="T7" fmla="*/ 1134 h 1402"/>
                  <a:gd name="T8" fmla="*/ 1594 w 6931"/>
                  <a:gd name="T9" fmla="*/ 1134 h 1402"/>
                  <a:gd name="T10" fmla="*/ 5760 w 6931"/>
                  <a:gd name="T11" fmla="*/ 1130 h 1402"/>
                  <a:gd name="T12" fmla="*/ 5760 w 6931"/>
                  <a:gd name="T13" fmla="*/ 1184 h 1402"/>
                  <a:gd name="T14" fmla="*/ 6226 w 6931"/>
                  <a:gd name="T15" fmla="*/ 1130 h 1402"/>
                  <a:gd name="T16" fmla="*/ 6229 w 6931"/>
                  <a:gd name="T17" fmla="*/ 1130 h 1402"/>
                  <a:gd name="T18" fmla="*/ 1367 w 6931"/>
                  <a:gd name="T19" fmla="*/ 1111 h 1402"/>
                  <a:gd name="T20" fmla="*/ 1369 w 6931"/>
                  <a:gd name="T21" fmla="*/ 1085 h 1402"/>
                  <a:gd name="T22" fmla="*/ 2765 w 6931"/>
                  <a:gd name="T23" fmla="*/ 1066 h 1402"/>
                  <a:gd name="T24" fmla="*/ 5836 w 6931"/>
                  <a:gd name="T25" fmla="*/ 1042 h 1402"/>
                  <a:gd name="T26" fmla="*/ 5834 w 6931"/>
                  <a:gd name="T27" fmla="*/ 1078 h 1402"/>
                  <a:gd name="T28" fmla="*/ 2781 w 6931"/>
                  <a:gd name="T29" fmla="*/ 1014 h 1402"/>
                  <a:gd name="T30" fmla="*/ 2783 w 6931"/>
                  <a:gd name="T31" fmla="*/ 1044 h 1402"/>
                  <a:gd name="T32" fmla="*/ 3675 w 6931"/>
                  <a:gd name="T33" fmla="*/ 995 h 1402"/>
                  <a:gd name="T34" fmla="*/ 3675 w 6931"/>
                  <a:gd name="T35" fmla="*/ 995 h 1402"/>
                  <a:gd name="T36" fmla="*/ 5853 w 6931"/>
                  <a:gd name="T37" fmla="*/ 1026 h 1402"/>
                  <a:gd name="T38" fmla="*/ 5855 w 6931"/>
                  <a:gd name="T39" fmla="*/ 990 h 1402"/>
                  <a:gd name="T40" fmla="*/ 6243 w 6931"/>
                  <a:gd name="T41" fmla="*/ 1113 h 1402"/>
                  <a:gd name="T42" fmla="*/ 6245 w 6931"/>
                  <a:gd name="T43" fmla="*/ 936 h 1402"/>
                  <a:gd name="T44" fmla="*/ 3748 w 6931"/>
                  <a:gd name="T45" fmla="*/ 943 h 1402"/>
                  <a:gd name="T46" fmla="*/ 6295 w 6931"/>
                  <a:gd name="T47" fmla="*/ 879 h 1402"/>
                  <a:gd name="T48" fmla="*/ 6295 w 6931"/>
                  <a:gd name="T49" fmla="*/ 888 h 1402"/>
                  <a:gd name="T50" fmla="*/ 6304 w 6931"/>
                  <a:gd name="T51" fmla="*/ 850 h 1402"/>
                  <a:gd name="T52" fmla="*/ 6302 w 6931"/>
                  <a:gd name="T53" fmla="*/ 872 h 1402"/>
                  <a:gd name="T54" fmla="*/ 3006 w 6931"/>
                  <a:gd name="T55" fmla="*/ 763 h 1402"/>
                  <a:gd name="T56" fmla="*/ 3003 w 6931"/>
                  <a:gd name="T57" fmla="*/ 928 h 1402"/>
                  <a:gd name="T58" fmla="*/ 913 w 6931"/>
                  <a:gd name="T59" fmla="*/ 753 h 1402"/>
                  <a:gd name="T60" fmla="*/ 915 w 6931"/>
                  <a:gd name="T61" fmla="*/ 753 h 1402"/>
                  <a:gd name="T62" fmla="*/ 5034 w 6931"/>
                  <a:gd name="T63" fmla="*/ 921 h 1402"/>
                  <a:gd name="T64" fmla="*/ 3041 w 6931"/>
                  <a:gd name="T65" fmla="*/ 659 h 1402"/>
                  <a:gd name="T66" fmla="*/ 3044 w 6931"/>
                  <a:gd name="T67" fmla="*/ 725 h 1402"/>
                  <a:gd name="T68" fmla="*/ 0 w 6931"/>
                  <a:gd name="T69" fmla="*/ 618 h 1402"/>
                  <a:gd name="T70" fmla="*/ 3 w 6931"/>
                  <a:gd name="T71" fmla="*/ 618 h 1402"/>
                  <a:gd name="T72" fmla="*/ 5157 w 6931"/>
                  <a:gd name="T73" fmla="*/ 680 h 1402"/>
                  <a:gd name="T74" fmla="*/ 3188 w 6931"/>
                  <a:gd name="T75" fmla="*/ 583 h 1402"/>
                  <a:gd name="T76" fmla="*/ 3188 w 6931"/>
                  <a:gd name="T77" fmla="*/ 606 h 1402"/>
                  <a:gd name="T78" fmla="*/ 206 w 6931"/>
                  <a:gd name="T79" fmla="*/ 550 h 1402"/>
                  <a:gd name="T80" fmla="*/ 6931 w 6931"/>
                  <a:gd name="T81" fmla="*/ 509 h 1402"/>
                  <a:gd name="T82" fmla="*/ 6931 w 6931"/>
                  <a:gd name="T83" fmla="*/ 1042 h 1402"/>
                  <a:gd name="T84" fmla="*/ 4098 w 6931"/>
                  <a:gd name="T85" fmla="*/ 507 h 1402"/>
                  <a:gd name="T86" fmla="*/ 3204 w 6931"/>
                  <a:gd name="T87" fmla="*/ 502 h 1402"/>
                  <a:gd name="T88" fmla="*/ 3204 w 6931"/>
                  <a:gd name="T89" fmla="*/ 566 h 1402"/>
                  <a:gd name="T90" fmla="*/ 3204 w 6931"/>
                  <a:gd name="T91" fmla="*/ 502 h 1402"/>
                  <a:gd name="T92" fmla="*/ 3940 w 6931"/>
                  <a:gd name="T93" fmla="*/ 457 h 1402"/>
                  <a:gd name="T94" fmla="*/ 3859 w 6931"/>
                  <a:gd name="T95" fmla="*/ 876 h 1402"/>
                  <a:gd name="T96" fmla="*/ 3235 w 6931"/>
                  <a:gd name="T97" fmla="*/ 434 h 1402"/>
                  <a:gd name="T98" fmla="*/ 3233 w 6931"/>
                  <a:gd name="T99" fmla="*/ 474 h 1402"/>
                  <a:gd name="T100" fmla="*/ 3947 w 6931"/>
                  <a:gd name="T101" fmla="*/ 391 h 1402"/>
                  <a:gd name="T102" fmla="*/ 3947 w 6931"/>
                  <a:gd name="T103" fmla="*/ 450 h 1402"/>
                  <a:gd name="T104" fmla="*/ 3947 w 6931"/>
                  <a:gd name="T105" fmla="*/ 391 h 1402"/>
                  <a:gd name="T106" fmla="*/ 1712 w 6931"/>
                  <a:gd name="T107" fmla="*/ 1080 h 1402"/>
                  <a:gd name="T108" fmla="*/ 3954 w 6931"/>
                  <a:gd name="T109" fmla="*/ 329 h 1402"/>
                  <a:gd name="T110" fmla="*/ 3956 w 6931"/>
                  <a:gd name="T111" fmla="*/ 382 h 1402"/>
                  <a:gd name="T112" fmla="*/ 4606 w 6931"/>
                  <a:gd name="T113" fmla="*/ 232 h 1402"/>
                  <a:gd name="T114" fmla="*/ 4609 w 6931"/>
                  <a:gd name="T115" fmla="*/ 232 h 1402"/>
                  <a:gd name="T116" fmla="*/ 4708 w 6931"/>
                  <a:gd name="T117" fmla="*/ 180 h 1402"/>
                  <a:gd name="T118" fmla="*/ 4755 w 6931"/>
                  <a:gd name="T119" fmla="*/ 0 h 1402"/>
                  <a:gd name="T120" fmla="*/ 4758 w 6931"/>
                  <a:gd name="T121" fmla="*/ 123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402">
                    <a:moveTo>
                      <a:pt x="3616" y="1222"/>
                    </a:moveTo>
                    <a:lnTo>
                      <a:pt x="3613" y="1222"/>
                    </a:lnTo>
                    <a:lnTo>
                      <a:pt x="3613" y="1224"/>
                    </a:lnTo>
                    <a:lnTo>
                      <a:pt x="3613" y="1265"/>
                    </a:lnTo>
                    <a:lnTo>
                      <a:pt x="3616" y="1265"/>
                    </a:lnTo>
                    <a:lnTo>
                      <a:pt x="3616" y="1222"/>
                    </a:lnTo>
                    <a:moveTo>
                      <a:pt x="5737" y="1210"/>
                    </a:moveTo>
                    <a:lnTo>
                      <a:pt x="5734" y="1210"/>
                    </a:lnTo>
                    <a:lnTo>
                      <a:pt x="5734" y="1210"/>
                    </a:lnTo>
                    <a:lnTo>
                      <a:pt x="5734" y="1213"/>
                    </a:lnTo>
                    <a:lnTo>
                      <a:pt x="5734" y="1274"/>
                    </a:lnTo>
                    <a:lnTo>
                      <a:pt x="5737" y="1274"/>
                    </a:lnTo>
                    <a:lnTo>
                      <a:pt x="5737" y="1210"/>
                    </a:lnTo>
                    <a:moveTo>
                      <a:pt x="1594" y="1132"/>
                    </a:moveTo>
                    <a:lnTo>
                      <a:pt x="1592" y="1132"/>
                    </a:lnTo>
                    <a:lnTo>
                      <a:pt x="1592" y="1134"/>
                    </a:lnTo>
                    <a:lnTo>
                      <a:pt x="1592" y="1134"/>
                    </a:lnTo>
                    <a:lnTo>
                      <a:pt x="1594" y="1134"/>
                    </a:lnTo>
                    <a:lnTo>
                      <a:pt x="1594" y="1134"/>
                    </a:lnTo>
                    <a:lnTo>
                      <a:pt x="1594" y="1134"/>
                    </a:lnTo>
                    <a:lnTo>
                      <a:pt x="1594" y="1132"/>
                    </a:lnTo>
                    <a:moveTo>
                      <a:pt x="5760" y="1130"/>
                    </a:moveTo>
                    <a:lnTo>
                      <a:pt x="5760" y="1130"/>
                    </a:lnTo>
                    <a:lnTo>
                      <a:pt x="5760" y="1130"/>
                    </a:lnTo>
                    <a:lnTo>
                      <a:pt x="5760" y="1187"/>
                    </a:lnTo>
                    <a:lnTo>
                      <a:pt x="5760" y="1187"/>
                    </a:lnTo>
                    <a:lnTo>
                      <a:pt x="5760" y="1184"/>
                    </a:lnTo>
                    <a:lnTo>
                      <a:pt x="5760" y="1184"/>
                    </a:lnTo>
                    <a:lnTo>
                      <a:pt x="5760" y="1130"/>
                    </a:lnTo>
                    <a:moveTo>
                      <a:pt x="6229" y="1130"/>
                    </a:moveTo>
                    <a:lnTo>
                      <a:pt x="6226" y="1130"/>
                    </a:lnTo>
                    <a:lnTo>
                      <a:pt x="6226" y="1130"/>
                    </a:lnTo>
                    <a:lnTo>
                      <a:pt x="6226" y="1130"/>
                    </a:lnTo>
                    <a:lnTo>
                      <a:pt x="6226" y="1158"/>
                    </a:lnTo>
                    <a:lnTo>
                      <a:pt x="6229" y="1158"/>
                    </a:lnTo>
                    <a:lnTo>
                      <a:pt x="6229" y="1130"/>
                    </a:lnTo>
                    <a:moveTo>
                      <a:pt x="1369" y="1085"/>
                    </a:moveTo>
                    <a:lnTo>
                      <a:pt x="1367" y="1085"/>
                    </a:lnTo>
                    <a:lnTo>
                      <a:pt x="1367" y="1087"/>
                    </a:lnTo>
                    <a:lnTo>
                      <a:pt x="1367" y="1111"/>
                    </a:lnTo>
                    <a:lnTo>
                      <a:pt x="1369" y="1111"/>
                    </a:lnTo>
                    <a:lnTo>
                      <a:pt x="1369" y="1108"/>
                    </a:lnTo>
                    <a:lnTo>
                      <a:pt x="1369" y="1108"/>
                    </a:lnTo>
                    <a:lnTo>
                      <a:pt x="1369" y="1085"/>
                    </a:lnTo>
                    <a:moveTo>
                      <a:pt x="2765" y="1063"/>
                    </a:moveTo>
                    <a:lnTo>
                      <a:pt x="2765" y="1063"/>
                    </a:lnTo>
                    <a:lnTo>
                      <a:pt x="2765" y="1063"/>
                    </a:lnTo>
                    <a:lnTo>
                      <a:pt x="2765" y="1066"/>
                    </a:lnTo>
                    <a:lnTo>
                      <a:pt x="2765" y="1189"/>
                    </a:lnTo>
                    <a:lnTo>
                      <a:pt x="2765" y="1189"/>
                    </a:lnTo>
                    <a:lnTo>
                      <a:pt x="2765" y="1063"/>
                    </a:lnTo>
                    <a:moveTo>
                      <a:pt x="5836" y="1042"/>
                    </a:moveTo>
                    <a:lnTo>
                      <a:pt x="5836" y="1042"/>
                    </a:lnTo>
                    <a:lnTo>
                      <a:pt x="5834" y="1042"/>
                    </a:lnTo>
                    <a:lnTo>
                      <a:pt x="5834" y="1044"/>
                    </a:lnTo>
                    <a:lnTo>
                      <a:pt x="5834" y="1078"/>
                    </a:lnTo>
                    <a:lnTo>
                      <a:pt x="5836" y="1078"/>
                    </a:lnTo>
                    <a:lnTo>
                      <a:pt x="5836" y="1042"/>
                    </a:lnTo>
                    <a:moveTo>
                      <a:pt x="2783" y="1014"/>
                    </a:moveTo>
                    <a:lnTo>
                      <a:pt x="2781" y="1014"/>
                    </a:lnTo>
                    <a:lnTo>
                      <a:pt x="2781" y="1014"/>
                    </a:lnTo>
                    <a:lnTo>
                      <a:pt x="2781" y="1047"/>
                    </a:lnTo>
                    <a:lnTo>
                      <a:pt x="2783" y="1047"/>
                    </a:lnTo>
                    <a:lnTo>
                      <a:pt x="2783" y="1044"/>
                    </a:lnTo>
                    <a:lnTo>
                      <a:pt x="2783" y="1044"/>
                    </a:lnTo>
                    <a:lnTo>
                      <a:pt x="2783" y="1014"/>
                    </a:lnTo>
                    <a:moveTo>
                      <a:pt x="3675" y="995"/>
                    </a:moveTo>
                    <a:lnTo>
                      <a:pt x="3675" y="995"/>
                    </a:lnTo>
                    <a:lnTo>
                      <a:pt x="3675" y="997"/>
                    </a:lnTo>
                    <a:lnTo>
                      <a:pt x="3675" y="1172"/>
                    </a:lnTo>
                    <a:lnTo>
                      <a:pt x="3675" y="1172"/>
                    </a:lnTo>
                    <a:lnTo>
                      <a:pt x="3675" y="995"/>
                    </a:lnTo>
                    <a:moveTo>
                      <a:pt x="5855" y="990"/>
                    </a:moveTo>
                    <a:lnTo>
                      <a:pt x="5853" y="990"/>
                    </a:lnTo>
                    <a:lnTo>
                      <a:pt x="5853" y="992"/>
                    </a:lnTo>
                    <a:lnTo>
                      <a:pt x="5853" y="1026"/>
                    </a:lnTo>
                    <a:lnTo>
                      <a:pt x="5853" y="1026"/>
                    </a:lnTo>
                    <a:lnTo>
                      <a:pt x="5853" y="1023"/>
                    </a:lnTo>
                    <a:lnTo>
                      <a:pt x="5855" y="1023"/>
                    </a:lnTo>
                    <a:lnTo>
                      <a:pt x="5855" y="990"/>
                    </a:lnTo>
                    <a:moveTo>
                      <a:pt x="6245" y="936"/>
                    </a:moveTo>
                    <a:lnTo>
                      <a:pt x="6243" y="936"/>
                    </a:lnTo>
                    <a:lnTo>
                      <a:pt x="6243" y="938"/>
                    </a:lnTo>
                    <a:lnTo>
                      <a:pt x="6243" y="1113"/>
                    </a:lnTo>
                    <a:lnTo>
                      <a:pt x="6245" y="1113"/>
                    </a:lnTo>
                    <a:lnTo>
                      <a:pt x="6245" y="1111"/>
                    </a:lnTo>
                    <a:lnTo>
                      <a:pt x="6245" y="1111"/>
                    </a:lnTo>
                    <a:lnTo>
                      <a:pt x="6245" y="936"/>
                    </a:lnTo>
                    <a:moveTo>
                      <a:pt x="3751" y="928"/>
                    </a:moveTo>
                    <a:lnTo>
                      <a:pt x="3748" y="928"/>
                    </a:lnTo>
                    <a:lnTo>
                      <a:pt x="3748" y="931"/>
                    </a:lnTo>
                    <a:lnTo>
                      <a:pt x="3748" y="943"/>
                    </a:lnTo>
                    <a:lnTo>
                      <a:pt x="3751" y="943"/>
                    </a:lnTo>
                    <a:lnTo>
                      <a:pt x="3751" y="928"/>
                    </a:lnTo>
                    <a:moveTo>
                      <a:pt x="6295" y="879"/>
                    </a:moveTo>
                    <a:lnTo>
                      <a:pt x="6295" y="879"/>
                    </a:lnTo>
                    <a:lnTo>
                      <a:pt x="6292" y="879"/>
                    </a:lnTo>
                    <a:lnTo>
                      <a:pt x="6292" y="881"/>
                    </a:lnTo>
                    <a:lnTo>
                      <a:pt x="6292" y="888"/>
                    </a:lnTo>
                    <a:lnTo>
                      <a:pt x="6295" y="888"/>
                    </a:lnTo>
                    <a:lnTo>
                      <a:pt x="6295" y="886"/>
                    </a:lnTo>
                    <a:lnTo>
                      <a:pt x="6295" y="886"/>
                    </a:lnTo>
                    <a:lnTo>
                      <a:pt x="6295" y="879"/>
                    </a:lnTo>
                    <a:moveTo>
                      <a:pt x="6304" y="850"/>
                    </a:moveTo>
                    <a:lnTo>
                      <a:pt x="6302" y="850"/>
                    </a:lnTo>
                    <a:lnTo>
                      <a:pt x="6302" y="853"/>
                    </a:lnTo>
                    <a:lnTo>
                      <a:pt x="6302" y="872"/>
                    </a:lnTo>
                    <a:lnTo>
                      <a:pt x="6302" y="872"/>
                    </a:lnTo>
                    <a:lnTo>
                      <a:pt x="6302" y="869"/>
                    </a:lnTo>
                    <a:lnTo>
                      <a:pt x="6304" y="869"/>
                    </a:lnTo>
                    <a:lnTo>
                      <a:pt x="6304" y="850"/>
                    </a:lnTo>
                    <a:moveTo>
                      <a:pt x="3006" y="763"/>
                    </a:moveTo>
                    <a:lnTo>
                      <a:pt x="3006" y="763"/>
                    </a:lnTo>
                    <a:lnTo>
                      <a:pt x="3003" y="763"/>
                    </a:lnTo>
                    <a:lnTo>
                      <a:pt x="3003" y="765"/>
                    </a:lnTo>
                    <a:lnTo>
                      <a:pt x="3003" y="928"/>
                    </a:lnTo>
                    <a:lnTo>
                      <a:pt x="3006" y="928"/>
                    </a:lnTo>
                    <a:lnTo>
                      <a:pt x="3006" y="763"/>
                    </a:lnTo>
                    <a:moveTo>
                      <a:pt x="915" y="753"/>
                    </a:moveTo>
                    <a:lnTo>
                      <a:pt x="913" y="753"/>
                    </a:lnTo>
                    <a:lnTo>
                      <a:pt x="913" y="756"/>
                    </a:lnTo>
                    <a:lnTo>
                      <a:pt x="913" y="777"/>
                    </a:lnTo>
                    <a:lnTo>
                      <a:pt x="915" y="777"/>
                    </a:lnTo>
                    <a:lnTo>
                      <a:pt x="915" y="753"/>
                    </a:lnTo>
                    <a:moveTo>
                      <a:pt x="5037" y="732"/>
                    </a:moveTo>
                    <a:lnTo>
                      <a:pt x="5034" y="732"/>
                    </a:lnTo>
                    <a:lnTo>
                      <a:pt x="5034" y="734"/>
                    </a:lnTo>
                    <a:lnTo>
                      <a:pt x="5034" y="921"/>
                    </a:lnTo>
                    <a:lnTo>
                      <a:pt x="5037" y="921"/>
                    </a:lnTo>
                    <a:lnTo>
                      <a:pt x="5037" y="732"/>
                    </a:lnTo>
                    <a:moveTo>
                      <a:pt x="3044" y="659"/>
                    </a:moveTo>
                    <a:lnTo>
                      <a:pt x="3041" y="659"/>
                    </a:lnTo>
                    <a:lnTo>
                      <a:pt x="3041" y="659"/>
                    </a:lnTo>
                    <a:lnTo>
                      <a:pt x="3041" y="727"/>
                    </a:lnTo>
                    <a:lnTo>
                      <a:pt x="3044" y="727"/>
                    </a:lnTo>
                    <a:lnTo>
                      <a:pt x="3044" y="725"/>
                    </a:lnTo>
                    <a:lnTo>
                      <a:pt x="3044" y="725"/>
                    </a:lnTo>
                    <a:lnTo>
                      <a:pt x="3044" y="659"/>
                    </a:lnTo>
                    <a:moveTo>
                      <a:pt x="3" y="618"/>
                    </a:moveTo>
                    <a:lnTo>
                      <a:pt x="0" y="618"/>
                    </a:lnTo>
                    <a:lnTo>
                      <a:pt x="0" y="618"/>
                    </a:lnTo>
                    <a:lnTo>
                      <a:pt x="0" y="1402"/>
                    </a:lnTo>
                    <a:lnTo>
                      <a:pt x="3" y="1402"/>
                    </a:lnTo>
                    <a:lnTo>
                      <a:pt x="3" y="618"/>
                    </a:lnTo>
                    <a:moveTo>
                      <a:pt x="5157" y="611"/>
                    </a:moveTo>
                    <a:lnTo>
                      <a:pt x="5157" y="611"/>
                    </a:lnTo>
                    <a:lnTo>
                      <a:pt x="5157" y="611"/>
                    </a:lnTo>
                    <a:lnTo>
                      <a:pt x="5157" y="680"/>
                    </a:lnTo>
                    <a:lnTo>
                      <a:pt x="5157" y="680"/>
                    </a:lnTo>
                    <a:lnTo>
                      <a:pt x="5157" y="611"/>
                    </a:lnTo>
                    <a:moveTo>
                      <a:pt x="3188" y="583"/>
                    </a:moveTo>
                    <a:lnTo>
                      <a:pt x="3188" y="583"/>
                    </a:lnTo>
                    <a:lnTo>
                      <a:pt x="3185" y="583"/>
                    </a:lnTo>
                    <a:lnTo>
                      <a:pt x="3185" y="585"/>
                    </a:lnTo>
                    <a:lnTo>
                      <a:pt x="3185" y="606"/>
                    </a:lnTo>
                    <a:lnTo>
                      <a:pt x="3188" y="606"/>
                    </a:lnTo>
                    <a:lnTo>
                      <a:pt x="3188" y="583"/>
                    </a:lnTo>
                    <a:moveTo>
                      <a:pt x="208" y="547"/>
                    </a:moveTo>
                    <a:lnTo>
                      <a:pt x="206" y="547"/>
                    </a:lnTo>
                    <a:lnTo>
                      <a:pt x="206" y="550"/>
                    </a:lnTo>
                    <a:lnTo>
                      <a:pt x="206" y="566"/>
                    </a:lnTo>
                    <a:lnTo>
                      <a:pt x="208" y="566"/>
                    </a:lnTo>
                    <a:lnTo>
                      <a:pt x="208" y="547"/>
                    </a:lnTo>
                    <a:moveTo>
                      <a:pt x="6931" y="509"/>
                    </a:moveTo>
                    <a:lnTo>
                      <a:pt x="6928" y="509"/>
                    </a:lnTo>
                    <a:lnTo>
                      <a:pt x="6928" y="512"/>
                    </a:lnTo>
                    <a:lnTo>
                      <a:pt x="6928" y="1042"/>
                    </a:lnTo>
                    <a:lnTo>
                      <a:pt x="6931" y="1042"/>
                    </a:lnTo>
                    <a:lnTo>
                      <a:pt x="6931" y="509"/>
                    </a:lnTo>
                    <a:moveTo>
                      <a:pt x="4098" y="505"/>
                    </a:moveTo>
                    <a:lnTo>
                      <a:pt x="4098" y="505"/>
                    </a:lnTo>
                    <a:lnTo>
                      <a:pt x="4098" y="507"/>
                    </a:lnTo>
                    <a:lnTo>
                      <a:pt x="4072" y="540"/>
                    </a:lnTo>
                    <a:lnTo>
                      <a:pt x="4072" y="540"/>
                    </a:lnTo>
                    <a:lnTo>
                      <a:pt x="4098" y="505"/>
                    </a:lnTo>
                    <a:moveTo>
                      <a:pt x="3204" y="502"/>
                    </a:moveTo>
                    <a:lnTo>
                      <a:pt x="3204" y="502"/>
                    </a:lnTo>
                    <a:lnTo>
                      <a:pt x="3204" y="502"/>
                    </a:lnTo>
                    <a:lnTo>
                      <a:pt x="3204" y="505"/>
                    </a:lnTo>
                    <a:lnTo>
                      <a:pt x="3204" y="566"/>
                    </a:lnTo>
                    <a:lnTo>
                      <a:pt x="3204" y="566"/>
                    </a:lnTo>
                    <a:lnTo>
                      <a:pt x="3204" y="564"/>
                    </a:lnTo>
                    <a:lnTo>
                      <a:pt x="3204" y="564"/>
                    </a:lnTo>
                    <a:lnTo>
                      <a:pt x="3204" y="502"/>
                    </a:lnTo>
                    <a:moveTo>
                      <a:pt x="3942" y="455"/>
                    </a:moveTo>
                    <a:lnTo>
                      <a:pt x="3940" y="455"/>
                    </a:lnTo>
                    <a:lnTo>
                      <a:pt x="3940" y="455"/>
                    </a:lnTo>
                    <a:lnTo>
                      <a:pt x="3940" y="457"/>
                    </a:lnTo>
                    <a:lnTo>
                      <a:pt x="3940" y="493"/>
                    </a:lnTo>
                    <a:lnTo>
                      <a:pt x="3859" y="644"/>
                    </a:lnTo>
                    <a:lnTo>
                      <a:pt x="3859" y="876"/>
                    </a:lnTo>
                    <a:lnTo>
                      <a:pt x="3859" y="876"/>
                    </a:lnTo>
                    <a:lnTo>
                      <a:pt x="3859" y="642"/>
                    </a:lnTo>
                    <a:lnTo>
                      <a:pt x="3942" y="490"/>
                    </a:lnTo>
                    <a:lnTo>
                      <a:pt x="3942" y="455"/>
                    </a:lnTo>
                    <a:moveTo>
                      <a:pt x="3235" y="434"/>
                    </a:moveTo>
                    <a:lnTo>
                      <a:pt x="3233" y="434"/>
                    </a:lnTo>
                    <a:lnTo>
                      <a:pt x="3233" y="436"/>
                    </a:lnTo>
                    <a:lnTo>
                      <a:pt x="3233" y="474"/>
                    </a:lnTo>
                    <a:lnTo>
                      <a:pt x="3233" y="474"/>
                    </a:lnTo>
                    <a:lnTo>
                      <a:pt x="3233" y="472"/>
                    </a:lnTo>
                    <a:lnTo>
                      <a:pt x="3235" y="472"/>
                    </a:lnTo>
                    <a:lnTo>
                      <a:pt x="3235" y="434"/>
                    </a:lnTo>
                    <a:moveTo>
                      <a:pt x="3947" y="391"/>
                    </a:moveTo>
                    <a:lnTo>
                      <a:pt x="3947" y="391"/>
                    </a:lnTo>
                    <a:lnTo>
                      <a:pt x="3947" y="391"/>
                    </a:lnTo>
                    <a:lnTo>
                      <a:pt x="3947" y="393"/>
                    </a:lnTo>
                    <a:lnTo>
                      <a:pt x="3947" y="450"/>
                    </a:lnTo>
                    <a:lnTo>
                      <a:pt x="3947" y="450"/>
                    </a:lnTo>
                    <a:lnTo>
                      <a:pt x="3947" y="448"/>
                    </a:lnTo>
                    <a:lnTo>
                      <a:pt x="3947" y="448"/>
                    </a:lnTo>
                    <a:lnTo>
                      <a:pt x="3947" y="391"/>
                    </a:lnTo>
                    <a:moveTo>
                      <a:pt x="1715" y="370"/>
                    </a:moveTo>
                    <a:lnTo>
                      <a:pt x="1712" y="370"/>
                    </a:lnTo>
                    <a:lnTo>
                      <a:pt x="1712" y="372"/>
                    </a:lnTo>
                    <a:lnTo>
                      <a:pt x="1712" y="1080"/>
                    </a:lnTo>
                    <a:lnTo>
                      <a:pt x="1715" y="1080"/>
                    </a:lnTo>
                    <a:lnTo>
                      <a:pt x="1715" y="370"/>
                    </a:lnTo>
                    <a:moveTo>
                      <a:pt x="3956" y="329"/>
                    </a:moveTo>
                    <a:lnTo>
                      <a:pt x="3954" y="329"/>
                    </a:lnTo>
                    <a:lnTo>
                      <a:pt x="3954" y="329"/>
                    </a:lnTo>
                    <a:lnTo>
                      <a:pt x="3954" y="384"/>
                    </a:lnTo>
                    <a:lnTo>
                      <a:pt x="3956" y="384"/>
                    </a:lnTo>
                    <a:lnTo>
                      <a:pt x="3956" y="382"/>
                    </a:lnTo>
                    <a:lnTo>
                      <a:pt x="3956" y="382"/>
                    </a:lnTo>
                    <a:lnTo>
                      <a:pt x="3956" y="329"/>
                    </a:lnTo>
                    <a:moveTo>
                      <a:pt x="4609" y="232"/>
                    </a:moveTo>
                    <a:lnTo>
                      <a:pt x="4606" y="232"/>
                    </a:lnTo>
                    <a:lnTo>
                      <a:pt x="4606" y="235"/>
                    </a:lnTo>
                    <a:lnTo>
                      <a:pt x="4547" y="450"/>
                    </a:lnTo>
                    <a:lnTo>
                      <a:pt x="4550" y="450"/>
                    </a:lnTo>
                    <a:lnTo>
                      <a:pt x="4609" y="232"/>
                    </a:lnTo>
                    <a:moveTo>
                      <a:pt x="4708" y="173"/>
                    </a:moveTo>
                    <a:lnTo>
                      <a:pt x="4708" y="173"/>
                    </a:lnTo>
                    <a:lnTo>
                      <a:pt x="4708" y="176"/>
                    </a:lnTo>
                    <a:lnTo>
                      <a:pt x="4708" y="180"/>
                    </a:lnTo>
                    <a:lnTo>
                      <a:pt x="4708" y="180"/>
                    </a:lnTo>
                    <a:lnTo>
                      <a:pt x="4708" y="173"/>
                    </a:lnTo>
                    <a:moveTo>
                      <a:pt x="4758" y="0"/>
                    </a:moveTo>
                    <a:lnTo>
                      <a:pt x="4755" y="0"/>
                    </a:lnTo>
                    <a:lnTo>
                      <a:pt x="4755" y="3"/>
                    </a:lnTo>
                    <a:lnTo>
                      <a:pt x="4755" y="126"/>
                    </a:lnTo>
                    <a:lnTo>
                      <a:pt x="4758" y="126"/>
                    </a:lnTo>
                    <a:lnTo>
                      <a:pt x="4758" y="123"/>
                    </a:lnTo>
                    <a:lnTo>
                      <a:pt x="4758" y="123"/>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5" name="Freeform 90"/>
              <p:cNvSpPr>
                <a:spLocks noEditPoints="1"/>
              </p:cNvSpPr>
              <p:nvPr/>
            </p:nvSpPr>
            <p:spPr bwMode="auto">
              <a:xfrm>
                <a:off x="-3" y="1712"/>
                <a:ext cx="7025" cy="1485"/>
              </a:xfrm>
              <a:custGeom>
                <a:avLst/>
                <a:gdLst>
                  <a:gd name="T0" fmla="*/ 0 w 7025"/>
                  <a:gd name="T1" fmla="*/ 1482 h 1485"/>
                  <a:gd name="T2" fmla="*/ 3708 w 7025"/>
                  <a:gd name="T3" fmla="*/ 1222 h 1485"/>
                  <a:gd name="T4" fmla="*/ 3710 w 7025"/>
                  <a:gd name="T5" fmla="*/ 1222 h 1485"/>
                  <a:gd name="T6" fmla="*/ 5829 w 7025"/>
                  <a:gd name="T7" fmla="*/ 1210 h 1485"/>
                  <a:gd name="T8" fmla="*/ 1688 w 7025"/>
                  <a:gd name="T9" fmla="*/ 1132 h 1485"/>
                  <a:gd name="T10" fmla="*/ 1686 w 7025"/>
                  <a:gd name="T11" fmla="*/ 1134 h 1485"/>
                  <a:gd name="T12" fmla="*/ 5855 w 7025"/>
                  <a:gd name="T13" fmla="*/ 1127 h 1485"/>
                  <a:gd name="T14" fmla="*/ 5855 w 7025"/>
                  <a:gd name="T15" fmla="*/ 1184 h 1485"/>
                  <a:gd name="T16" fmla="*/ 6323 w 7025"/>
                  <a:gd name="T17" fmla="*/ 1127 h 1485"/>
                  <a:gd name="T18" fmla="*/ 6321 w 7025"/>
                  <a:gd name="T19" fmla="*/ 1158 h 1485"/>
                  <a:gd name="T20" fmla="*/ 1461 w 7025"/>
                  <a:gd name="T21" fmla="*/ 1082 h 1485"/>
                  <a:gd name="T22" fmla="*/ 1464 w 7025"/>
                  <a:gd name="T23" fmla="*/ 1106 h 1485"/>
                  <a:gd name="T24" fmla="*/ 2859 w 7025"/>
                  <a:gd name="T25" fmla="*/ 1061 h 1485"/>
                  <a:gd name="T26" fmla="*/ 2859 w 7025"/>
                  <a:gd name="T27" fmla="*/ 1189 h 1485"/>
                  <a:gd name="T28" fmla="*/ 5928 w 7025"/>
                  <a:gd name="T29" fmla="*/ 1040 h 1485"/>
                  <a:gd name="T30" fmla="*/ 5930 w 7025"/>
                  <a:gd name="T31" fmla="*/ 1040 h 1485"/>
                  <a:gd name="T32" fmla="*/ 2875 w 7025"/>
                  <a:gd name="T33" fmla="*/ 1044 h 1485"/>
                  <a:gd name="T34" fmla="*/ 2878 w 7025"/>
                  <a:gd name="T35" fmla="*/ 1011 h 1485"/>
                  <a:gd name="T36" fmla="*/ 3767 w 7025"/>
                  <a:gd name="T37" fmla="*/ 1172 h 1485"/>
                  <a:gd name="T38" fmla="*/ 5947 w 7025"/>
                  <a:gd name="T39" fmla="*/ 990 h 1485"/>
                  <a:gd name="T40" fmla="*/ 5947 w 7025"/>
                  <a:gd name="T41" fmla="*/ 1021 h 1485"/>
                  <a:gd name="T42" fmla="*/ 6337 w 7025"/>
                  <a:gd name="T43" fmla="*/ 936 h 1485"/>
                  <a:gd name="T44" fmla="*/ 6339 w 7025"/>
                  <a:gd name="T45" fmla="*/ 1108 h 1485"/>
                  <a:gd name="T46" fmla="*/ 3843 w 7025"/>
                  <a:gd name="T47" fmla="*/ 926 h 1485"/>
                  <a:gd name="T48" fmla="*/ 3845 w 7025"/>
                  <a:gd name="T49" fmla="*/ 926 h 1485"/>
                  <a:gd name="T50" fmla="*/ 6387 w 7025"/>
                  <a:gd name="T51" fmla="*/ 879 h 1485"/>
                  <a:gd name="T52" fmla="*/ 6389 w 7025"/>
                  <a:gd name="T53" fmla="*/ 883 h 1485"/>
                  <a:gd name="T54" fmla="*/ 6396 w 7025"/>
                  <a:gd name="T55" fmla="*/ 850 h 1485"/>
                  <a:gd name="T56" fmla="*/ 6396 w 7025"/>
                  <a:gd name="T57" fmla="*/ 869 h 1485"/>
                  <a:gd name="T58" fmla="*/ 3098 w 7025"/>
                  <a:gd name="T59" fmla="*/ 763 h 1485"/>
                  <a:gd name="T60" fmla="*/ 3100 w 7025"/>
                  <a:gd name="T61" fmla="*/ 763 h 1485"/>
                  <a:gd name="T62" fmla="*/ 1007 w 7025"/>
                  <a:gd name="T63" fmla="*/ 777 h 1485"/>
                  <a:gd name="T64" fmla="*/ 5129 w 7025"/>
                  <a:gd name="T65" fmla="*/ 732 h 1485"/>
                  <a:gd name="T66" fmla="*/ 5131 w 7025"/>
                  <a:gd name="T67" fmla="*/ 732 h 1485"/>
                  <a:gd name="T68" fmla="*/ 3136 w 7025"/>
                  <a:gd name="T69" fmla="*/ 725 h 1485"/>
                  <a:gd name="T70" fmla="*/ 3138 w 7025"/>
                  <a:gd name="T71" fmla="*/ 656 h 1485"/>
                  <a:gd name="T72" fmla="*/ 95 w 7025"/>
                  <a:gd name="T73" fmla="*/ 1402 h 1485"/>
                  <a:gd name="T74" fmla="*/ 5249 w 7025"/>
                  <a:gd name="T75" fmla="*/ 609 h 1485"/>
                  <a:gd name="T76" fmla="*/ 5252 w 7025"/>
                  <a:gd name="T77" fmla="*/ 609 h 1485"/>
                  <a:gd name="T78" fmla="*/ 3280 w 7025"/>
                  <a:gd name="T79" fmla="*/ 583 h 1485"/>
                  <a:gd name="T80" fmla="*/ 300 w 7025"/>
                  <a:gd name="T81" fmla="*/ 547 h 1485"/>
                  <a:gd name="T82" fmla="*/ 300 w 7025"/>
                  <a:gd name="T83" fmla="*/ 566 h 1485"/>
                  <a:gd name="T84" fmla="*/ 7023 w 7025"/>
                  <a:gd name="T85" fmla="*/ 509 h 1485"/>
                  <a:gd name="T86" fmla="*/ 4192 w 7025"/>
                  <a:gd name="T87" fmla="*/ 502 h 1485"/>
                  <a:gd name="T88" fmla="*/ 4164 w 7025"/>
                  <a:gd name="T89" fmla="*/ 540 h 1485"/>
                  <a:gd name="T90" fmla="*/ 3296 w 7025"/>
                  <a:gd name="T91" fmla="*/ 500 h 1485"/>
                  <a:gd name="T92" fmla="*/ 3299 w 7025"/>
                  <a:gd name="T93" fmla="*/ 561 h 1485"/>
                  <a:gd name="T94" fmla="*/ 4034 w 7025"/>
                  <a:gd name="T95" fmla="*/ 453 h 1485"/>
                  <a:gd name="T96" fmla="*/ 3951 w 7025"/>
                  <a:gd name="T97" fmla="*/ 642 h 1485"/>
                  <a:gd name="T98" fmla="*/ 4036 w 7025"/>
                  <a:gd name="T99" fmla="*/ 488 h 1485"/>
                  <a:gd name="T100" fmla="*/ 3327 w 7025"/>
                  <a:gd name="T101" fmla="*/ 434 h 1485"/>
                  <a:gd name="T102" fmla="*/ 3327 w 7025"/>
                  <a:gd name="T103" fmla="*/ 472 h 1485"/>
                  <a:gd name="T104" fmla="*/ 4039 w 7025"/>
                  <a:gd name="T105" fmla="*/ 391 h 1485"/>
                  <a:gd name="T106" fmla="*/ 4041 w 7025"/>
                  <a:gd name="T107" fmla="*/ 445 h 1485"/>
                  <a:gd name="T108" fmla="*/ 1807 w 7025"/>
                  <a:gd name="T109" fmla="*/ 367 h 1485"/>
                  <a:gd name="T110" fmla="*/ 1809 w 7025"/>
                  <a:gd name="T111" fmla="*/ 367 h 1485"/>
                  <a:gd name="T112" fmla="*/ 4048 w 7025"/>
                  <a:gd name="T113" fmla="*/ 382 h 1485"/>
                  <a:gd name="T114" fmla="*/ 4051 w 7025"/>
                  <a:gd name="T115" fmla="*/ 327 h 1485"/>
                  <a:gd name="T116" fmla="*/ 4642 w 7025"/>
                  <a:gd name="T117" fmla="*/ 450 h 1485"/>
                  <a:gd name="T118" fmla="*/ 4800 w 7025"/>
                  <a:gd name="T119" fmla="*/ 171 h 1485"/>
                  <a:gd name="T120" fmla="*/ 4802 w 7025"/>
                  <a:gd name="T121" fmla="*/ 171 h 1485"/>
                  <a:gd name="T122" fmla="*/ 4850 w 7025"/>
                  <a:gd name="T123" fmla="*/ 123 h 1485"/>
                  <a:gd name="T124" fmla="*/ 4852 w 7025"/>
                  <a:gd name="T125" fmla="*/ 0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5" h="1485">
                    <a:moveTo>
                      <a:pt x="0" y="1452"/>
                    </a:moveTo>
                    <a:lnTo>
                      <a:pt x="0" y="1452"/>
                    </a:lnTo>
                    <a:lnTo>
                      <a:pt x="0" y="1485"/>
                    </a:lnTo>
                    <a:lnTo>
                      <a:pt x="0" y="1482"/>
                    </a:lnTo>
                    <a:lnTo>
                      <a:pt x="0" y="1482"/>
                    </a:lnTo>
                    <a:lnTo>
                      <a:pt x="0" y="1452"/>
                    </a:lnTo>
                    <a:close/>
                    <a:moveTo>
                      <a:pt x="3710" y="1222"/>
                    </a:moveTo>
                    <a:lnTo>
                      <a:pt x="3708" y="1222"/>
                    </a:lnTo>
                    <a:lnTo>
                      <a:pt x="3708" y="1222"/>
                    </a:lnTo>
                    <a:lnTo>
                      <a:pt x="3708" y="1265"/>
                    </a:lnTo>
                    <a:lnTo>
                      <a:pt x="3710" y="1265"/>
                    </a:lnTo>
                    <a:lnTo>
                      <a:pt x="3710" y="1222"/>
                    </a:lnTo>
                    <a:close/>
                    <a:moveTo>
                      <a:pt x="5831" y="1208"/>
                    </a:moveTo>
                    <a:lnTo>
                      <a:pt x="5829" y="1208"/>
                    </a:lnTo>
                    <a:lnTo>
                      <a:pt x="5829" y="1208"/>
                    </a:lnTo>
                    <a:lnTo>
                      <a:pt x="5829" y="1210"/>
                    </a:lnTo>
                    <a:lnTo>
                      <a:pt x="5829" y="1274"/>
                    </a:lnTo>
                    <a:lnTo>
                      <a:pt x="5831" y="1274"/>
                    </a:lnTo>
                    <a:lnTo>
                      <a:pt x="5831" y="1208"/>
                    </a:lnTo>
                    <a:close/>
                    <a:moveTo>
                      <a:pt x="1688" y="1132"/>
                    </a:moveTo>
                    <a:lnTo>
                      <a:pt x="1686" y="1132"/>
                    </a:lnTo>
                    <a:lnTo>
                      <a:pt x="1686" y="1132"/>
                    </a:lnTo>
                    <a:lnTo>
                      <a:pt x="1686" y="1134"/>
                    </a:lnTo>
                    <a:lnTo>
                      <a:pt x="1686" y="1134"/>
                    </a:lnTo>
                    <a:lnTo>
                      <a:pt x="1686" y="1132"/>
                    </a:lnTo>
                    <a:lnTo>
                      <a:pt x="1688" y="1132"/>
                    </a:lnTo>
                    <a:lnTo>
                      <a:pt x="1688" y="1132"/>
                    </a:lnTo>
                    <a:close/>
                    <a:moveTo>
                      <a:pt x="5855" y="1127"/>
                    </a:moveTo>
                    <a:lnTo>
                      <a:pt x="5852" y="1127"/>
                    </a:lnTo>
                    <a:lnTo>
                      <a:pt x="5852" y="1130"/>
                    </a:lnTo>
                    <a:lnTo>
                      <a:pt x="5852" y="1184"/>
                    </a:lnTo>
                    <a:lnTo>
                      <a:pt x="5855" y="1184"/>
                    </a:lnTo>
                    <a:lnTo>
                      <a:pt x="5855" y="1182"/>
                    </a:lnTo>
                    <a:lnTo>
                      <a:pt x="5855" y="1182"/>
                    </a:lnTo>
                    <a:lnTo>
                      <a:pt x="5855" y="1127"/>
                    </a:lnTo>
                    <a:close/>
                    <a:moveTo>
                      <a:pt x="6323" y="1127"/>
                    </a:moveTo>
                    <a:lnTo>
                      <a:pt x="6321" y="1127"/>
                    </a:lnTo>
                    <a:lnTo>
                      <a:pt x="6321" y="1127"/>
                    </a:lnTo>
                    <a:lnTo>
                      <a:pt x="6321" y="1130"/>
                    </a:lnTo>
                    <a:lnTo>
                      <a:pt x="6321" y="1158"/>
                    </a:lnTo>
                    <a:lnTo>
                      <a:pt x="6323" y="1158"/>
                    </a:lnTo>
                    <a:lnTo>
                      <a:pt x="6323" y="1127"/>
                    </a:lnTo>
                    <a:close/>
                    <a:moveTo>
                      <a:pt x="1464" y="1082"/>
                    </a:moveTo>
                    <a:lnTo>
                      <a:pt x="1461" y="1082"/>
                    </a:lnTo>
                    <a:lnTo>
                      <a:pt x="1461" y="1085"/>
                    </a:lnTo>
                    <a:lnTo>
                      <a:pt x="1461" y="1108"/>
                    </a:lnTo>
                    <a:lnTo>
                      <a:pt x="1464" y="1108"/>
                    </a:lnTo>
                    <a:lnTo>
                      <a:pt x="1464" y="1106"/>
                    </a:lnTo>
                    <a:lnTo>
                      <a:pt x="1464" y="1106"/>
                    </a:lnTo>
                    <a:lnTo>
                      <a:pt x="1464" y="1082"/>
                    </a:lnTo>
                    <a:close/>
                    <a:moveTo>
                      <a:pt x="2859" y="1061"/>
                    </a:moveTo>
                    <a:lnTo>
                      <a:pt x="2859" y="1061"/>
                    </a:lnTo>
                    <a:lnTo>
                      <a:pt x="2857" y="1061"/>
                    </a:lnTo>
                    <a:lnTo>
                      <a:pt x="2857" y="1063"/>
                    </a:lnTo>
                    <a:lnTo>
                      <a:pt x="2857" y="1189"/>
                    </a:lnTo>
                    <a:lnTo>
                      <a:pt x="2859" y="1189"/>
                    </a:lnTo>
                    <a:lnTo>
                      <a:pt x="2859" y="1061"/>
                    </a:lnTo>
                    <a:close/>
                    <a:moveTo>
                      <a:pt x="5930" y="1040"/>
                    </a:moveTo>
                    <a:lnTo>
                      <a:pt x="5930" y="1040"/>
                    </a:lnTo>
                    <a:lnTo>
                      <a:pt x="5928" y="1040"/>
                    </a:lnTo>
                    <a:lnTo>
                      <a:pt x="5928" y="1042"/>
                    </a:lnTo>
                    <a:lnTo>
                      <a:pt x="5928" y="1078"/>
                    </a:lnTo>
                    <a:lnTo>
                      <a:pt x="5930" y="1078"/>
                    </a:lnTo>
                    <a:lnTo>
                      <a:pt x="5930" y="1040"/>
                    </a:lnTo>
                    <a:close/>
                    <a:moveTo>
                      <a:pt x="2878" y="1011"/>
                    </a:moveTo>
                    <a:lnTo>
                      <a:pt x="2875" y="1011"/>
                    </a:lnTo>
                    <a:lnTo>
                      <a:pt x="2875" y="1014"/>
                    </a:lnTo>
                    <a:lnTo>
                      <a:pt x="2875" y="1044"/>
                    </a:lnTo>
                    <a:lnTo>
                      <a:pt x="2875" y="1044"/>
                    </a:lnTo>
                    <a:lnTo>
                      <a:pt x="2875" y="1042"/>
                    </a:lnTo>
                    <a:lnTo>
                      <a:pt x="2878" y="1042"/>
                    </a:lnTo>
                    <a:lnTo>
                      <a:pt x="2878" y="1011"/>
                    </a:lnTo>
                    <a:close/>
                    <a:moveTo>
                      <a:pt x="3769" y="992"/>
                    </a:moveTo>
                    <a:lnTo>
                      <a:pt x="3767" y="992"/>
                    </a:lnTo>
                    <a:lnTo>
                      <a:pt x="3767" y="995"/>
                    </a:lnTo>
                    <a:lnTo>
                      <a:pt x="3767" y="1172"/>
                    </a:lnTo>
                    <a:lnTo>
                      <a:pt x="3769" y="1172"/>
                    </a:lnTo>
                    <a:lnTo>
                      <a:pt x="3769" y="992"/>
                    </a:lnTo>
                    <a:close/>
                    <a:moveTo>
                      <a:pt x="5949" y="990"/>
                    </a:moveTo>
                    <a:lnTo>
                      <a:pt x="5947" y="990"/>
                    </a:lnTo>
                    <a:lnTo>
                      <a:pt x="5947" y="990"/>
                    </a:lnTo>
                    <a:lnTo>
                      <a:pt x="5947" y="1023"/>
                    </a:lnTo>
                    <a:lnTo>
                      <a:pt x="5947" y="1023"/>
                    </a:lnTo>
                    <a:lnTo>
                      <a:pt x="5947" y="1021"/>
                    </a:lnTo>
                    <a:lnTo>
                      <a:pt x="5949" y="1021"/>
                    </a:lnTo>
                    <a:lnTo>
                      <a:pt x="5949" y="990"/>
                    </a:lnTo>
                    <a:close/>
                    <a:moveTo>
                      <a:pt x="6339" y="936"/>
                    </a:moveTo>
                    <a:lnTo>
                      <a:pt x="6337" y="936"/>
                    </a:lnTo>
                    <a:lnTo>
                      <a:pt x="6337" y="936"/>
                    </a:lnTo>
                    <a:lnTo>
                      <a:pt x="6337" y="1111"/>
                    </a:lnTo>
                    <a:lnTo>
                      <a:pt x="6339" y="1111"/>
                    </a:lnTo>
                    <a:lnTo>
                      <a:pt x="6339" y="1108"/>
                    </a:lnTo>
                    <a:lnTo>
                      <a:pt x="6339" y="1108"/>
                    </a:lnTo>
                    <a:lnTo>
                      <a:pt x="6339" y="936"/>
                    </a:lnTo>
                    <a:close/>
                    <a:moveTo>
                      <a:pt x="3845" y="926"/>
                    </a:moveTo>
                    <a:lnTo>
                      <a:pt x="3843" y="926"/>
                    </a:lnTo>
                    <a:lnTo>
                      <a:pt x="3843" y="928"/>
                    </a:lnTo>
                    <a:lnTo>
                      <a:pt x="3843" y="943"/>
                    </a:lnTo>
                    <a:lnTo>
                      <a:pt x="3845" y="943"/>
                    </a:lnTo>
                    <a:lnTo>
                      <a:pt x="3845" y="926"/>
                    </a:lnTo>
                    <a:close/>
                    <a:moveTo>
                      <a:pt x="6389" y="879"/>
                    </a:moveTo>
                    <a:lnTo>
                      <a:pt x="6387" y="879"/>
                    </a:lnTo>
                    <a:lnTo>
                      <a:pt x="6387" y="879"/>
                    </a:lnTo>
                    <a:lnTo>
                      <a:pt x="6387" y="879"/>
                    </a:lnTo>
                    <a:lnTo>
                      <a:pt x="6387" y="886"/>
                    </a:lnTo>
                    <a:lnTo>
                      <a:pt x="6387" y="886"/>
                    </a:lnTo>
                    <a:lnTo>
                      <a:pt x="6387" y="883"/>
                    </a:lnTo>
                    <a:lnTo>
                      <a:pt x="6389" y="883"/>
                    </a:lnTo>
                    <a:lnTo>
                      <a:pt x="6389" y="879"/>
                    </a:lnTo>
                    <a:close/>
                    <a:moveTo>
                      <a:pt x="6396" y="850"/>
                    </a:moveTo>
                    <a:lnTo>
                      <a:pt x="6396" y="850"/>
                    </a:lnTo>
                    <a:lnTo>
                      <a:pt x="6396" y="850"/>
                    </a:lnTo>
                    <a:lnTo>
                      <a:pt x="6396" y="869"/>
                    </a:lnTo>
                    <a:lnTo>
                      <a:pt x="6396" y="869"/>
                    </a:lnTo>
                    <a:lnTo>
                      <a:pt x="6396" y="869"/>
                    </a:lnTo>
                    <a:lnTo>
                      <a:pt x="6396" y="869"/>
                    </a:lnTo>
                    <a:lnTo>
                      <a:pt x="6396" y="850"/>
                    </a:lnTo>
                    <a:close/>
                    <a:moveTo>
                      <a:pt x="3100" y="763"/>
                    </a:moveTo>
                    <a:lnTo>
                      <a:pt x="3100" y="763"/>
                    </a:lnTo>
                    <a:lnTo>
                      <a:pt x="3098" y="763"/>
                    </a:lnTo>
                    <a:lnTo>
                      <a:pt x="3098" y="763"/>
                    </a:lnTo>
                    <a:lnTo>
                      <a:pt x="3098" y="928"/>
                    </a:lnTo>
                    <a:lnTo>
                      <a:pt x="3100" y="928"/>
                    </a:lnTo>
                    <a:lnTo>
                      <a:pt x="3100" y="763"/>
                    </a:lnTo>
                    <a:close/>
                    <a:moveTo>
                      <a:pt x="1007" y="753"/>
                    </a:moveTo>
                    <a:lnTo>
                      <a:pt x="1007" y="753"/>
                    </a:lnTo>
                    <a:lnTo>
                      <a:pt x="1007" y="753"/>
                    </a:lnTo>
                    <a:lnTo>
                      <a:pt x="1007" y="777"/>
                    </a:lnTo>
                    <a:lnTo>
                      <a:pt x="1007" y="777"/>
                    </a:lnTo>
                    <a:lnTo>
                      <a:pt x="1007" y="753"/>
                    </a:lnTo>
                    <a:close/>
                    <a:moveTo>
                      <a:pt x="5131" y="732"/>
                    </a:moveTo>
                    <a:lnTo>
                      <a:pt x="5129" y="732"/>
                    </a:lnTo>
                    <a:lnTo>
                      <a:pt x="5129" y="732"/>
                    </a:lnTo>
                    <a:lnTo>
                      <a:pt x="5129" y="921"/>
                    </a:lnTo>
                    <a:lnTo>
                      <a:pt x="5131" y="921"/>
                    </a:lnTo>
                    <a:lnTo>
                      <a:pt x="5131" y="732"/>
                    </a:lnTo>
                    <a:close/>
                    <a:moveTo>
                      <a:pt x="3138" y="656"/>
                    </a:moveTo>
                    <a:lnTo>
                      <a:pt x="3136" y="656"/>
                    </a:lnTo>
                    <a:lnTo>
                      <a:pt x="3136" y="659"/>
                    </a:lnTo>
                    <a:lnTo>
                      <a:pt x="3136" y="725"/>
                    </a:lnTo>
                    <a:lnTo>
                      <a:pt x="3136" y="725"/>
                    </a:lnTo>
                    <a:lnTo>
                      <a:pt x="3136" y="722"/>
                    </a:lnTo>
                    <a:lnTo>
                      <a:pt x="3138" y="722"/>
                    </a:lnTo>
                    <a:lnTo>
                      <a:pt x="3138" y="656"/>
                    </a:lnTo>
                    <a:close/>
                    <a:moveTo>
                      <a:pt x="97" y="616"/>
                    </a:moveTo>
                    <a:lnTo>
                      <a:pt x="95" y="616"/>
                    </a:lnTo>
                    <a:lnTo>
                      <a:pt x="95" y="618"/>
                    </a:lnTo>
                    <a:lnTo>
                      <a:pt x="95" y="1402"/>
                    </a:lnTo>
                    <a:lnTo>
                      <a:pt x="97" y="1402"/>
                    </a:lnTo>
                    <a:lnTo>
                      <a:pt x="97" y="616"/>
                    </a:lnTo>
                    <a:close/>
                    <a:moveTo>
                      <a:pt x="5252" y="609"/>
                    </a:moveTo>
                    <a:lnTo>
                      <a:pt x="5249" y="609"/>
                    </a:lnTo>
                    <a:lnTo>
                      <a:pt x="5249" y="611"/>
                    </a:lnTo>
                    <a:lnTo>
                      <a:pt x="5249" y="680"/>
                    </a:lnTo>
                    <a:lnTo>
                      <a:pt x="5252" y="680"/>
                    </a:lnTo>
                    <a:lnTo>
                      <a:pt x="5252" y="609"/>
                    </a:lnTo>
                    <a:close/>
                    <a:moveTo>
                      <a:pt x="3282" y="580"/>
                    </a:moveTo>
                    <a:lnTo>
                      <a:pt x="3280" y="580"/>
                    </a:lnTo>
                    <a:lnTo>
                      <a:pt x="3280" y="580"/>
                    </a:lnTo>
                    <a:lnTo>
                      <a:pt x="3280" y="583"/>
                    </a:lnTo>
                    <a:lnTo>
                      <a:pt x="3280" y="606"/>
                    </a:lnTo>
                    <a:lnTo>
                      <a:pt x="3282" y="606"/>
                    </a:lnTo>
                    <a:lnTo>
                      <a:pt x="3282" y="580"/>
                    </a:lnTo>
                    <a:close/>
                    <a:moveTo>
                      <a:pt x="300" y="547"/>
                    </a:moveTo>
                    <a:lnTo>
                      <a:pt x="300" y="547"/>
                    </a:lnTo>
                    <a:lnTo>
                      <a:pt x="300" y="547"/>
                    </a:lnTo>
                    <a:lnTo>
                      <a:pt x="300" y="566"/>
                    </a:lnTo>
                    <a:lnTo>
                      <a:pt x="300" y="566"/>
                    </a:lnTo>
                    <a:lnTo>
                      <a:pt x="300" y="547"/>
                    </a:lnTo>
                    <a:close/>
                    <a:moveTo>
                      <a:pt x="7025" y="507"/>
                    </a:moveTo>
                    <a:lnTo>
                      <a:pt x="7023" y="507"/>
                    </a:lnTo>
                    <a:lnTo>
                      <a:pt x="7023" y="509"/>
                    </a:lnTo>
                    <a:lnTo>
                      <a:pt x="7023" y="1042"/>
                    </a:lnTo>
                    <a:lnTo>
                      <a:pt x="7025" y="1042"/>
                    </a:lnTo>
                    <a:lnTo>
                      <a:pt x="7025" y="507"/>
                    </a:lnTo>
                    <a:close/>
                    <a:moveTo>
                      <a:pt x="4192" y="502"/>
                    </a:moveTo>
                    <a:lnTo>
                      <a:pt x="4192" y="502"/>
                    </a:lnTo>
                    <a:lnTo>
                      <a:pt x="4190" y="505"/>
                    </a:lnTo>
                    <a:lnTo>
                      <a:pt x="4164" y="540"/>
                    </a:lnTo>
                    <a:lnTo>
                      <a:pt x="4164" y="540"/>
                    </a:lnTo>
                    <a:lnTo>
                      <a:pt x="4192" y="502"/>
                    </a:lnTo>
                    <a:close/>
                    <a:moveTo>
                      <a:pt x="3299" y="500"/>
                    </a:moveTo>
                    <a:lnTo>
                      <a:pt x="3299" y="500"/>
                    </a:lnTo>
                    <a:lnTo>
                      <a:pt x="3296" y="500"/>
                    </a:lnTo>
                    <a:lnTo>
                      <a:pt x="3296" y="502"/>
                    </a:lnTo>
                    <a:lnTo>
                      <a:pt x="3296" y="564"/>
                    </a:lnTo>
                    <a:lnTo>
                      <a:pt x="3299" y="564"/>
                    </a:lnTo>
                    <a:lnTo>
                      <a:pt x="3299" y="561"/>
                    </a:lnTo>
                    <a:lnTo>
                      <a:pt x="3299" y="561"/>
                    </a:lnTo>
                    <a:lnTo>
                      <a:pt x="3299" y="500"/>
                    </a:lnTo>
                    <a:close/>
                    <a:moveTo>
                      <a:pt x="4036" y="453"/>
                    </a:moveTo>
                    <a:lnTo>
                      <a:pt x="4034" y="453"/>
                    </a:lnTo>
                    <a:lnTo>
                      <a:pt x="4034" y="453"/>
                    </a:lnTo>
                    <a:lnTo>
                      <a:pt x="4034" y="455"/>
                    </a:lnTo>
                    <a:lnTo>
                      <a:pt x="4034" y="490"/>
                    </a:lnTo>
                    <a:lnTo>
                      <a:pt x="3951" y="642"/>
                    </a:lnTo>
                    <a:lnTo>
                      <a:pt x="3951" y="876"/>
                    </a:lnTo>
                    <a:lnTo>
                      <a:pt x="3954" y="876"/>
                    </a:lnTo>
                    <a:lnTo>
                      <a:pt x="3954" y="640"/>
                    </a:lnTo>
                    <a:lnTo>
                      <a:pt x="4036" y="488"/>
                    </a:lnTo>
                    <a:lnTo>
                      <a:pt x="4036" y="453"/>
                    </a:lnTo>
                    <a:close/>
                    <a:moveTo>
                      <a:pt x="3327" y="434"/>
                    </a:moveTo>
                    <a:lnTo>
                      <a:pt x="3327" y="434"/>
                    </a:lnTo>
                    <a:lnTo>
                      <a:pt x="3327" y="434"/>
                    </a:lnTo>
                    <a:lnTo>
                      <a:pt x="3327" y="472"/>
                    </a:lnTo>
                    <a:lnTo>
                      <a:pt x="3327" y="472"/>
                    </a:lnTo>
                    <a:lnTo>
                      <a:pt x="3327" y="472"/>
                    </a:lnTo>
                    <a:lnTo>
                      <a:pt x="3327" y="472"/>
                    </a:lnTo>
                    <a:lnTo>
                      <a:pt x="3327" y="434"/>
                    </a:lnTo>
                    <a:close/>
                    <a:moveTo>
                      <a:pt x="4041" y="391"/>
                    </a:moveTo>
                    <a:lnTo>
                      <a:pt x="4041" y="391"/>
                    </a:lnTo>
                    <a:lnTo>
                      <a:pt x="4039" y="391"/>
                    </a:lnTo>
                    <a:lnTo>
                      <a:pt x="4039" y="391"/>
                    </a:lnTo>
                    <a:lnTo>
                      <a:pt x="4039" y="448"/>
                    </a:lnTo>
                    <a:lnTo>
                      <a:pt x="4041" y="448"/>
                    </a:lnTo>
                    <a:lnTo>
                      <a:pt x="4041" y="445"/>
                    </a:lnTo>
                    <a:lnTo>
                      <a:pt x="4041" y="445"/>
                    </a:lnTo>
                    <a:lnTo>
                      <a:pt x="4041" y="391"/>
                    </a:lnTo>
                    <a:close/>
                    <a:moveTo>
                      <a:pt x="1809" y="367"/>
                    </a:moveTo>
                    <a:lnTo>
                      <a:pt x="1807" y="367"/>
                    </a:lnTo>
                    <a:lnTo>
                      <a:pt x="1807" y="370"/>
                    </a:lnTo>
                    <a:lnTo>
                      <a:pt x="1807" y="1080"/>
                    </a:lnTo>
                    <a:lnTo>
                      <a:pt x="1809" y="1080"/>
                    </a:lnTo>
                    <a:lnTo>
                      <a:pt x="1809" y="367"/>
                    </a:lnTo>
                    <a:close/>
                    <a:moveTo>
                      <a:pt x="4051" y="327"/>
                    </a:moveTo>
                    <a:lnTo>
                      <a:pt x="4048" y="327"/>
                    </a:lnTo>
                    <a:lnTo>
                      <a:pt x="4048" y="329"/>
                    </a:lnTo>
                    <a:lnTo>
                      <a:pt x="4048" y="382"/>
                    </a:lnTo>
                    <a:lnTo>
                      <a:pt x="4048" y="382"/>
                    </a:lnTo>
                    <a:lnTo>
                      <a:pt x="4048" y="382"/>
                    </a:lnTo>
                    <a:lnTo>
                      <a:pt x="4051" y="382"/>
                    </a:lnTo>
                    <a:lnTo>
                      <a:pt x="4051" y="327"/>
                    </a:lnTo>
                    <a:close/>
                    <a:moveTo>
                      <a:pt x="4703" y="230"/>
                    </a:moveTo>
                    <a:lnTo>
                      <a:pt x="4701" y="230"/>
                    </a:lnTo>
                    <a:lnTo>
                      <a:pt x="4701" y="232"/>
                    </a:lnTo>
                    <a:lnTo>
                      <a:pt x="4642" y="450"/>
                    </a:lnTo>
                    <a:lnTo>
                      <a:pt x="4644" y="448"/>
                    </a:lnTo>
                    <a:lnTo>
                      <a:pt x="4703" y="230"/>
                    </a:lnTo>
                    <a:close/>
                    <a:moveTo>
                      <a:pt x="4802" y="171"/>
                    </a:moveTo>
                    <a:lnTo>
                      <a:pt x="4800" y="171"/>
                    </a:lnTo>
                    <a:lnTo>
                      <a:pt x="4800" y="173"/>
                    </a:lnTo>
                    <a:lnTo>
                      <a:pt x="4800" y="180"/>
                    </a:lnTo>
                    <a:lnTo>
                      <a:pt x="4802" y="180"/>
                    </a:lnTo>
                    <a:lnTo>
                      <a:pt x="4802" y="171"/>
                    </a:lnTo>
                    <a:close/>
                    <a:moveTo>
                      <a:pt x="4852" y="0"/>
                    </a:moveTo>
                    <a:lnTo>
                      <a:pt x="4850" y="0"/>
                    </a:lnTo>
                    <a:lnTo>
                      <a:pt x="4850" y="0"/>
                    </a:lnTo>
                    <a:lnTo>
                      <a:pt x="4850" y="123"/>
                    </a:lnTo>
                    <a:lnTo>
                      <a:pt x="4852" y="123"/>
                    </a:lnTo>
                    <a:lnTo>
                      <a:pt x="4852" y="121"/>
                    </a:lnTo>
                    <a:lnTo>
                      <a:pt x="4852" y="121"/>
                    </a:lnTo>
                    <a:lnTo>
                      <a:pt x="4852"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6" name="Freeform 91"/>
              <p:cNvSpPr>
                <a:spLocks noEditPoints="1"/>
              </p:cNvSpPr>
              <p:nvPr/>
            </p:nvSpPr>
            <p:spPr bwMode="auto">
              <a:xfrm>
                <a:off x="-3" y="1712"/>
                <a:ext cx="7025" cy="1485"/>
              </a:xfrm>
              <a:custGeom>
                <a:avLst/>
                <a:gdLst>
                  <a:gd name="T0" fmla="*/ 0 w 7025"/>
                  <a:gd name="T1" fmla="*/ 1482 h 1485"/>
                  <a:gd name="T2" fmla="*/ 3708 w 7025"/>
                  <a:gd name="T3" fmla="*/ 1222 h 1485"/>
                  <a:gd name="T4" fmla="*/ 3710 w 7025"/>
                  <a:gd name="T5" fmla="*/ 1222 h 1485"/>
                  <a:gd name="T6" fmla="*/ 5829 w 7025"/>
                  <a:gd name="T7" fmla="*/ 1210 h 1485"/>
                  <a:gd name="T8" fmla="*/ 1688 w 7025"/>
                  <a:gd name="T9" fmla="*/ 1132 h 1485"/>
                  <a:gd name="T10" fmla="*/ 1686 w 7025"/>
                  <a:gd name="T11" fmla="*/ 1134 h 1485"/>
                  <a:gd name="T12" fmla="*/ 5855 w 7025"/>
                  <a:gd name="T13" fmla="*/ 1127 h 1485"/>
                  <a:gd name="T14" fmla="*/ 5855 w 7025"/>
                  <a:gd name="T15" fmla="*/ 1184 h 1485"/>
                  <a:gd name="T16" fmla="*/ 6323 w 7025"/>
                  <a:gd name="T17" fmla="*/ 1127 h 1485"/>
                  <a:gd name="T18" fmla="*/ 6321 w 7025"/>
                  <a:gd name="T19" fmla="*/ 1158 h 1485"/>
                  <a:gd name="T20" fmla="*/ 1461 w 7025"/>
                  <a:gd name="T21" fmla="*/ 1082 h 1485"/>
                  <a:gd name="T22" fmla="*/ 1464 w 7025"/>
                  <a:gd name="T23" fmla="*/ 1106 h 1485"/>
                  <a:gd name="T24" fmla="*/ 2859 w 7025"/>
                  <a:gd name="T25" fmla="*/ 1061 h 1485"/>
                  <a:gd name="T26" fmla="*/ 2859 w 7025"/>
                  <a:gd name="T27" fmla="*/ 1189 h 1485"/>
                  <a:gd name="T28" fmla="*/ 5928 w 7025"/>
                  <a:gd name="T29" fmla="*/ 1040 h 1485"/>
                  <a:gd name="T30" fmla="*/ 5930 w 7025"/>
                  <a:gd name="T31" fmla="*/ 1040 h 1485"/>
                  <a:gd name="T32" fmla="*/ 2875 w 7025"/>
                  <a:gd name="T33" fmla="*/ 1044 h 1485"/>
                  <a:gd name="T34" fmla="*/ 2878 w 7025"/>
                  <a:gd name="T35" fmla="*/ 1011 h 1485"/>
                  <a:gd name="T36" fmla="*/ 3767 w 7025"/>
                  <a:gd name="T37" fmla="*/ 1172 h 1485"/>
                  <a:gd name="T38" fmla="*/ 5947 w 7025"/>
                  <a:gd name="T39" fmla="*/ 990 h 1485"/>
                  <a:gd name="T40" fmla="*/ 5947 w 7025"/>
                  <a:gd name="T41" fmla="*/ 1021 h 1485"/>
                  <a:gd name="T42" fmla="*/ 6337 w 7025"/>
                  <a:gd name="T43" fmla="*/ 936 h 1485"/>
                  <a:gd name="T44" fmla="*/ 6339 w 7025"/>
                  <a:gd name="T45" fmla="*/ 1108 h 1485"/>
                  <a:gd name="T46" fmla="*/ 3843 w 7025"/>
                  <a:gd name="T47" fmla="*/ 926 h 1485"/>
                  <a:gd name="T48" fmla="*/ 3845 w 7025"/>
                  <a:gd name="T49" fmla="*/ 926 h 1485"/>
                  <a:gd name="T50" fmla="*/ 6387 w 7025"/>
                  <a:gd name="T51" fmla="*/ 879 h 1485"/>
                  <a:gd name="T52" fmla="*/ 6389 w 7025"/>
                  <a:gd name="T53" fmla="*/ 883 h 1485"/>
                  <a:gd name="T54" fmla="*/ 6396 w 7025"/>
                  <a:gd name="T55" fmla="*/ 850 h 1485"/>
                  <a:gd name="T56" fmla="*/ 6396 w 7025"/>
                  <a:gd name="T57" fmla="*/ 869 h 1485"/>
                  <a:gd name="T58" fmla="*/ 3098 w 7025"/>
                  <a:gd name="T59" fmla="*/ 763 h 1485"/>
                  <a:gd name="T60" fmla="*/ 3100 w 7025"/>
                  <a:gd name="T61" fmla="*/ 763 h 1485"/>
                  <a:gd name="T62" fmla="*/ 1007 w 7025"/>
                  <a:gd name="T63" fmla="*/ 777 h 1485"/>
                  <a:gd name="T64" fmla="*/ 5129 w 7025"/>
                  <a:gd name="T65" fmla="*/ 732 h 1485"/>
                  <a:gd name="T66" fmla="*/ 5131 w 7025"/>
                  <a:gd name="T67" fmla="*/ 732 h 1485"/>
                  <a:gd name="T68" fmla="*/ 3136 w 7025"/>
                  <a:gd name="T69" fmla="*/ 725 h 1485"/>
                  <a:gd name="T70" fmla="*/ 3138 w 7025"/>
                  <a:gd name="T71" fmla="*/ 656 h 1485"/>
                  <a:gd name="T72" fmla="*/ 95 w 7025"/>
                  <a:gd name="T73" fmla="*/ 1402 h 1485"/>
                  <a:gd name="T74" fmla="*/ 5249 w 7025"/>
                  <a:gd name="T75" fmla="*/ 609 h 1485"/>
                  <a:gd name="T76" fmla="*/ 5252 w 7025"/>
                  <a:gd name="T77" fmla="*/ 609 h 1485"/>
                  <a:gd name="T78" fmla="*/ 3280 w 7025"/>
                  <a:gd name="T79" fmla="*/ 583 h 1485"/>
                  <a:gd name="T80" fmla="*/ 300 w 7025"/>
                  <a:gd name="T81" fmla="*/ 547 h 1485"/>
                  <a:gd name="T82" fmla="*/ 300 w 7025"/>
                  <a:gd name="T83" fmla="*/ 566 h 1485"/>
                  <a:gd name="T84" fmla="*/ 7023 w 7025"/>
                  <a:gd name="T85" fmla="*/ 509 h 1485"/>
                  <a:gd name="T86" fmla="*/ 4192 w 7025"/>
                  <a:gd name="T87" fmla="*/ 502 h 1485"/>
                  <a:gd name="T88" fmla="*/ 4164 w 7025"/>
                  <a:gd name="T89" fmla="*/ 540 h 1485"/>
                  <a:gd name="T90" fmla="*/ 3296 w 7025"/>
                  <a:gd name="T91" fmla="*/ 500 h 1485"/>
                  <a:gd name="T92" fmla="*/ 3299 w 7025"/>
                  <a:gd name="T93" fmla="*/ 561 h 1485"/>
                  <a:gd name="T94" fmla="*/ 4034 w 7025"/>
                  <a:gd name="T95" fmla="*/ 453 h 1485"/>
                  <a:gd name="T96" fmla="*/ 3951 w 7025"/>
                  <a:gd name="T97" fmla="*/ 642 h 1485"/>
                  <a:gd name="T98" fmla="*/ 4036 w 7025"/>
                  <a:gd name="T99" fmla="*/ 488 h 1485"/>
                  <a:gd name="T100" fmla="*/ 3327 w 7025"/>
                  <a:gd name="T101" fmla="*/ 434 h 1485"/>
                  <a:gd name="T102" fmla="*/ 3327 w 7025"/>
                  <a:gd name="T103" fmla="*/ 472 h 1485"/>
                  <a:gd name="T104" fmla="*/ 4039 w 7025"/>
                  <a:gd name="T105" fmla="*/ 391 h 1485"/>
                  <a:gd name="T106" fmla="*/ 4041 w 7025"/>
                  <a:gd name="T107" fmla="*/ 445 h 1485"/>
                  <a:gd name="T108" fmla="*/ 1807 w 7025"/>
                  <a:gd name="T109" fmla="*/ 367 h 1485"/>
                  <a:gd name="T110" fmla="*/ 1809 w 7025"/>
                  <a:gd name="T111" fmla="*/ 367 h 1485"/>
                  <a:gd name="T112" fmla="*/ 4048 w 7025"/>
                  <a:gd name="T113" fmla="*/ 382 h 1485"/>
                  <a:gd name="T114" fmla="*/ 4051 w 7025"/>
                  <a:gd name="T115" fmla="*/ 327 h 1485"/>
                  <a:gd name="T116" fmla="*/ 4642 w 7025"/>
                  <a:gd name="T117" fmla="*/ 450 h 1485"/>
                  <a:gd name="T118" fmla="*/ 4800 w 7025"/>
                  <a:gd name="T119" fmla="*/ 171 h 1485"/>
                  <a:gd name="T120" fmla="*/ 4802 w 7025"/>
                  <a:gd name="T121" fmla="*/ 171 h 1485"/>
                  <a:gd name="T122" fmla="*/ 4850 w 7025"/>
                  <a:gd name="T123" fmla="*/ 123 h 1485"/>
                  <a:gd name="T124" fmla="*/ 4852 w 7025"/>
                  <a:gd name="T125" fmla="*/ 0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5" h="1485">
                    <a:moveTo>
                      <a:pt x="0" y="1452"/>
                    </a:moveTo>
                    <a:lnTo>
                      <a:pt x="0" y="1452"/>
                    </a:lnTo>
                    <a:lnTo>
                      <a:pt x="0" y="1485"/>
                    </a:lnTo>
                    <a:lnTo>
                      <a:pt x="0" y="1482"/>
                    </a:lnTo>
                    <a:lnTo>
                      <a:pt x="0" y="1482"/>
                    </a:lnTo>
                    <a:lnTo>
                      <a:pt x="0" y="1452"/>
                    </a:lnTo>
                    <a:moveTo>
                      <a:pt x="3710" y="1222"/>
                    </a:moveTo>
                    <a:lnTo>
                      <a:pt x="3708" y="1222"/>
                    </a:lnTo>
                    <a:lnTo>
                      <a:pt x="3708" y="1222"/>
                    </a:lnTo>
                    <a:lnTo>
                      <a:pt x="3708" y="1265"/>
                    </a:lnTo>
                    <a:lnTo>
                      <a:pt x="3710" y="1265"/>
                    </a:lnTo>
                    <a:lnTo>
                      <a:pt x="3710" y="1222"/>
                    </a:lnTo>
                    <a:moveTo>
                      <a:pt x="5831" y="1208"/>
                    </a:moveTo>
                    <a:lnTo>
                      <a:pt x="5829" y="1208"/>
                    </a:lnTo>
                    <a:lnTo>
                      <a:pt x="5829" y="1208"/>
                    </a:lnTo>
                    <a:lnTo>
                      <a:pt x="5829" y="1210"/>
                    </a:lnTo>
                    <a:lnTo>
                      <a:pt x="5829" y="1274"/>
                    </a:lnTo>
                    <a:lnTo>
                      <a:pt x="5831" y="1274"/>
                    </a:lnTo>
                    <a:lnTo>
                      <a:pt x="5831" y="1208"/>
                    </a:lnTo>
                    <a:moveTo>
                      <a:pt x="1688" y="1132"/>
                    </a:moveTo>
                    <a:lnTo>
                      <a:pt x="1686" y="1132"/>
                    </a:lnTo>
                    <a:lnTo>
                      <a:pt x="1686" y="1132"/>
                    </a:lnTo>
                    <a:lnTo>
                      <a:pt x="1686" y="1134"/>
                    </a:lnTo>
                    <a:lnTo>
                      <a:pt x="1686" y="1134"/>
                    </a:lnTo>
                    <a:lnTo>
                      <a:pt x="1686" y="1132"/>
                    </a:lnTo>
                    <a:lnTo>
                      <a:pt x="1688" y="1132"/>
                    </a:lnTo>
                    <a:lnTo>
                      <a:pt x="1688" y="1132"/>
                    </a:lnTo>
                    <a:moveTo>
                      <a:pt x="5855" y="1127"/>
                    </a:moveTo>
                    <a:lnTo>
                      <a:pt x="5852" y="1127"/>
                    </a:lnTo>
                    <a:lnTo>
                      <a:pt x="5852" y="1130"/>
                    </a:lnTo>
                    <a:lnTo>
                      <a:pt x="5852" y="1184"/>
                    </a:lnTo>
                    <a:lnTo>
                      <a:pt x="5855" y="1184"/>
                    </a:lnTo>
                    <a:lnTo>
                      <a:pt x="5855" y="1182"/>
                    </a:lnTo>
                    <a:lnTo>
                      <a:pt x="5855" y="1182"/>
                    </a:lnTo>
                    <a:lnTo>
                      <a:pt x="5855" y="1127"/>
                    </a:lnTo>
                    <a:moveTo>
                      <a:pt x="6323" y="1127"/>
                    </a:moveTo>
                    <a:lnTo>
                      <a:pt x="6321" y="1127"/>
                    </a:lnTo>
                    <a:lnTo>
                      <a:pt x="6321" y="1127"/>
                    </a:lnTo>
                    <a:lnTo>
                      <a:pt x="6321" y="1130"/>
                    </a:lnTo>
                    <a:lnTo>
                      <a:pt x="6321" y="1158"/>
                    </a:lnTo>
                    <a:lnTo>
                      <a:pt x="6323" y="1158"/>
                    </a:lnTo>
                    <a:lnTo>
                      <a:pt x="6323" y="1127"/>
                    </a:lnTo>
                    <a:moveTo>
                      <a:pt x="1464" y="1082"/>
                    </a:moveTo>
                    <a:lnTo>
                      <a:pt x="1461" y="1082"/>
                    </a:lnTo>
                    <a:lnTo>
                      <a:pt x="1461" y="1085"/>
                    </a:lnTo>
                    <a:lnTo>
                      <a:pt x="1461" y="1108"/>
                    </a:lnTo>
                    <a:lnTo>
                      <a:pt x="1464" y="1108"/>
                    </a:lnTo>
                    <a:lnTo>
                      <a:pt x="1464" y="1106"/>
                    </a:lnTo>
                    <a:lnTo>
                      <a:pt x="1464" y="1106"/>
                    </a:lnTo>
                    <a:lnTo>
                      <a:pt x="1464" y="1082"/>
                    </a:lnTo>
                    <a:moveTo>
                      <a:pt x="2859" y="1061"/>
                    </a:moveTo>
                    <a:lnTo>
                      <a:pt x="2859" y="1061"/>
                    </a:lnTo>
                    <a:lnTo>
                      <a:pt x="2857" y="1061"/>
                    </a:lnTo>
                    <a:lnTo>
                      <a:pt x="2857" y="1063"/>
                    </a:lnTo>
                    <a:lnTo>
                      <a:pt x="2857" y="1189"/>
                    </a:lnTo>
                    <a:lnTo>
                      <a:pt x="2859" y="1189"/>
                    </a:lnTo>
                    <a:lnTo>
                      <a:pt x="2859" y="1061"/>
                    </a:lnTo>
                    <a:moveTo>
                      <a:pt x="5930" y="1040"/>
                    </a:moveTo>
                    <a:lnTo>
                      <a:pt x="5930" y="1040"/>
                    </a:lnTo>
                    <a:lnTo>
                      <a:pt x="5928" y="1040"/>
                    </a:lnTo>
                    <a:lnTo>
                      <a:pt x="5928" y="1042"/>
                    </a:lnTo>
                    <a:lnTo>
                      <a:pt x="5928" y="1078"/>
                    </a:lnTo>
                    <a:lnTo>
                      <a:pt x="5930" y="1078"/>
                    </a:lnTo>
                    <a:lnTo>
                      <a:pt x="5930" y="1040"/>
                    </a:lnTo>
                    <a:moveTo>
                      <a:pt x="2878" y="1011"/>
                    </a:moveTo>
                    <a:lnTo>
                      <a:pt x="2875" y="1011"/>
                    </a:lnTo>
                    <a:lnTo>
                      <a:pt x="2875" y="1014"/>
                    </a:lnTo>
                    <a:lnTo>
                      <a:pt x="2875" y="1044"/>
                    </a:lnTo>
                    <a:lnTo>
                      <a:pt x="2875" y="1044"/>
                    </a:lnTo>
                    <a:lnTo>
                      <a:pt x="2875" y="1042"/>
                    </a:lnTo>
                    <a:lnTo>
                      <a:pt x="2878" y="1042"/>
                    </a:lnTo>
                    <a:lnTo>
                      <a:pt x="2878" y="1011"/>
                    </a:lnTo>
                    <a:moveTo>
                      <a:pt x="3769" y="992"/>
                    </a:moveTo>
                    <a:lnTo>
                      <a:pt x="3767" y="992"/>
                    </a:lnTo>
                    <a:lnTo>
                      <a:pt x="3767" y="995"/>
                    </a:lnTo>
                    <a:lnTo>
                      <a:pt x="3767" y="1172"/>
                    </a:lnTo>
                    <a:lnTo>
                      <a:pt x="3769" y="1172"/>
                    </a:lnTo>
                    <a:lnTo>
                      <a:pt x="3769" y="992"/>
                    </a:lnTo>
                    <a:moveTo>
                      <a:pt x="5949" y="990"/>
                    </a:moveTo>
                    <a:lnTo>
                      <a:pt x="5947" y="990"/>
                    </a:lnTo>
                    <a:lnTo>
                      <a:pt x="5947" y="990"/>
                    </a:lnTo>
                    <a:lnTo>
                      <a:pt x="5947" y="1023"/>
                    </a:lnTo>
                    <a:lnTo>
                      <a:pt x="5947" y="1023"/>
                    </a:lnTo>
                    <a:lnTo>
                      <a:pt x="5947" y="1021"/>
                    </a:lnTo>
                    <a:lnTo>
                      <a:pt x="5949" y="1021"/>
                    </a:lnTo>
                    <a:lnTo>
                      <a:pt x="5949" y="990"/>
                    </a:lnTo>
                    <a:moveTo>
                      <a:pt x="6339" y="936"/>
                    </a:moveTo>
                    <a:lnTo>
                      <a:pt x="6337" y="936"/>
                    </a:lnTo>
                    <a:lnTo>
                      <a:pt x="6337" y="936"/>
                    </a:lnTo>
                    <a:lnTo>
                      <a:pt x="6337" y="1111"/>
                    </a:lnTo>
                    <a:lnTo>
                      <a:pt x="6339" y="1111"/>
                    </a:lnTo>
                    <a:lnTo>
                      <a:pt x="6339" y="1108"/>
                    </a:lnTo>
                    <a:lnTo>
                      <a:pt x="6339" y="1108"/>
                    </a:lnTo>
                    <a:lnTo>
                      <a:pt x="6339" y="936"/>
                    </a:lnTo>
                    <a:moveTo>
                      <a:pt x="3845" y="926"/>
                    </a:moveTo>
                    <a:lnTo>
                      <a:pt x="3843" y="926"/>
                    </a:lnTo>
                    <a:lnTo>
                      <a:pt x="3843" y="928"/>
                    </a:lnTo>
                    <a:lnTo>
                      <a:pt x="3843" y="943"/>
                    </a:lnTo>
                    <a:lnTo>
                      <a:pt x="3845" y="943"/>
                    </a:lnTo>
                    <a:lnTo>
                      <a:pt x="3845" y="926"/>
                    </a:lnTo>
                    <a:moveTo>
                      <a:pt x="6389" y="879"/>
                    </a:moveTo>
                    <a:lnTo>
                      <a:pt x="6387" y="879"/>
                    </a:lnTo>
                    <a:lnTo>
                      <a:pt x="6387" y="879"/>
                    </a:lnTo>
                    <a:lnTo>
                      <a:pt x="6387" y="879"/>
                    </a:lnTo>
                    <a:lnTo>
                      <a:pt x="6387" y="886"/>
                    </a:lnTo>
                    <a:lnTo>
                      <a:pt x="6387" y="886"/>
                    </a:lnTo>
                    <a:lnTo>
                      <a:pt x="6387" y="883"/>
                    </a:lnTo>
                    <a:lnTo>
                      <a:pt x="6389" y="883"/>
                    </a:lnTo>
                    <a:lnTo>
                      <a:pt x="6389" y="879"/>
                    </a:lnTo>
                    <a:moveTo>
                      <a:pt x="6396" y="850"/>
                    </a:moveTo>
                    <a:lnTo>
                      <a:pt x="6396" y="850"/>
                    </a:lnTo>
                    <a:lnTo>
                      <a:pt x="6396" y="850"/>
                    </a:lnTo>
                    <a:lnTo>
                      <a:pt x="6396" y="869"/>
                    </a:lnTo>
                    <a:lnTo>
                      <a:pt x="6396" y="869"/>
                    </a:lnTo>
                    <a:lnTo>
                      <a:pt x="6396" y="869"/>
                    </a:lnTo>
                    <a:lnTo>
                      <a:pt x="6396" y="869"/>
                    </a:lnTo>
                    <a:lnTo>
                      <a:pt x="6396" y="850"/>
                    </a:lnTo>
                    <a:moveTo>
                      <a:pt x="3100" y="763"/>
                    </a:moveTo>
                    <a:lnTo>
                      <a:pt x="3100" y="763"/>
                    </a:lnTo>
                    <a:lnTo>
                      <a:pt x="3098" y="763"/>
                    </a:lnTo>
                    <a:lnTo>
                      <a:pt x="3098" y="763"/>
                    </a:lnTo>
                    <a:lnTo>
                      <a:pt x="3098" y="928"/>
                    </a:lnTo>
                    <a:lnTo>
                      <a:pt x="3100" y="928"/>
                    </a:lnTo>
                    <a:lnTo>
                      <a:pt x="3100" y="763"/>
                    </a:lnTo>
                    <a:moveTo>
                      <a:pt x="1007" y="753"/>
                    </a:moveTo>
                    <a:lnTo>
                      <a:pt x="1007" y="753"/>
                    </a:lnTo>
                    <a:lnTo>
                      <a:pt x="1007" y="753"/>
                    </a:lnTo>
                    <a:lnTo>
                      <a:pt x="1007" y="777"/>
                    </a:lnTo>
                    <a:lnTo>
                      <a:pt x="1007" y="777"/>
                    </a:lnTo>
                    <a:lnTo>
                      <a:pt x="1007" y="753"/>
                    </a:lnTo>
                    <a:moveTo>
                      <a:pt x="5131" y="732"/>
                    </a:moveTo>
                    <a:lnTo>
                      <a:pt x="5129" y="732"/>
                    </a:lnTo>
                    <a:lnTo>
                      <a:pt x="5129" y="732"/>
                    </a:lnTo>
                    <a:lnTo>
                      <a:pt x="5129" y="921"/>
                    </a:lnTo>
                    <a:lnTo>
                      <a:pt x="5131" y="921"/>
                    </a:lnTo>
                    <a:lnTo>
                      <a:pt x="5131" y="732"/>
                    </a:lnTo>
                    <a:moveTo>
                      <a:pt x="3138" y="656"/>
                    </a:moveTo>
                    <a:lnTo>
                      <a:pt x="3136" y="656"/>
                    </a:lnTo>
                    <a:lnTo>
                      <a:pt x="3136" y="659"/>
                    </a:lnTo>
                    <a:lnTo>
                      <a:pt x="3136" y="725"/>
                    </a:lnTo>
                    <a:lnTo>
                      <a:pt x="3136" y="725"/>
                    </a:lnTo>
                    <a:lnTo>
                      <a:pt x="3136" y="722"/>
                    </a:lnTo>
                    <a:lnTo>
                      <a:pt x="3138" y="722"/>
                    </a:lnTo>
                    <a:lnTo>
                      <a:pt x="3138" y="656"/>
                    </a:lnTo>
                    <a:moveTo>
                      <a:pt x="97" y="616"/>
                    </a:moveTo>
                    <a:lnTo>
                      <a:pt x="95" y="616"/>
                    </a:lnTo>
                    <a:lnTo>
                      <a:pt x="95" y="618"/>
                    </a:lnTo>
                    <a:lnTo>
                      <a:pt x="95" y="1402"/>
                    </a:lnTo>
                    <a:lnTo>
                      <a:pt x="97" y="1402"/>
                    </a:lnTo>
                    <a:lnTo>
                      <a:pt x="97" y="616"/>
                    </a:lnTo>
                    <a:moveTo>
                      <a:pt x="5252" y="609"/>
                    </a:moveTo>
                    <a:lnTo>
                      <a:pt x="5249" y="609"/>
                    </a:lnTo>
                    <a:lnTo>
                      <a:pt x="5249" y="611"/>
                    </a:lnTo>
                    <a:lnTo>
                      <a:pt x="5249" y="680"/>
                    </a:lnTo>
                    <a:lnTo>
                      <a:pt x="5252" y="680"/>
                    </a:lnTo>
                    <a:lnTo>
                      <a:pt x="5252" y="609"/>
                    </a:lnTo>
                    <a:moveTo>
                      <a:pt x="3282" y="580"/>
                    </a:moveTo>
                    <a:lnTo>
                      <a:pt x="3280" y="580"/>
                    </a:lnTo>
                    <a:lnTo>
                      <a:pt x="3280" y="580"/>
                    </a:lnTo>
                    <a:lnTo>
                      <a:pt x="3280" y="583"/>
                    </a:lnTo>
                    <a:lnTo>
                      <a:pt x="3280" y="606"/>
                    </a:lnTo>
                    <a:lnTo>
                      <a:pt x="3282" y="606"/>
                    </a:lnTo>
                    <a:lnTo>
                      <a:pt x="3282" y="580"/>
                    </a:lnTo>
                    <a:moveTo>
                      <a:pt x="300" y="547"/>
                    </a:moveTo>
                    <a:lnTo>
                      <a:pt x="300" y="547"/>
                    </a:lnTo>
                    <a:lnTo>
                      <a:pt x="300" y="547"/>
                    </a:lnTo>
                    <a:lnTo>
                      <a:pt x="300" y="566"/>
                    </a:lnTo>
                    <a:lnTo>
                      <a:pt x="300" y="566"/>
                    </a:lnTo>
                    <a:lnTo>
                      <a:pt x="300" y="547"/>
                    </a:lnTo>
                    <a:moveTo>
                      <a:pt x="7025" y="507"/>
                    </a:moveTo>
                    <a:lnTo>
                      <a:pt x="7023" y="507"/>
                    </a:lnTo>
                    <a:lnTo>
                      <a:pt x="7023" y="509"/>
                    </a:lnTo>
                    <a:lnTo>
                      <a:pt x="7023" y="1042"/>
                    </a:lnTo>
                    <a:lnTo>
                      <a:pt x="7025" y="1042"/>
                    </a:lnTo>
                    <a:lnTo>
                      <a:pt x="7025" y="507"/>
                    </a:lnTo>
                    <a:moveTo>
                      <a:pt x="4192" y="502"/>
                    </a:moveTo>
                    <a:lnTo>
                      <a:pt x="4192" y="502"/>
                    </a:lnTo>
                    <a:lnTo>
                      <a:pt x="4190" y="505"/>
                    </a:lnTo>
                    <a:lnTo>
                      <a:pt x="4164" y="540"/>
                    </a:lnTo>
                    <a:lnTo>
                      <a:pt x="4164" y="540"/>
                    </a:lnTo>
                    <a:lnTo>
                      <a:pt x="4192" y="502"/>
                    </a:lnTo>
                    <a:moveTo>
                      <a:pt x="3299" y="500"/>
                    </a:moveTo>
                    <a:lnTo>
                      <a:pt x="3299" y="500"/>
                    </a:lnTo>
                    <a:lnTo>
                      <a:pt x="3296" y="500"/>
                    </a:lnTo>
                    <a:lnTo>
                      <a:pt x="3296" y="502"/>
                    </a:lnTo>
                    <a:lnTo>
                      <a:pt x="3296" y="564"/>
                    </a:lnTo>
                    <a:lnTo>
                      <a:pt x="3299" y="564"/>
                    </a:lnTo>
                    <a:lnTo>
                      <a:pt x="3299" y="561"/>
                    </a:lnTo>
                    <a:lnTo>
                      <a:pt x="3299" y="561"/>
                    </a:lnTo>
                    <a:lnTo>
                      <a:pt x="3299" y="500"/>
                    </a:lnTo>
                    <a:moveTo>
                      <a:pt x="4036" y="453"/>
                    </a:moveTo>
                    <a:lnTo>
                      <a:pt x="4034" y="453"/>
                    </a:lnTo>
                    <a:lnTo>
                      <a:pt x="4034" y="453"/>
                    </a:lnTo>
                    <a:lnTo>
                      <a:pt x="4034" y="455"/>
                    </a:lnTo>
                    <a:lnTo>
                      <a:pt x="4034" y="490"/>
                    </a:lnTo>
                    <a:lnTo>
                      <a:pt x="3951" y="642"/>
                    </a:lnTo>
                    <a:lnTo>
                      <a:pt x="3951" y="876"/>
                    </a:lnTo>
                    <a:lnTo>
                      <a:pt x="3954" y="876"/>
                    </a:lnTo>
                    <a:lnTo>
                      <a:pt x="3954" y="640"/>
                    </a:lnTo>
                    <a:lnTo>
                      <a:pt x="4036" y="488"/>
                    </a:lnTo>
                    <a:lnTo>
                      <a:pt x="4036" y="453"/>
                    </a:lnTo>
                    <a:moveTo>
                      <a:pt x="3327" y="434"/>
                    </a:moveTo>
                    <a:lnTo>
                      <a:pt x="3327" y="434"/>
                    </a:lnTo>
                    <a:lnTo>
                      <a:pt x="3327" y="434"/>
                    </a:lnTo>
                    <a:lnTo>
                      <a:pt x="3327" y="472"/>
                    </a:lnTo>
                    <a:lnTo>
                      <a:pt x="3327" y="472"/>
                    </a:lnTo>
                    <a:lnTo>
                      <a:pt x="3327" y="472"/>
                    </a:lnTo>
                    <a:lnTo>
                      <a:pt x="3327" y="472"/>
                    </a:lnTo>
                    <a:lnTo>
                      <a:pt x="3327" y="434"/>
                    </a:lnTo>
                    <a:moveTo>
                      <a:pt x="4041" y="391"/>
                    </a:moveTo>
                    <a:lnTo>
                      <a:pt x="4041" y="391"/>
                    </a:lnTo>
                    <a:lnTo>
                      <a:pt x="4039" y="391"/>
                    </a:lnTo>
                    <a:lnTo>
                      <a:pt x="4039" y="391"/>
                    </a:lnTo>
                    <a:lnTo>
                      <a:pt x="4039" y="448"/>
                    </a:lnTo>
                    <a:lnTo>
                      <a:pt x="4041" y="448"/>
                    </a:lnTo>
                    <a:lnTo>
                      <a:pt x="4041" y="445"/>
                    </a:lnTo>
                    <a:lnTo>
                      <a:pt x="4041" y="445"/>
                    </a:lnTo>
                    <a:lnTo>
                      <a:pt x="4041" y="391"/>
                    </a:lnTo>
                    <a:moveTo>
                      <a:pt x="1809" y="367"/>
                    </a:moveTo>
                    <a:lnTo>
                      <a:pt x="1807" y="367"/>
                    </a:lnTo>
                    <a:lnTo>
                      <a:pt x="1807" y="370"/>
                    </a:lnTo>
                    <a:lnTo>
                      <a:pt x="1807" y="1080"/>
                    </a:lnTo>
                    <a:lnTo>
                      <a:pt x="1809" y="1080"/>
                    </a:lnTo>
                    <a:lnTo>
                      <a:pt x="1809" y="367"/>
                    </a:lnTo>
                    <a:moveTo>
                      <a:pt x="4051" y="327"/>
                    </a:moveTo>
                    <a:lnTo>
                      <a:pt x="4048" y="327"/>
                    </a:lnTo>
                    <a:lnTo>
                      <a:pt x="4048" y="329"/>
                    </a:lnTo>
                    <a:lnTo>
                      <a:pt x="4048" y="382"/>
                    </a:lnTo>
                    <a:lnTo>
                      <a:pt x="4048" y="382"/>
                    </a:lnTo>
                    <a:lnTo>
                      <a:pt x="4048" y="382"/>
                    </a:lnTo>
                    <a:lnTo>
                      <a:pt x="4051" y="382"/>
                    </a:lnTo>
                    <a:lnTo>
                      <a:pt x="4051" y="327"/>
                    </a:lnTo>
                    <a:moveTo>
                      <a:pt x="4703" y="230"/>
                    </a:moveTo>
                    <a:lnTo>
                      <a:pt x="4701" y="230"/>
                    </a:lnTo>
                    <a:lnTo>
                      <a:pt x="4701" y="232"/>
                    </a:lnTo>
                    <a:lnTo>
                      <a:pt x="4642" y="450"/>
                    </a:lnTo>
                    <a:lnTo>
                      <a:pt x="4644" y="448"/>
                    </a:lnTo>
                    <a:lnTo>
                      <a:pt x="4703" y="230"/>
                    </a:lnTo>
                    <a:moveTo>
                      <a:pt x="4802" y="171"/>
                    </a:moveTo>
                    <a:lnTo>
                      <a:pt x="4800" y="171"/>
                    </a:lnTo>
                    <a:lnTo>
                      <a:pt x="4800" y="173"/>
                    </a:lnTo>
                    <a:lnTo>
                      <a:pt x="4800" y="180"/>
                    </a:lnTo>
                    <a:lnTo>
                      <a:pt x="4802" y="180"/>
                    </a:lnTo>
                    <a:lnTo>
                      <a:pt x="4802" y="171"/>
                    </a:lnTo>
                    <a:moveTo>
                      <a:pt x="4852" y="0"/>
                    </a:moveTo>
                    <a:lnTo>
                      <a:pt x="4850" y="0"/>
                    </a:lnTo>
                    <a:lnTo>
                      <a:pt x="4850" y="0"/>
                    </a:lnTo>
                    <a:lnTo>
                      <a:pt x="4850" y="123"/>
                    </a:lnTo>
                    <a:lnTo>
                      <a:pt x="4852" y="123"/>
                    </a:lnTo>
                    <a:lnTo>
                      <a:pt x="4852" y="121"/>
                    </a:lnTo>
                    <a:lnTo>
                      <a:pt x="4852" y="121"/>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7" name="Freeform 92"/>
              <p:cNvSpPr>
                <a:spLocks noEditPoints="1"/>
              </p:cNvSpPr>
              <p:nvPr/>
            </p:nvSpPr>
            <p:spPr bwMode="auto">
              <a:xfrm>
                <a:off x="-3" y="1710"/>
                <a:ext cx="7028" cy="1484"/>
              </a:xfrm>
              <a:custGeom>
                <a:avLst/>
                <a:gdLst>
                  <a:gd name="T0" fmla="*/ 3 w 7028"/>
                  <a:gd name="T1" fmla="*/ 1484 h 1484"/>
                  <a:gd name="T2" fmla="*/ 5668 w 7028"/>
                  <a:gd name="T3" fmla="*/ 1399 h 1484"/>
                  <a:gd name="T4" fmla="*/ 3710 w 7028"/>
                  <a:gd name="T5" fmla="*/ 1267 h 1484"/>
                  <a:gd name="T6" fmla="*/ 5831 w 7028"/>
                  <a:gd name="T7" fmla="*/ 1207 h 1484"/>
                  <a:gd name="T8" fmla="*/ 1691 w 7028"/>
                  <a:gd name="T9" fmla="*/ 1132 h 1484"/>
                  <a:gd name="T10" fmla="*/ 1688 w 7028"/>
                  <a:gd name="T11" fmla="*/ 1132 h 1484"/>
                  <a:gd name="T12" fmla="*/ 5855 w 7028"/>
                  <a:gd name="T13" fmla="*/ 1129 h 1484"/>
                  <a:gd name="T14" fmla="*/ 5857 w 7028"/>
                  <a:gd name="T15" fmla="*/ 1127 h 1484"/>
                  <a:gd name="T16" fmla="*/ 6323 w 7028"/>
                  <a:gd name="T17" fmla="*/ 1160 h 1484"/>
                  <a:gd name="T18" fmla="*/ 1447 w 7028"/>
                  <a:gd name="T19" fmla="*/ 1125 h 1484"/>
                  <a:gd name="T20" fmla="*/ 1464 w 7028"/>
                  <a:gd name="T21" fmla="*/ 1082 h 1484"/>
                  <a:gd name="T22" fmla="*/ 1464 w 7028"/>
                  <a:gd name="T23" fmla="*/ 1106 h 1484"/>
                  <a:gd name="T24" fmla="*/ 2859 w 7028"/>
                  <a:gd name="T25" fmla="*/ 1063 h 1484"/>
                  <a:gd name="T26" fmla="*/ 5933 w 7028"/>
                  <a:gd name="T27" fmla="*/ 1042 h 1484"/>
                  <a:gd name="T28" fmla="*/ 5933 w 7028"/>
                  <a:gd name="T29" fmla="*/ 1042 h 1484"/>
                  <a:gd name="T30" fmla="*/ 2878 w 7028"/>
                  <a:gd name="T31" fmla="*/ 1044 h 1484"/>
                  <a:gd name="T32" fmla="*/ 3769 w 7028"/>
                  <a:gd name="T33" fmla="*/ 992 h 1484"/>
                  <a:gd name="T34" fmla="*/ 5949 w 7028"/>
                  <a:gd name="T35" fmla="*/ 990 h 1484"/>
                  <a:gd name="T36" fmla="*/ 5949 w 7028"/>
                  <a:gd name="T37" fmla="*/ 1023 h 1484"/>
                  <a:gd name="T38" fmla="*/ 6339 w 7028"/>
                  <a:gd name="T39" fmla="*/ 938 h 1484"/>
                  <a:gd name="T40" fmla="*/ 6342 w 7028"/>
                  <a:gd name="T41" fmla="*/ 935 h 1484"/>
                  <a:gd name="T42" fmla="*/ 3847 w 7028"/>
                  <a:gd name="T43" fmla="*/ 945 h 1484"/>
                  <a:gd name="T44" fmla="*/ 6389 w 7028"/>
                  <a:gd name="T45" fmla="*/ 881 h 1484"/>
                  <a:gd name="T46" fmla="*/ 6396 w 7028"/>
                  <a:gd name="T47" fmla="*/ 850 h 1484"/>
                  <a:gd name="T48" fmla="*/ 6399 w 7028"/>
                  <a:gd name="T49" fmla="*/ 869 h 1484"/>
                  <a:gd name="T50" fmla="*/ 3100 w 7028"/>
                  <a:gd name="T51" fmla="*/ 765 h 1484"/>
                  <a:gd name="T52" fmla="*/ 1007 w 7028"/>
                  <a:gd name="T53" fmla="*/ 753 h 1484"/>
                  <a:gd name="T54" fmla="*/ 5134 w 7028"/>
                  <a:gd name="T55" fmla="*/ 732 h 1484"/>
                  <a:gd name="T56" fmla="*/ 5134 w 7028"/>
                  <a:gd name="T57" fmla="*/ 732 h 1484"/>
                  <a:gd name="T58" fmla="*/ 3138 w 7028"/>
                  <a:gd name="T59" fmla="*/ 724 h 1484"/>
                  <a:gd name="T60" fmla="*/ 97 w 7028"/>
                  <a:gd name="T61" fmla="*/ 616 h 1484"/>
                  <a:gd name="T62" fmla="*/ 5254 w 7028"/>
                  <a:gd name="T63" fmla="*/ 608 h 1484"/>
                  <a:gd name="T64" fmla="*/ 5254 w 7028"/>
                  <a:gd name="T65" fmla="*/ 608 h 1484"/>
                  <a:gd name="T66" fmla="*/ 3282 w 7028"/>
                  <a:gd name="T67" fmla="*/ 608 h 1484"/>
                  <a:gd name="T68" fmla="*/ 300 w 7028"/>
                  <a:gd name="T69" fmla="*/ 549 h 1484"/>
                  <a:gd name="T70" fmla="*/ 7025 w 7028"/>
                  <a:gd name="T71" fmla="*/ 509 h 1484"/>
                  <a:gd name="T72" fmla="*/ 4195 w 7028"/>
                  <a:gd name="T73" fmla="*/ 502 h 1484"/>
                  <a:gd name="T74" fmla="*/ 4195 w 7028"/>
                  <a:gd name="T75" fmla="*/ 502 h 1484"/>
                  <a:gd name="T76" fmla="*/ 3299 w 7028"/>
                  <a:gd name="T77" fmla="*/ 563 h 1484"/>
                  <a:gd name="T78" fmla="*/ 4039 w 7028"/>
                  <a:gd name="T79" fmla="*/ 455 h 1484"/>
                  <a:gd name="T80" fmla="*/ 3954 w 7028"/>
                  <a:gd name="T81" fmla="*/ 642 h 1484"/>
                  <a:gd name="T82" fmla="*/ 4039 w 7028"/>
                  <a:gd name="T83" fmla="*/ 455 h 1484"/>
                  <a:gd name="T84" fmla="*/ 3329 w 7028"/>
                  <a:gd name="T85" fmla="*/ 474 h 1484"/>
                  <a:gd name="T86" fmla="*/ 4041 w 7028"/>
                  <a:gd name="T87" fmla="*/ 391 h 1484"/>
                  <a:gd name="T88" fmla="*/ 4043 w 7028"/>
                  <a:gd name="T89" fmla="*/ 445 h 1484"/>
                  <a:gd name="T90" fmla="*/ 1809 w 7028"/>
                  <a:gd name="T91" fmla="*/ 369 h 1484"/>
                  <a:gd name="T92" fmla="*/ 4051 w 7028"/>
                  <a:gd name="T93" fmla="*/ 327 h 1484"/>
                  <a:gd name="T94" fmla="*/ 4051 w 7028"/>
                  <a:gd name="T95" fmla="*/ 381 h 1484"/>
                  <a:gd name="T96" fmla="*/ 4644 w 7028"/>
                  <a:gd name="T97" fmla="*/ 450 h 1484"/>
                  <a:gd name="T98" fmla="*/ 4802 w 7028"/>
                  <a:gd name="T99" fmla="*/ 173 h 1484"/>
                  <a:gd name="T100" fmla="*/ 4852 w 7028"/>
                  <a:gd name="T101" fmla="*/ 0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28" h="1484">
                    <a:moveTo>
                      <a:pt x="3" y="1451"/>
                    </a:moveTo>
                    <a:lnTo>
                      <a:pt x="0" y="1451"/>
                    </a:lnTo>
                    <a:lnTo>
                      <a:pt x="0" y="1454"/>
                    </a:lnTo>
                    <a:lnTo>
                      <a:pt x="0" y="1484"/>
                    </a:lnTo>
                    <a:lnTo>
                      <a:pt x="3" y="1484"/>
                    </a:lnTo>
                    <a:lnTo>
                      <a:pt x="3" y="1451"/>
                    </a:lnTo>
                    <a:close/>
                    <a:moveTo>
                      <a:pt x="5668" y="1326"/>
                    </a:moveTo>
                    <a:lnTo>
                      <a:pt x="5666" y="1326"/>
                    </a:lnTo>
                    <a:lnTo>
                      <a:pt x="5666" y="1399"/>
                    </a:lnTo>
                    <a:lnTo>
                      <a:pt x="5668" y="1399"/>
                    </a:lnTo>
                    <a:lnTo>
                      <a:pt x="5668" y="1326"/>
                    </a:lnTo>
                    <a:close/>
                    <a:moveTo>
                      <a:pt x="3712" y="1222"/>
                    </a:moveTo>
                    <a:lnTo>
                      <a:pt x="3710" y="1222"/>
                    </a:lnTo>
                    <a:lnTo>
                      <a:pt x="3710" y="1224"/>
                    </a:lnTo>
                    <a:lnTo>
                      <a:pt x="3710" y="1267"/>
                    </a:lnTo>
                    <a:lnTo>
                      <a:pt x="3712" y="1267"/>
                    </a:lnTo>
                    <a:lnTo>
                      <a:pt x="3712" y="1222"/>
                    </a:lnTo>
                    <a:close/>
                    <a:moveTo>
                      <a:pt x="5831" y="1207"/>
                    </a:moveTo>
                    <a:lnTo>
                      <a:pt x="5831" y="1207"/>
                    </a:lnTo>
                    <a:lnTo>
                      <a:pt x="5831" y="1207"/>
                    </a:lnTo>
                    <a:lnTo>
                      <a:pt x="5831" y="1210"/>
                    </a:lnTo>
                    <a:lnTo>
                      <a:pt x="5831" y="1276"/>
                    </a:lnTo>
                    <a:lnTo>
                      <a:pt x="5831" y="1276"/>
                    </a:lnTo>
                    <a:lnTo>
                      <a:pt x="5831" y="1207"/>
                    </a:lnTo>
                    <a:close/>
                    <a:moveTo>
                      <a:pt x="1691" y="1132"/>
                    </a:moveTo>
                    <a:lnTo>
                      <a:pt x="1688" y="1132"/>
                    </a:lnTo>
                    <a:lnTo>
                      <a:pt x="1688" y="1134"/>
                    </a:lnTo>
                    <a:lnTo>
                      <a:pt x="1688" y="1134"/>
                    </a:lnTo>
                    <a:lnTo>
                      <a:pt x="1688" y="1134"/>
                    </a:lnTo>
                    <a:lnTo>
                      <a:pt x="1688" y="1132"/>
                    </a:lnTo>
                    <a:lnTo>
                      <a:pt x="1691" y="1132"/>
                    </a:lnTo>
                    <a:lnTo>
                      <a:pt x="1691" y="1132"/>
                    </a:lnTo>
                    <a:close/>
                    <a:moveTo>
                      <a:pt x="5857" y="1127"/>
                    </a:moveTo>
                    <a:lnTo>
                      <a:pt x="5855" y="1127"/>
                    </a:lnTo>
                    <a:lnTo>
                      <a:pt x="5855" y="1129"/>
                    </a:lnTo>
                    <a:lnTo>
                      <a:pt x="5855" y="1184"/>
                    </a:lnTo>
                    <a:lnTo>
                      <a:pt x="5857" y="1184"/>
                    </a:lnTo>
                    <a:lnTo>
                      <a:pt x="5857" y="1181"/>
                    </a:lnTo>
                    <a:lnTo>
                      <a:pt x="5857" y="1181"/>
                    </a:lnTo>
                    <a:lnTo>
                      <a:pt x="5857" y="1127"/>
                    </a:lnTo>
                    <a:close/>
                    <a:moveTo>
                      <a:pt x="6323" y="1127"/>
                    </a:moveTo>
                    <a:lnTo>
                      <a:pt x="6323" y="1127"/>
                    </a:lnTo>
                    <a:lnTo>
                      <a:pt x="6323" y="1127"/>
                    </a:lnTo>
                    <a:lnTo>
                      <a:pt x="6323" y="1129"/>
                    </a:lnTo>
                    <a:lnTo>
                      <a:pt x="6323" y="1160"/>
                    </a:lnTo>
                    <a:lnTo>
                      <a:pt x="6323" y="1160"/>
                    </a:lnTo>
                    <a:lnTo>
                      <a:pt x="6323" y="1127"/>
                    </a:lnTo>
                    <a:close/>
                    <a:moveTo>
                      <a:pt x="1447" y="1125"/>
                    </a:moveTo>
                    <a:lnTo>
                      <a:pt x="1447" y="1125"/>
                    </a:lnTo>
                    <a:lnTo>
                      <a:pt x="1447" y="1125"/>
                    </a:lnTo>
                    <a:lnTo>
                      <a:pt x="1447" y="1151"/>
                    </a:lnTo>
                    <a:lnTo>
                      <a:pt x="1447" y="1151"/>
                    </a:lnTo>
                    <a:lnTo>
                      <a:pt x="1447" y="1125"/>
                    </a:lnTo>
                    <a:close/>
                    <a:moveTo>
                      <a:pt x="1464" y="1082"/>
                    </a:moveTo>
                    <a:lnTo>
                      <a:pt x="1464" y="1082"/>
                    </a:lnTo>
                    <a:lnTo>
                      <a:pt x="1464" y="1084"/>
                    </a:lnTo>
                    <a:lnTo>
                      <a:pt x="1464" y="1108"/>
                    </a:lnTo>
                    <a:lnTo>
                      <a:pt x="1464" y="1108"/>
                    </a:lnTo>
                    <a:lnTo>
                      <a:pt x="1464" y="1106"/>
                    </a:lnTo>
                    <a:lnTo>
                      <a:pt x="1464" y="1106"/>
                    </a:lnTo>
                    <a:lnTo>
                      <a:pt x="1464" y="1082"/>
                    </a:lnTo>
                    <a:close/>
                    <a:moveTo>
                      <a:pt x="2861" y="1061"/>
                    </a:moveTo>
                    <a:lnTo>
                      <a:pt x="2861" y="1061"/>
                    </a:lnTo>
                    <a:lnTo>
                      <a:pt x="2859" y="1061"/>
                    </a:lnTo>
                    <a:lnTo>
                      <a:pt x="2859" y="1063"/>
                    </a:lnTo>
                    <a:lnTo>
                      <a:pt x="2859" y="1191"/>
                    </a:lnTo>
                    <a:lnTo>
                      <a:pt x="2861" y="1191"/>
                    </a:lnTo>
                    <a:lnTo>
                      <a:pt x="2861" y="1061"/>
                    </a:lnTo>
                    <a:close/>
                    <a:moveTo>
                      <a:pt x="5933" y="1042"/>
                    </a:moveTo>
                    <a:lnTo>
                      <a:pt x="5933" y="1042"/>
                    </a:lnTo>
                    <a:lnTo>
                      <a:pt x="5930" y="1042"/>
                    </a:lnTo>
                    <a:lnTo>
                      <a:pt x="5930" y="1042"/>
                    </a:lnTo>
                    <a:lnTo>
                      <a:pt x="5930" y="1080"/>
                    </a:lnTo>
                    <a:lnTo>
                      <a:pt x="5933" y="1080"/>
                    </a:lnTo>
                    <a:lnTo>
                      <a:pt x="5933" y="1042"/>
                    </a:lnTo>
                    <a:close/>
                    <a:moveTo>
                      <a:pt x="2878" y="1011"/>
                    </a:moveTo>
                    <a:lnTo>
                      <a:pt x="2878" y="1011"/>
                    </a:lnTo>
                    <a:lnTo>
                      <a:pt x="2878" y="1013"/>
                    </a:lnTo>
                    <a:lnTo>
                      <a:pt x="2878" y="1044"/>
                    </a:lnTo>
                    <a:lnTo>
                      <a:pt x="2878" y="1044"/>
                    </a:lnTo>
                    <a:lnTo>
                      <a:pt x="2878" y="1044"/>
                    </a:lnTo>
                    <a:lnTo>
                      <a:pt x="2878" y="1044"/>
                    </a:lnTo>
                    <a:lnTo>
                      <a:pt x="2878" y="1011"/>
                    </a:lnTo>
                    <a:close/>
                    <a:moveTo>
                      <a:pt x="3772" y="992"/>
                    </a:moveTo>
                    <a:lnTo>
                      <a:pt x="3769" y="992"/>
                    </a:lnTo>
                    <a:lnTo>
                      <a:pt x="3769" y="994"/>
                    </a:lnTo>
                    <a:lnTo>
                      <a:pt x="3769" y="1174"/>
                    </a:lnTo>
                    <a:lnTo>
                      <a:pt x="3772" y="1174"/>
                    </a:lnTo>
                    <a:lnTo>
                      <a:pt x="3772" y="992"/>
                    </a:lnTo>
                    <a:close/>
                    <a:moveTo>
                      <a:pt x="5949" y="990"/>
                    </a:moveTo>
                    <a:lnTo>
                      <a:pt x="5949" y="990"/>
                    </a:lnTo>
                    <a:lnTo>
                      <a:pt x="5949" y="992"/>
                    </a:lnTo>
                    <a:lnTo>
                      <a:pt x="5949" y="1023"/>
                    </a:lnTo>
                    <a:lnTo>
                      <a:pt x="5949" y="1023"/>
                    </a:lnTo>
                    <a:lnTo>
                      <a:pt x="5949" y="1023"/>
                    </a:lnTo>
                    <a:lnTo>
                      <a:pt x="5949" y="1023"/>
                    </a:lnTo>
                    <a:lnTo>
                      <a:pt x="5949" y="990"/>
                    </a:lnTo>
                    <a:close/>
                    <a:moveTo>
                      <a:pt x="6342" y="935"/>
                    </a:moveTo>
                    <a:lnTo>
                      <a:pt x="6339" y="935"/>
                    </a:lnTo>
                    <a:lnTo>
                      <a:pt x="6339" y="938"/>
                    </a:lnTo>
                    <a:lnTo>
                      <a:pt x="6339" y="1110"/>
                    </a:lnTo>
                    <a:lnTo>
                      <a:pt x="6339" y="1110"/>
                    </a:lnTo>
                    <a:lnTo>
                      <a:pt x="6339" y="1108"/>
                    </a:lnTo>
                    <a:lnTo>
                      <a:pt x="6342" y="1108"/>
                    </a:lnTo>
                    <a:lnTo>
                      <a:pt x="6342" y="935"/>
                    </a:lnTo>
                    <a:close/>
                    <a:moveTo>
                      <a:pt x="3847" y="928"/>
                    </a:moveTo>
                    <a:lnTo>
                      <a:pt x="3845" y="928"/>
                    </a:lnTo>
                    <a:lnTo>
                      <a:pt x="3845" y="928"/>
                    </a:lnTo>
                    <a:lnTo>
                      <a:pt x="3845" y="945"/>
                    </a:lnTo>
                    <a:lnTo>
                      <a:pt x="3847" y="945"/>
                    </a:lnTo>
                    <a:lnTo>
                      <a:pt x="3847" y="928"/>
                    </a:lnTo>
                    <a:close/>
                    <a:moveTo>
                      <a:pt x="6391" y="878"/>
                    </a:moveTo>
                    <a:lnTo>
                      <a:pt x="6389" y="878"/>
                    </a:lnTo>
                    <a:lnTo>
                      <a:pt x="6389" y="878"/>
                    </a:lnTo>
                    <a:lnTo>
                      <a:pt x="6389" y="881"/>
                    </a:lnTo>
                    <a:lnTo>
                      <a:pt x="6389" y="885"/>
                    </a:lnTo>
                    <a:lnTo>
                      <a:pt x="6391" y="885"/>
                    </a:lnTo>
                    <a:lnTo>
                      <a:pt x="6391" y="878"/>
                    </a:lnTo>
                    <a:close/>
                    <a:moveTo>
                      <a:pt x="6399" y="850"/>
                    </a:moveTo>
                    <a:lnTo>
                      <a:pt x="6396" y="850"/>
                    </a:lnTo>
                    <a:lnTo>
                      <a:pt x="6396" y="852"/>
                    </a:lnTo>
                    <a:lnTo>
                      <a:pt x="6396" y="871"/>
                    </a:lnTo>
                    <a:lnTo>
                      <a:pt x="6399" y="871"/>
                    </a:lnTo>
                    <a:lnTo>
                      <a:pt x="6399" y="869"/>
                    </a:lnTo>
                    <a:lnTo>
                      <a:pt x="6399" y="869"/>
                    </a:lnTo>
                    <a:lnTo>
                      <a:pt x="6399" y="850"/>
                    </a:lnTo>
                    <a:close/>
                    <a:moveTo>
                      <a:pt x="3102" y="762"/>
                    </a:moveTo>
                    <a:lnTo>
                      <a:pt x="3100" y="762"/>
                    </a:lnTo>
                    <a:lnTo>
                      <a:pt x="3100" y="762"/>
                    </a:lnTo>
                    <a:lnTo>
                      <a:pt x="3100" y="765"/>
                    </a:lnTo>
                    <a:lnTo>
                      <a:pt x="3100" y="930"/>
                    </a:lnTo>
                    <a:lnTo>
                      <a:pt x="3102" y="930"/>
                    </a:lnTo>
                    <a:lnTo>
                      <a:pt x="3102" y="762"/>
                    </a:lnTo>
                    <a:close/>
                    <a:moveTo>
                      <a:pt x="1010" y="753"/>
                    </a:moveTo>
                    <a:lnTo>
                      <a:pt x="1007" y="753"/>
                    </a:lnTo>
                    <a:lnTo>
                      <a:pt x="1007" y="755"/>
                    </a:lnTo>
                    <a:lnTo>
                      <a:pt x="1007" y="779"/>
                    </a:lnTo>
                    <a:lnTo>
                      <a:pt x="1010" y="779"/>
                    </a:lnTo>
                    <a:lnTo>
                      <a:pt x="1010" y="753"/>
                    </a:lnTo>
                    <a:close/>
                    <a:moveTo>
                      <a:pt x="5134" y="732"/>
                    </a:moveTo>
                    <a:lnTo>
                      <a:pt x="5131" y="732"/>
                    </a:lnTo>
                    <a:lnTo>
                      <a:pt x="5131" y="734"/>
                    </a:lnTo>
                    <a:lnTo>
                      <a:pt x="5131" y="923"/>
                    </a:lnTo>
                    <a:lnTo>
                      <a:pt x="5134" y="923"/>
                    </a:lnTo>
                    <a:lnTo>
                      <a:pt x="5134" y="732"/>
                    </a:lnTo>
                    <a:close/>
                    <a:moveTo>
                      <a:pt x="3140" y="656"/>
                    </a:moveTo>
                    <a:lnTo>
                      <a:pt x="3138" y="656"/>
                    </a:lnTo>
                    <a:lnTo>
                      <a:pt x="3138" y="658"/>
                    </a:lnTo>
                    <a:lnTo>
                      <a:pt x="3138" y="724"/>
                    </a:lnTo>
                    <a:lnTo>
                      <a:pt x="3138" y="724"/>
                    </a:lnTo>
                    <a:lnTo>
                      <a:pt x="3138" y="722"/>
                    </a:lnTo>
                    <a:lnTo>
                      <a:pt x="3140" y="722"/>
                    </a:lnTo>
                    <a:lnTo>
                      <a:pt x="3140" y="656"/>
                    </a:lnTo>
                    <a:close/>
                    <a:moveTo>
                      <a:pt x="97" y="616"/>
                    </a:moveTo>
                    <a:lnTo>
                      <a:pt x="97" y="616"/>
                    </a:lnTo>
                    <a:lnTo>
                      <a:pt x="97" y="618"/>
                    </a:lnTo>
                    <a:lnTo>
                      <a:pt x="97" y="1404"/>
                    </a:lnTo>
                    <a:lnTo>
                      <a:pt x="97" y="1404"/>
                    </a:lnTo>
                    <a:lnTo>
                      <a:pt x="97" y="616"/>
                    </a:lnTo>
                    <a:close/>
                    <a:moveTo>
                      <a:pt x="5254" y="608"/>
                    </a:moveTo>
                    <a:lnTo>
                      <a:pt x="5252" y="608"/>
                    </a:lnTo>
                    <a:lnTo>
                      <a:pt x="5252" y="611"/>
                    </a:lnTo>
                    <a:lnTo>
                      <a:pt x="5252" y="682"/>
                    </a:lnTo>
                    <a:lnTo>
                      <a:pt x="5254" y="682"/>
                    </a:lnTo>
                    <a:lnTo>
                      <a:pt x="5254" y="608"/>
                    </a:lnTo>
                    <a:close/>
                    <a:moveTo>
                      <a:pt x="3284" y="580"/>
                    </a:moveTo>
                    <a:lnTo>
                      <a:pt x="3282" y="580"/>
                    </a:lnTo>
                    <a:lnTo>
                      <a:pt x="3282" y="580"/>
                    </a:lnTo>
                    <a:lnTo>
                      <a:pt x="3282" y="582"/>
                    </a:lnTo>
                    <a:lnTo>
                      <a:pt x="3282" y="608"/>
                    </a:lnTo>
                    <a:lnTo>
                      <a:pt x="3284" y="608"/>
                    </a:lnTo>
                    <a:lnTo>
                      <a:pt x="3284" y="580"/>
                    </a:lnTo>
                    <a:close/>
                    <a:moveTo>
                      <a:pt x="303" y="547"/>
                    </a:moveTo>
                    <a:lnTo>
                      <a:pt x="300" y="547"/>
                    </a:lnTo>
                    <a:lnTo>
                      <a:pt x="300" y="549"/>
                    </a:lnTo>
                    <a:lnTo>
                      <a:pt x="300" y="568"/>
                    </a:lnTo>
                    <a:lnTo>
                      <a:pt x="303" y="568"/>
                    </a:lnTo>
                    <a:lnTo>
                      <a:pt x="303" y="547"/>
                    </a:lnTo>
                    <a:close/>
                    <a:moveTo>
                      <a:pt x="7028" y="509"/>
                    </a:moveTo>
                    <a:lnTo>
                      <a:pt x="7025" y="509"/>
                    </a:lnTo>
                    <a:lnTo>
                      <a:pt x="7025" y="509"/>
                    </a:lnTo>
                    <a:lnTo>
                      <a:pt x="7025" y="1044"/>
                    </a:lnTo>
                    <a:lnTo>
                      <a:pt x="7028" y="1044"/>
                    </a:lnTo>
                    <a:lnTo>
                      <a:pt x="7028" y="509"/>
                    </a:lnTo>
                    <a:close/>
                    <a:moveTo>
                      <a:pt x="4195" y="502"/>
                    </a:moveTo>
                    <a:lnTo>
                      <a:pt x="4195" y="502"/>
                    </a:lnTo>
                    <a:lnTo>
                      <a:pt x="4192" y="504"/>
                    </a:lnTo>
                    <a:lnTo>
                      <a:pt x="4164" y="542"/>
                    </a:lnTo>
                    <a:lnTo>
                      <a:pt x="4164" y="542"/>
                    </a:lnTo>
                    <a:lnTo>
                      <a:pt x="4195" y="502"/>
                    </a:lnTo>
                    <a:close/>
                    <a:moveTo>
                      <a:pt x="3301" y="500"/>
                    </a:moveTo>
                    <a:lnTo>
                      <a:pt x="3301" y="500"/>
                    </a:lnTo>
                    <a:lnTo>
                      <a:pt x="3299" y="500"/>
                    </a:lnTo>
                    <a:lnTo>
                      <a:pt x="3299" y="502"/>
                    </a:lnTo>
                    <a:lnTo>
                      <a:pt x="3299" y="563"/>
                    </a:lnTo>
                    <a:lnTo>
                      <a:pt x="3301" y="563"/>
                    </a:lnTo>
                    <a:lnTo>
                      <a:pt x="3301" y="563"/>
                    </a:lnTo>
                    <a:lnTo>
                      <a:pt x="3301" y="563"/>
                    </a:lnTo>
                    <a:lnTo>
                      <a:pt x="3301" y="500"/>
                    </a:lnTo>
                    <a:close/>
                    <a:moveTo>
                      <a:pt x="4039" y="455"/>
                    </a:moveTo>
                    <a:lnTo>
                      <a:pt x="4036" y="455"/>
                    </a:lnTo>
                    <a:lnTo>
                      <a:pt x="4036" y="455"/>
                    </a:lnTo>
                    <a:lnTo>
                      <a:pt x="4036" y="455"/>
                    </a:lnTo>
                    <a:lnTo>
                      <a:pt x="4036" y="490"/>
                    </a:lnTo>
                    <a:lnTo>
                      <a:pt x="3954" y="642"/>
                    </a:lnTo>
                    <a:lnTo>
                      <a:pt x="3954" y="878"/>
                    </a:lnTo>
                    <a:lnTo>
                      <a:pt x="3956" y="878"/>
                    </a:lnTo>
                    <a:lnTo>
                      <a:pt x="3956" y="642"/>
                    </a:lnTo>
                    <a:lnTo>
                      <a:pt x="4039" y="488"/>
                    </a:lnTo>
                    <a:lnTo>
                      <a:pt x="4039" y="455"/>
                    </a:lnTo>
                    <a:close/>
                    <a:moveTo>
                      <a:pt x="3329" y="433"/>
                    </a:moveTo>
                    <a:lnTo>
                      <a:pt x="3327" y="433"/>
                    </a:lnTo>
                    <a:lnTo>
                      <a:pt x="3327" y="436"/>
                    </a:lnTo>
                    <a:lnTo>
                      <a:pt x="3327" y="474"/>
                    </a:lnTo>
                    <a:lnTo>
                      <a:pt x="3329" y="474"/>
                    </a:lnTo>
                    <a:lnTo>
                      <a:pt x="3329" y="471"/>
                    </a:lnTo>
                    <a:lnTo>
                      <a:pt x="3329" y="471"/>
                    </a:lnTo>
                    <a:lnTo>
                      <a:pt x="3329" y="433"/>
                    </a:lnTo>
                    <a:close/>
                    <a:moveTo>
                      <a:pt x="4043" y="391"/>
                    </a:moveTo>
                    <a:lnTo>
                      <a:pt x="4041" y="391"/>
                    </a:lnTo>
                    <a:lnTo>
                      <a:pt x="4041" y="391"/>
                    </a:lnTo>
                    <a:lnTo>
                      <a:pt x="4041" y="393"/>
                    </a:lnTo>
                    <a:lnTo>
                      <a:pt x="4041" y="447"/>
                    </a:lnTo>
                    <a:lnTo>
                      <a:pt x="4043" y="447"/>
                    </a:lnTo>
                    <a:lnTo>
                      <a:pt x="4043" y="445"/>
                    </a:lnTo>
                    <a:lnTo>
                      <a:pt x="4043" y="445"/>
                    </a:lnTo>
                    <a:lnTo>
                      <a:pt x="4043" y="391"/>
                    </a:lnTo>
                    <a:close/>
                    <a:moveTo>
                      <a:pt x="1811" y="367"/>
                    </a:moveTo>
                    <a:lnTo>
                      <a:pt x="1809" y="367"/>
                    </a:lnTo>
                    <a:lnTo>
                      <a:pt x="1809" y="369"/>
                    </a:lnTo>
                    <a:lnTo>
                      <a:pt x="1809" y="1082"/>
                    </a:lnTo>
                    <a:lnTo>
                      <a:pt x="1811" y="1082"/>
                    </a:lnTo>
                    <a:lnTo>
                      <a:pt x="1811" y="367"/>
                    </a:lnTo>
                    <a:close/>
                    <a:moveTo>
                      <a:pt x="4051" y="327"/>
                    </a:moveTo>
                    <a:lnTo>
                      <a:pt x="4051" y="327"/>
                    </a:lnTo>
                    <a:lnTo>
                      <a:pt x="4051" y="329"/>
                    </a:lnTo>
                    <a:lnTo>
                      <a:pt x="4051" y="384"/>
                    </a:lnTo>
                    <a:lnTo>
                      <a:pt x="4051" y="384"/>
                    </a:lnTo>
                    <a:lnTo>
                      <a:pt x="4051" y="381"/>
                    </a:lnTo>
                    <a:lnTo>
                      <a:pt x="4051" y="381"/>
                    </a:lnTo>
                    <a:lnTo>
                      <a:pt x="4051" y="327"/>
                    </a:lnTo>
                    <a:close/>
                    <a:moveTo>
                      <a:pt x="4706" y="232"/>
                    </a:moveTo>
                    <a:lnTo>
                      <a:pt x="4703" y="232"/>
                    </a:lnTo>
                    <a:lnTo>
                      <a:pt x="4703" y="232"/>
                    </a:lnTo>
                    <a:lnTo>
                      <a:pt x="4644" y="450"/>
                    </a:lnTo>
                    <a:lnTo>
                      <a:pt x="4644" y="450"/>
                    </a:lnTo>
                    <a:lnTo>
                      <a:pt x="4706" y="232"/>
                    </a:lnTo>
                    <a:close/>
                    <a:moveTo>
                      <a:pt x="4805" y="170"/>
                    </a:moveTo>
                    <a:lnTo>
                      <a:pt x="4802" y="170"/>
                    </a:lnTo>
                    <a:lnTo>
                      <a:pt x="4802" y="173"/>
                    </a:lnTo>
                    <a:lnTo>
                      <a:pt x="4802" y="182"/>
                    </a:lnTo>
                    <a:lnTo>
                      <a:pt x="4805" y="182"/>
                    </a:lnTo>
                    <a:lnTo>
                      <a:pt x="4805" y="170"/>
                    </a:lnTo>
                    <a:close/>
                    <a:moveTo>
                      <a:pt x="4855" y="0"/>
                    </a:moveTo>
                    <a:lnTo>
                      <a:pt x="4852" y="0"/>
                    </a:lnTo>
                    <a:lnTo>
                      <a:pt x="4852" y="2"/>
                    </a:lnTo>
                    <a:lnTo>
                      <a:pt x="4852" y="123"/>
                    </a:lnTo>
                    <a:lnTo>
                      <a:pt x="4855" y="123"/>
                    </a:lnTo>
                    <a:lnTo>
                      <a:pt x="4855" y="0"/>
                    </a:lnTo>
                    <a:close/>
                  </a:path>
                </a:pathLst>
              </a:custGeom>
              <a:solidFill>
                <a:srgbClr val="DCD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8" name="Freeform 93"/>
              <p:cNvSpPr>
                <a:spLocks noEditPoints="1"/>
              </p:cNvSpPr>
              <p:nvPr/>
            </p:nvSpPr>
            <p:spPr bwMode="auto">
              <a:xfrm>
                <a:off x="-3" y="1710"/>
                <a:ext cx="7028" cy="1484"/>
              </a:xfrm>
              <a:custGeom>
                <a:avLst/>
                <a:gdLst>
                  <a:gd name="T0" fmla="*/ 3 w 7028"/>
                  <a:gd name="T1" fmla="*/ 1484 h 1484"/>
                  <a:gd name="T2" fmla="*/ 5668 w 7028"/>
                  <a:gd name="T3" fmla="*/ 1399 h 1484"/>
                  <a:gd name="T4" fmla="*/ 3710 w 7028"/>
                  <a:gd name="T5" fmla="*/ 1267 h 1484"/>
                  <a:gd name="T6" fmla="*/ 5831 w 7028"/>
                  <a:gd name="T7" fmla="*/ 1207 h 1484"/>
                  <a:gd name="T8" fmla="*/ 1691 w 7028"/>
                  <a:gd name="T9" fmla="*/ 1132 h 1484"/>
                  <a:gd name="T10" fmla="*/ 1688 w 7028"/>
                  <a:gd name="T11" fmla="*/ 1132 h 1484"/>
                  <a:gd name="T12" fmla="*/ 5855 w 7028"/>
                  <a:gd name="T13" fmla="*/ 1129 h 1484"/>
                  <a:gd name="T14" fmla="*/ 5857 w 7028"/>
                  <a:gd name="T15" fmla="*/ 1127 h 1484"/>
                  <a:gd name="T16" fmla="*/ 6323 w 7028"/>
                  <a:gd name="T17" fmla="*/ 1160 h 1484"/>
                  <a:gd name="T18" fmla="*/ 1447 w 7028"/>
                  <a:gd name="T19" fmla="*/ 1125 h 1484"/>
                  <a:gd name="T20" fmla="*/ 1464 w 7028"/>
                  <a:gd name="T21" fmla="*/ 1082 h 1484"/>
                  <a:gd name="T22" fmla="*/ 1464 w 7028"/>
                  <a:gd name="T23" fmla="*/ 1106 h 1484"/>
                  <a:gd name="T24" fmla="*/ 2859 w 7028"/>
                  <a:gd name="T25" fmla="*/ 1063 h 1484"/>
                  <a:gd name="T26" fmla="*/ 5933 w 7028"/>
                  <a:gd name="T27" fmla="*/ 1042 h 1484"/>
                  <a:gd name="T28" fmla="*/ 5933 w 7028"/>
                  <a:gd name="T29" fmla="*/ 1042 h 1484"/>
                  <a:gd name="T30" fmla="*/ 2878 w 7028"/>
                  <a:gd name="T31" fmla="*/ 1044 h 1484"/>
                  <a:gd name="T32" fmla="*/ 3769 w 7028"/>
                  <a:gd name="T33" fmla="*/ 992 h 1484"/>
                  <a:gd name="T34" fmla="*/ 5949 w 7028"/>
                  <a:gd name="T35" fmla="*/ 990 h 1484"/>
                  <a:gd name="T36" fmla="*/ 5949 w 7028"/>
                  <a:gd name="T37" fmla="*/ 1023 h 1484"/>
                  <a:gd name="T38" fmla="*/ 6339 w 7028"/>
                  <a:gd name="T39" fmla="*/ 938 h 1484"/>
                  <a:gd name="T40" fmla="*/ 6342 w 7028"/>
                  <a:gd name="T41" fmla="*/ 935 h 1484"/>
                  <a:gd name="T42" fmla="*/ 3847 w 7028"/>
                  <a:gd name="T43" fmla="*/ 945 h 1484"/>
                  <a:gd name="T44" fmla="*/ 6389 w 7028"/>
                  <a:gd name="T45" fmla="*/ 881 h 1484"/>
                  <a:gd name="T46" fmla="*/ 6396 w 7028"/>
                  <a:gd name="T47" fmla="*/ 850 h 1484"/>
                  <a:gd name="T48" fmla="*/ 6399 w 7028"/>
                  <a:gd name="T49" fmla="*/ 869 h 1484"/>
                  <a:gd name="T50" fmla="*/ 3100 w 7028"/>
                  <a:gd name="T51" fmla="*/ 765 h 1484"/>
                  <a:gd name="T52" fmla="*/ 1007 w 7028"/>
                  <a:gd name="T53" fmla="*/ 753 h 1484"/>
                  <a:gd name="T54" fmla="*/ 5134 w 7028"/>
                  <a:gd name="T55" fmla="*/ 732 h 1484"/>
                  <a:gd name="T56" fmla="*/ 5134 w 7028"/>
                  <a:gd name="T57" fmla="*/ 732 h 1484"/>
                  <a:gd name="T58" fmla="*/ 3138 w 7028"/>
                  <a:gd name="T59" fmla="*/ 724 h 1484"/>
                  <a:gd name="T60" fmla="*/ 97 w 7028"/>
                  <a:gd name="T61" fmla="*/ 616 h 1484"/>
                  <a:gd name="T62" fmla="*/ 5254 w 7028"/>
                  <a:gd name="T63" fmla="*/ 608 h 1484"/>
                  <a:gd name="T64" fmla="*/ 5254 w 7028"/>
                  <a:gd name="T65" fmla="*/ 608 h 1484"/>
                  <a:gd name="T66" fmla="*/ 3282 w 7028"/>
                  <a:gd name="T67" fmla="*/ 608 h 1484"/>
                  <a:gd name="T68" fmla="*/ 300 w 7028"/>
                  <a:gd name="T69" fmla="*/ 549 h 1484"/>
                  <a:gd name="T70" fmla="*/ 7025 w 7028"/>
                  <a:gd name="T71" fmla="*/ 509 h 1484"/>
                  <a:gd name="T72" fmla="*/ 4195 w 7028"/>
                  <a:gd name="T73" fmla="*/ 502 h 1484"/>
                  <a:gd name="T74" fmla="*/ 4195 w 7028"/>
                  <a:gd name="T75" fmla="*/ 502 h 1484"/>
                  <a:gd name="T76" fmla="*/ 3299 w 7028"/>
                  <a:gd name="T77" fmla="*/ 563 h 1484"/>
                  <a:gd name="T78" fmla="*/ 4039 w 7028"/>
                  <a:gd name="T79" fmla="*/ 455 h 1484"/>
                  <a:gd name="T80" fmla="*/ 3954 w 7028"/>
                  <a:gd name="T81" fmla="*/ 642 h 1484"/>
                  <a:gd name="T82" fmla="*/ 4039 w 7028"/>
                  <a:gd name="T83" fmla="*/ 455 h 1484"/>
                  <a:gd name="T84" fmla="*/ 3329 w 7028"/>
                  <a:gd name="T85" fmla="*/ 474 h 1484"/>
                  <a:gd name="T86" fmla="*/ 4041 w 7028"/>
                  <a:gd name="T87" fmla="*/ 391 h 1484"/>
                  <a:gd name="T88" fmla="*/ 4043 w 7028"/>
                  <a:gd name="T89" fmla="*/ 445 h 1484"/>
                  <a:gd name="T90" fmla="*/ 1809 w 7028"/>
                  <a:gd name="T91" fmla="*/ 369 h 1484"/>
                  <a:gd name="T92" fmla="*/ 4051 w 7028"/>
                  <a:gd name="T93" fmla="*/ 327 h 1484"/>
                  <a:gd name="T94" fmla="*/ 4051 w 7028"/>
                  <a:gd name="T95" fmla="*/ 381 h 1484"/>
                  <a:gd name="T96" fmla="*/ 4644 w 7028"/>
                  <a:gd name="T97" fmla="*/ 450 h 1484"/>
                  <a:gd name="T98" fmla="*/ 4802 w 7028"/>
                  <a:gd name="T99" fmla="*/ 173 h 1484"/>
                  <a:gd name="T100" fmla="*/ 4852 w 7028"/>
                  <a:gd name="T101" fmla="*/ 0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28" h="1484">
                    <a:moveTo>
                      <a:pt x="3" y="1451"/>
                    </a:moveTo>
                    <a:lnTo>
                      <a:pt x="0" y="1451"/>
                    </a:lnTo>
                    <a:lnTo>
                      <a:pt x="0" y="1454"/>
                    </a:lnTo>
                    <a:lnTo>
                      <a:pt x="0" y="1484"/>
                    </a:lnTo>
                    <a:lnTo>
                      <a:pt x="3" y="1484"/>
                    </a:lnTo>
                    <a:lnTo>
                      <a:pt x="3" y="1451"/>
                    </a:lnTo>
                    <a:moveTo>
                      <a:pt x="5668" y="1326"/>
                    </a:moveTo>
                    <a:lnTo>
                      <a:pt x="5666" y="1326"/>
                    </a:lnTo>
                    <a:lnTo>
                      <a:pt x="5666" y="1399"/>
                    </a:lnTo>
                    <a:lnTo>
                      <a:pt x="5668" y="1399"/>
                    </a:lnTo>
                    <a:lnTo>
                      <a:pt x="5668" y="1326"/>
                    </a:lnTo>
                    <a:moveTo>
                      <a:pt x="3712" y="1222"/>
                    </a:moveTo>
                    <a:lnTo>
                      <a:pt x="3710" y="1222"/>
                    </a:lnTo>
                    <a:lnTo>
                      <a:pt x="3710" y="1224"/>
                    </a:lnTo>
                    <a:lnTo>
                      <a:pt x="3710" y="1267"/>
                    </a:lnTo>
                    <a:lnTo>
                      <a:pt x="3712" y="1267"/>
                    </a:lnTo>
                    <a:lnTo>
                      <a:pt x="3712" y="1222"/>
                    </a:lnTo>
                    <a:moveTo>
                      <a:pt x="5831" y="1207"/>
                    </a:moveTo>
                    <a:lnTo>
                      <a:pt x="5831" y="1207"/>
                    </a:lnTo>
                    <a:lnTo>
                      <a:pt x="5831" y="1207"/>
                    </a:lnTo>
                    <a:lnTo>
                      <a:pt x="5831" y="1210"/>
                    </a:lnTo>
                    <a:lnTo>
                      <a:pt x="5831" y="1276"/>
                    </a:lnTo>
                    <a:lnTo>
                      <a:pt x="5831" y="1276"/>
                    </a:lnTo>
                    <a:lnTo>
                      <a:pt x="5831" y="1207"/>
                    </a:lnTo>
                    <a:moveTo>
                      <a:pt x="1691" y="1132"/>
                    </a:moveTo>
                    <a:lnTo>
                      <a:pt x="1688" y="1132"/>
                    </a:lnTo>
                    <a:lnTo>
                      <a:pt x="1688" y="1134"/>
                    </a:lnTo>
                    <a:lnTo>
                      <a:pt x="1688" y="1134"/>
                    </a:lnTo>
                    <a:lnTo>
                      <a:pt x="1688" y="1134"/>
                    </a:lnTo>
                    <a:lnTo>
                      <a:pt x="1688" y="1132"/>
                    </a:lnTo>
                    <a:lnTo>
                      <a:pt x="1691" y="1132"/>
                    </a:lnTo>
                    <a:lnTo>
                      <a:pt x="1691" y="1132"/>
                    </a:lnTo>
                    <a:moveTo>
                      <a:pt x="5857" y="1127"/>
                    </a:moveTo>
                    <a:lnTo>
                      <a:pt x="5855" y="1127"/>
                    </a:lnTo>
                    <a:lnTo>
                      <a:pt x="5855" y="1129"/>
                    </a:lnTo>
                    <a:lnTo>
                      <a:pt x="5855" y="1184"/>
                    </a:lnTo>
                    <a:lnTo>
                      <a:pt x="5857" y="1184"/>
                    </a:lnTo>
                    <a:lnTo>
                      <a:pt x="5857" y="1181"/>
                    </a:lnTo>
                    <a:lnTo>
                      <a:pt x="5857" y="1181"/>
                    </a:lnTo>
                    <a:lnTo>
                      <a:pt x="5857" y="1127"/>
                    </a:lnTo>
                    <a:moveTo>
                      <a:pt x="6323" y="1127"/>
                    </a:moveTo>
                    <a:lnTo>
                      <a:pt x="6323" y="1127"/>
                    </a:lnTo>
                    <a:lnTo>
                      <a:pt x="6323" y="1127"/>
                    </a:lnTo>
                    <a:lnTo>
                      <a:pt x="6323" y="1129"/>
                    </a:lnTo>
                    <a:lnTo>
                      <a:pt x="6323" y="1160"/>
                    </a:lnTo>
                    <a:lnTo>
                      <a:pt x="6323" y="1160"/>
                    </a:lnTo>
                    <a:lnTo>
                      <a:pt x="6323" y="1127"/>
                    </a:lnTo>
                    <a:moveTo>
                      <a:pt x="1447" y="1125"/>
                    </a:moveTo>
                    <a:lnTo>
                      <a:pt x="1447" y="1125"/>
                    </a:lnTo>
                    <a:lnTo>
                      <a:pt x="1447" y="1125"/>
                    </a:lnTo>
                    <a:lnTo>
                      <a:pt x="1447" y="1151"/>
                    </a:lnTo>
                    <a:lnTo>
                      <a:pt x="1447" y="1151"/>
                    </a:lnTo>
                    <a:lnTo>
                      <a:pt x="1447" y="1125"/>
                    </a:lnTo>
                    <a:moveTo>
                      <a:pt x="1464" y="1082"/>
                    </a:moveTo>
                    <a:lnTo>
                      <a:pt x="1464" y="1082"/>
                    </a:lnTo>
                    <a:lnTo>
                      <a:pt x="1464" y="1084"/>
                    </a:lnTo>
                    <a:lnTo>
                      <a:pt x="1464" y="1108"/>
                    </a:lnTo>
                    <a:lnTo>
                      <a:pt x="1464" y="1108"/>
                    </a:lnTo>
                    <a:lnTo>
                      <a:pt x="1464" y="1106"/>
                    </a:lnTo>
                    <a:lnTo>
                      <a:pt x="1464" y="1106"/>
                    </a:lnTo>
                    <a:lnTo>
                      <a:pt x="1464" y="1082"/>
                    </a:lnTo>
                    <a:moveTo>
                      <a:pt x="2861" y="1061"/>
                    </a:moveTo>
                    <a:lnTo>
                      <a:pt x="2861" y="1061"/>
                    </a:lnTo>
                    <a:lnTo>
                      <a:pt x="2859" y="1061"/>
                    </a:lnTo>
                    <a:lnTo>
                      <a:pt x="2859" y="1063"/>
                    </a:lnTo>
                    <a:lnTo>
                      <a:pt x="2859" y="1191"/>
                    </a:lnTo>
                    <a:lnTo>
                      <a:pt x="2861" y="1191"/>
                    </a:lnTo>
                    <a:lnTo>
                      <a:pt x="2861" y="1061"/>
                    </a:lnTo>
                    <a:moveTo>
                      <a:pt x="5933" y="1042"/>
                    </a:moveTo>
                    <a:lnTo>
                      <a:pt x="5933" y="1042"/>
                    </a:lnTo>
                    <a:lnTo>
                      <a:pt x="5930" y="1042"/>
                    </a:lnTo>
                    <a:lnTo>
                      <a:pt x="5930" y="1042"/>
                    </a:lnTo>
                    <a:lnTo>
                      <a:pt x="5930" y="1080"/>
                    </a:lnTo>
                    <a:lnTo>
                      <a:pt x="5933" y="1080"/>
                    </a:lnTo>
                    <a:lnTo>
                      <a:pt x="5933" y="1042"/>
                    </a:lnTo>
                    <a:moveTo>
                      <a:pt x="2878" y="1011"/>
                    </a:moveTo>
                    <a:lnTo>
                      <a:pt x="2878" y="1011"/>
                    </a:lnTo>
                    <a:lnTo>
                      <a:pt x="2878" y="1013"/>
                    </a:lnTo>
                    <a:lnTo>
                      <a:pt x="2878" y="1044"/>
                    </a:lnTo>
                    <a:lnTo>
                      <a:pt x="2878" y="1044"/>
                    </a:lnTo>
                    <a:lnTo>
                      <a:pt x="2878" y="1044"/>
                    </a:lnTo>
                    <a:lnTo>
                      <a:pt x="2878" y="1044"/>
                    </a:lnTo>
                    <a:lnTo>
                      <a:pt x="2878" y="1011"/>
                    </a:lnTo>
                    <a:moveTo>
                      <a:pt x="3772" y="992"/>
                    </a:moveTo>
                    <a:lnTo>
                      <a:pt x="3769" y="992"/>
                    </a:lnTo>
                    <a:lnTo>
                      <a:pt x="3769" y="994"/>
                    </a:lnTo>
                    <a:lnTo>
                      <a:pt x="3769" y="1174"/>
                    </a:lnTo>
                    <a:lnTo>
                      <a:pt x="3772" y="1174"/>
                    </a:lnTo>
                    <a:lnTo>
                      <a:pt x="3772" y="992"/>
                    </a:lnTo>
                    <a:moveTo>
                      <a:pt x="5949" y="990"/>
                    </a:moveTo>
                    <a:lnTo>
                      <a:pt x="5949" y="990"/>
                    </a:lnTo>
                    <a:lnTo>
                      <a:pt x="5949" y="992"/>
                    </a:lnTo>
                    <a:lnTo>
                      <a:pt x="5949" y="1023"/>
                    </a:lnTo>
                    <a:lnTo>
                      <a:pt x="5949" y="1023"/>
                    </a:lnTo>
                    <a:lnTo>
                      <a:pt x="5949" y="1023"/>
                    </a:lnTo>
                    <a:lnTo>
                      <a:pt x="5949" y="1023"/>
                    </a:lnTo>
                    <a:lnTo>
                      <a:pt x="5949" y="990"/>
                    </a:lnTo>
                    <a:moveTo>
                      <a:pt x="6342" y="935"/>
                    </a:moveTo>
                    <a:lnTo>
                      <a:pt x="6339" y="935"/>
                    </a:lnTo>
                    <a:lnTo>
                      <a:pt x="6339" y="938"/>
                    </a:lnTo>
                    <a:lnTo>
                      <a:pt x="6339" y="1110"/>
                    </a:lnTo>
                    <a:lnTo>
                      <a:pt x="6339" y="1110"/>
                    </a:lnTo>
                    <a:lnTo>
                      <a:pt x="6339" y="1108"/>
                    </a:lnTo>
                    <a:lnTo>
                      <a:pt x="6342" y="1108"/>
                    </a:lnTo>
                    <a:lnTo>
                      <a:pt x="6342" y="935"/>
                    </a:lnTo>
                    <a:moveTo>
                      <a:pt x="3847" y="928"/>
                    </a:moveTo>
                    <a:lnTo>
                      <a:pt x="3845" y="928"/>
                    </a:lnTo>
                    <a:lnTo>
                      <a:pt x="3845" y="928"/>
                    </a:lnTo>
                    <a:lnTo>
                      <a:pt x="3845" y="945"/>
                    </a:lnTo>
                    <a:lnTo>
                      <a:pt x="3847" y="945"/>
                    </a:lnTo>
                    <a:lnTo>
                      <a:pt x="3847" y="928"/>
                    </a:lnTo>
                    <a:moveTo>
                      <a:pt x="6391" y="878"/>
                    </a:moveTo>
                    <a:lnTo>
                      <a:pt x="6389" y="878"/>
                    </a:lnTo>
                    <a:lnTo>
                      <a:pt x="6389" y="878"/>
                    </a:lnTo>
                    <a:lnTo>
                      <a:pt x="6389" y="881"/>
                    </a:lnTo>
                    <a:lnTo>
                      <a:pt x="6389" y="885"/>
                    </a:lnTo>
                    <a:lnTo>
                      <a:pt x="6391" y="885"/>
                    </a:lnTo>
                    <a:lnTo>
                      <a:pt x="6391" y="878"/>
                    </a:lnTo>
                    <a:moveTo>
                      <a:pt x="6399" y="850"/>
                    </a:moveTo>
                    <a:lnTo>
                      <a:pt x="6396" y="850"/>
                    </a:lnTo>
                    <a:lnTo>
                      <a:pt x="6396" y="852"/>
                    </a:lnTo>
                    <a:lnTo>
                      <a:pt x="6396" y="871"/>
                    </a:lnTo>
                    <a:lnTo>
                      <a:pt x="6399" y="871"/>
                    </a:lnTo>
                    <a:lnTo>
                      <a:pt x="6399" y="869"/>
                    </a:lnTo>
                    <a:lnTo>
                      <a:pt x="6399" y="869"/>
                    </a:lnTo>
                    <a:lnTo>
                      <a:pt x="6399" y="850"/>
                    </a:lnTo>
                    <a:moveTo>
                      <a:pt x="3102" y="762"/>
                    </a:moveTo>
                    <a:lnTo>
                      <a:pt x="3100" y="762"/>
                    </a:lnTo>
                    <a:lnTo>
                      <a:pt x="3100" y="762"/>
                    </a:lnTo>
                    <a:lnTo>
                      <a:pt x="3100" y="765"/>
                    </a:lnTo>
                    <a:lnTo>
                      <a:pt x="3100" y="930"/>
                    </a:lnTo>
                    <a:lnTo>
                      <a:pt x="3102" y="930"/>
                    </a:lnTo>
                    <a:lnTo>
                      <a:pt x="3102" y="762"/>
                    </a:lnTo>
                    <a:moveTo>
                      <a:pt x="1010" y="753"/>
                    </a:moveTo>
                    <a:lnTo>
                      <a:pt x="1007" y="753"/>
                    </a:lnTo>
                    <a:lnTo>
                      <a:pt x="1007" y="755"/>
                    </a:lnTo>
                    <a:lnTo>
                      <a:pt x="1007" y="779"/>
                    </a:lnTo>
                    <a:lnTo>
                      <a:pt x="1010" y="779"/>
                    </a:lnTo>
                    <a:lnTo>
                      <a:pt x="1010" y="753"/>
                    </a:lnTo>
                    <a:moveTo>
                      <a:pt x="5134" y="732"/>
                    </a:moveTo>
                    <a:lnTo>
                      <a:pt x="5131" y="732"/>
                    </a:lnTo>
                    <a:lnTo>
                      <a:pt x="5131" y="734"/>
                    </a:lnTo>
                    <a:lnTo>
                      <a:pt x="5131" y="923"/>
                    </a:lnTo>
                    <a:lnTo>
                      <a:pt x="5134" y="923"/>
                    </a:lnTo>
                    <a:lnTo>
                      <a:pt x="5134" y="732"/>
                    </a:lnTo>
                    <a:moveTo>
                      <a:pt x="3140" y="656"/>
                    </a:moveTo>
                    <a:lnTo>
                      <a:pt x="3138" y="656"/>
                    </a:lnTo>
                    <a:lnTo>
                      <a:pt x="3138" y="658"/>
                    </a:lnTo>
                    <a:lnTo>
                      <a:pt x="3138" y="724"/>
                    </a:lnTo>
                    <a:lnTo>
                      <a:pt x="3138" y="724"/>
                    </a:lnTo>
                    <a:lnTo>
                      <a:pt x="3138" y="722"/>
                    </a:lnTo>
                    <a:lnTo>
                      <a:pt x="3140" y="722"/>
                    </a:lnTo>
                    <a:lnTo>
                      <a:pt x="3140" y="656"/>
                    </a:lnTo>
                    <a:moveTo>
                      <a:pt x="97" y="616"/>
                    </a:moveTo>
                    <a:lnTo>
                      <a:pt x="97" y="616"/>
                    </a:lnTo>
                    <a:lnTo>
                      <a:pt x="97" y="618"/>
                    </a:lnTo>
                    <a:lnTo>
                      <a:pt x="97" y="1404"/>
                    </a:lnTo>
                    <a:lnTo>
                      <a:pt x="97" y="1404"/>
                    </a:lnTo>
                    <a:lnTo>
                      <a:pt x="97" y="616"/>
                    </a:lnTo>
                    <a:moveTo>
                      <a:pt x="5254" y="608"/>
                    </a:moveTo>
                    <a:lnTo>
                      <a:pt x="5252" y="608"/>
                    </a:lnTo>
                    <a:lnTo>
                      <a:pt x="5252" y="611"/>
                    </a:lnTo>
                    <a:lnTo>
                      <a:pt x="5252" y="682"/>
                    </a:lnTo>
                    <a:lnTo>
                      <a:pt x="5254" y="682"/>
                    </a:lnTo>
                    <a:lnTo>
                      <a:pt x="5254" y="608"/>
                    </a:lnTo>
                    <a:moveTo>
                      <a:pt x="3284" y="580"/>
                    </a:moveTo>
                    <a:lnTo>
                      <a:pt x="3282" y="580"/>
                    </a:lnTo>
                    <a:lnTo>
                      <a:pt x="3282" y="580"/>
                    </a:lnTo>
                    <a:lnTo>
                      <a:pt x="3282" y="582"/>
                    </a:lnTo>
                    <a:lnTo>
                      <a:pt x="3282" y="608"/>
                    </a:lnTo>
                    <a:lnTo>
                      <a:pt x="3284" y="608"/>
                    </a:lnTo>
                    <a:lnTo>
                      <a:pt x="3284" y="580"/>
                    </a:lnTo>
                    <a:moveTo>
                      <a:pt x="303" y="547"/>
                    </a:moveTo>
                    <a:lnTo>
                      <a:pt x="300" y="547"/>
                    </a:lnTo>
                    <a:lnTo>
                      <a:pt x="300" y="549"/>
                    </a:lnTo>
                    <a:lnTo>
                      <a:pt x="300" y="568"/>
                    </a:lnTo>
                    <a:lnTo>
                      <a:pt x="303" y="568"/>
                    </a:lnTo>
                    <a:lnTo>
                      <a:pt x="303" y="547"/>
                    </a:lnTo>
                    <a:moveTo>
                      <a:pt x="7028" y="509"/>
                    </a:moveTo>
                    <a:lnTo>
                      <a:pt x="7025" y="509"/>
                    </a:lnTo>
                    <a:lnTo>
                      <a:pt x="7025" y="509"/>
                    </a:lnTo>
                    <a:lnTo>
                      <a:pt x="7025" y="1044"/>
                    </a:lnTo>
                    <a:lnTo>
                      <a:pt x="7028" y="1044"/>
                    </a:lnTo>
                    <a:lnTo>
                      <a:pt x="7028" y="509"/>
                    </a:lnTo>
                    <a:moveTo>
                      <a:pt x="4195" y="502"/>
                    </a:moveTo>
                    <a:lnTo>
                      <a:pt x="4195" y="502"/>
                    </a:lnTo>
                    <a:lnTo>
                      <a:pt x="4192" y="504"/>
                    </a:lnTo>
                    <a:lnTo>
                      <a:pt x="4164" y="542"/>
                    </a:lnTo>
                    <a:lnTo>
                      <a:pt x="4164" y="542"/>
                    </a:lnTo>
                    <a:lnTo>
                      <a:pt x="4195" y="502"/>
                    </a:lnTo>
                    <a:moveTo>
                      <a:pt x="3301" y="500"/>
                    </a:moveTo>
                    <a:lnTo>
                      <a:pt x="3301" y="500"/>
                    </a:lnTo>
                    <a:lnTo>
                      <a:pt x="3299" y="500"/>
                    </a:lnTo>
                    <a:lnTo>
                      <a:pt x="3299" y="502"/>
                    </a:lnTo>
                    <a:lnTo>
                      <a:pt x="3299" y="563"/>
                    </a:lnTo>
                    <a:lnTo>
                      <a:pt x="3301" y="563"/>
                    </a:lnTo>
                    <a:lnTo>
                      <a:pt x="3301" y="563"/>
                    </a:lnTo>
                    <a:lnTo>
                      <a:pt x="3301" y="563"/>
                    </a:lnTo>
                    <a:lnTo>
                      <a:pt x="3301" y="500"/>
                    </a:lnTo>
                    <a:moveTo>
                      <a:pt x="4039" y="455"/>
                    </a:moveTo>
                    <a:lnTo>
                      <a:pt x="4036" y="455"/>
                    </a:lnTo>
                    <a:lnTo>
                      <a:pt x="4036" y="455"/>
                    </a:lnTo>
                    <a:lnTo>
                      <a:pt x="4036" y="455"/>
                    </a:lnTo>
                    <a:lnTo>
                      <a:pt x="4036" y="490"/>
                    </a:lnTo>
                    <a:lnTo>
                      <a:pt x="3954" y="642"/>
                    </a:lnTo>
                    <a:lnTo>
                      <a:pt x="3954" y="878"/>
                    </a:lnTo>
                    <a:lnTo>
                      <a:pt x="3956" y="878"/>
                    </a:lnTo>
                    <a:lnTo>
                      <a:pt x="3956" y="642"/>
                    </a:lnTo>
                    <a:lnTo>
                      <a:pt x="4039" y="488"/>
                    </a:lnTo>
                    <a:lnTo>
                      <a:pt x="4039" y="455"/>
                    </a:lnTo>
                    <a:moveTo>
                      <a:pt x="3329" y="433"/>
                    </a:moveTo>
                    <a:lnTo>
                      <a:pt x="3327" y="433"/>
                    </a:lnTo>
                    <a:lnTo>
                      <a:pt x="3327" y="436"/>
                    </a:lnTo>
                    <a:lnTo>
                      <a:pt x="3327" y="474"/>
                    </a:lnTo>
                    <a:lnTo>
                      <a:pt x="3329" y="474"/>
                    </a:lnTo>
                    <a:lnTo>
                      <a:pt x="3329" y="471"/>
                    </a:lnTo>
                    <a:lnTo>
                      <a:pt x="3329" y="471"/>
                    </a:lnTo>
                    <a:lnTo>
                      <a:pt x="3329" y="433"/>
                    </a:lnTo>
                    <a:moveTo>
                      <a:pt x="4043" y="391"/>
                    </a:moveTo>
                    <a:lnTo>
                      <a:pt x="4041" y="391"/>
                    </a:lnTo>
                    <a:lnTo>
                      <a:pt x="4041" y="391"/>
                    </a:lnTo>
                    <a:lnTo>
                      <a:pt x="4041" y="393"/>
                    </a:lnTo>
                    <a:lnTo>
                      <a:pt x="4041" y="447"/>
                    </a:lnTo>
                    <a:lnTo>
                      <a:pt x="4043" y="447"/>
                    </a:lnTo>
                    <a:lnTo>
                      <a:pt x="4043" y="445"/>
                    </a:lnTo>
                    <a:lnTo>
                      <a:pt x="4043" y="445"/>
                    </a:lnTo>
                    <a:lnTo>
                      <a:pt x="4043" y="391"/>
                    </a:lnTo>
                    <a:moveTo>
                      <a:pt x="1811" y="367"/>
                    </a:moveTo>
                    <a:lnTo>
                      <a:pt x="1809" y="367"/>
                    </a:lnTo>
                    <a:lnTo>
                      <a:pt x="1809" y="369"/>
                    </a:lnTo>
                    <a:lnTo>
                      <a:pt x="1809" y="1082"/>
                    </a:lnTo>
                    <a:lnTo>
                      <a:pt x="1811" y="1082"/>
                    </a:lnTo>
                    <a:lnTo>
                      <a:pt x="1811" y="367"/>
                    </a:lnTo>
                    <a:moveTo>
                      <a:pt x="4051" y="327"/>
                    </a:moveTo>
                    <a:lnTo>
                      <a:pt x="4051" y="327"/>
                    </a:lnTo>
                    <a:lnTo>
                      <a:pt x="4051" y="329"/>
                    </a:lnTo>
                    <a:lnTo>
                      <a:pt x="4051" y="384"/>
                    </a:lnTo>
                    <a:lnTo>
                      <a:pt x="4051" y="384"/>
                    </a:lnTo>
                    <a:lnTo>
                      <a:pt x="4051" y="381"/>
                    </a:lnTo>
                    <a:lnTo>
                      <a:pt x="4051" y="381"/>
                    </a:lnTo>
                    <a:lnTo>
                      <a:pt x="4051" y="327"/>
                    </a:lnTo>
                    <a:moveTo>
                      <a:pt x="4706" y="232"/>
                    </a:moveTo>
                    <a:lnTo>
                      <a:pt x="4703" y="232"/>
                    </a:lnTo>
                    <a:lnTo>
                      <a:pt x="4703" y="232"/>
                    </a:lnTo>
                    <a:lnTo>
                      <a:pt x="4644" y="450"/>
                    </a:lnTo>
                    <a:lnTo>
                      <a:pt x="4644" y="450"/>
                    </a:lnTo>
                    <a:lnTo>
                      <a:pt x="4706" y="232"/>
                    </a:lnTo>
                    <a:moveTo>
                      <a:pt x="4805" y="170"/>
                    </a:moveTo>
                    <a:lnTo>
                      <a:pt x="4802" y="170"/>
                    </a:lnTo>
                    <a:lnTo>
                      <a:pt x="4802" y="173"/>
                    </a:lnTo>
                    <a:lnTo>
                      <a:pt x="4802" y="182"/>
                    </a:lnTo>
                    <a:lnTo>
                      <a:pt x="4805" y="182"/>
                    </a:lnTo>
                    <a:lnTo>
                      <a:pt x="4805" y="170"/>
                    </a:lnTo>
                    <a:moveTo>
                      <a:pt x="4855" y="0"/>
                    </a:moveTo>
                    <a:lnTo>
                      <a:pt x="4852" y="0"/>
                    </a:lnTo>
                    <a:lnTo>
                      <a:pt x="4852" y="2"/>
                    </a:lnTo>
                    <a:lnTo>
                      <a:pt x="4852" y="123"/>
                    </a:lnTo>
                    <a:lnTo>
                      <a:pt x="4855" y="123"/>
                    </a:lnTo>
                    <a:lnTo>
                      <a:pt x="48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79" name="Freeform 94"/>
              <p:cNvSpPr>
                <a:spLocks noEditPoints="1"/>
              </p:cNvSpPr>
              <p:nvPr/>
            </p:nvSpPr>
            <p:spPr bwMode="auto">
              <a:xfrm>
                <a:off x="0" y="1708"/>
                <a:ext cx="7025" cy="1486"/>
              </a:xfrm>
              <a:custGeom>
                <a:avLst/>
                <a:gdLst>
                  <a:gd name="T0" fmla="*/ 2 w 7025"/>
                  <a:gd name="T1" fmla="*/ 1486 h 1486"/>
                  <a:gd name="T2" fmla="*/ 5665 w 7025"/>
                  <a:gd name="T3" fmla="*/ 1401 h 1486"/>
                  <a:gd name="T4" fmla="*/ 3709 w 7025"/>
                  <a:gd name="T5" fmla="*/ 1224 h 1486"/>
                  <a:gd name="T6" fmla="*/ 5830 w 7025"/>
                  <a:gd name="T7" fmla="*/ 1207 h 1486"/>
                  <a:gd name="T8" fmla="*/ 5830 w 7025"/>
                  <a:gd name="T9" fmla="*/ 1207 h 1486"/>
                  <a:gd name="T10" fmla="*/ 1688 w 7025"/>
                  <a:gd name="T11" fmla="*/ 1134 h 1486"/>
                  <a:gd name="T12" fmla="*/ 5854 w 7025"/>
                  <a:gd name="T13" fmla="*/ 1127 h 1486"/>
                  <a:gd name="T14" fmla="*/ 5856 w 7025"/>
                  <a:gd name="T15" fmla="*/ 1181 h 1486"/>
                  <a:gd name="T16" fmla="*/ 6320 w 7025"/>
                  <a:gd name="T17" fmla="*/ 1129 h 1486"/>
                  <a:gd name="T18" fmla="*/ 1444 w 7025"/>
                  <a:gd name="T19" fmla="*/ 1124 h 1486"/>
                  <a:gd name="T20" fmla="*/ 1447 w 7025"/>
                  <a:gd name="T21" fmla="*/ 1124 h 1486"/>
                  <a:gd name="T22" fmla="*/ 1463 w 7025"/>
                  <a:gd name="T23" fmla="*/ 1108 h 1486"/>
                  <a:gd name="T24" fmla="*/ 2858 w 7025"/>
                  <a:gd name="T25" fmla="*/ 1063 h 1486"/>
                  <a:gd name="T26" fmla="*/ 2861 w 7025"/>
                  <a:gd name="T27" fmla="*/ 1063 h 1486"/>
                  <a:gd name="T28" fmla="*/ 5930 w 7025"/>
                  <a:gd name="T29" fmla="*/ 1082 h 1486"/>
                  <a:gd name="T30" fmla="*/ 2875 w 7025"/>
                  <a:gd name="T31" fmla="*/ 1013 h 1486"/>
                  <a:gd name="T32" fmla="*/ 2877 w 7025"/>
                  <a:gd name="T33" fmla="*/ 1011 h 1486"/>
                  <a:gd name="T34" fmla="*/ 3771 w 7025"/>
                  <a:gd name="T35" fmla="*/ 1176 h 1486"/>
                  <a:gd name="T36" fmla="*/ 5946 w 7025"/>
                  <a:gd name="T37" fmla="*/ 1025 h 1486"/>
                  <a:gd name="T38" fmla="*/ 6339 w 7025"/>
                  <a:gd name="T39" fmla="*/ 935 h 1486"/>
                  <a:gd name="T40" fmla="*/ 6339 w 7025"/>
                  <a:gd name="T41" fmla="*/ 1110 h 1486"/>
                  <a:gd name="T42" fmla="*/ 3844 w 7025"/>
                  <a:gd name="T43" fmla="*/ 928 h 1486"/>
                  <a:gd name="T44" fmla="*/ 6391 w 7025"/>
                  <a:gd name="T45" fmla="*/ 878 h 1486"/>
                  <a:gd name="T46" fmla="*/ 6388 w 7025"/>
                  <a:gd name="T47" fmla="*/ 887 h 1486"/>
                  <a:gd name="T48" fmla="*/ 6396 w 7025"/>
                  <a:gd name="T49" fmla="*/ 850 h 1486"/>
                  <a:gd name="T50" fmla="*/ 6398 w 7025"/>
                  <a:gd name="T51" fmla="*/ 869 h 1486"/>
                  <a:gd name="T52" fmla="*/ 3099 w 7025"/>
                  <a:gd name="T53" fmla="*/ 764 h 1486"/>
                  <a:gd name="T54" fmla="*/ 1007 w 7025"/>
                  <a:gd name="T55" fmla="*/ 753 h 1486"/>
                  <a:gd name="T56" fmla="*/ 5133 w 7025"/>
                  <a:gd name="T57" fmla="*/ 731 h 1486"/>
                  <a:gd name="T58" fmla="*/ 5133 w 7025"/>
                  <a:gd name="T59" fmla="*/ 731 h 1486"/>
                  <a:gd name="T60" fmla="*/ 3137 w 7025"/>
                  <a:gd name="T61" fmla="*/ 724 h 1486"/>
                  <a:gd name="T62" fmla="*/ 94 w 7025"/>
                  <a:gd name="T63" fmla="*/ 615 h 1486"/>
                  <a:gd name="T64" fmla="*/ 5253 w 7025"/>
                  <a:gd name="T65" fmla="*/ 608 h 1486"/>
                  <a:gd name="T66" fmla="*/ 5253 w 7025"/>
                  <a:gd name="T67" fmla="*/ 608 h 1486"/>
                  <a:gd name="T68" fmla="*/ 3281 w 7025"/>
                  <a:gd name="T69" fmla="*/ 610 h 1486"/>
                  <a:gd name="T70" fmla="*/ 300 w 7025"/>
                  <a:gd name="T71" fmla="*/ 549 h 1486"/>
                  <a:gd name="T72" fmla="*/ 7025 w 7025"/>
                  <a:gd name="T73" fmla="*/ 509 h 1486"/>
                  <a:gd name="T74" fmla="*/ 4194 w 7025"/>
                  <a:gd name="T75" fmla="*/ 502 h 1486"/>
                  <a:gd name="T76" fmla="*/ 4194 w 7025"/>
                  <a:gd name="T77" fmla="*/ 502 h 1486"/>
                  <a:gd name="T78" fmla="*/ 3298 w 7025"/>
                  <a:gd name="T79" fmla="*/ 565 h 1486"/>
                  <a:gd name="T80" fmla="*/ 4036 w 7025"/>
                  <a:gd name="T81" fmla="*/ 454 h 1486"/>
                  <a:gd name="T82" fmla="*/ 3953 w 7025"/>
                  <a:gd name="T83" fmla="*/ 644 h 1486"/>
                  <a:gd name="T84" fmla="*/ 4036 w 7025"/>
                  <a:gd name="T85" fmla="*/ 454 h 1486"/>
                  <a:gd name="T86" fmla="*/ 3329 w 7025"/>
                  <a:gd name="T87" fmla="*/ 473 h 1486"/>
                  <a:gd name="T88" fmla="*/ 4040 w 7025"/>
                  <a:gd name="T89" fmla="*/ 390 h 1486"/>
                  <a:gd name="T90" fmla="*/ 4043 w 7025"/>
                  <a:gd name="T91" fmla="*/ 447 h 1486"/>
                  <a:gd name="T92" fmla="*/ 1808 w 7025"/>
                  <a:gd name="T93" fmla="*/ 369 h 1486"/>
                  <a:gd name="T94" fmla="*/ 4048 w 7025"/>
                  <a:gd name="T95" fmla="*/ 326 h 1486"/>
                  <a:gd name="T96" fmla="*/ 4050 w 7025"/>
                  <a:gd name="T97" fmla="*/ 381 h 1486"/>
                  <a:gd name="T98" fmla="*/ 4641 w 7025"/>
                  <a:gd name="T99" fmla="*/ 452 h 1486"/>
                  <a:gd name="T100" fmla="*/ 4802 w 7025"/>
                  <a:gd name="T101" fmla="*/ 172 h 1486"/>
                  <a:gd name="T102" fmla="*/ 4852 w 7025"/>
                  <a:gd name="T103" fmla="*/ 0 h 1486"/>
                  <a:gd name="T104" fmla="*/ 4852 w 7025"/>
                  <a:gd name="T105" fmla="*/ 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486">
                    <a:moveTo>
                      <a:pt x="2" y="1453"/>
                    </a:moveTo>
                    <a:lnTo>
                      <a:pt x="0" y="1453"/>
                    </a:lnTo>
                    <a:lnTo>
                      <a:pt x="0" y="1453"/>
                    </a:lnTo>
                    <a:lnTo>
                      <a:pt x="0" y="1486"/>
                    </a:lnTo>
                    <a:lnTo>
                      <a:pt x="2" y="1486"/>
                    </a:lnTo>
                    <a:lnTo>
                      <a:pt x="2" y="1453"/>
                    </a:lnTo>
                    <a:close/>
                    <a:moveTo>
                      <a:pt x="5665" y="1325"/>
                    </a:moveTo>
                    <a:lnTo>
                      <a:pt x="5665" y="1325"/>
                    </a:lnTo>
                    <a:lnTo>
                      <a:pt x="5665" y="1328"/>
                    </a:lnTo>
                    <a:lnTo>
                      <a:pt x="5665" y="1401"/>
                    </a:lnTo>
                    <a:lnTo>
                      <a:pt x="5665" y="1401"/>
                    </a:lnTo>
                    <a:lnTo>
                      <a:pt x="5665" y="1325"/>
                    </a:lnTo>
                    <a:close/>
                    <a:moveTo>
                      <a:pt x="3712" y="1221"/>
                    </a:moveTo>
                    <a:lnTo>
                      <a:pt x="3709" y="1221"/>
                    </a:lnTo>
                    <a:lnTo>
                      <a:pt x="3709" y="1224"/>
                    </a:lnTo>
                    <a:lnTo>
                      <a:pt x="3709" y="1269"/>
                    </a:lnTo>
                    <a:lnTo>
                      <a:pt x="3712" y="1269"/>
                    </a:lnTo>
                    <a:lnTo>
                      <a:pt x="3712" y="1221"/>
                    </a:lnTo>
                    <a:close/>
                    <a:moveTo>
                      <a:pt x="5830" y="1207"/>
                    </a:moveTo>
                    <a:lnTo>
                      <a:pt x="5830" y="1207"/>
                    </a:lnTo>
                    <a:lnTo>
                      <a:pt x="5828" y="1207"/>
                    </a:lnTo>
                    <a:lnTo>
                      <a:pt x="5828" y="1209"/>
                    </a:lnTo>
                    <a:lnTo>
                      <a:pt x="5828" y="1278"/>
                    </a:lnTo>
                    <a:lnTo>
                      <a:pt x="5830" y="1278"/>
                    </a:lnTo>
                    <a:lnTo>
                      <a:pt x="5830" y="1207"/>
                    </a:lnTo>
                    <a:close/>
                    <a:moveTo>
                      <a:pt x="1688" y="1131"/>
                    </a:moveTo>
                    <a:lnTo>
                      <a:pt x="1688" y="1131"/>
                    </a:lnTo>
                    <a:lnTo>
                      <a:pt x="1688" y="1134"/>
                    </a:lnTo>
                    <a:lnTo>
                      <a:pt x="1688" y="1134"/>
                    </a:lnTo>
                    <a:lnTo>
                      <a:pt x="1688" y="1134"/>
                    </a:lnTo>
                    <a:lnTo>
                      <a:pt x="1688" y="1131"/>
                    </a:lnTo>
                    <a:lnTo>
                      <a:pt x="1688" y="1131"/>
                    </a:lnTo>
                    <a:lnTo>
                      <a:pt x="1688" y="1131"/>
                    </a:lnTo>
                    <a:close/>
                    <a:moveTo>
                      <a:pt x="5856" y="1127"/>
                    </a:moveTo>
                    <a:lnTo>
                      <a:pt x="5854" y="1127"/>
                    </a:lnTo>
                    <a:lnTo>
                      <a:pt x="5854" y="1129"/>
                    </a:lnTo>
                    <a:lnTo>
                      <a:pt x="5854" y="1183"/>
                    </a:lnTo>
                    <a:lnTo>
                      <a:pt x="5854" y="1183"/>
                    </a:lnTo>
                    <a:lnTo>
                      <a:pt x="5854" y="1181"/>
                    </a:lnTo>
                    <a:lnTo>
                      <a:pt x="5856" y="1181"/>
                    </a:lnTo>
                    <a:lnTo>
                      <a:pt x="5856" y="1127"/>
                    </a:lnTo>
                    <a:close/>
                    <a:moveTo>
                      <a:pt x="6322" y="1127"/>
                    </a:moveTo>
                    <a:lnTo>
                      <a:pt x="6322" y="1127"/>
                    </a:lnTo>
                    <a:lnTo>
                      <a:pt x="6320" y="1127"/>
                    </a:lnTo>
                    <a:lnTo>
                      <a:pt x="6320" y="1129"/>
                    </a:lnTo>
                    <a:lnTo>
                      <a:pt x="6320" y="1162"/>
                    </a:lnTo>
                    <a:lnTo>
                      <a:pt x="6322" y="1162"/>
                    </a:lnTo>
                    <a:lnTo>
                      <a:pt x="6322" y="1127"/>
                    </a:lnTo>
                    <a:close/>
                    <a:moveTo>
                      <a:pt x="1447" y="1124"/>
                    </a:moveTo>
                    <a:lnTo>
                      <a:pt x="1444" y="1124"/>
                    </a:lnTo>
                    <a:lnTo>
                      <a:pt x="1444" y="1124"/>
                    </a:lnTo>
                    <a:lnTo>
                      <a:pt x="1444" y="1127"/>
                    </a:lnTo>
                    <a:lnTo>
                      <a:pt x="1444" y="1153"/>
                    </a:lnTo>
                    <a:lnTo>
                      <a:pt x="1447" y="1153"/>
                    </a:lnTo>
                    <a:lnTo>
                      <a:pt x="1447" y="1124"/>
                    </a:lnTo>
                    <a:close/>
                    <a:moveTo>
                      <a:pt x="1463" y="1084"/>
                    </a:moveTo>
                    <a:lnTo>
                      <a:pt x="1461" y="1084"/>
                    </a:lnTo>
                    <a:lnTo>
                      <a:pt x="1461" y="1084"/>
                    </a:lnTo>
                    <a:lnTo>
                      <a:pt x="1461" y="1108"/>
                    </a:lnTo>
                    <a:lnTo>
                      <a:pt x="1463" y="1108"/>
                    </a:lnTo>
                    <a:lnTo>
                      <a:pt x="1463" y="1105"/>
                    </a:lnTo>
                    <a:lnTo>
                      <a:pt x="1463" y="1105"/>
                    </a:lnTo>
                    <a:lnTo>
                      <a:pt x="1463" y="1084"/>
                    </a:lnTo>
                    <a:close/>
                    <a:moveTo>
                      <a:pt x="2861" y="1063"/>
                    </a:moveTo>
                    <a:lnTo>
                      <a:pt x="2858" y="1063"/>
                    </a:lnTo>
                    <a:lnTo>
                      <a:pt x="2858" y="1063"/>
                    </a:lnTo>
                    <a:lnTo>
                      <a:pt x="2858" y="1063"/>
                    </a:lnTo>
                    <a:lnTo>
                      <a:pt x="2858" y="1193"/>
                    </a:lnTo>
                    <a:lnTo>
                      <a:pt x="2861" y="1193"/>
                    </a:lnTo>
                    <a:lnTo>
                      <a:pt x="2861" y="1063"/>
                    </a:lnTo>
                    <a:close/>
                    <a:moveTo>
                      <a:pt x="5932" y="1041"/>
                    </a:moveTo>
                    <a:lnTo>
                      <a:pt x="5930" y="1041"/>
                    </a:lnTo>
                    <a:lnTo>
                      <a:pt x="5930" y="1041"/>
                    </a:lnTo>
                    <a:lnTo>
                      <a:pt x="5930" y="1044"/>
                    </a:lnTo>
                    <a:lnTo>
                      <a:pt x="5930" y="1082"/>
                    </a:lnTo>
                    <a:lnTo>
                      <a:pt x="5932" y="1082"/>
                    </a:lnTo>
                    <a:lnTo>
                      <a:pt x="5932" y="1041"/>
                    </a:lnTo>
                    <a:close/>
                    <a:moveTo>
                      <a:pt x="2877" y="1011"/>
                    </a:moveTo>
                    <a:lnTo>
                      <a:pt x="2875" y="1013"/>
                    </a:lnTo>
                    <a:lnTo>
                      <a:pt x="2875" y="1013"/>
                    </a:lnTo>
                    <a:lnTo>
                      <a:pt x="2875" y="1046"/>
                    </a:lnTo>
                    <a:lnTo>
                      <a:pt x="2877" y="1046"/>
                    </a:lnTo>
                    <a:lnTo>
                      <a:pt x="2877" y="1044"/>
                    </a:lnTo>
                    <a:lnTo>
                      <a:pt x="2877" y="1044"/>
                    </a:lnTo>
                    <a:lnTo>
                      <a:pt x="2877" y="1011"/>
                    </a:lnTo>
                    <a:close/>
                    <a:moveTo>
                      <a:pt x="3771" y="992"/>
                    </a:moveTo>
                    <a:lnTo>
                      <a:pt x="3769" y="992"/>
                    </a:lnTo>
                    <a:lnTo>
                      <a:pt x="3769" y="994"/>
                    </a:lnTo>
                    <a:lnTo>
                      <a:pt x="3769" y="1176"/>
                    </a:lnTo>
                    <a:lnTo>
                      <a:pt x="3771" y="1176"/>
                    </a:lnTo>
                    <a:lnTo>
                      <a:pt x="3771" y="992"/>
                    </a:lnTo>
                    <a:close/>
                    <a:moveTo>
                      <a:pt x="5949" y="989"/>
                    </a:moveTo>
                    <a:lnTo>
                      <a:pt x="5946" y="989"/>
                    </a:lnTo>
                    <a:lnTo>
                      <a:pt x="5946" y="992"/>
                    </a:lnTo>
                    <a:lnTo>
                      <a:pt x="5946" y="1025"/>
                    </a:lnTo>
                    <a:lnTo>
                      <a:pt x="5949" y="1025"/>
                    </a:lnTo>
                    <a:lnTo>
                      <a:pt x="5949" y="1022"/>
                    </a:lnTo>
                    <a:lnTo>
                      <a:pt x="5949" y="1022"/>
                    </a:lnTo>
                    <a:lnTo>
                      <a:pt x="5949" y="989"/>
                    </a:lnTo>
                    <a:close/>
                    <a:moveTo>
                      <a:pt x="6339" y="935"/>
                    </a:moveTo>
                    <a:lnTo>
                      <a:pt x="6339" y="935"/>
                    </a:lnTo>
                    <a:lnTo>
                      <a:pt x="6339" y="935"/>
                    </a:lnTo>
                    <a:lnTo>
                      <a:pt x="6339" y="937"/>
                    </a:lnTo>
                    <a:lnTo>
                      <a:pt x="6339" y="1110"/>
                    </a:lnTo>
                    <a:lnTo>
                      <a:pt x="6339" y="1110"/>
                    </a:lnTo>
                    <a:lnTo>
                      <a:pt x="6339" y="1108"/>
                    </a:lnTo>
                    <a:lnTo>
                      <a:pt x="6339" y="1108"/>
                    </a:lnTo>
                    <a:lnTo>
                      <a:pt x="6339" y="935"/>
                    </a:lnTo>
                    <a:close/>
                    <a:moveTo>
                      <a:pt x="3844" y="928"/>
                    </a:moveTo>
                    <a:lnTo>
                      <a:pt x="3844" y="928"/>
                    </a:lnTo>
                    <a:lnTo>
                      <a:pt x="3844" y="930"/>
                    </a:lnTo>
                    <a:lnTo>
                      <a:pt x="3844" y="947"/>
                    </a:lnTo>
                    <a:lnTo>
                      <a:pt x="3844" y="947"/>
                    </a:lnTo>
                    <a:lnTo>
                      <a:pt x="3844" y="928"/>
                    </a:lnTo>
                    <a:close/>
                    <a:moveTo>
                      <a:pt x="6391" y="878"/>
                    </a:moveTo>
                    <a:lnTo>
                      <a:pt x="6388" y="878"/>
                    </a:lnTo>
                    <a:lnTo>
                      <a:pt x="6388" y="878"/>
                    </a:lnTo>
                    <a:lnTo>
                      <a:pt x="6388" y="880"/>
                    </a:lnTo>
                    <a:lnTo>
                      <a:pt x="6388" y="887"/>
                    </a:lnTo>
                    <a:lnTo>
                      <a:pt x="6388" y="887"/>
                    </a:lnTo>
                    <a:lnTo>
                      <a:pt x="6388" y="887"/>
                    </a:lnTo>
                    <a:lnTo>
                      <a:pt x="6391" y="887"/>
                    </a:lnTo>
                    <a:lnTo>
                      <a:pt x="6391" y="878"/>
                    </a:lnTo>
                    <a:close/>
                    <a:moveTo>
                      <a:pt x="6398" y="850"/>
                    </a:moveTo>
                    <a:lnTo>
                      <a:pt x="6396" y="850"/>
                    </a:lnTo>
                    <a:lnTo>
                      <a:pt x="6396" y="852"/>
                    </a:lnTo>
                    <a:lnTo>
                      <a:pt x="6396" y="871"/>
                    </a:lnTo>
                    <a:lnTo>
                      <a:pt x="6398" y="871"/>
                    </a:lnTo>
                    <a:lnTo>
                      <a:pt x="6398" y="869"/>
                    </a:lnTo>
                    <a:lnTo>
                      <a:pt x="6398" y="869"/>
                    </a:lnTo>
                    <a:lnTo>
                      <a:pt x="6398" y="850"/>
                    </a:lnTo>
                    <a:close/>
                    <a:moveTo>
                      <a:pt x="3099" y="762"/>
                    </a:moveTo>
                    <a:lnTo>
                      <a:pt x="3099" y="762"/>
                    </a:lnTo>
                    <a:lnTo>
                      <a:pt x="3099" y="762"/>
                    </a:lnTo>
                    <a:lnTo>
                      <a:pt x="3099" y="764"/>
                    </a:lnTo>
                    <a:lnTo>
                      <a:pt x="3099" y="932"/>
                    </a:lnTo>
                    <a:lnTo>
                      <a:pt x="3099" y="932"/>
                    </a:lnTo>
                    <a:lnTo>
                      <a:pt x="3099" y="762"/>
                    </a:lnTo>
                    <a:close/>
                    <a:moveTo>
                      <a:pt x="1009" y="753"/>
                    </a:moveTo>
                    <a:lnTo>
                      <a:pt x="1007" y="753"/>
                    </a:lnTo>
                    <a:lnTo>
                      <a:pt x="1007" y="755"/>
                    </a:lnTo>
                    <a:lnTo>
                      <a:pt x="1007" y="781"/>
                    </a:lnTo>
                    <a:lnTo>
                      <a:pt x="1009" y="781"/>
                    </a:lnTo>
                    <a:lnTo>
                      <a:pt x="1009" y="753"/>
                    </a:lnTo>
                    <a:close/>
                    <a:moveTo>
                      <a:pt x="5133" y="731"/>
                    </a:moveTo>
                    <a:lnTo>
                      <a:pt x="5131" y="731"/>
                    </a:lnTo>
                    <a:lnTo>
                      <a:pt x="5131" y="734"/>
                    </a:lnTo>
                    <a:lnTo>
                      <a:pt x="5131" y="925"/>
                    </a:lnTo>
                    <a:lnTo>
                      <a:pt x="5133" y="925"/>
                    </a:lnTo>
                    <a:lnTo>
                      <a:pt x="5133" y="731"/>
                    </a:lnTo>
                    <a:close/>
                    <a:moveTo>
                      <a:pt x="3140" y="655"/>
                    </a:moveTo>
                    <a:lnTo>
                      <a:pt x="3137" y="655"/>
                    </a:lnTo>
                    <a:lnTo>
                      <a:pt x="3137" y="658"/>
                    </a:lnTo>
                    <a:lnTo>
                      <a:pt x="3137" y="724"/>
                    </a:lnTo>
                    <a:lnTo>
                      <a:pt x="3137" y="724"/>
                    </a:lnTo>
                    <a:lnTo>
                      <a:pt x="3137" y="724"/>
                    </a:lnTo>
                    <a:lnTo>
                      <a:pt x="3140" y="724"/>
                    </a:lnTo>
                    <a:lnTo>
                      <a:pt x="3140" y="655"/>
                    </a:lnTo>
                    <a:close/>
                    <a:moveTo>
                      <a:pt x="96" y="615"/>
                    </a:moveTo>
                    <a:lnTo>
                      <a:pt x="94" y="615"/>
                    </a:lnTo>
                    <a:lnTo>
                      <a:pt x="94" y="618"/>
                    </a:lnTo>
                    <a:lnTo>
                      <a:pt x="94" y="1406"/>
                    </a:lnTo>
                    <a:lnTo>
                      <a:pt x="96" y="1406"/>
                    </a:lnTo>
                    <a:lnTo>
                      <a:pt x="96" y="615"/>
                    </a:lnTo>
                    <a:close/>
                    <a:moveTo>
                      <a:pt x="5253" y="608"/>
                    </a:moveTo>
                    <a:lnTo>
                      <a:pt x="5251" y="608"/>
                    </a:lnTo>
                    <a:lnTo>
                      <a:pt x="5251" y="610"/>
                    </a:lnTo>
                    <a:lnTo>
                      <a:pt x="5251" y="684"/>
                    </a:lnTo>
                    <a:lnTo>
                      <a:pt x="5253" y="684"/>
                    </a:lnTo>
                    <a:lnTo>
                      <a:pt x="5253" y="608"/>
                    </a:lnTo>
                    <a:close/>
                    <a:moveTo>
                      <a:pt x="3284" y="582"/>
                    </a:moveTo>
                    <a:lnTo>
                      <a:pt x="3281" y="582"/>
                    </a:lnTo>
                    <a:lnTo>
                      <a:pt x="3281" y="582"/>
                    </a:lnTo>
                    <a:lnTo>
                      <a:pt x="3281" y="582"/>
                    </a:lnTo>
                    <a:lnTo>
                      <a:pt x="3281" y="610"/>
                    </a:lnTo>
                    <a:lnTo>
                      <a:pt x="3284" y="610"/>
                    </a:lnTo>
                    <a:lnTo>
                      <a:pt x="3284" y="582"/>
                    </a:lnTo>
                    <a:close/>
                    <a:moveTo>
                      <a:pt x="302" y="547"/>
                    </a:moveTo>
                    <a:lnTo>
                      <a:pt x="300" y="547"/>
                    </a:lnTo>
                    <a:lnTo>
                      <a:pt x="300" y="549"/>
                    </a:lnTo>
                    <a:lnTo>
                      <a:pt x="300" y="570"/>
                    </a:lnTo>
                    <a:lnTo>
                      <a:pt x="302" y="570"/>
                    </a:lnTo>
                    <a:lnTo>
                      <a:pt x="302" y="547"/>
                    </a:lnTo>
                    <a:close/>
                    <a:moveTo>
                      <a:pt x="7025" y="509"/>
                    </a:moveTo>
                    <a:lnTo>
                      <a:pt x="7025" y="509"/>
                    </a:lnTo>
                    <a:lnTo>
                      <a:pt x="7025" y="511"/>
                    </a:lnTo>
                    <a:lnTo>
                      <a:pt x="7025" y="1046"/>
                    </a:lnTo>
                    <a:lnTo>
                      <a:pt x="7025" y="1046"/>
                    </a:lnTo>
                    <a:lnTo>
                      <a:pt x="7025" y="509"/>
                    </a:lnTo>
                    <a:close/>
                    <a:moveTo>
                      <a:pt x="4194" y="502"/>
                    </a:moveTo>
                    <a:lnTo>
                      <a:pt x="4192" y="502"/>
                    </a:lnTo>
                    <a:lnTo>
                      <a:pt x="4192" y="504"/>
                    </a:lnTo>
                    <a:lnTo>
                      <a:pt x="4161" y="544"/>
                    </a:lnTo>
                    <a:lnTo>
                      <a:pt x="4161" y="547"/>
                    </a:lnTo>
                    <a:lnTo>
                      <a:pt x="4194" y="502"/>
                    </a:lnTo>
                    <a:close/>
                    <a:moveTo>
                      <a:pt x="3300" y="502"/>
                    </a:moveTo>
                    <a:lnTo>
                      <a:pt x="3298" y="502"/>
                    </a:lnTo>
                    <a:lnTo>
                      <a:pt x="3298" y="502"/>
                    </a:lnTo>
                    <a:lnTo>
                      <a:pt x="3298" y="502"/>
                    </a:lnTo>
                    <a:lnTo>
                      <a:pt x="3298" y="565"/>
                    </a:lnTo>
                    <a:lnTo>
                      <a:pt x="3300" y="565"/>
                    </a:lnTo>
                    <a:lnTo>
                      <a:pt x="3300" y="563"/>
                    </a:lnTo>
                    <a:lnTo>
                      <a:pt x="3300" y="563"/>
                    </a:lnTo>
                    <a:lnTo>
                      <a:pt x="3300" y="502"/>
                    </a:lnTo>
                    <a:close/>
                    <a:moveTo>
                      <a:pt x="4036" y="454"/>
                    </a:moveTo>
                    <a:lnTo>
                      <a:pt x="4036" y="454"/>
                    </a:lnTo>
                    <a:lnTo>
                      <a:pt x="4036" y="454"/>
                    </a:lnTo>
                    <a:lnTo>
                      <a:pt x="4036" y="457"/>
                    </a:lnTo>
                    <a:lnTo>
                      <a:pt x="4036" y="490"/>
                    </a:lnTo>
                    <a:lnTo>
                      <a:pt x="3953" y="644"/>
                    </a:lnTo>
                    <a:lnTo>
                      <a:pt x="3953" y="880"/>
                    </a:lnTo>
                    <a:lnTo>
                      <a:pt x="3955" y="880"/>
                    </a:lnTo>
                    <a:lnTo>
                      <a:pt x="3955" y="641"/>
                    </a:lnTo>
                    <a:lnTo>
                      <a:pt x="4036" y="487"/>
                    </a:lnTo>
                    <a:lnTo>
                      <a:pt x="4036" y="454"/>
                    </a:lnTo>
                    <a:close/>
                    <a:moveTo>
                      <a:pt x="3329" y="433"/>
                    </a:moveTo>
                    <a:lnTo>
                      <a:pt x="3326" y="433"/>
                    </a:lnTo>
                    <a:lnTo>
                      <a:pt x="3326" y="435"/>
                    </a:lnTo>
                    <a:lnTo>
                      <a:pt x="3326" y="473"/>
                    </a:lnTo>
                    <a:lnTo>
                      <a:pt x="3329" y="473"/>
                    </a:lnTo>
                    <a:lnTo>
                      <a:pt x="3329" y="471"/>
                    </a:lnTo>
                    <a:lnTo>
                      <a:pt x="3329" y="471"/>
                    </a:lnTo>
                    <a:lnTo>
                      <a:pt x="3329" y="433"/>
                    </a:lnTo>
                    <a:close/>
                    <a:moveTo>
                      <a:pt x="4043" y="390"/>
                    </a:moveTo>
                    <a:lnTo>
                      <a:pt x="4040" y="390"/>
                    </a:lnTo>
                    <a:lnTo>
                      <a:pt x="4040" y="390"/>
                    </a:lnTo>
                    <a:lnTo>
                      <a:pt x="4040" y="393"/>
                    </a:lnTo>
                    <a:lnTo>
                      <a:pt x="4040" y="447"/>
                    </a:lnTo>
                    <a:lnTo>
                      <a:pt x="4043" y="447"/>
                    </a:lnTo>
                    <a:lnTo>
                      <a:pt x="4043" y="447"/>
                    </a:lnTo>
                    <a:lnTo>
                      <a:pt x="4043" y="447"/>
                    </a:lnTo>
                    <a:lnTo>
                      <a:pt x="4043" y="390"/>
                    </a:lnTo>
                    <a:close/>
                    <a:moveTo>
                      <a:pt x="1811" y="369"/>
                    </a:moveTo>
                    <a:lnTo>
                      <a:pt x="1808" y="369"/>
                    </a:lnTo>
                    <a:lnTo>
                      <a:pt x="1808" y="369"/>
                    </a:lnTo>
                    <a:lnTo>
                      <a:pt x="1808" y="1084"/>
                    </a:lnTo>
                    <a:lnTo>
                      <a:pt x="1811" y="1084"/>
                    </a:lnTo>
                    <a:lnTo>
                      <a:pt x="1811" y="369"/>
                    </a:lnTo>
                    <a:close/>
                    <a:moveTo>
                      <a:pt x="4050" y="326"/>
                    </a:moveTo>
                    <a:lnTo>
                      <a:pt x="4048" y="326"/>
                    </a:lnTo>
                    <a:lnTo>
                      <a:pt x="4048" y="329"/>
                    </a:lnTo>
                    <a:lnTo>
                      <a:pt x="4048" y="383"/>
                    </a:lnTo>
                    <a:lnTo>
                      <a:pt x="4050" y="383"/>
                    </a:lnTo>
                    <a:lnTo>
                      <a:pt x="4050" y="381"/>
                    </a:lnTo>
                    <a:lnTo>
                      <a:pt x="4050" y="381"/>
                    </a:lnTo>
                    <a:lnTo>
                      <a:pt x="4050" y="326"/>
                    </a:lnTo>
                    <a:close/>
                    <a:moveTo>
                      <a:pt x="4703" y="232"/>
                    </a:moveTo>
                    <a:lnTo>
                      <a:pt x="4703" y="232"/>
                    </a:lnTo>
                    <a:lnTo>
                      <a:pt x="4703" y="234"/>
                    </a:lnTo>
                    <a:lnTo>
                      <a:pt x="4641" y="452"/>
                    </a:lnTo>
                    <a:lnTo>
                      <a:pt x="4643" y="452"/>
                    </a:lnTo>
                    <a:lnTo>
                      <a:pt x="4703" y="232"/>
                    </a:lnTo>
                    <a:close/>
                    <a:moveTo>
                      <a:pt x="4804" y="172"/>
                    </a:moveTo>
                    <a:lnTo>
                      <a:pt x="4802" y="172"/>
                    </a:lnTo>
                    <a:lnTo>
                      <a:pt x="4802" y="172"/>
                    </a:lnTo>
                    <a:lnTo>
                      <a:pt x="4802" y="172"/>
                    </a:lnTo>
                    <a:lnTo>
                      <a:pt x="4802" y="184"/>
                    </a:lnTo>
                    <a:lnTo>
                      <a:pt x="4804" y="184"/>
                    </a:lnTo>
                    <a:lnTo>
                      <a:pt x="4804" y="172"/>
                    </a:lnTo>
                    <a:close/>
                    <a:moveTo>
                      <a:pt x="4852" y="0"/>
                    </a:moveTo>
                    <a:lnTo>
                      <a:pt x="4852" y="0"/>
                    </a:lnTo>
                    <a:lnTo>
                      <a:pt x="4852" y="2"/>
                    </a:lnTo>
                    <a:lnTo>
                      <a:pt x="4852" y="125"/>
                    </a:lnTo>
                    <a:lnTo>
                      <a:pt x="4852" y="125"/>
                    </a:lnTo>
                    <a:lnTo>
                      <a:pt x="4852"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0" name="Freeform 95"/>
              <p:cNvSpPr>
                <a:spLocks noEditPoints="1"/>
              </p:cNvSpPr>
              <p:nvPr/>
            </p:nvSpPr>
            <p:spPr bwMode="auto">
              <a:xfrm>
                <a:off x="0" y="1708"/>
                <a:ext cx="7025" cy="1486"/>
              </a:xfrm>
              <a:custGeom>
                <a:avLst/>
                <a:gdLst>
                  <a:gd name="T0" fmla="*/ 2 w 7025"/>
                  <a:gd name="T1" fmla="*/ 1486 h 1486"/>
                  <a:gd name="T2" fmla="*/ 5665 w 7025"/>
                  <a:gd name="T3" fmla="*/ 1401 h 1486"/>
                  <a:gd name="T4" fmla="*/ 3709 w 7025"/>
                  <a:gd name="T5" fmla="*/ 1224 h 1486"/>
                  <a:gd name="T6" fmla="*/ 5830 w 7025"/>
                  <a:gd name="T7" fmla="*/ 1207 h 1486"/>
                  <a:gd name="T8" fmla="*/ 5830 w 7025"/>
                  <a:gd name="T9" fmla="*/ 1207 h 1486"/>
                  <a:gd name="T10" fmla="*/ 1688 w 7025"/>
                  <a:gd name="T11" fmla="*/ 1134 h 1486"/>
                  <a:gd name="T12" fmla="*/ 5854 w 7025"/>
                  <a:gd name="T13" fmla="*/ 1127 h 1486"/>
                  <a:gd name="T14" fmla="*/ 5856 w 7025"/>
                  <a:gd name="T15" fmla="*/ 1181 h 1486"/>
                  <a:gd name="T16" fmla="*/ 6320 w 7025"/>
                  <a:gd name="T17" fmla="*/ 1129 h 1486"/>
                  <a:gd name="T18" fmla="*/ 1444 w 7025"/>
                  <a:gd name="T19" fmla="*/ 1124 h 1486"/>
                  <a:gd name="T20" fmla="*/ 1447 w 7025"/>
                  <a:gd name="T21" fmla="*/ 1124 h 1486"/>
                  <a:gd name="T22" fmla="*/ 1463 w 7025"/>
                  <a:gd name="T23" fmla="*/ 1108 h 1486"/>
                  <a:gd name="T24" fmla="*/ 2858 w 7025"/>
                  <a:gd name="T25" fmla="*/ 1063 h 1486"/>
                  <a:gd name="T26" fmla="*/ 2861 w 7025"/>
                  <a:gd name="T27" fmla="*/ 1063 h 1486"/>
                  <a:gd name="T28" fmla="*/ 5930 w 7025"/>
                  <a:gd name="T29" fmla="*/ 1082 h 1486"/>
                  <a:gd name="T30" fmla="*/ 2875 w 7025"/>
                  <a:gd name="T31" fmla="*/ 1013 h 1486"/>
                  <a:gd name="T32" fmla="*/ 2877 w 7025"/>
                  <a:gd name="T33" fmla="*/ 1011 h 1486"/>
                  <a:gd name="T34" fmla="*/ 3771 w 7025"/>
                  <a:gd name="T35" fmla="*/ 1176 h 1486"/>
                  <a:gd name="T36" fmla="*/ 5946 w 7025"/>
                  <a:gd name="T37" fmla="*/ 1025 h 1486"/>
                  <a:gd name="T38" fmla="*/ 6339 w 7025"/>
                  <a:gd name="T39" fmla="*/ 935 h 1486"/>
                  <a:gd name="T40" fmla="*/ 6339 w 7025"/>
                  <a:gd name="T41" fmla="*/ 1110 h 1486"/>
                  <a:gd name="T42" fmla="*/ 3844 w 7025"/>
                  <a:gd name="T43" fmla="*/ 928 h 1486"/>
                  <a:gd name="T44" fmla="*/ 6391 w 7025"/>
                  <a:gd name="T45" fmla="*/ 878 h 1486"/>
                  <a:gd name="T46" fmla="*/ 6388 w 7025"/>
                  <a:gd name="T47" fmla="*/ 887 h 1486"/>
                  <a:gd name="T48" fmla="*/ 6396 w 7025"/>
                  <a:gd name="T49" fmla="*/ 850 h 1486"/>
                  <a:gd name="T50" fmla="*/ 6398 w 7025"/>
                  <a:gd name="T51" fmla="*/ 869 h 1486"/>
                  <a:gd name="T52" fmla="*/ 3099 w 7025"/>
                  <a:gd name="T53" fmla="*/ 764 h 1486"/>
                  <a:gd name="T54" fmla="*/ 1007 w 7025"/>
                  <a:gd name="T55" fmla="*/ 753 h 1486"/>
                  <a:gd name="T56" fmla="*/ 5133 w 7025"/>
                  <a:gd name="T57" fmla="*/ 731 h 1486"/>
                  <a:gd name="T58" fmla="*/ 5133 w 7025"/>
                  <a:gd name="T59" fmla="*/ 731 h 1486"/>
                  <a:gd name="T60" fmla="*/ 3137 w 7025"/>
                  <a:gd name="T61" fmla="*/ 724 h 1486"/>
                  <a:gd name="T62" fmla="*/ 94 w 7025"/>
                  <a:gd name="T63" fmla="*/ 615 h 1486"/>
                  <a:gd name="T64" fmla="*/ 5253 w 7025"/>
                  <a:gd name="T65" fmla="*/ 608 h 1486"/>
                  <a:gd name="T66" fmla="*/ 5253 w 7025"/>
                  <a:gd name="T67" fmla="*/ 608 h 1486"/>
                  <a:gd name="T68" fmla="*/ 3281 w 7025"/>
                  <a:gd name="T69" fmla="*/ 610 h 1486"/>
                  <a:gd name="T70" fmla="*/ 300 w 7025"/>
                  <a:gd name="T71" fmla="*/ 549 h 1486"/>
                  <a:gd name="T72" fmla="*/ 7025 w 7025"/>
                  <a:gd name="T73" fmla="*/ 509 h 1486"/>
                  <a:gd name="T74" fmla="*/ 4194 w 7025"/>
                  <a:gd name="T75" fmla="*/ 502 h 1486"/>
                  <a:gd name="T76" fmla="*/ 4194 w 7025"/>
                  <a:gd name="T77" fmla="*/ 502 h 1486"/>
                  <a:gd name="T78" fmla="*/ 3298 w 7025"/>
                  <a:gd name="T79" fmla="*/ 565 h 1486"/>
                  <a:gd name="T80" fmla="*/ 4036 w 7025"/>
                  <a:gd name="T81" fmla="*/ 454 h 1486"/>
                  <a:gd name="T82" fmla="*/ 3953 w 7025"/>
                  <a:gd name="T83" fmla="*/ 644 h 1486"/>
                  <a:gd name="T84" fmla="*/ 4036 w 7025"/>
                  <a:gd name="T85" fmla="*/ 454 h 1486"/>
                  <a:gd name="T86" fmla="*/ 3329 w 7025"/>
                  <a:gd name="T87" fmla="*/ 473 h 1486"/>
                  <a:gd name="T88" fmla="*/ 4040 w 7025"/>
                  <a:gd name="T89" fmla="*/ 390 h 1486"/>
                  <a:gd name="T90" fmla="*/ 4043 w 7025"/>
                  <a:gd name="T91" fmla="*/ 447 h 1486"/>
                  <a:gd name="T92" fmla="*/ 1808 w 7025"/>
                  <a:gd name="T93" fmla="*/ 369 h 1486"/>
                  <a:gd name="T94" fmla="*/ 4048 w 7025"/>
                  <a:gd name="T95" fmla="*/ 326 h 1486"/>
                  <a:gd name="T96" fmla="*/ 4050 w 7025"/>
                  <a:gd name="T97" fmla="*/ 381 h 1486"/>
                  <a:gd name="T98" fmla="*/ 4641 w 7025"/>
                  <a:gd name="T99" fmla="*/ 452 h 1486"/>
                  <a:gd name="T100" fmla="*/ 4802 w 7025"/>
                  <a:gd name="T101" fmla="*/ 172 h 1486"/>
                  <a:gd name="T102" fmla="*/ 4852 w 7025"/>
                  <a:gd name="T103" fmla="*/ 0 h 1486"/>
                  <a:gd name="T104" fmla="*/ 4852 w 7025"/>
                  <a:gd name="T105" fmla="*/ 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486">
                    <a:moveTo>
                      <a:pt x="2" y="1453"/>
                    </a:moveTo>
                    <a:lnTo>
                      <a:pt x="0" y="1453"/>
                    </a:lnTo>
                    <a:lnTo>
                      <a:pt x="0" y="1453"/>
                    </a:lnTo>
                    <a:lnTo>
                      <a:pt x="0" y="1486"/>
                    </a:lnTo>
                    <a:lnTo>
                      <a:pt x="2" y="1486"/>
                    </a:lnTo>
                    <a:lnTo>
                      <a:pt x="2" y="1453"/>
                    </a:lnTo>
                    <a:moveTo>
                      <a:pt x="5665" y="1325"/>
                    </a:moveTo>
                    <a:lnTo>
                      <a:pt x="5665" y="1325"/>
                    </a:lnTo>
                    <a:lnTo>
                      <a:pt x="5665" y="1328"/>
                    </a:lnTo>
                    <a:lnTo>
                      <a:pt x="5665" y="1401"/>
                    </a:lnTo>
                    <a:lnTo>
                      <a:pt x="5665" y="1401"/>
                    </a:lnTo>
                    <a:lnTo>
                      <a:pt x="5665" y="1325"/>
                    </a:lnTo>
                    <a:moveTo>
                      <a:pt x="3712" y="1221"/>
                    </a:moveTo>
                    <a:lnTo>
                      <a:pt x="3709" y="1221"/>
                    </a:lnTo>
                    <a:lnTo>
                      <a:pt x="3709" y="1224"/>
                    </a:lnTo>
                    <a:lnTo>
                      <a:pt x="3709" y="1269"/>
                    </a:lnTo>
                    <a:lnTo>
                      <a:pt x="3712" y="1269"/>
                    </a:lnTo>
                    <a:lnTo>
                      <a:pt x="3712" y="1221"/>
                    </a:lnTo>
                    <a:moveTo>
                      <a:pt x="5830" y="1207"/>
                    </a:moveTo>
                    <a:lnTo>
                      <a:pt x="5830" y="1207"/>
                    </a:lnTo>
                    <a:lnTo>
                      <a:pt x="5828" y="1207"/>
                    </a:lnTo>
                    <a:lnTo>
                      <a:pt x="5828" y="1209"/>
                    </a:lnTo>
                    <a:lnTo>
                      <a:pt x="5828" y="1278"/>
                    </a:lnTo>
                    <a:lnTo>
                      <a:pt x="5830" y="1278"/>
                    </a:lnTo>
                    <a:lnTo>
                      <a:pt x="5830" y="1207"/>
                    </a:lnTo>
                    <a:moveTo>
                      <a:pt x="1688" y="1131"/>
                    </a:moveTo>
                    <a:lnTo>
                      <a:pt x="1688" y="1131"/>
                    </a:lnTo>
                    <a:lnTo>
                      <a:pt x="1688" y="1134"/>
                    </a:lnTo>
                    <a:lnTo>
                      <a:pt x="1688" y="1134"/>
                    </a:lnTo>
                    <a:lnTo>
                      <a:pt x="1688" y="1134"/>
                    </a:lnTo>
                    <a:lnTo>
                      <a:pt x="1688" y="1131"/>
                    </a:lnTo>
                    <a:lnTo>
                      <a:pt x="1688" y="1131"/>
                    </a:lnTo>
                    <a:lnTo>
                      <a:pt x="1688" y="1131"/>
                    </a:lnTo>
                    <a:moveTo>
                      <a:pt x="5856" y="1127"/>
                    </a:moveTo>
                    <a:lnTo>
                      <a:pt x="5854" y="1127"/>
                    </a:lnTo>
                    <a:lnTo>
                      <a:pt x="5854" y="1129"/>
                    </a:lnTo>
                    <a:lnTo>
                      <a:pt x="5854" y="1183"/>
                    </a:lnTo>
                    <a:lnTo>
                      <a:pt x="5854" y="1183"/>
                    </a:lnTo>
                    <a:lnTo>
                      <a:pt x="5854" y="1181"/>
                    </a:lnTo>
                    <a:lnTo>
                      <a:pt x="5856" y="1181"/>
                    </a:lnTo>
                    <a:lnTo>
                      <a:pt x="5856" y="1127"/>
                    </a:lnTo>
                    <a:moveTo>
                      <a:pt x="6322" y="1127"/>
                    </a:moveTo>
                    <a:lnTo>
                      <a:pt x="6322" y="1127"/>
                    </a:lnTo>
                    <a:lnTo>
                      <a:pt x="6320" y="1127"/>
                    </a:lnTo>
                    <a:lnTo>
                      <a:pt x="6320" y="1129"/>
                    </a:lnTo>
                    <a:lnTo>
                      <a:pt x="6320" y="1162"/>
                    </a:lnTo>
                    <a:lnTo>
                      <a:pt x="6322" y="1162"/>
                    </a:lnTo>
                    <a:lnTo>
                      <a:pt x="6322" y="1127"/>
                    </a:lnTo>
                    <a:moveTo>
                      <a:pt x="1447" y="1124"/>
                    </a:moveTo>
                    <a:lnTo>
                      <a:pt x="1444" y="1124"/>
                    </a:lnTo>
                    <a:lnTo>
                      <a:pt x="1444" y="1124"/>
                    </a:lnTo>
                    <a:lnTo>
                      <a:pt x="1444" y="1127"/>
                    </a:lnTo>
                    <a:lnTo>
                      <a:pt x="1444" y="1153"/>
                    </a:lnTo>
                    <a:lnTo>
                      <a:pt x="1447" y="1153"/>
                    </a:lnTo>
                    <a:lnTo>
                      <a:pt x="1447" y="1124"/>
                    </a:lnTo>
                    <a:moveTo>
                      <a:pt x="1463" y="1084"/>
                    </a:moveTo>
                    <a:lnTo>
                      <a:pt x="1461" y="1084"/>
                    </a:lnTo>
                    <a:lnTo>
                      <a:pt x="1461" y="1084"/>
                    </a:lnTo>
                    <a:lnTo>
                      <a:pt x="1461" y="1108"/>
                    </a:lnTo>
                    <a:lnTo>
                      <a:pt x="1463" y="1108"/>
                    </a:lnTo>
                    <a:lnTo>
                      <a:pt x="1463" y="1105"/>
                    </a:lnTo>
                    <a:lnTo>
                      <a:pt x="1463" y="1105"/>
                    </a:lnTo>
                    <a:lnTo>
                      <a:pt x="1463" y="1084"/>
                    </a:lnTo>
                    <a:moveTo>
                      <a:pt x="2861" y="1063"/>
                    </a:moveTo>
                    <a:lnTo>
                      <a:pt x="2858" y="1063"/>
                    </a:lnTo>
                    <a:lnTo>
                      <a:pt x="2858" y="1063"/>
                    </a:lnTo>
                    <a:lnTo>
                      <a:pt x="2858" y="1063"/>
                    </a:lnTo>
                    <a:lnTo>
                      <a:pt x="2858" y="1193"/>
                    </a:lnTo>
                    <a:lnTo>
                      <a:pt x="2861" y="1193"/>
                    </a:lnTo>
                    <a:lnTo>
                      <a:pt x="2861" y="1063"/>
                    </a:lnTo>
                    <a:moveTo>
                      <a:pt x="5932" y="1041"/>
                    </a:moveTo>
                    <a:lnTo>
                      <a:pt x="5930" y="1041"/>
                    </a:lnTo>
                    <a:lnTo>
                      <a:pt x="5930" y="1041"/>
                    </a:lnTo>
                    <a:lnTo>
                      <a:pt x="5930" y="1044"/>
                    </a:lnTo>
                    <a:lnTo>
                      <a:pt x="5930" y="1082"/>
                    </a:lnTo>
                    <a:lnTo>
                      <a:pt x="5932" y="1082"/>
                    </a:lnTo>
                    <a:lnTo>
                      <a:pt x="5932" y="1041"/>
                    </a:lnTo>
                    <a:moveTo>
                      <a:pt x="2877" y="1011"/>
                    </a:moveTo>
                    <a:lnTo>
                      <a:pt x="2875" y="1013"/>
                    </a:lnTo>
                    <a:lnTo>
                      <a:pt x="2875" y="1013"/>
                    </a:lnTo>
                    <a:lnTo>
                      <a:pt x="2875" y="1046"/>
                    </a:lnTo>
                    <a:lnTo>
                      <a:pt x="2877" y="1046"/>
                    </a:lnTo>
                    <a:lnTo>
                      <a:pt x="2877" y="1044"/>
                    </a:lnTo>
                    <a:lnTo>
                      <a:pt x="2877" y="1044"/>
                    </a:lnTo>
                    <a:lnTo>
                      <a:pt x="2877" y="1011"/>
                    </a:lnTo>
                    <a:moveTo>
                      <a:pt x="3771" y="992"/>
                    </a:moveTo>
                    <a:lnTo>
                      <a:pt x="3769" y="992"/>
                    </a:lnTo>
                    <a:lnTo>
                      <a:pt x="3769" y="994"/>
                    </a:lnTo>
                    <a:lnTo>
                      <a:pt x="3769" y="1176"/>
                    </a:lnTo>
                    <a:lnTo>
                      <a:pt x="3771" y="1176"/>
                    </a:lnTo>
                    <a:lnTo>
                      <a:pt x="3771" y="992"/>
                    </a:lnTo>
                    <a:moveTo>
                      <a:pt x="5949" y="989"/>
                    </a:moveTo>
                    <a:lnTo>
                      <a:pt x="5946" y="989"/>
                    </a:lnTo>
                    <a:lnTo>
                      <a:pt x="5946" y="992"/>
                    </a:lnTo>
                    <a:lnTo>
                      <a:pt x="5946" y="1025"/>
                    </a:lnTo>
                    <a:lnTo>
                      <a:pt x="5949" y="1025"/>
                    </a:lnTo>
                    <a:lnTo>
                      <a:pt x="5949" y="1022"/>
                    </a:lnTo>
                    <a:lnTo>
                      <a:pt x="5949" y="1022"/>
                    </a:lnTo>
                    <a:lnTo>
                      <a:pt x="5949" y="989"/>
                    </a:lnTo>
                    <a:moveTo>
                      <a:pt x="6339" y="935"/>
                    </a:moveTo>
                    <a:lnTo>
                      <a:pt x="6339" y="935"/>
                    </a:lnTo>
                    <a:lnTo>
                      <a:pt x="6339" y="935"/>
                    </a:lnTo>
                    <a:lnTo>
                      <a:pt x="6339" y="937"/>
                    </a:lnTo>
                    <a:lnTo>
                      <a:pt x="6339" y="1110"/>
                    </a:lnTo>
                    <a:lnTo>
                      <a:pt x="6339" y="1110"/>
                    </a:lnTo>
                    <a:lnTo>
                      <a:pt x="6339" y="1108"/>
                    </a:lnTo>
                    <a:lnTo>
                      <a:pt x="6339" y="1108"/>
                    </a:lnTo>
                    <a:lnTo>
                      <a:pt x="6339" y="935"/>
                    </a:lnTo>
                    <a:moveTo>
                      <a:pt x="3844" y="928"/>
                    </a:moveTo>
                    <a:lnTo>
                      <a:pt x="3844" y="928"/>
                    </a:lnTo>
                    <a:lnTo>
                      <a:pt x="3844" y="930"/>
                    </a:lnTo>
                    <a:lnTo>
                      <a:pt x="3844" y="947"/>
                    </a:lnTo>
                    <a:lnTo>
                      <a:pt x="3844" y="947"/>
                    </a:lnTo>
                    <a:lnTo>
                      <a:pt x="3844" y="928"/>
                    </a:lnTo>
                    <a:moveTo>
                      <a:pt x="6391" y="878"/>
                    </a:moveTo>
                    <a:lnTo>
                      <a:pt x="6388" y="878"/>
                    </a:lnTo>
                    <a:lnTo>
                      <a:pt x="6388" y="878"/>
                    </a:lnTo>
                    <a:lnTo>
                      <a:pt x="6388" y="880"/>
                    </a:lnTo>
                    <a:lnTo>
                      <a:pt x="6388" y="887"/>
                    </a:lnTo>
                    <a:lnTo>
                      <a:pt x="6388" y="887"/>
                    </a:lnTo>
                    <a:lnTo>
                      <a:pt x="6388" y="887"/>
                    </a:lnTo>
                    <a:lnTo>
                      <a:pt x="6391" y="887"/>
                    </a:lnTo>
                    <a:lnTo>
                      <a:pt x="6391" y="878"/>
                    </a:lnTo>
                    <a:moveTo>
                      <a:pt x="6398" y="850"/>
                    </a:moveTo>
                    <a:lnTo>
                      <a:pt x="6396" y="850"/>
                    </a:lnTo>
                    <a:lnTo>
                      <a:pt x="6396" y="852"/>
                    </a:lnTo>
                    <a:lnTo>
                      <a:pt x="6396" y="871"/>
                    </a:lnTo>
                    <a:lnTo>
                      <a:pt x="6398" y="871"/>
                    </a:lnTo>
                    <a:lnTo>
                      <a:pt x="6398" y="869"/>
                    </a:lnTo>
                    <a:lnTo>
                      <a:pt x="6398" y="869"/>
                    </a:lnTo>
                    <a:lnTo>
                      <a:pt x="6398" y="850"/>
                    </a:lnTo>
                    <a:moveTo>
                      <a:pt x="3099" y="762"/>
                    </a:moveTo>
                    <a:lnTo>
                      <a:pt x="3099" y="762"/>
                    </a:lnTo>
                    <a:lnTo>
                      <a:pt x="3099" y="762"/>
                    </a:lnTo>
                    <a:lnTo>
                      <a:pt x="3099" y="764"/>
                    </a:lnTo>
                    <a:lnTo>
                      <a:pt x="3099" y="932"/>
                    </a:lnTo>
                    <a:lnTo>
                      <a:pt x="3099" y="932"/>
                    </a:lnTo>
                    <a:lnTo>
                      <a:pt x="3099" y="762"/>
                    </a:lnTo>
                    <a:moveTo>
                      <a:pt x="1009" y="753"/>
                    </a:moveTo>
                    <a:lnTo>
                      <a:pt x="1007" y="753"/>
                    </a:lnTo>
                    <a:lnTo>
                      <a:pt x="1007" y="755"/>
                    </a:lnTo>
                    <a:lnTo>
                      <a:pt x="1007" y="781"/>
                    </a:lnTo>
                    <a:lnTo>
                      <a:pt x="1009" y="781"/>
                    </a:lnTo>
                    <a:lnTo>
                      <a:pt x="1009" y="753"/>
                    </a:lnTo>
                    <a:moveTo>
                      <a:pt x="5133" y="731"/>
                    </a:moveTo>
                    <a:lnTo>
                      <a:pt x="5131" y="731"/>
                    </a:lnTo>
                    <a:lnTo>
                      <a:pt x="5131" y="734"/>
                    </a:lnTo>
                    <a:lnTo>
                      <a:pt x="5131" y="925"/>
                    </a:lnTo>
                    <a:lnTo>
                      <a:pt x="5133" y="925"/>
                    </a:lnTo>
                    <a:lnTo>
                      <a:pt x="5133" y="731"/>
                    </a:lnTo>
                    <a:moveTo>
                      <a:pt x="3140" y="655"/>
                    </a:moveTo>
                    <a:lnTo>
                      <a:pt x="3137" y="655"/>
                    </a:lnTo>
                    <a:lnTo>
                      <a:pt x="3137" y="658"/>
                    </a:lnTo>
                    <a:lnTo>
                      <a:pt x="3137" y="724"/>
                    </a:lnTo>
                    <a:lnTo>
                      <a:pt x="3137" y="724"/>
                    </a:lnTo>
                    <a:lnTo>
                      <a:pt x="3137" y="724"/>
                    </a:lnTo>
                    <a:lnTo>
                      <a:pt x="3140" y="724"/>
                    </a:lnTo>
                    <a:lnTo>
                      <a:pt x="3140" y="655"/>
                    </a:lnTo>
                    <a:moveTo>
                      <a:pt x="96" y="615"/>
                    </a:moveTo>
                    <a:lnTo>
                      <a:pt x="94" y="615"/>
                    </a:lnTo>
                    <a:lnTo>
                      <a:pt x="94" y="618"/>
                    </a:lnTo>
                    <a:lnTo>
                      <a:pt x="94" y="1406"/>
                    </a:lnTo>
                    <a:lnTo>
                      <a:pt x="96" y="1406"/>
                    </a:lnTo>
                    <a:lnTo>
                      <a:pt x="96" y="615"/>
                    </a:lnTo>
                    <a:moveTo>
                      <a:pt x="5253" y="608"/>
                    </a:moveTo>
                    <a:lnTo>
                      <a:pt x="5251" y="608"/>
                    </a:lnTo>
                    <a:lnTo>
                      <a:pt x="5251" y="610"/>
                    </a:lnTo>
                    <a:lnTo>
                      <a:pt x="5251" y="684"/>
                    </a:lnTo>
                    <a:lnTo>
                      <a:pt x="5253" y="684"/>
                    </a:lnTo>
                    <a:lnTo>
                      <a:pt x="5253" y="608"/>
                    </a:lnTo>
                    <a:moveTo>
                      <a:pt x="3284" y="582"/>
                    </a:moveTo>
                    <a:lnTo>
                      <a:pt x="3281" y="582"/>
                    </a:lnTo>
                    <a:lnTo>
                      <a:pt x="3281" y="582"/>
                    </a:lnTo>
                    <a:lnTo>
                      <a:pt x="3281" y="582"/>
                    </a:lnTo>
                    <a:lnTo>
                      <a:pt x="3281" y="610"/>
                    </a:lnTo>
                    <a:lnTo>
                      <a:pt x="3284" y="610"/>
                    </a:lnTo>
                    <a:lnTo>
                      <a:pt x="3284" y="582"/>
                    </a:lnTo>
                    <a:moveTo>
                      <a:pt x="302" y="547"/>
                    </a:moveTo>
                    <a:lnTo>
                      <a:pt x="300" y="547"/>
                    </a:lnTo>
                    <a:lnTo>
                      <a:pt x="300" y="549"/>
                    </a:lnTo>
                    <a:lnTo>
                      <a:pt x="300" y="570"/>
                    </a:lnTo>
                    <a:lnTo>
                      <a:pt x="302" y="570"/>
                    </a:lnTo>
                    <a:lnTo>
                      <a:pt x="302" y="547"/>
                    </a:lnTo>
                    <a:moveTo>
                      <a:pt x="7025" y="509"/>
                    </a:moveTo>
                    <a:lnTo>
                      <a:pt x="7025" y="509"/>
                    </a:lnTo>
                    <a:lnTo>
                      <a:pt x="7025" y="511"/>
                    </a:lnTo>
                    <a:lnTo>
                      <a:pt x="7025" y="1046"/>
                    </a:lnTo>
                    <a:lnTo>
                      <a:pt x="7025" y="1046"/>
                    </a:lnTo>
                    <a:lnTo>
                      <a:pt x="7025" y="509"/>
                    </a:lnTo>
                    <a:moveTo>
                      <a:pt x="4194" y="502"/>
                    </a:moveTo>
                    <a:lnTo>
                      <a:pt x="4192" y="502"/>
                    </a:lnTo>
                    <a:lnTo>
                      <a:pt x="4192" y="504"/>
                    </a:lnTo>
                    <a:lnTo>
                      <a:pt x="4161" y="544"/>
                    </a:lnTo>
                    <a:lnTo>
                      <a:pt x="4161" y="547"/>
                    </a:lnTo>
                    <a:lnTo>
                      <a:pt x="4194" y="502"/>
                    </a:lnTo>
                    <a:moveTo>
                      <a:pt x="3300" y="502"/>
                    </a:moveTo>
                    <a:lnTo>
                      <a:pt x="3298" y="502"/>
                    </a:lnTo>
                    <a:lnTo>
                      <a:pt x="3298" y="502"/>
                    </a:lnTo>
                    <a:lnTo>
                      <a:pt x="3298" y="502"/>
                    </a:lnTo>
                    <a:lnTo>
                      <a:pt x="3298" y="565"/>
                    </a:lnTo>
                    <a:lnTo>
                      <a:pt x="3300" y="565"/>
                    </a:lnTo>
                    <a:lnTo>
                      <a:pt x="3300" y="563"/>
                    </a:lnTo>
                    <a:lnTo>
                      <a:pt x="3300" y="563"/>
                    </a:lnTo>
                    <a:lnTo>
                      <a:pt x="3300" y="502"/>
                    </a:lnTo>
                    <a:moveTo>
                      <a:pt x="4036" y="454"/>
                    </a:moveTo>
                    <a:lnTo>
                      <a:pt x="4036" y="454"/>
                    </a:lnTo>
                    <a:lnTo>
                      <a:pt x="4036" y="454"/>
                    </a:lnTo>
                    <a:lnTo>
                      <a:pt x="4036" y="457"/>
                    </a:lnTo>
                    <a:lnTo>
                      <a:pt x="4036" y="490"/>
                    </a:lnTo>
                    <a:lnTo>
                      <a:pt x="3953" y="644"/>
                    </a:lnTo>
                    <a:lnTo>
                      <a:pt x="3953" y="880"/>
                    </a:lnTo>
                    <a:lnTo>
                      <a:pt x="3955" y="880"/>
                    </a:lnTo>
                    <a:lnTo>
                      <a:pt x="3955" y="641"/>
                    </a:lnTo>
                    <a:lnTo>
                      <a:pt x="4036" y="487"/>
                    </a:lnTo>
                    <a:lnTo>
                      <a:pt x="4036" y="454"/>
                    </a:lnTo>
                    <a:moveTo>
                      <a:pt x="3329" y="433"/>
                    </a:moveTo>
                    <a:lnTo>
                      <a:pt x="3326" y="433"/>
                    </a:lnTo>
                    <a:lnTo>
                      <a:pt x="3326" y="435"/>
                    </a:lnTo>
                    <a:lnTo>
                      <a:pt x="3326" y="473"/>
                    </a:lnTo>
                    <a:lnTo>
                      <a:pt x="3329" y="473"/>
                    </a:lnTo>
                    <a:lnTo>
                      <a:pt x="3329" y="471"/>
                    </a:lnTo>
                    <a:lnTo>
                      <a:pt x="3329" y="471"/>
                    </a:lnTo>
                    <a:lnTo>
                      <a:pt x="3329" y="433"/>
                    </a:lnTo>
                    <a:moveTo>
                      <a:pt x="4043" y="390"/>
                    </a:moveTo>
                    <a:lnTo>
                      <a:pt x="4040" y="390"/>
                    </a:lnTo>
                    <a:lnTo>
                      <a:pt x="4040" y="390"/>
                    </a:lnTo>
                    <a:lnTo>
                      <a:pt x="4040" y="393"/>
                    </a:lnTo>
                    <a:lnTo>
                      <a:pt x="4040" y="447"/>
                    </a:lnTo>
                    <a:lnTo>
                      <a:pt x="4043" y="447"/>
                    </a:lnTo>
                    <a:lnTo>
                      <a:pt x="4043" y="447"/>
                    </a:lnTo>
                    <a:lnTo>
                      <a:pt x="4043" y="447"/>
                    </a:lnTo>
                    <a:lnTo>
                      <a:pt x="4043" y="390"/>
                    </a:lnTo>
                    <a:moveTo>
                      <a:pt x="1811" y="369"/>
                    </a:moveTo>
                    <a:lnTo>
                      <a:pt x="1808" y="369"/>
                    </a:lnTo>
                    <a:lnTo>
                      <a:pt x="1808" y="369"/>
                    </a:lnTo>
                    <a:lnTo>
                      <a:pt x="1808" y="1084"/>
                    </a:lnTo>
                    <a:lnTo>
                      <a:pt x="1811" y="1084"/>
                    </a:lnTo>
                    <a:lnTo>
                      <a:pt x="1811" y="369"/>
                    </a:lnTo>
                    <a:moveTo>
                      <a:pt x="4050" y="326"/>
                    </a:moveTo>
                    <a:lnTo>
                      <a:pt x="4048" y="326"/>
                    </a:lnTo>
                    <a:lnTo>
                      <a:pt x="4048" y="329"/>
                    </a:lnTo>
                    <a:lnTo>
                      <a:pt x="4048" y="383"/>
                    </a:lnTo>
                    <a:lnTo>
                      <a:pt x="4050" y="383"/>
                    </a:lnTo>
                    <a:lnTo>
                      <a:pt x="4050" y="381"/>
                    </a:lnTo>
                    <a:lnTo>
                      <a:pt x="4050" y="381"/>
                    </a:lnTo>
                    <a:lnTo>
                      <a:pt x="4050" y="326"/>
                    </a:lnTo>
                    <a:moveTo>
                      <a:pt x="4703" y="232"/>
                    </a:moveTo>
                    <a:lnTo>
                      <a:pt x="4703" y="232"/>
                    </a:lnTo>
                    <a:lnTo>
                      <a:pt x="4703" y="234"/>
                    </a:lnTo>
                    <a:lnTo>
                      <a:pt x="4641" y="452"/>
                    </a:lnTo>
                    <a:lnTo>
                      <a:pt x="4643" y="452"/>
                    </a:lnTo>
                    <a:lnTo>
                      <a:pt x="4703" y="232"/>
                    </a:lnTo>
                    <a:moveTo>
                      <a:pt x="4804" y="172"/>
                    </a:moveTo>
                    <a:lnTo>
                      <a:pt x="4802" y="172"/>
                    </a:lnTo>
                    <a:lnTo>
                      <a:pt x="4802" y="172"/>
                    </a:lnTo>
                    <a:lnTo>
                      <a:pt x="4802" y="172"/>
                    </a:lnTo>
                    <a:lnTo>
                      <a:pt x="4802" y="184"/>
                    </a:lnTo>
                    <a:lnTo>
                      <a:pt x="4804" y="184"/>
                    </a:lnTo>
                    <a:lnTo>
                      <a:pt x="4804" y="172"/>
                    </a:lnTo>
                    <a:moveTo>
                      <a:pt x="4852" y="0"/>
                    </a:moveTo>
                    <a:lnTo>
                      <a:pt x="4852" y="0"/>
                    </a:lnTo>
                    <a:lnTo>
                      <a:pt x="4852" y="2"/>
                    </a:lnTo>
                    <a:lnTo>
                      <a:pt x="4852" y="125"/>
                    </a:lnTo>
                    <a:lnTo>
                      <a:pt x="4852" y="125"/>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1" name="Freeform 96"/>
              <p:cNvSpPr>
                <a:spLocks noEditPoints="1"/>
              </p:cNvSpPr>
              <p:nvPr/>
            </p:nvSpPr>
            <p:spPr bwMode="auto">
              <a:xfrm>
                <a:off x="2" y="1705"/>
                <a:ext cx="7025" cy="1648"/>
              </a:xfrm>
              <a:custGeom>
                <a:avLst/>
                <a:gdLst>
                  <a:gd name="T0" fmla="*/ 2 w 7025"/>
                  <a:gd name="T1" fmla="*/ 1489 h 1648"/>
                  <a:gd name="T2" fmla="*/ 5663 w 7025"/>
                  <a:gd name="T3" fmla="*/ 1404 h 1648"/>
                  <a:gd name="T4" fmla="*/ 3710 w 7025"/>
                  <a:gd name="T5" fmla="*/ 1224 h 1648"/>
                  <a:gd name="T6" fmla="*/ 5831 w 7025"/>
                  <a:gd name="T7" fmla="*/ 1210 h 1648"/>
                  <a:gd name="T8" fmla="*/ 5831 w 7025"/>
                  <a:gd name="T9" fmla="*/ 1210 h 1648"/>
                  <a:gd name="T10" fmla="*/ 1688 w 7025"/>
                  <a:gd name="T11" fmla="*/ 1134 h 1648"/>
                  <a:gd name="T12" fmla="*/ 5854 w 7025"/>
                  <a:gd name="T13" fmla="*/ 1130 h 1648"/>
                  <a:gd name="T14" fmla="*/ 5857 w 7025"/>
                  <a:gd name="T15" fmla="*/ 1184 h 1648"/>
                  <a:gd name="T16" fmla="*/ 6320 w 7025"/>
                  <a:gd name="T17" fmla="*/ 1130 h 1648"/>
                  <a:gd name="T18" fmla="*/ 1445 w 7025"/>
                  <a:gd name="T19" fmla="*/ 1127 h 1648"/>
                  <a:gd name="T20" fmla="*/ 1447 w 7025"/>
                  <a:gd name="T21" fmla="*/ 1127 h 1648"/>
                  <a:gd name="T22" fmla="*/ 1464 w 7025"/>
                  <a:gd name="T23" fmla="*/ 1108 h 1648"/>
                  <a:gd name="T24" fmla="*/ 2859 w 7025"/>
                  <a:gd name="T25" fmla="*/ 1063 h 1648"/>
                  <a:gd name="T26" fmla="*/ 2861 w 7025"/>
                  <a:gd name="T27" fmla="*/ 1063 h 1648"/>
                  <a:gd name="T28" fmla="*/ 5930 w 7025"/>
                  <a:gd name="T29" fmla="*/ 1085 h 1648"/>
                  <a:gd name="T30" fmla="*/ 2875 w 7025"/>
                  <a:gd name="T31" fmla="*/ 1014 h 1648"/>
                  <a:gd name="T32" fmla="*/ 2878 w 7025"/>
                  <a:gd name="T33" fmla="*/ 1011 h 1648"/>
                  <a:gd name="T34" fmla="*/ 3771 w 7025"/>
                  <a:gd name="T35" fmla="*/ 1179 h 1648"/>
                  <a:gd name="T36" fmla="*/ 5947 w 7025"/>
                  <a:gd name="T37" fmla="*/ 1025 h 1648"/>
                  <a:gd name="T38" fmla="*/ 6339 w 7025"/>
                  <a:gd name="T39" fmla="*/ 935 h 1648"/>
                  <a:gd name="T40" fmla="*/ 6339 w 7025"/>
                  <a:gd name="T41" fmla="*/ 1111 h 1648"/>
                  <a:gd name="T42" fmla="*/ 3842 w 7025"/>
                  <a:gd name="T43" fmla="*/ 928 h 1648"/>
                  <a:gd name="T44" fmla="*/ 6389 w 7025"/>
                  <a:gd name="T45" fmla="*/ 879 h 1648"/>
                  <a:gd name="T46" fmla="*/ 6389 w 7025"/>
                  <a:gd name="T47" fmla="*/ 890 h 1648"/>
                  <a:gd name="T48" fmla="*/ 6396 w 7025"/>
                  <a:gd name="T49" fmla="*/ 850 h 1648"/>
                  <a:gd name="T50" fmla="*/ 6398 w 7025"/>
                  <a:gd name="T51" fmla="*/ 869 h 1648"/>
                  <a:gd name="T52" fmla="*/ 3097 w 7025"/>
                  <a:gd name="T53" fmla="*/ 765 h 1648"/>
                  <a:gd name="T54" fmla="*/ 1007 w 7025"/>
                  <a:gd name="T55" fmla="*/ 753 h 1648"/>
                  <a:gd name="T56" fmla="*/ 5131 w 7025"/>
                  <a:gd name="T57" fmla="*/ 732 h 1648"/>
                  <a:gd name="T58" fmla="*/ 5131 w 7025"/>
                  <a:gd name="T59" fmla="*/ 732 h 1648"/>
                  <a:gd name="T60" fmla="*/ 3138 w 7025"/>
                  <a:gd name="T61" fmla="*/ 727 h 1648"/>
                  <a:gd name="T62" fmla="*/ 94 w 7025"/>
                  <a:gd name="T63" fmla="*/ 618 h 1648"/>
                  <a:gd name="T64" fmla="*/ 5254 w 7025"/>
                  <a:gd name="T65" fmla="*/ 609 h 1648"/>
                  <a:gd name="T66" fmla="*/ 5254 w 7025"/>
                  <a:gd name="T67" fmla="*/ 609 h 1648"/>
                  <a:gd name="T68" fmla="*/ 3282 w 7025"/>
                  <a:gd name="T69" fmla="*/ 613 h 1648"/>
                  <a:gd name="T70" fmla="*/ 300 w 7025"/>
                  <a:gd name="T71" fmla="*/ 550 h 1648"/>
                  <a:gd name="T72" fmla="*/ 7023 w 7025"/>
                  <a:gd name="T73" fmla="*/ 509 h 1648"/>
                  <a:gd name="T74" fmla="*/ 7025 w 7025"/>
                  <a:gd name="T75" fmla="*/ 1648 h 1648"/>
                  <a:gd name="T76" fmla="*/ 4159 w 7025"/>
                  <a:gd name="T77" fmla="*/ 550 h 1648"/>
                  <a:gd name="T78" fmla="*/ 3298 w 7025"/>
                  <a:gd name="T79" fmla="*/ 502 h 1648"/>
                  <a:gd name="T80" fmla="*/ 3301 w 7025"/>
                  <a:gd name="T81" fmla="*/ 564 h 1648"/>
                  <a:gd name="T82" fmla="*/ 4034 w 7025"/>
                  <a:gd name="T83" fmla="*/ 457 h 1648"/>
                  <a:gd name="T84" fmla="*/ 3956 w 7025"/>
                  <a:gd name="T85" fmla="*/ 642 h 1648"/>
                  <a:gd name="T86" fmla="*/ 3327 w 7025"/>
                  <a:gd name="T87" fmla="*/ 436 h 1648"/>
                  <a:gd name="T88" fmla="*/ 3329 w 7025"/>
                  <a:gd name="T89" fmla="*/ 434 h 1648"/>
                  <a:gd name="T90" fmla="*/ 4041 w 7025"/>
                  <a:gd name="T91" fmla="*/ 450 h 1648"/>
                  <a:gd name="T92" fmla="*/ 1809 w 7025"/>
                  <a:gd name="T93" fmla="*/ 370 h 1648"/>
                  <a:gd name="T94" fmla="*/ 1809 w 7025"/>
                  <a:gd name="T95" fmla="*/ 370 h 1648"/>
                  <a:gd name="T96" fmla="*/ 4050 w 7025"/>
                  <a:gd name="T97" fmla="*/ 384 h 1648"/>
                  <a:gd name="T98" fmla="*/ 4703 w 7025"/>
                  <a:gd name="T99" fmla="*/ 232 h 1648"/>
                  <a:gd name="T100" fmla="*/ 4805 w 7025"/>
                  <a:gd name="T101" fmla="*/ 173 h 1648"/>
                  <a:gd name="T102" fmla="*/ 4805 w 7025"/>
                  <a:gd name="T103" fmla="*/ 187 h 1648"/>
                  <a:gd name="T104" fmla="*/ 4850 w 7025"/>
                  <a:gd name="T105" fmla="*/ 1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48">
                    <a:moveTo>
                      <a:pt x="2" y="1454"/>
                    </a:moveTo>
                    <a:lnTo>
                      <a:pt x="0" y="1454"/>
                    </a:lnTo>
                    <a:lnTo>
                      <a:pt x="0" y="1456"/>
                    </a:lnTo>
                    <a:lnTo>
                      <a:pt x="0" y="1489"/>
                    </a:lnTo>
                    <a:lnTo>
                      <a:pt x="2" y="1489"/>
                    </a:lnTo>
                    <a:lnTo>
                      <a:pt x="2" y="1454"/>
                    </a:lnTo>
                    <a:close/>
                    <a:moveTo>
                      <a:pt x="5665" y="1326"/>
                    </a:moveTo>
                    <a:lnTo>
                      <a:pt x="5663" y="1326"/>
                    </a:lnTo>
                    <a:lnTo>
                      <a:pt x="5663" y="1328"/>
                    </a:lnTo>
                    <a:lnTo>
                      <a:pt x="5663" y="1404"/>
                    </a:lnTo>
                    <a:lnTo>
                      <a:pt x="5665" y="1404"/>
                    </a:lnTo>
                    <a:lnTo>
                      <a:pt x="5665" y="1326"/>
                    </a:lnTo>
                    <a:close/>
                    <a:moveTo>
                      <a:pt x="3710" y="1222"/>
                    </a:moveTo>
                    <a:lnTo>
                      <a:pt x="3710" y="1222"/>
                    </a:lnTo>
                    <a:lnTo>
                      <a:pt x="3710" y="1224"/>
                    </a:lnTo>
                    <a:lnTo>
                      <a:pt x="3710" y="1272"/>
                    </a:lnTo>
                    <a:lnTo>
                      <a:pt x="3710" y="1272"/>
                    </a:lnTo>
                    <a:lnTo>
                      <a:pt x="3710" y="1222"/>
                    </a:lnTo>
                    <a:close/>
                    <a:moveTo>
                      <a:pt x="5831" y="1210"/>
                    </a:moveTo>
                    <a:lnTo>
                      <a:pt x="5831" y="1210"/>
                    </a:lnTo>
                    <a:lnTo>
                      <a:pt x="5828" y="1210"/>
                    </a:lnTo>
                    <a:lnTo>
                      <a:pt x="5828" y="1210"/>
                    </a:lnTo>
                    <a:lnTo>
                      <a:pt x="5828" y="1281"/>
                    </a:lnTo>
                    <a:lnTo>
                      <a:pt x="5831" y="1281"/>
                    </a:lnTo>
                    <a:lnTo>
                      <a:pt x="5831" y="1210"/>
                    </a:lnTo>
                    <a:close/>
                    <a:moveTo>
                      <a:pt x="1688" y="1132"/>
                    </a:moveTo>
                    <a:lnTo>
                      <a:pt x="1686" y="1132"/>
                    </a:lnTo>
                    <a:lnTo>
                      <a:pt x="1686" y="1134"/>
                    </a:lnTo>
                    <a:lnTo>
                      <a:pt x="1686" y="1134"/>
                    </a:lnTo>
                    <a:lnTo>
                      <a:pt x="1688" y="1134"/>
                    </a:lnTo>
                    <a:lnTo>
                      <a:pt x="1688" y="1134"/>
                    </a:lnTo>
                    <a:lnTo>
                      <a:pt x="1688" y="1134"/>
                    </a:lnTo>
                    <a:lnTo>
                      <a:pt x="1688" y="1132"/>
                    </a:lnTo>
                    <a:close/>
                    <a:moveTo>
                      <a:pt x="5857" y="1130"/>
                    </a:moveTo>
                    <a:lnTo>
                      <a:pt x="5854" y="1130"/>
                    </a:lnTo>
                    <a:lnTo>
                      <a:pt x="5854" y="1130"/>
                    </a:lnTo>
                    <a:lnTo>
                      <a:pt x="5854" y="1184"/>
                    </a:lnTo>
                    <a:lnTo>
                      <a:pt x="5854" y="1184"/>
                    </a:lnTo>
                    <a:lnTo>
                      <a:pt x="5854" y="1184"/>
                    </a:lnTo>
                    <a:lnTo>
                      <a:pt x="5857" y="1184"/>
                    </a:lnTo>
                    <a:lnTo>
                      <a:pt x="5857" y="1130"/>
                    </a:lnTo>
                    <a:close/>
                    <a:moveTo>
                      <a:pt x="6323" y="1130"/>
                    </a:moveTo>
                    <a:lnTo>
                      <a:pt x="6320" y="1130"/>
                    </a:lnTo>
                    <a:lnTo>
                      <a:pt x="6320" y="1130"/>
                    </a:lnTo>
                    <a:lnTo>
                      <a:pt x="6320" y="1130"/>
                    </a:lnTo>
                    <a:lnTo>
                      <a:pt x="6320" y="1165"/>
                    </a:lnTo>
                    <a:lnTo>
                      <a:pt x="6323" y="1165"/>
                    </a:lnTo>
                    <a:lnTo>
                      <a:pt x="6323" y="1130"/>
                    </a:lnTo>
                    <a:close/>
                    <a:moveTo>
                      <a:pt x="1447" y="1127"/>
                    </a:moveTo>
                    <a:lnTo>
                      <a:pt x="1445" y="1127"/>
                    </a:lnTo>
                    <a:lnTo>
                      <a:pt x="1445" y="1127"/>
                    </a:lnTo>
                    <a:lnTo>
                      <a:pt x="1445" y="1127"/>
                    </a:lnTo>
                    <a:lnTo>
                      <a:pt x="1445" y="1156"/>
                    </a:lnTo>
                    <a:lnTo>
                      <a:pt x="1447" y="1156"/>
                    </a:lnTo>
                    <a:lnTo>
                      <a:pt x="1447" y="1127"/>
                    </a:lnTo>
                    <a:close/>
                    <a:moveTo>
                      <a:pt x="1464" y="1085"/>
                    </a:moveTo>
                    <a:lnTo>
                      <a:pt x="1461" y="1085"/>
                    </a:lnTo>
                    <a:lnTo>
                      <a:pt x="1461" y="1087"/>
                    </a:lnTo>
                    <a:lnTo>
                      <a:pt x="1461" y="1108"/>
                    </a:lnTo>
                    <a:lnTo>
                      <a:pt x="1464" y="1108"/>
                    </a:lnTo>
                    <a:lnTo>
                      <a:pt x="1464" y="1108"/>
                    </a:lnTo>
                    <a:lnTo>
                      <a:pt x="1464" y="1108"/>
                    </a:lnTo>
                    <a:lnTo>
                      <a:pt x="1464" y="1085"/>
                    </a:lnTo>
                    <a:close/>
                    <a:moveTo>
                      <a:pt x="2861" y="1063"/>
                    </a:moveTo>
                    <a:lnTo>
                      <a:pt x="2859" y="1063"/>
                    </a:lnTo>
                    <a:lnTo>
                      <a:pt x="2859" y="1063"/>
                    </a:lnTo>
                    <a:lnTo>
                      <a:pt x="2859" y="1066"/>
                    </a:lnTo>
                    <a:lnTo>
                      <a:pt x="2859" y="1196"/>
                    </a:lnTo>
                    <a:lnTo>
                      <a:pt x="2861" y="1196"/>
                    </a:lnTo>
                    <a:lnTo>
                      <a:pt x="2861" y="1063"/>
                    </a:lnTo>
                    <a:close/>
                    <a:moveTo>
                      <a:pt x="5930" y="1042"/>
                    </a:moveTo>
                    <a:lnTo>
                      <a:pt x="5930" y="1042"/>
                    </a:lnTo>
                    <a:lnTo>
                      <a:pt x="5930" y="1042"/>
                    </a:lnTo>
                    <a:lnTo>
                      <a:pt x="5930" y="1044"/>
                    </a:lnTo>
                    <a:lnTo>
                      <a:pt x="5930" y="1085"/>
                    </a:lnTo>
                    <a:lnTo>
                      <a:pt x="5930" y="1085"/>
                    </a:lnTo>
                    <a:lnTo>
                      <a:pt x="5930" y="1042"/>
                    </a:lnTo>
                    <a:close/>
                    <a:moveTo>
                      <a:pt x="2878" y="1011"/>
                    </a:moveTo>
                    <a:lnTo>
                      <a:pt x="2875" y="1014"/>
                    </a:lnTo>
                    <a:lnTo>
                      <a:pt x="2875" y="1014"/>
                    </a:lnTo>
                    <a:lnTo>
                      <a:pt x="2875" y="1047"/>
                    </a:lnTo>
                    <a:lnTo>
                      <a:pt x="2878" y="1047"/>
                    </a:lnTo>
                    <a:lnTo>
                      <a:pt x="2878" y="1044"/>
                    </a:lnTo>
                    <a:lnTo>
                      <a:pt x="2878" y="1044"/>
                    </a:lnTo>
                    <a:lnTo>
                      <a:pt x="2878" y="1011"/>
                    </a:lnTo>
                    <a:close/>
                    <a:moveTo>
                      <a:pt x="3771" y="995"/>
                    </a:moveTo>
                    <a:lnTo>
                      <a:pt x="3769" y="995"/>
                    </a:lnTo>
                    <a:lnTo>
                      <a:pt x="3769" y="995"/>
                    </a:lnTo>
                    <a:lnTo>
                      <a:pt x="3769" y="1179"/>
                    </a:lnTo>
                    <a:lnTo>
                      <a:pt x="3771" y="1179"/>
                    </a:lnTo>
                    <a:lnTo>
                      <a:pt x="3771" y="995"/>
                    </a:lnTo>
                    <a:close/>
                    <a:moveTo>
                      <a:pt x="5949" y="990"/>
                    </a:moveTo>
                    <a:lnTo>
                      <a:pt x="5947" y="990"/>
                    </a:lnTo>
                    <a:lnTo>
                      <a:pt x="5947" y="992"/>
                    </a:lnTo>
                    <a:lnTo>
                      <a:pt x="5947" y="1025"/>
                    </a:lnTo>
                    <a:lnTo>
                      <a:pt x="5947" y="1025"/>
                    </a:lnTo>
                    <a:lnTo>
                      <a:pt x="5947" y="1023"/>
                    </a:lnTo>
                    <a:lnTo>
                      <a:pt x="5949" y="1023"/>
                    </a:lnTo>
                    <a:lnTo>
                      <a:pt x="5949" y="990"/>
                    </a:lnTo>
                    <a:close/>
                    <a:moveTo>
                      <a:pt x="6339" y="935"/>
                    </a:moveTo>
                    <a:lnTo>
                      <a:pt x="6339" y="935"/>
                    </a:lnTo>
                    <a:lnTo>
                      <a:pt x="6337" y="935"/>
                    </a:lnTo>
                    <a:lnTo>
                      <a:pt x="6337" y="938"/>
                    </a:lnTo>
                    <a:lnTo>
                      <a:pt x="6337" y="1111"/>
                    </a:lnTo>
                    <a:lnTo>
                      <a:pt x="6339" y="1111"/>
                    </a:lnTo>
                    <a:lnTo>
                      <a:pt x="6339" y="1111"/>
                    </a:lnTo>
                    <a:lnTo>
                      <a:pt x="6339" y="1111"/>
                    </a:lnTo>
                    <a:lnTo>
                      <a:pt x="6339" y="935"/>
                    </a:lnTo>
                    <a:close/>
                    <a:moveTo>
                      <a:pt x="3845" y="928"/>
                    </a:moveTo>
                    <a:lnTo>
                      <a:pt x="3842" y="928"/>
                    </a:lnTo>
                    <a:lnTo>
                      <a:pt x="3842" y="931"/>
                    </a:lnTo>
                    <a:lnTo>
                      <a:pt x="3842" y="950"/>
                    </a:lnTo>
                    <a:lnTo>
                      <a:pt x="3845" y="950"/>
                    </a:lnTo>
                    <a:lnTo>
                      <a:pt x="3845" y="928"/>
                    </a:lnTo>
                    <a:close/>
                    <a:moveTo>
                      <a:pt x="6389" y="879"/>
                    </a:moveTo>
                    <a:lnTo>
                      <a:pt x="6389" y="879"/>
                    </a:lnTo>
                    <a:lnTo>
                      <a:pt x="6389" y="879"/>
                    </a:lnTo>
                    <a:lnTo>
                      <a:pt x="6389" y="881"/>
                    </a:lnTo>
                    <a:lnTo>
                      <a:pt x="6389" y="890"/>
                    </a:lnTo>
                    <a:lnTo>
                      <a:pt x="6389" y="890"/>
                    </a:lnTo>
                    <a:lnTo>
                      <a:pt x="6389" y="890"/>
                    </a:lnTo>
                    <a:lnTo>
                      <a:pt x="6389" y="890"/>
                    </a:lnTo>
                    <a:lnTo>
                      <a:pt x="6389" y="879"/>
                    </a:lnTo>
                    <a:close/>
                    <a:moveTo>
                      <a:pt x="6398" y="850"/>
                    </a:moveTo>
                    <a:lnTo>
                      <a:pt x="6396" y="850"/>
                    </a:lnTo>
                    <a:lnTo>
                      <a:pt x="6396" y="853"/>
                    </a:lnTo>
                    <a:lnTo>
                      <a:pt x="6396" y="872"/>
                    </a:lnTo>
                    <a:lnTo>
                      <a:pt x="6396" y="872"/>
                    </a:lnTo>
                    <a:lnTo>
                      <a:pt x="6396" y="869"/>
                    </a:lnTo>
                    <a:lnTo>
                      <a:pt x="6398" y="869"/>
                    </a:lnTo>
                    <a:lnTo>
                      <a:pt x="6398" y="850"/>
                    </a:lnTo>
                    <a:close/>
                    <a:moveTo>
                      <a:pt x="3100" y="763"/>
                    </a:moveTo>
                    <a:lnTo>
                      <a:pt x="3100" y="763"/>
                    </a:lnTo>
                    <a:lnTo>
                      <a:pt x="3097" y="763"/>
                    </a:lnTo>
                    <a:lnTo>
                      <a:pt x="3097" y="765"/>
                    </a:lnTo>
                    <a:lnTo>
                      <a:pt x="3097" y="935"/>
                    </a:lnTo>
                    <a:lnTo>
                      <a:pt x="3100" y="935"/>
                    </a:lnTo>
                    <a:lnTo>
                      <a:pt x="3100" y="763"/>
                    </a:lnTo>
                    <a:close/>
                    <a:moveTo>
                      <a:pt x="1010" y="753"/>
                    </a:moveTo>
                    <a:lnTo>
                      <a:pt x="1007" y="753"/>
                    </a:lnTo>
                    <a:lnTo>
                      <a:pt x="1007" y="756"/>
                    </a:lnTo>
                    <a:lnTo>
                      <a:pt x="1007" y="784"/>
                    </a:lnTo>
                    <a:lnTo>
                      <a:pt x="1010" y="784"/>
                    </a:lnTo>
                    <a:lnTo>
                      <a:pt x="1010" y="753"/>
                    </a:lnTo>
                    <a:close/>
                    <a:moveTo>
                      <a:pt x="5131" y="732"/>
                    </a:moveTo>
                    <a:lnTo>
                      <a:pt x="5131" y="732"/>
                    </a:lnTo>
                    <a:lnTo>
                      <a:pt x="5131" y="734"/>
                    </a:lnTo>
                    <a:lnTo>
                      <a:pt x="5131" y="928"/>
                    </a:lnTo>
                    <a:lnTo>
                      <a:pt x="5131" y="928"/>
                    </a:lnTo>
                    <a:lnTo>
                      <a:pt x="5131" y="732"/>
                    </a:lnTo>
                    <a:close/>
                    <a:moveTo>
                      <a:pt x="3138" y="658"/>
                    </a:moveTo>
                    <a:lnTo>
                      <a:pt x="3138" y="658"/>
                    </a:lnTo>
                    <a:lnTo>
                      <a:pt x="3138" y="658"/>
                    </a:lnTo>
                    <a:lnTo>
                      <a:pt x="3138" y="727"/>
                    </a:lnTo>
                    <a:lnTo>
                      <a:pt x="3138" y="727"/>
                    </a:lnTo>
                    <a:lnTo>
                      <a:pt x="3138" y="725"/>
                    </a:lnTo>
                    <a:lnTo>
                      <a:pt x="3138" y="725"/>
                    </a:lnTo>
                    <a:lnTo>
                      <a:pt x="3138" y="658"/>
                    </a:lnTo>
                    <a:close/>
                    <a:moveTo>
                      <a:pt x="97" y="618"/>
                    </a:moveTo>
                    <a:lnTo>
                      <a:pt x="94" y="618"/>
                    </a:lnTo>
                    <a:lnTo>
                      <a:pt x="94" y="618"/>
                    </a:lnTo>
                    <a:lnTo>
                      <a:pt x="94" y="1409"/>
                    </a:lnTo>
                    <a:lnTo>
                      <a:pt x="97" y="1409"/>
                    </a:lnTo>
                    <a:lnTo>
                      <a:pt x="97" y="618"/>
                    </a:lnTo>
                    <a:close/>
                    <a:moveTo>
                      <a:pt x="5254" y="609"/>
                    </a:moveTo>
                    <a:lnTo>
                      <a:pt x="5251" y="609"/>
                    </a:lnTo>
                    <a:lnTo>
                      <a:pt x="5251" y="611"/>
                    </a:lnTo>
                    <a:lnTo>
                      <a:pt x="5251" y="687"/>
                    </a:lnTo>
                    <a:lnTo>
                      <a:pt x="5254" y="687"/>
                    </a:lnTo>
                    <a:lnTo>
                      <a:pt x="5254" y="609"/>
                    </a:lnTo>
                    <a:close/>
                    <a:moveTo>
                      <a:pt x="3282" y="583"/>
                    </a:moveTo>
                    <a:lnTo>
                      <a:pt x="3282" y="583"/>
                    </a:lnTo>
                    <a:lnTo>
                      <a:pt x="3282" y="583"/>
                    </a:lnTo>
                    <a:lnTo>
                      <a:pt x="3282" y="585"/>
                    </a:lnTo>
                    <a:lnTo>
                      <a:pt x="3282" y="613"/>
                    </a:lnTo>
                    <a:lnTo>
                      <a:pt x="3282" y="613"/>
                    </a:lnTo>
                    <a:lnTo>
                      <a:pt x="3282" y="583"/>
                    </a:lnTo>
                    <a:close/>
                    <a:moveTo>
                      <a:pt x="303" y="547"/>
                    </a:moveTo>
                    <a:lnTo>
                      <a:pt x="300" y="547"/>
                    </a:lnTo>
                    <a:lnTo>
                      <a:pt x="300" y="550"/>
                    </a:lnTo>
                    <a:lnTo>
                      <a:pt x="300" y="573"/>
                    </a:lnTo>
                    <a:lnTo>
                      <a:pt x="303" y="573"/>
                    </a:lnTo>
                    <a:lnTo>
                      <a:pt x="303" y="547"/>
                    </a:lnTo>
                    <a:close/>
                    <a:moveTo>
                      <a:pt x="7025" y="509"/>
                    </a:moveTo>
                    <a:lnTo>
                      <a:pt x="7023" y="509"/>
                    </a:lnTo>
                    <a:lnTo>
                      <a:pt x="7023" y="512"/>
                    </a:lnTo>
                    <a:lnTo>
                      <a:pt x="7023" y="1049"/>
                    </a:lnTo>
                    <a:lnTo>
                      <a:pt x="7025" y="1049"/>
                    </a:lnTo>
                    <a:lnTo>
                      <a:pt x="7025" y="1648"/>
                    </a:lnTo>
                    <a:lnTo>
                      <a:pt x="7025" y="1648"/>
                    </a:lnTo>
                    <a:lnTo>
                      <a:pt x="7025" y="509"/>
                    </a:lnTo>
                    <a:close/>
                    <a:moveTo>
                      <a:pt x="4192" y="505"/>
                    </a:moveTo>
                    <a:lnTo>
                      <a:pt x="4192" y="505"/>
                    </a:lnTo>
                    <a:lnTo>
                      <a:pt x="4192" y="505"/>
                    </a:lnTo>
                    <a:lnTo>
                      <a:pt x="4159" y="550"/>
                    </a:lnTo>
                    <a:lnTo>
                      <a:pt x="4159" y="550"/>
                    </a:lnTo>
                    <a:lnTo>
                      <a:pt x="4192" y="505"/>
                    </a:lnTo>
                    <a:close/>
                    <a:moveTo>
                      <a:pt x="3301" y="502"/>
                    </a:moveTo>
                    <a:lnTo>
                      <a:pt x="3298" y="502"/>
                    </a:lnTo>
                    <a:lnTo>
                      <a:pt x="3298" y="502"/>
                    </a:lnTo>
                    <a:lnTo>
                      <a:pt x="3298" y="505"/>
                    </a:lnTo>
                    <a:lnTo>
                      <a:pt x="3298" y="566"/>
                    </a:lnTo>
                    <a:lnTo>
                      <a:pt x="3298" y="566"/>
                    </a:lnTo>
                    <a:lnTo>
                      <a:pt x="3298" y="564"/>
                    </a:lnTo>
                    <a:lnTo>
                      <a:pt x="3301" y="564"/>
                    </a:lnTo>
                    <a:lnTo>
                      <a:pt x="3301" y="502"/>
                    </a:lnTo>
                    <a:close/>
                    <a:moveTo>
                      <a:pt x="4036" y="455"/>
                    </a:moveTo>
                    <a:lnTo>
                      <a:pt x="4034" y="455"/>
                    </a:lnTo>
                    <a:lnTo>
                      <a:pt x="4034" y="455"/>
                    </a:lnTo>
                    <a:lnTo>
                      <a:pt x="4034" y="457"/>
                    </a:lnTo>
                    <a:lnTo>
                      <a:pt x="4034" y="490"/>
                    </a:lnTo>
                    <a:lnTo>
                      <a:pt x="3953" y="644"/>
                    </a:lnTo>
                    <a:lnTo>
                      <a:pt x="3953" y="883"/>
                    </a:lnTo>
                    <a:lnTo>
                      <a:pt x="3956" y="883"/>
                    </a:lnTo>
                    <a:lnTo>
                      <a:pt x="3956" y="642"/>
                    </a:lnTo>
                    <a:lnTo>
                      <a:pt x="4036" y="490"/>
                    </a:lnTo>
                    <a:lnTo>
                      <a:pt x="4036" y="455"/>
                    </a:lnTo>
                    <a:close/>
                    <a:moveTo>
                      <a:pt x="3329" y="434"/>
                    </a:moveTo>
                    <a:lnTo>
                      <a:pt x="3327" y="434"/>
                    </a:lnTo>
                    <a:lnTo>
                      <a:pt x="3327" y="436"/>
                    </a:lnTo>
                    <a:lnTo>
                      <a:pt x="3327" y="474"/>
                    </a:lnTo>
                    <a:lnTo>
                      <a:pt x="3327" y="474"/>
                    </a:lnTo>
                    <a:lnTo>
                      <a:pt x="3327" y="471"/>
                    </a:lnTo>
                    <a:lnTo>
                      <a:pt x="3329" y="471"/>
                    </a:lnTo>
                    <a:lnTo>
                      <a:pt x="3329" y="434"/>
                    </a:lnTo>
                    <a:close/>
                    <a:moveTo>
                      <a:pt x="4043" y="391"/>
                    </a:moveTo>
                    <a:lnTo>
                      <a:pt x="4041" y="391"/>
                    </a:lnTo>
                    <a:lnTo>
                      <a:pt x="4041" y="391"/>
                    </a:lnTo>
                    <a:lnTo>
                      <a:pt x="4041" y="393"/>
                    </a:lnTo>
                    <a:lnTo>
                      <a:pt x="4041" y="450"/>
                    </a:lnTo>
                    <a:lnTo>
                      <a:pt x="4043" y="450"/>
                    </a:lnTo>
                    <a:lnTo>
                      <a:pt x="4043" y="448"/>
                    </a:lnTo>
                    <a:lnTo>
                      <a:pt x="4043" y="448"/>
                    </a:lnTo>
                    <a:lnTo>
                      <a:pt x="4043" y="391"/>
                    </a:lnTo>
                    <a:close/>
                    <a:moveTo>
                      <a:pt x="1809" y="370"/>
                    </a:moveTo>
                    <a:lnTo>
                      <a:pt x="1809" y="370"/>
                    </a:lnTo>
                    <a:lnTo>
                      <a:pt x="1809" y="372"/>
                    </a:lnTo>
                    <a:lnTo>
                      <a:pt x="1809" y="1087"/>
                    </a:lnTo>
                    <a:lnTo>
                      <a:pt x="1809" y="1087"/>
                    </a:lnTo>
                    <a:lnTo>
                      <a:pt x="1809" y="370"/>
                    </a:lnTo>
                    <a:close/>
                    <a:moveTo>
                      <a:pt x="4050" y="327"/>
                    </a:moveTo>
                    <a:lnTo>
                      <a:pt x="4048" y="327"/>
                    </a:lnTo>
                    <a:lnTo>
                      <a:pt x="4048" y="329"/>
                    </a:lnTo>
                    <a:lnTo>
                      <a:pt x="4048" y="384"/>
                    </a:lnTo>
                    <a:lnTo>
                      <a:pt x="4050" y="384"/>
                    </a:lnTo>
                    <a:lnTo>
                      <a:pt x="4050" y="381"/>
                    </a:lnTo>
                    <a:lnTo>
                      <a:pt x="4050" y="381"/>
                    </a:lnTo>
                    <a:lnTo>
                      <a:pt x="4050" y="327"/>
                    </a:lnTo>
                    <a:close/>
                    <a:moveTo>
                      <a:pt x="4703" y="232"/>
                    </a:moveTo>
                    <a:lnTo>
                      <a:pt x="4703" y="232"/>
                    </a:lnTo>
                    <a:lnTo>
                      <a:pt x="4701" y="235"/>
                    </a:lnTo>
                    <a:lnTo>
                      <a:pt x="4641" y="455"/>
                    </a:lnTo>
                    <a:lnTo>
                      <a:pt x="4644" y="452"/>
                    </a:lnTo>
                    <a:lnTo>
                      <a:pt x="4703" y="232"/>
                    </a:lnTo>
                    <a:close/>
                    <a:moveTo>
                      <a:pt x="4805" y="173"/>
                    </a:moveTo>
                    <a:lnTo>
                      <a:pt x="4802" y="173"/>
                    </a:lnTo>
                    <a:lnTo>
                      <a:pt x="4802" y="173"/>
                    </a:lnTo>
                    <a:lnTo>
                      <a:pt x="4802" y="175"/>
                    </a:lnTo>
                    <a:lnTo>
                      <a:pt x="4802" y="187"/>
                    </a:lnTo>
                    <a:lnTo>
                      <a:pt x="4805" y="187"/>
                    </a:lnTo>
                    <a:lnTo>
                      <a:pt x="4805" y="173"/>
                    </a:lnTo>
                    <a:close/>
                    <a:moveTo>
                      <a:pt x="4852" y="0"/>
                    </a:moveTo>
                    <a:lnTo>
                      <a:pt x="4850" y="0"/>
                    </a:lnTo>
                    <a:lnTo>
                      <a:pt x="4850" y="3"/>
                    </a:lnTo>
                    <a:lnTo>
                      <a:pt x="4850" y="128"/>
                    </a:lnTo>
                    <a:lnTo>
                      <a:pt x="4852" y="128"/>
                    </a:lnTo>
                    <a:lnTo>
                      <a:pt x="4852"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2" name="Freeform 97"/>
              <p:cNvSpPr>
                <a:spLocks noEditPoints="1"/>
              </p:cNvSpPr>
              <p:nvPr/>
            </p:nvSpPr>
            <p:spPr bwMode="auto">
              <a:xfrm>
                <a:off x="2" y="1705"/>
                <a:ext cx="7025" cy="1648"/>
              </a:xfrm>
              <a:custGeom>
                <a:avLst/>
                <a:gdLst>
                  <a:gd name="T0" fmla="*/ 2 w 7025"/>
                  <a:gd name="T1" fmla="*/ 1489 h 1648"/>
                  <a:gd name="T2" fmla="*/ 5663 w 7025"/>
                  <a:gd name="T3" fmla="*/ 1404 h 1648"/>
                  <a:gd name="T4" fmla="*/ 3710 w 7025"/>
                  <a:gd name="T5" fmla="*/ 1224 h 1648"/>
                  <a:gd name="T6" fmla="*/ 5831 w 7025"/>
                  <a:gd name="T7" fmla="*/ 1210 h 1648"/>
                  <a:gd name="T8" fmla="*/ 5831 w 7025"/>
                  <a:gd name="T9" fmla="*/ 1210 h 1648"/>
                  <a:gd name="T10" fmla="*/ 1688 w 7025"/>
                  <a:gd name="T11" fmla="*/ 1134 h 1648"/>
                  <a:gd name="T12" fmla="*/ 5854 w 7025"/>
                  <a:gd name="T13" fmla="*/ 1130 h 1648"/>
                  <a:gd name="T14" fmla="*/ 5857 w 7025"/>
                  <a:gd name="T15" fmla="*/ 1184 h 1648"/>
                  <a:gd name="T16" fmla="*/ 6320 w 7025"/>
                  <a:gd name="T17" fmla="*/ 1130 h 1648"/>
                  <a:gd name="T18" fmla="*/ 1445 w 7025"/>
                  <a:gd name="T19" fmla="*/ 1127 h 1648"/>
                  <a:gd name="T20" fmla="*/ 1447 w 7025"/>
                  <a:gd name="T21" fmla="*/ 1127 h 1648"/>
                  <a:gd name="T22" fmla="*/ 1464 w 7025"/>
                  <a:gd name="T23" fmla="*/ 1108 h 1648"/>
                  <a:gd name="T24" fmla="*/ 2859 w 7025"/>
                  <a:gd name="T25" fmla="*/ 1063 h 1648"/>
                  <a:gd name="T26" fmla="*/ 2861 w 7025"/>
                  <a:gd name="T27" fmla="*/ 1063 h 1648"/>
                  <a:gd name="T28" fmla="*/ 5930 w 7025"/>
                  <a:gd name="T29" fmla="*/ 1085 h 1648"/>
                  <a:gd name="T30" fmla="*/ 2875 w 7025"/>
                  <a:gd name="T31" fmla="*/ 1014 h 1648"/>
                  <a:gd name="T32" fmla="*/ 2878 w 7025"/>
                  <a:gd name="T33" fmla="*/ 1011 h 1648"/>
                  <a:gd name="T34" fmla="*/ 3771 w 7025"/>
                  <a:gd name="T35" fmla="*/ 1179 h 1648"/>
                  <a:gd name="T36" fmla="*/ 5947 w 7025"/>
                  <a:gd name="T37" fmla="*/ 1025 h 1648"/>
                  <a:gd name="T38" fmla="*/ 6339 w 7025"/>
                  <a:gd name="T39" fmla="*/ 935 h 1648"/>
                  <a:gd name="T40" fmla="*/ 6339 w 7025"/>
                  <a:gd name="T41" fmla="*/ 1111 h 1648"/>
                  <a:gd name="T42" fmla="*/ 3842 w 7025"/>
                  <a:gd name="T43" fmla="*/ 928 h 1648"/>
                  <a:gd name="T44" fmla="*/ 6389 w 7025"/>
                  <a:gd name="T45" fmla="*/ 879 h 1648"/>
                  <a:gd name="T46" fmla="*/ 6389 w 7025"/>
                  <a:gd name="T47" fmla="*/ 890 h 1648"/>
                  <a:gd name="T48" fmla="*/ 6396 w 7025"/>
                  <a:gd name="T49" fmla="*/ 850 h 1648"/>
                  <a:gd name="T50" fmla="*/ 6398 w 7025"/>
                  <a:gd name="T51" fmla="*/ 869 h 1648"/>
                  <a:gd name="T52" fmla="*/ 3097 w 7025"/>
                  <a:gd name="T53" fmla="*/ 765 h 1648"/>
                  <a:gd name="T54" fmla="*/ 1007 w 7025"/>
                  <a:gd name="T55" fmla="*/ 753 h 1648"/>
                  <a:gd name="T56" fmla="*/ 5131 w 7025"/>
                  <a:gd name="T57" fmla="*/ 732 h 1648"/>
                  <a:gd name="T58" fmla="*/ 5131 w 7025"/>
                  <a:gd name="T59" fmla="*/ 732 h 1648"/>
                  <a:gd name="T60" fmla="*/ 3138 w 7025"/>
                  <a:gd name="T61" fmla="*/ 727 h 1648"/>
                  <a:gd name="T62" fmla="*/ 94 w 7025"/>
                  <a:gd name="T63" fmla="*/ 618 h 1648"/>
                  <a:gd name="T64" fmla="*/ 5254 w 7025"/>
                  <a:gd name="T65" fmla="*/ 609 h 1648"/>
                  <a:gd name="T66" fmla="*/ 5254 w 7025"/>
                  <a:gd name="T67" fmla="*/ 609 h 1648"/>
                  <a:gd name="T68" fmla="*/ 3282 w 7025"/>
                  <a:gd name="T69" fmla="*/ 613 h 1648"/>
                  <a:gd name="T70" fmla="*/ 300 w 7025"/>
                  <a:gd name="T71" fmla="*/ 550 h 1648"/>
                  <a:gd name="T72" fmla="*/ 7023 w 7025"/>
                  <a:gd name="T73" fmla="*/ 509 h 1648"/>
                  <a:gd name="T74" fmla="*/ 7025 w 7025"/>
                  <a:gd name="T75" fmla="*/ 1648 h 1648"/>
                  <a:gd name="T76" fmla="*/ 4159 w 7025"/>
                  <a:gd name="T77" fmla="*/ 550 h 1648"/>
                  <a:gd name="T78" fmla="*/ 3298 w 7025"/>
                  <a:gd name="T79" fmla="*/ 502 h 1648"/>
                  <a:gd name="T80" fmla="*/ 3301 w 7025"/>
                  <a:gd name="T81" fmla="*/ 564 h 1648"/>
                  <a:gd name="T82" fmla="*/ 4034 w 7025"/>
                  <a:gd name="T83" fmla="*/ 457 h 1648"/>
                  <a:gd name="T84" fmla="*/ 3956 w 7025"/>
                  <a:gd name="T85" fmla="*/ 642 h 1648"/>
                  <a:gd name="T86" fmla="*/ 3327 w 7025"/>
                  <a:gd name="T87" fmla="*/ 436 h 1648"/>
                  <a:gd name="T88" fmla="*/ 3329 w 7025"/>
                  <a:gd name="T89" fmla="*/ 434 h 1648"/>
                  <a:gd name="T90" fmla="*/ 4041 w 7025"/>
                  <a:gd name="T91" fmla="*/ 450 h 1648"/>
                  <a:gd name="T92" fmla="*/ 1809 w 7025"/>
                  <a:gd name="T93" fmla="*/ 370 h 1648"/>
                  <a:gd name="T94" fmla="*/ 1809 w 7025"/>
                  <a:gd name="T95" fmla="*/ 370 h 1648"/>
                  <a:gd name="T96" fmla="*/ 4050 w 7025"/>
                  <a:gd name="T97" fmla="*/ 384 h 1648"/>
                  <a:gd name="T98" fmla="*/ 4703 w 7025"/>
                  <a:gd name="T99" fmla="*/ 232 h 1648"/>
                  <a:gd name="T100" fmla="*/ 4805 w 7025"/>
                  <a:gd name="T101" fmla="*/ 173 h 1648"/>
                  <a:gd name="T102" fmla="*/ 4805 w 7025"/>
                  <a:gd name="T103" fmla="*/ 187 h 1648"/>
                  <a:gd name="T104" fmla="*/ 4850 w 7025"/>
                  <a:gd name="T105" fmla="*/ 1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48">
                    <a:moveTo>
                      <a:pt x="2" y="1454"/>
                    </a:moveTo>
                    <a:lnTo>
                      <a:pt x="0" y="1454"/>
                    </a:lnTo>
                    <a:lnTo>
                      <a:pt x="0" y="1456"/>
                    </a:lnTo>
                    <a:lnTo>
                      <a:pt x="0" y="1489"/>
                    </a:lnTo>
                    <a:lnTo>
                      <a:pt x="2" y="1489"/>
                    </a:lnTo>
                    <a:lnTo>
                      <a:pt x="2" y="1454"/>
                    </a:lnTo>
                    <a:moveTo>
                      <a:pt x="5665" y="1326"/>
                    </a:moveTo>
                    <a:lnTo>
                      <a:pt x="5663" y="1326"/>
                    </a:lnTo>
                    <a:lnTo>
                      <a:pt x="5663" y="1328"/>
                    </a:lnTo>
                    <a:lnTo>
                      <a:pt x="5663" y="1404"/>
                    </a:lnTo>
                    <a:lnTo>
                      <a:pt x="5665" y="1404"/>
                    </a:lnTo>
                    <a:lnTo>
                      <a:pt x="5665" y="1326"/>
                    </a:lnTo>
                    <a:moveTo>
                      <a:pt x="3710" y="1222"/>
                    </a:moveTo>
                    <a:lnTo>
                      <a:pt x="3710" y="1222"/>
                    </a:lnTo>
                    <a:lnTo>
                      <a:pt x="3710" y="1224"/>
                    </a:lnTo>
                    <a:lnTo>
                      <a:pt x="3710" y="1272"/>
                    </a:lnTo>
                    <a:lnTo>
                      <a:pt x="3710" y="1272"/>
                    </a:lnTo>
                    <a:lnTo>
                      <a:pt x="3710" y="1222"/>
                    </a:lnTo>
                    <a:moveTo>
                      <a:pt x="5831" y="1210"/>
                    </a:moveTo>
                    <a:lnTo>
                      <a:pt x="5831" y="1210"/>
                    </a:lnTo>
                    <a:lnTo>
                      <a:pt x="5828" y="1210"/>
                    </a:lnTo>
                    <a:lnTo>
                      <a:pt x="5828" y="1210"/>
                    </a:lnTo>
                    <a:lnTo>
                      <a:pt x="5828" y="1281"/>
                    </a:lnTo>
                    <a:lnTo>
                      <a:pt x="5831" y="1281"/>
                    </a:lnTo>
                    <a:lnTo>
                      <a:pt x="5831" y="1210"/>
                    </a:lnTo>
                    <a:moveTo>
                      <a:pt x="1688" y="1132"/>
                    </a:moveTo>
                    <a:lnTo>
                      <a:pt x="1686" y="1132"/>
                    </a:lnTo>
                    <a:lnTo>
                      <a:pt x="1686" y="1134"/>
                    </a:lnTo>
                    <a:lnTo>
                      <a:pt x="1686" y="1134"/>
                    </a:lnTo>
                    <a:lnTo>
                      <a:pt x="1688" y="1134"/>
                    </a:lnTo>
                    <a:lnTo>
                      <a:pt x="1688" y="1134"/>
                    </a:lnTo>
                    <a:lnTo>
                      <a:pt x="1688" y="1134"/>
                    </a:lnTo>
                    <a:lnTo>
                      <a:pt x="1688" y="1132"/>
                    </a:lnTo>
                    <a:moveTo>
                      <a:pt x="5857" y="1130"/>
                    </a:moveTo>
                    <a:lnTo>
                      <a:pt x="5854" y="1130"/>
                    </a:lnTo>
                    <a:lnTo>
                      <a:pt x="5854" y="1130"/>
                    </a:lnTo>
                    <a:lnTo>
                      <a:pt x="5854" y="1184"/>
                    </a:lnTo>
                    <a:lnTo>
                      <a:pt x="5854" y="1184"/>
                    </a:lnTo>
                    <a:lnTo>
                      <a:pt x="5854" y="1184"/>
                    </a:lnTo>
                    <a:lnTo>
                      <a:pt x="5857" y="1184"/>
                    </a:lnTo>
                    <a:lnTo>
                      <a:pt x="5857" y="1130"/>
                    </a:lnTo>
                    <a:moveTo>
                      <a:pt x="6323" y="1130"/>
                    </a:moveTo>
                    <a:lnTo>
                      <a:pt x="6320" y="1130"/>
                    </a:lnTo>
                    <a:lnTo>
                      <a:pt x="6320" y="1130"/>
                    </a:lnTo>
                    <a:lnTo>
                      <a:pt x="6320" y="1130"/>
                    </a:lnTo>
                    <a:lnTo>
                      <a:pt x="6320" y="1165"/>
                    </a:lnTo>
                    <a:lnTo>
                      <a:pt x="6323" y="1165"/>
                    </a:lnTo>
                    <a:lnTo>
                      <a:pt x="6323" y="1130"/>
                    </a:lnTo>
                    <a:moveTo>
                      <a:pt x="1447" y="1127"/>
                    </a:moveTo>
                    <a:lnTo>
                      <a:pt x="1445" y="1127"/>
                    </a:lnTo>
                    <a:lnTo>
                      <a:pt x="1445" y="1127"/>
                    </a:lnTo>
                    <a:lnTo>
                      <a:pt x="1445" y="1127"/>
                    </a:lnTo>
                    <a:lnTo>
                      <a:pt x="1445" y="1156"/>
                    </a:lnTo>
                    <a:lnTo>
                      <a:pt x="1447" y="1156"/>
                    </a:lnTo>
                    <a:lnTo>
                      <a:pt x="1447" y="1127"/>
                    </a:lnTo>
                    <a:moveTo>
                      <a:pt x="1464" y="1085"/>
                    </a:moveTo>
                    <a:lnTo>
                      <a:pt x="1461" y="1085"/>
                    </a:lnTo>
                    <a:lnTo>
                      <a:pt x="1461" y="1087"/>
                    </a:lnTo>
                    <a:lnTo>
                      <a:pt x="1461" y="1108"/>
                    </a:lnTo>
                    <a:lnTo>
                      <a:pt x="1464" y="1108"/>
                    </a:lnTo>
                    <a:lnTo>
                      <a:pt x="1464" y="1108"/>
                    </a:lnTo>
                    <a:lnTo>
                      <a:pt x="1464" y="1108"/>
                    </a:lnTo>
                    <a:lnTo>
                      <a:pt x="1464" y="1085"/>
                    </a:lnTo>
                    <a:moveTo>
                      <a:pt x="2861" y="1063"/>
                    </a:moveTo>
                    <a:lnTo>
                      <a:pt x="2859" y="1063"/>
                    </a:lnTo>
                    <a:lnTo>
                      <a:pt x="2859" y="1063"/>
                    </a:lnTo>
                    <a:lnTo>
                      <a:pt x="2859" y="1066"/>
                    </a:lnTo>
                    <a:lnTo>
                      <a:pt x="2859" y="1196"/>
                    </a:lnTo>
                    <a:lnTo>
                      <a:pt x="2861" y="1196"/>
                    </a:lnTo>
                    <a:lnTo>
                      <a:pt x="2861" y="1063"/>
                    </a:lnTo>
                    <a:moveTo>
                      <a:pt x="5930" y="1042"/>
                    </a:moveTo>
                    <a:lnTo>
                      <a:pt x="5930" y="1042"/>
                    </a:lnTo>
                    <a:lnTo>
                      <a:pt x="5930" y="1042"/>
                    </a:lnTo>
                    <a:lnTo>
                      <a:pt x="5930" y="1044"/>
                    </a:lnTo>
                    <a:lnTo>
                      <a:pt x="5930" y="1085"/>
                    </a:lnTo>
                    <a:lnTo>
                      <a:pt x="5930" y="1085"/>
                    </a:lnTo>
                    <a:lnTo>
                      <a:pt x="5930" y="1042"/>
                    </a:lnTo>
                    <a:moveTo>
                      <a:pt x="2878" y="1011"/>
                    </a:moveTo>
                    <a:lnTo>
                      <a:pt x="2875" y="1014"/>
                    </a:lnTo>
                    <a:lnTo>
                      <a:pt x="2875" y="1014"/>
                    </a:lnTo>
                    <a:lnTo>
                      <a:pt x="2875" y="1047"/>
                    </a:lnTo>
                    <a:lnTo>
                      <a:pt x="2878" y="1047"/>
                    </a:lnTo>
                    <a:lnTo>
                      <a:pt x="2878" y="1044"/>
                    </a:lnTo>
                    <a:lnTo>
                      <a:pt x="2878" y="1044"/>
                    </a:lnTo>
                    <a:lnTo>
                      <a:pt x="2878" y="1011"/>
                    </a:lnTo>
                    <a:moveTo>
                      <a:pt x="3771" y="995"/>
                    </a:moveTo>
                    <a:lnTo>
                      <a:pt x="3769" y="995"/>
                    </a:lnTo>
                    <a:lnTo>
                      <a:pt x="3769" y="995"/>
                    </a:lnTo>
                    <a:lnTo>
                      <a:pt x="3769" y="1179"/>
                    </a:lnTo>
                    <a:lnTo>
                      <a:pt x="3771" y="1179"/>
                    </a:lnTo>
                    <a:lnTo>
                      <a:pt x="3771" y="995"/>
                    </a:lnTo>
                    <a:moveTo>
                      <a:pt x="5949" y="990"/>
                    </a:moveTo>
                    <a:lnTo>
                      <a:pt x="5947" y="990"/>
                    </a:lnTo>
                    <a:lnTo>
                      <a:pt x="5947" y="992"/>
                    </a:lnTo>
                    <a:lnTo>
                      <a:pt x="5947" y="1025"/>
                    </a:lnTo>
                    <a:lnTo>
                      <a:pt x="5947" y="1025"/>
                    </a:lnTo>
                    <a:lnTo>
                      <a:pt x="5947" y="1023"/>
                    </a:lnTo>
                    <a:lnTo>
                      <a:pt x="5949" y="1023"/>
                    </a:lnTo>
                    <a:lnTo>
                      <a:pt x="5949" y="990"/>
                    </a:lnTo>
                    <a:moveTo>
                      <a:pt x="6339" y="935"/>
                    </a:moveTo>
                    <a:lnTo>
                      <a:pt x="6339" y="935"/>
                    </a:lnTo>
                    <a:lnTo>
                      <a:pt x="6337" y="935"/>
                    </a:lnTo>
                    <a:lnTo>
                      <a:pt x="6337" y="938"/>
                    </a:lnTo>
                    <a:lnTo>
                      <a:pt x="6337" y="1111"/>
                    </a:lnTo>
                    <a:lnTo>
                      <a:pt x="6339" y="1111"/>
                    </a:lnTo>
                    <a:lnTo>
                      <a:pt x="6339" y="1111"/>
                    </a:lnTo>
                    <a:lnTo>
                      <a:pt x="6339" y="1111"/>
                    </a:lnTo>
                    <a:lnTo>
                      <a:pt x="6339" y="935"/>
                    </a:lnTo>
                    <a:moveTo>
                      <a:pt x="3845" y="928"/>
                    </a:moveTo>
                    <a:lnTo>
                      <a:pt x="3842" y="928"/>
                    </a:lnTo>
                    <a:lnTo>
                      <a:pt x="3842" y="931"/>
                    </a:lnTo>
                    <a:lnTo>
                      <a:pt x="3842" y="950"/>
                    </a:lnTo>
                    <a:lnTo>
                      <a:pt x="3845" y="950"/>
                    </a:lnTo>
                    <a:lnTo>
                      <a:pt x="3845" y="928"/>
                    </a:lnTo>
                    <a:moveTo>
                      <a:pt x="6389" y="879"/>
                    </a:moveTo>
                    <a:lnTo>
                      <a:pt x="6389" y="879"/>
                    </a:lnTo>
                    <a:lnTo>
                      <a:pt x="6389" y="879"/>
                    </a:lnTo>
                    <a:lnTo>
                      <a:pt x="6389" y="881"/>
                    </a:lnTo>
                    <a:lnTo>
                      <a:pt x="6389" y="890"/>
                    </a:lnTo>
                    <a:lnTo>
                      <a:pt x="6389" y="890"/>
                    </a:lnTo>
                    <a:lnTo>
                      <a:pt x="6389" y="890"/>
                    </a:lnTo>
                    <a:lnTo>
                      <a:pt x="6389" y="890"/>
                    </a:lnTo>
                    <a:lnTo>
                      <a:pt x="6389" y="879"/>
                    </a:lnTo>
                    <a:moveTo>
                      <a:pt x="6398" y="850"/>
                    </a:moveTo>
                    <a:lnTo>
                      <a:pt x="6396" y="850"/>
                    </a:lnTo>
                    <a:lnTo>
                      <a:pt x="6396" y="853"/>
                    </a:lnTo>
                    <a:lnTo>
                      <a:pt x="6396" y="872"/>
                    </a:lnTo>
                    <a:lnTo>
                      <a:pt x="6396" y="872"/>
                    </a:lnTo>
                    <a:lnTo>
                      <a:pt x="6396" y="869"/>
                    </a:lnTo>
                    <a:lnTo>
                      <a:pt x="6398" y="869"/>
                    </a:lnTo>
                    <a:lnTo>
                      <a:pt x="6398" y="850"/>
                    </a:lnTo>
                    <a:moveTo>
                      <a:pt x="3100" y="763"/>
                    </a:moveTo>
                    <a:lnTo>
                      <a:pt x="3100" y="763"/>
                    </a:lnTo>
                    <a:lnTo>
                      <a:pt x="3097" y="763"/>
                    </a:lnTo>
                    <a:lnTo>
                      <a:pt x="3097" y="765"/>
                    </a:lnTo>
                    <a:lnTo>
                      <a:pt x="3097" y="935"/>
                    </a:lnTo>
                    <a:lnTo>
                      <a:pt x="3100" y="935"/>
                    </a:lnTo>
                    <a:lnTo>
                      <a:pt x="3100" y="763"/>
                    </a:lnTo>
                    <a:moveTo>
                      <a:pt x="1010" y="753"/>
                    </a:moveTo>
                    <a:lnTo>
                      <a:pt x="1007" y="753"/>
                    </a:lnTo>
                    <a:lnTo>
                      <a:pt x="1007" y="756"/>
                    </a:lnTo>
                    <a:lnTo>
                      <a:pt x="1007" y="784"/>
                    </a:lnTo>
                    <a:lnTo>
                      <a:pt x="1010" y="784"/>
                    </a:lnTo>
                    <a:lnTo>
                      <a:pt x="1010" y="753"/>
                    </a:lnTo>
                    <a:moveTo>
                      <a:pt x="5131" y="732"/>
                    </a:moveTo>
                    <a:lnTo>
                      <a:pt x="5131" y="732"/>
                    </a:lnTo>
                    <a:lnTo>
                      <a:pt x="5131" y="734"/>
                    </a:lnTo>
                    <a:lnTo>
                      <a:pt x="5131" y="928"/>
                    </a:lnTo>
                    <a:lnTo>
                      <a:pt x="5131" y="928"/>
                    </a:lnTo>
                    <a:lnTo>
                      <a:pt x="5131" y="732"/>
                    </a:lnTo>
                    <a:moveTo>
                      <a:pt x="3138" y="658"/>
                    </a:moveTo>
                    <a:lnTo>
                      <a:pt x="3138" y="658"/>
                    </a:lnTo>
                    <a:lnTo>
                      <a:pt x="3138" y="658"/>
                    </a:lnTo>
                    <a:lnTo>
                      <a:pt x="3138" y="727"/>
                    </a:lnTo>
                    <a:lnTo>
                      <a:pt x="3138" y="727"/>
                    </a:lnTo>
                    <a:lnTo>
                      <a:pt x="3138" y="725"/>
                    </a:lnTo>
                    <a:lnTo>
                      <a:pt x="3138" y="725"/>
                    </a:lnTo>
                    <a:lnTo>
                      <a:pt x="3138" y="658"/>
                    </a:lnTo>
                    <a:moveTo>
                      <a:pt x="97" y="618"/>
                    </a:moveTo>
                    <a:lnTo>
                      <a:pt x="94" y="618"/>
                    </a:lnTo>
                    <a:lnTo>
                      <a:pt x="94" y="618"/>
                    </a:lnTo>
                    <a:lnTo>
                      <a:pt x="94" y="1409"/>
                    </a:lnTo>
                    <a:lnTo>
                      <a:pt x="97" y="1409"/>
                    </a:lnTo>
                    <a:lnTo>
                      <a:pt x="97" y="618"/>
                    </a:lnTo>
                    <a:moveTo>
                      <a:pt x="5254" y="609"/>
                    </a:moveTo>
                    <a:lnTo>
                      <a:pt x="5251" y="609"/>
                    </a:lnTo>
                    <a:lnTo>
                      <a:pt x="5251" y="611"/>
                    </a:lnTo>
                    <a:lnTo>
                      <a:pt x="5251" y="687"/>
                    </a:lnTo>
                    <a:lnTo>
                      <a:pt x="5254" y="687"/>
                    </a:lnTo>
                    <a:lnTo>
                      <a:pt x="5254" y="609"/>
                    </a:lnTo>
                    <a:moveTo>
                      <a:pt x="3282" y="583"/>
                    </a:moveTo>
                    <a:lnTo>
                      <a:pt x="3282" y="583"/>
                    </a:lnTo>
                    <a:lnTo>
                      <a:pt x="3282" y="583"/>
                    </a:lnTo>
                    <a:lnTo>
                      <a:pt x="3282" y="585"/>
                    </a:lnTo>
                    <a:lnTo>
                      <a:pt x="3282" y="613"/>
                    </a:lnTo>
                    <a:lnTo>
                      <a:pt x="3282" y="613"/>
                    </a:lnTo>
                    <a:lnTo>
                      <a:pt x="3282" y="583"/>
                    </a:lnTo>
                    <a:moveTo>
                      <a:pt x="303" y="547"/>
                    </a:moveTo>
                    <a:lnTo>
                      <a:pt x="300" y="547"/>
                    </a:lnTo>
                    <a:lnTo>
                      <a:pt x="300" y="550"/>
                    </a:lnTo>
                    <a:lnTo>
                      <a:pt x="300" y="573"/>
                    </a:lnTo>
                    <a:lnTo>
                      <a:pt x="303" y="573"/>
                    </a:lnTo>
                    <a:lnTo>
                      <a:pt x="303" y="547"/>
                    </a:lnTo>
                    <a:moveTo>
                      <a:pt x="7025" y="509"/>
                    </a:moveTo>
                    <a:lnTo>
                      <a:pt x="7023" y="509"/>
                    </a:lnTo>
                    <a:lnTo>
                      <a:pt x="7023" y="512"/>
                    </a:lnTo>
                    <a:lnTo>
                      <a:pt x="7023" y="1049"/>
                    </a:lnTo>
                    <a:lnTo>
                      <a:pt x="7025" y="1049"/>
                    </a:lnTo>
                    <a:lnTo>
                      <a:pt x="7025" y="1648"/>
                    </a:lnTo>
                    <a:lnTo>
                      <a:pt x="7025" y="1648"/>
                    </a:lnTo>
                    <a:lnTo>
                      <a:pt x="7025" y="509"/>
                    </a:lnTo>
                    <a:moveTo>
                      <a:pt x="4192" y="505"/>
                    </a:moveTo>
                    <a:lnTo>
                      <a:pt x="4192" y="505"/>
                    </a:lnTo>
                    <a:lnTo>
                      <a:pt x="4192" y="505"/>
                    </a:lnTo>
                    <a:lnTo>
                      <a:pt x="4159" y="550"/>
                    </a:lnTo>
                    <a:lnTo>
                      <a:pt x="4159" y="550"/>
                    </a:lnTo>
                    <a:lnTo>
                      <a:pt x="4192" y="505"/>
                    </a:lnTo>
                    <a:moveTo>
                      <a:pt x="3301" y="502"/>
                    </a:moveTo>
                    <a:lnTo>
                      <a:pt x="3298" y="502"/>
                    </a:lnTo>
                    <a:lnTo>
                      <a:pt x="3298" y="502"/>
                    </a:lnTo>
                    <a:lnTo>
                      <a:pt x="3298" y="505"/>
                    </a:lnTo>
                    <a:lnTo>
                      <a:pt x="3298" y="566"/>
                    </a:lnTo>
                    <a:lnTo>
                      <a:pt x="3298" y="566"/>
                    </a:lnTo>
                    <a:lnTo>
                      <a:pt x="3298" y="564"/>
                    </a:lnTo>
                    <a:lnTo>
                      <a:pt x="3301" y="564"/>
                    </a:lnTo>
                    <a:lnTo>
                      <a:pt x="3301" y="502"/>
                    </a:lnTo>
                    <a:moveTo>
                      <a:pt x="4036" y="455"/>
                    </a:moveTo>
                    <a:lnTo>
                      <a:pt x="4034" y="455"/>
                    </a:lnTo>
                    <a:lnTo>
                      <a:pt x="4034" y="455"/>
                    </a:lnTo>
                    <a:lnTo>
                      <a:pt x="4034" y="457"/>
                    </a:lnTo>
                    <a:lnTo>
                      <a:pt x="4034" y="490"/>
                    </a:lnTo>
                    <a:lnTo>
                      <a:pt x="3953" y="644"/>
                    </a:lnTo>
                    <a:lnTo>
                      <a:pt x="3953" y="883"/>
                    </a:lnTo>
                    <a:lnTo>
                      <a:pt x="3956" y="883"/>
                    </a:lnTo>
                    <a:lnTo>
                      <a:pt x="3956" y="642"/>
                    </a:lnTo>
                    <a:lnTo>
                      <a:pt x="4036" y="490"/>
                    </a:lnTo>
                    <a:lnTo>
                      <a:pt x="4036" y="455"/>
                    </a:lnTo>
                    <a:moveTo>
                      <a:pt x="3329" y="434"/>
                    </a:moveTo>
                    <a:lnTo>
                      <a:pt x="3327" y="434"/>
                    </a:lnTo>
                    <a:lnTo>
                      <a:pt x="3327" y="436"/>
                    </a:lnTo>
                    <a:lnTo>
                      <a:pt x="3327" y="474"/>
                    </a:lnTo>
                    <a:lnTo>
                      <a:pt x="3327" y="474"/>
                    </a:lnTo>
                    <a:lnTo>
                      <a:pt x="3327" y="471"/>
                    </a:lnTo>
                    <a:lnTo>
                      <a:pt x="3329" y="471"/>
                    </a:lnTo>
                    <a:lnTo>
                      <a:pt x="3329" y="434"/>
                    </a:lnTo>
                    <a:moveTo>
                      <a:pt x="4043" y="391"/>
                    </a:moveTo>
                    <a:lnTo>
                      <a:pt x="4041" y="391"/>
                    </a:lnTo>
                    <a:lnTo>
                      <a:pt x="4041" y="391"/>
                    </a:lnTo>
                    <a:lnTo>
                      <a:pt x="4041" y="393"/>
                    </a:lnTo>
                    <a:lnTo>
                      <a:pt x="4041" y="450"/>
                    </a:lnTo>
                    <a:lnTo>
                      <a:pt x="4043" y="450"/>
                    </a:lnTo>
                    <a:lnTo>
                      <a:pt x="4043" y="448"/>
                    </a:lnTo>
                    <a:lnTo>
                      <a:pt x="4043" y="448"/>
                    </a:lnTo>
                    <a:lnTo>
                      <a:pt x="4043" y="391"/>
                    </a:lnTo>
                    <a:moveTo>
                      <a:pt x="1809" y="370"/>
                    </a:moveTo>
                    <a:lnTo>
                      <a:pt x="1809" y="370"/>
                    </a:lnTo>
                    <a:lnTo>
                      <a:pt x="1809" y="372"/>
                    </a:lnTo>
                    <a:lnTo>
                      <a:pt x="1809" y="1087"/>
                    </a:lnTo>
                    <a:lnTo>
                      <a:pt x="1809" y="1087"/>
                    </a:lnTo>
                    <a:lnTo>
                      <a:pt x="1809" y="370"/>
                    </a:lnTo>
                    <a:moveTo>
                      <a:pt x="4050" y="327"/>
                    </a:moveTo>
                    <a:lnTo>
                      <a:pt x="4048" y="327"/>
                    </a:lnTo>
                    <a:lnTo>
                      <a:pt x="4048" y="329"/>
                    </a:lnTo>
                    <a:lnTo>
                      <a:pt x="4048" y="384"/>
                    </a:lnTo>
                    <a:lnTo>
                      <a:pt x="4050" y="384"/>
                    </a:lnTo>
                    <a:lnTo>
                      <a:pt x="4050" y="381"/>
                    </a:lnTo>
                    <a:lnTo>
                      <a:pt x="4050" y="381"/>
                    </a:lnTo>
                    <a:lnTo>
                      <a:pt x="4050" y="327"/>
                    </a:lnTo>
                    <a:moveTo>
                      <a:pt x="4703" y="232"/>
                    </a:moveTo>
                    <a:lnTo>
                      <a:pt x="4703" y="232"/>
                    </a:lnTo>
                    <a:lnTo>
                      <a:pt x="4701" y="235"/>
                    </a:lnTo>
                    <a:lnTo>
                      <a:pt x="4641" y="455"/>
                    </a:lnTo>
                    <a:lnTo>
                      <a:pt x="4644" y="452"/>
                    </a:lnTo>
                    <a:lnTo>
                      <a:pt x="4703" y="232"/>
                    </a:lnTo>
                    <a:moveTo>
                      <a:pt x="4805" y="173"/>
                    </a:moveTo>
                    <a:lnTo>
                      <a:pt x="4802" y="173"/>
                    </a:lnTo>
                    <a:lnTo>
                      <a:pt x="4802" y="173"/>
                    </a:lnTo>
                    <a:lnTo>
                      <a:pt x="4802" y="175"/>
                    </a:lnTo>
                    <a:lnTo>
                      <a:pt x="4802" y="187"/>
                    </a:lnTo>
                    <a:lnTo>
                      <a:pt x="4805" y="187"/>
                    </a:lnTo>
                    <a:lnTo>
                      <a:pt x="4805" y="173"/>
                    </a:lnTo>
                    <a:moveTo>
                      <a:pt x="4852" y="0"/>
                    </a:moveTo>
                    <a:lnTo>
                      <a:pt x="4850" y="0"/>
                    </a:lnTo>
                    <a:lnTo>
                      <a:pt x="4850" y="3"/>
                    </a:lnTo>
                    <a:lnTo>
                      <a:pt x="4850" y="128"/>
                    </a:lnTo>
                    <a:lnTo>
                      <a:pt x="4852" y="128"/>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3" name="Freeform 98"/>
              <p:cNvSpPr>
                <a:spLocks noEditPoints="1"/>
              </p:cNvSpPr>
              <p:nvPr/>
            </p:nvSpPr>
            <p:spPr bwMode="auto">
              <a:xfrm>
                <a:off x="4" y="1703"/>
                <a:ext cx="7025" cy="1650"/>
              </a:xfrm>
              <a:custGeom>
                <a:avLst/>
                <a:gdLst>
                  <a:gd name="T0" fmla="*/ 0 w 7025"/>
                  <a:gd name="T1" fmla="*/ 1491 h 1650"/>
                  <a:gd name="T2" fmla="*/ 5663 w 7025"/>
                  <a:gd name="T3" fmla="*/ 1406 h 1650"/>
                  <a:gd name="T4" fmla="*/ 3708 w 7025"/>
                  <a:gd name="T5" fmla="*/ 1224 h 1650"/>
                  <a:gd name="T6" fmla="*/ 5829 w 7025"/>
                  <a:gd name="T7" fmla="*/ 1210 h 1650"/>
                  <a:gd name="T8" fmla="*/ 5831 w 7025"/>
                  <a:gd name="T9" fmla="*/ 1210 h 1650"/>
                  <a:gd name="T10" fmla="*/ 1689 w 7025"/>
                  <a:gd name="T11" fmla="*/ 1136 h 1650"/>
                  <a:gd name="T12" fmla="*/ 5855 w 7025"/>
                  <a:gd name="T13" fmla="*/ 1129 h 1650"/>
                  <a:gd name="T14" fmla="*/ 5855 w 7025"/>
                  <a:gd name="T15" fmla="*/ 1184 h 1650"/>
                  <a:gd name="T16" fmla="*/ 6321 w 7025"/>
                  <a:gd name="T17" fmla="*/ 1132 h 1650"/>
                  <a:gd name="T18" fmla="*/ 1445 w 7025"/>
                  <a:gd name="T19" fmla="*/ 1127 h 1650"/>
                  <a:gd name="T20" fmla="*/ 1447 w 7025"/>
                  <a:gd name="T21" fmla="*/ 1127 h 1650"/>
                  <a:gd name="T22" fmla="*/ 1464 w 7025"/>
                  <a:gd name="T23" fmla="*/ 1110 h 1650"/>
                  <a:gd name="T24" fmla="*/ 2859 w 7025"/>
                  <a:gd name="T25" fmla="*/ 1063 h 1650"/>
                  <a:gd name="T26" fmla="*/ 2859 w 7025"/>
                  <a:gd name="T27" fmla="*/ 1063 h 1650"/>
                  <a:gd name="T28" fmla="*/ 5928 w 7025"/>
                  <a:gd name="T29" fmla="*/ 1087 h 1650"/>
                  <a:gd name="T30" fmla="*/ 2876 w 7025"/>
                  <a:gd name="T31" fmla="*/ 1013 h 1650"/>
                  <a:gd name="T32" fmla="*/ 2878 w 7025"/>
                  <a:gd name="T33" fmla="*/ 1013 h 1650"/>
                  <a:gd name="T34" fmla="*/ 3769 w 7025"/>
                  <a:gd name="T35" fmla="*/ 1181 h 1650"/>
                  <a:gd name="T36" fmla="*/ 5947 w 7025"/>
                  <a:gd name="T37" fmla="*/ 1025 h 1650"/>
                  <a:gd name="T38" fmla="*/ 6340 w 7025"/>
                  <a:gd name="T39" fmla="*/ 937 h 1650"/>
                  <a:gd name="T40" fmla="*/ 6340 w 7025"/>
                  <a:gd name="T41" fmla="*/ 1113 h 1650"/>
                  <a:gd name="T42" fmla="*/ 3843 w 7025"/>
                  <a:gd name="T43" fmla="*/ 928 h 1650"/>
                  <a:gd name="T44" fmla="*/ 6389 w 7025"/>
                  <a:gd name="T45" fmla="*/ 878 h 1650"/>
                  <a:gd name="T46" fmla="*/ 6389 w 7025"/>
                  <a:gd name="T47" fmla="*/ 892 h 1650"/>
                  <a:gd name="T48" fmla="*/ 6396 w 7025"/>
                  <a:gd name="T49" fmla="*/ 850 h 1650"/>
                  <a:gd name="T50" fmla="*/ 6396 w 7025"/>
                  <a:gd name="T51" fmla="*/ 869 h 1650"/>
                  <a:gd name="T52" fmla="*/ 3098 w 7025"/>
                  <a:gd name="T53" fmla="*/ 765 h 1650"/>
                  <a:gd name="T54" fmla="*/ 1008 w 7025"/>
                  <a:gd name="T55" fmla="*/ 753 h 1650"/>
                  <a:gd name="T56" fmla="*/ 5131 w 7025"/>
                  <a:gd name="T57" fmla="*/ 731 h 1650"/>
                  <a:gd name="T58" fmla="*/ 5131 w 7025"/>
                  <a:gd name="T59" fmla="*/ 731 h 1650"/>
                  <a:gd name="T60" fmla="*/ 3138 w 7025"/>
                  <a:gd name="T61" fmla="*/ 727 h 1650"/>
                  <a:gd name="T62" fmla="*/ 95 w 7025"/>
                  <a:gd name="T63" fmla="*/ 618 h 1650"/>
                  <a:gd name="T64" fmla="*/ 5252 w 7025"/>
                  <a:gd name="T65" fmla="*/ 611 h 1650"/>
                  <a:gd name="T66" fmla="*/ 5252 w 7025"/>
                  <a:gd name="T67" fmla="*/ 611 h 1650"/>
                  <a:gd name="T68" fmla="*/ 3280 w 7025"/>
                  <a:gd name="T69" fmla="*/ 615 h 1650"/>
                  <a:gd name="T70" fmla="*/ 301 w 7025"/>
                  <a:gd name="T71" fmla="*/ 549 h 1650"/>
                  <a:gd name="T72" fmla="*/ 7023 w 7025"/>
                  <a:gd name="T73" fmla="*/ 509 h 1650"/>
                  <a:gd name="T74" fmla="*/ 4193 w 7025"/>
                  <a:gd name="T75" fmla="*/ 504 h 1650"/>
                  <a:gd name="T76" fmla="*/ 4193 w 7025"/>
                  <a:gd name="T77" fmla="*/ 504 h 1650"/>
                  <a:gd name="T78" fmla="*/ 3299 w 7025"/>
                  <a:gd name="T79" fmla="*/ 566 h 1650"/>
                  <a:gd name="T80" fmla="*/ 4036 w 7025"/>
                  <a:gd name="T81" fmla="*/ 454 h 1650"/>
                  <a:gd name="T82" fmla="*/ 3954 w 7025"/>
                  <a:gd name="T83" fmla="*/ 644 h 1650"/>
                  <a:gd name="T84" fmla="*/ 4036 w 7025"/>
                  <a:gd name="T85" fmla="*/ 454 h 1650"/>
                  <a:gd name="T86" fmla="*/ 3327 w 7025"/>
                  <a:gd name="T87" fmla="*/ 473 h 1650"/>
                  <a:gd name="T88" fmla="*/ 4041 w 7025"/>
                  <a:gd name="T89" fmla="*/ 391 h 1650"/>
                  <a:gd name="T90" fmla="*/ 4041 w 7025"/>
                  <a:gd name="T91" fmla="*/ 447 h 1650"/>
                  <a:gd name="T92" fmla="*/ 1807 w 7025"/>
                  <a:gd name="T93" fmla="*/ 372 h 1650"/>
                  <a:gd name="T94" fmla="*/ 4048 w 7025"/>
                  <a:gd name="T95" fmla="*/ 329 h 1650"/>
                  <a:gd name="T96" fmla="*/ 4051 w 7025"/>
                  <a:gd name="T97" fmla="*/ 381 h 1650"/>
                  <a:gd name="T98" fmla="*/ 4642 w 7025"/>
                  <a:gd name="T99" fmla="*/ 454 h 1650"/>
                  <a:gd name="T100" fmla="*/ 4803 w 7025"/>
                  <a:gd name="T101" fmla="*/ 173 h 1650"/>
                  <a:gd name="T102" fmla="*/ 4852 w 7025"/>
                  <a:gd name="T103" fmla="*/ 0 h 1650"/>
                  <a:gd name="T104" fmla="*/ 4852 w 7025"/>
                  <a:gd name="T105" fmla="*/ 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50">
                    <a:moveTo>
                      <a:pt x="0" y="1454"/>
                    </a:moveTo>
                    <a:lnTo>
                      <a:pt x="0" y="1454"/>
                    </a:lnTo>
                    <a:lnTo>
                      <a:pt x="0" y="1456"/>
                    </a:lnTo>
                    <a:lnTo>
                      <a:pt x="0" y="1491"/>
                    </a:lnTo>
                    <a:lnTo>
                      <a:pt x="0" y="1491"/>
                    </a:lnTo>
                    <a:lnTo>
                      <a:pt x="0" y="1454"/>
                    </a:lnTo>
                    <a:close/>
                    <a:moveTo>
                      <a:pt x="5666" y="1326"/>
                    </a:moveTo>
                    <a:lnTo>
                      <a:pt x="5663" y="1326"/>
                    </a:lnTo>
                    <a:lnTo>
                      <a:pt x="5663" y="1328"/>
                    </a:lnTo>
                    <a:lnTo>
                      <a:pt x="5663" y="1406"/>
                    </a:lnTo>
                    <a:lnTo>
                      <a:pt x="5666" y="1406"/>
                    </a:lnTo>
                    <a:lnTo>
                      <a:pt x="5666" y="1326"/>
                    </a:lnTo>
                    <a:close/>
                    <a:moveTo>
                      <a:pt x="3710" y="1224"/>
                    </a:moveTo>
                    <a:lnTo>
                      <a:pt x="3708" y="1224"/>
                    </a:lnTo>
                    <a:lnTo>
                      <a:pt x="3708" y="1224"/>
                    </a:lnTo>
                    <a:lnTo>
                      <a:pt x="3708" y="1274"/>
                    </a:lnTo>
                    <a:lnTo>
                      <a:pt x="3710" y="1274"/>
                    </a:lnTo>
                    <a:lnTo>
                      <a:pt x="3710" y="1224"/>
                    </a:lnTo>
                    <a:close/>
                    <a:moveTo>
                      <a:pt x="5831" y="1210"/>
                    </a:moveTo>
                    <a:lnTo>
                      <a:pt x="5829" y="1210"/>
                    </a:lnTo>
                    <a:lnTo>
                      <a:pt x="5829" y="1210"/>
                    </a:lnTo>
                    <a:lnTo>
                      <a:pt x="5829" y="1212"/>
                    </a:lnTo>
                    <a:lnTo>
                      <a:pt x="5829" y="1283"/>
                    </a:lnTo>
                    <a:lnTo>
                      <a:pt x="5831" y="1283"/>
                    </a:lnTo>
                    <a:lnTo>
                      <a:pt x="5831" y="1210"/>
                    </a:lnTo>
                    <a:close/>
                    <a:moveTo>
                      <a:pt x="1689" y="1132"/>
                    </a:moveTo>
                    <a:lnTo>
                      <a:pt x="1686" y="1132"/>
                    </a:lnTo>
                    <a:lnTo>
                      <a:pt x="1686" y="1134"/>
                    </a:lnTo>
                    <a:lnTo>
                      <a:pt x="1686" y="1136"/>
                    </a:lnTo>
                    <a:lnTo>
                      <a:pt x="1689" y="1136"/>
                    </a:lnTo>
                    <a:lnTo>
                      <a:pt x="1689" y="1134"/>
                    </a:lnTo>
                    <a:lnTo>
                      <a:pt x="1689" y="1134"/>
                    </a:lnTo>
                    <a:lnTo>
                      <a:pt x="1689" y="1132"/>
                    </a:lnTo>
                    <a:close/>
                    <a:moveTo>
                      <a:pt x="5855" y="1129"/>
                    </a:moveTo>
                    <a:lnTo>
                      <a:pt x="5855" y="1129"/>
                    </a:lnTo>
                    <a:lnTo>
                      <a:pt x="5855" y="1132"/>
                    </a:lnTo>
                    <a:lnTo>
                      <a:pt x="5855" y="1186"/>
                    </a:lnTo>
                    <a:lnTo>
                      <a:pt x="5855" y="1186"/>
                    </a:lnTo>
                    <a:lnTo>
                      <a:pt x="5855" y="1184"/>
                    </a:lnTo>
                    <a:lnTo>
                      <a:pt x="5855" y="1184"/>
                    </a:lnTo>
                    <a:lnTo>
                      <a:pt x="5855" y="1129"/>
                    </a:lnTo>
                    <a:close/>
                    <a:moveTo>
                      <a:pt x="6323" y="1129"/>
                    </a:moveTo>
                    <a:lnTo>
                      <a:pt x="6321" y="1129"/>
                    </a:lnTo>
                    <a:lnTo>
                      <a:pt x="6321" y="1129"/>
                    </a:lnTo>
                    <a:lnTo>
                      <a:pt x="6321" y="1132"/>
                    </a:lnTo>
                    <a:lnTo>
                      <a:pt x="6321" y="1167"/>
                    </a:lnTo>
                    <a:lnTo>
                      <a:pt x="6323" y="1167"/>
                    </a:lnTo>
                    <a:lnTo>
                      <a:pt x="6323" y="1129"/>
                    </a:lnTo>
                    <a:close/>
                    <a:moveTo>
                      <a:pt x="1447" y="1127"/>
                    </a:moveTo>
                    <a:lnTo>
                      <a:pt x="1445" y="1127"/>
                    </a:lnTo>
                    <a:lnTo>
                      <a:pt x="1445" y="1127"/>
                    </a:lnTo>
                    <a:lnTo>
                      <a:pt x="1445" y="1129"/>
                    </a:lnTo>
                    <a:lnTo>
                      <a:pt x="1445" y="1158"/>
                    </a:lnTo>
                    <a:lnTo>
                      <a:pt x="1447" y="1158"/>
                    </a:lnTo>
                    <a:lnTo>
                      <a:pt x="1447" y="1127"/>
                    </a:lnTo>
                    <a:close/>
                    <a:moveTo>
                      <a:pt x="1464" y="1084"/>
                    </a:moveTo>
                    <a:lnTo>
                      <a:pt x="1462" y="1084"/>
                    </a:lnTo>
                    <a:lnTo>
                      <a:pt x="1462" y="1087"/>
                    </a:lnTo>
                    <a:lnTo>
                      <a:pt x="1462" y="1110"/>
                    </a:lnTo>
                    <a:lnTo>
                      <a:pt x="1464" y="1110"/>
                    </a:lnTo>
                    <a:lnTo>
                      <a:pt x="1464" y="1108"/>
                    </a:lnTo>
                    <a:lnTo>
                      <a:pt x="1464" y="1108"/>
                    </a:lnTo>
                    <a:lnTo>
                      <a:pt x="1464" y="1084"/>
                    </a:lnTo>
                    <a:close/>
                    <a:moveTo>
                      <a:pt x="2859" y="1063"/>
                    </a:moveTo>
                    <a:lnTo>
                      <a:pt x="2859" y="1063"/>
                    </a:lnTo>
                    <a:lnTo>
                      <a:pt x="2859" y="1063"/>
                    </a:lnTo>
                    <a:lnTo>
                      <a:pt x="2859" y="1065"/>
                    </a:lnTo>
                    <a:lnTo>
                      <a:pt x="2859" y="1198"/>
                    </a:lnTo>
                    <a:lnTo>
                      <a:pt x="2859" y="1198"/>
                    </a:lnTo>
                    <a:lnTo>
                      <a:pt x="2859" y="1063"/>
                    </a:lnTo>
                    <a:close/>
                    <a:moveTo>
                      <a:pt x="5930" y="1042"/>
                    </a:moveTo>
                    <a:lnTo>
                      <a:pt x="5930" y="1042"/>
                    </a:lnTo>
                    <a:lnTo>
                      <a:pt x="5928" y="1042"/>
                    </a:lnTo>
                    <a:lnTo>
                      <a:pt x="5928" y="1044"/>
                    </a:lnTo>
                    <a:lnTo>
                      <a:pt x="5928" y="1087"/>
                    </a:lnTo>
                    <a:lnTo>
                      <a:pt x="5930" y="1087"/>
                    </a:lnTo>
                    <a:lnTo>
                      <a:pt x="5930" y="1042"/>
                    </a:lnTo>
                    <a:close/>
                    <a:moveTo>
                      <a:pt x="2878" y="1013"/>
                    </a:moveTo>
                    <a:lnTo>
                      <a:pt x="2876" y="1013"/>
                    </a:lnTo>
                    <a:lnTo>
                      <a:pt x="2876" y="1013"/>
                    </a:lnTo>
                    <a:lnTo>
                      <a:pt x="2876" y="1046"/>
                    </a:lnTo>
                    <a:lnTo>
                      <a:pt x="2876" y="1046"/>
                    </a:lnTo>
                    <a:lnTo>
                      <a:pt x="2876" y="1044"/>
                    </a:lnTo>
                    <a:lnTo>
                      <a:pt x="2878" y="1044"/>
                    </a:lnTo>
                    <a:lnTo>
                      <a:pt x="2878" y="1013"/>
                    </a:lnTo>
                    <a:close/>
                    <a:moveTo>
                      <a:pt x="3769" y="994"/>
                    </a:moveTo>
                    <a:lnTo>
                      <a:pt x="3769" y="994"/>
                    </a:lnTo>
                    <a:lnTo>
                      <a:pt x="3769" y="997"/>
                    </a:lnTo>
                    <a:lnTo>
                      <a:pt x="3769" y="1181"/>
                    </a:lnTo>
                    <a:lnTo>
                      <a:pt x="3769" y="1181"/>
                    </a:lnTo>
                    <a:lnTo>
                      <a:pt x="3769" y="994"/>
                    </a:lnTo>
                    <a:close/>
                    <a:moveTo>
                      <a:pt x="5949" y="990"/>
                    </a:moveTo>
                    <a:lnTo>
                      <a:pt x="5947" y="990"/>
                    </a:lnTo>
                    <a:lnTo>
                      <a:pt x="5947" y="992"/>
                    </a:lnTo>
                    <a:lnTo>
                      <a:pt x="5947" y="1025"/>
                    </a:lnTo>
                    <a:lnTo>
                      <a:pt x="5947" y="1025"/>
                    </a:lnTo>
                    <a:lnTo>
                      <a:pt x="5947" y="1023"/>
                    </a:lnTo>
                    <a:lnTo>
                      <a:pt x="5949" y="1023"/>
                    </a:lnTo>
                    <a:lnTo>
                      <a:pt x="5949" y="990"/>
                    </a:lnTo>
                    <a:close/>
                    <a:moveTo>
                      <a:pt x="6340" y="937"/>
                    </a:moveTo>
                    <a:lnTo>
                      <a:pt x="6340" y="937"/>
                    </a:lnTo>
                    <a:lnTo>
                      <a:pt x="6337" y="937"/>
                    </a:lnTo>
                    <a:lnTo>
                      <a:pt x="6337" y="937"/>
                    </a:lnTo>
                    <a:lnTo>
                      <a:pt x="6337" y="1113"/>
                    </a:lnTo>
                    <a:lnTo>
                      <a:pt x="6340" y="1113"/>
                    </a:lnTo>
                    <a:lnTo>
                      <a:pt x="6340" y="1110"/>
                    </a:lnTo>
                    <a:lnTo>
                      <a:pt x="6340" y="1110"/>
                    </a:lnTo>
                    <a:lnTo>
                      <a:pt x="6340" y="937"/>
                    </a:lnTo>
                    <a:close/>
                    <a:moveTo>
                      <a:pt x="3845" y="928"/>
                    </a:moveTo>
                    <a:lnTo>
                      <a:pt x="3843" y="928"/>
                    </a:lnTo>
                    <a:lnTo>
                      <a:pt x="3843" y="930"/>
                    </a:lnTo>
                    <a:lnTo>
                      <a:pt x="3843" y="952"/>
                    </a:lnTo>
                    <a:lnTo>
                      <a:pt x="3845" y="952"/>
                    </a:lnTo>
                    <a:lnTo>
                      <a:pt x="3845" y="928"/>
                    </a:lnTo>
                    <a:close/>
                    <a:moveTo>
                      <a:pt x="6389" y="878"/>
                    </a:moveTo>
                    <a:lnTo>
                      <a:pt x="6389" y="878"/>
                    </a:lnTo>
                    <a:lnTo>
                      <a:pt x="6387" y="878"/>
                    </a:lnTo>
                    <a:lnTo>
                      <a:pt x="6387" y="881"/>
                    </a:lnTo>
                    <a:lnTo>
                      <a:pt x="6387" y="892"/>
                    </a:lnTo>
                    <a:lnTo>
                      <a:pt x="6389" y="892"/>
                    </a:lnTo>
                    <a:lnTo>
                      <a:pt x="6389" y="890"/>
                    </a:lnTo>
                    <a:lnTo>
                      <a:pt x="6389" y="890"/>
                    </a:lnTo>
                    <a:lnTo>
                      <a:pt x="6389" y="878"/>
                    </a:lnTo>
                    <a:close/>
                    <a:moveTo>
                      <a:pt x="6396" y="850"/>
                    </a:moveTo>
                    <a:lnTo>
                      <a:pt x="6396" y="850"/>
                    </a:lnTo>
                    <a:lnTo>
                      <a:pt x="6396" y="852"/>
                    </a:lnTo>
                    <a:lnTo>
                      <a:pt x="6396" y="871"/>
                    </a:lnTo>
                    <a:lnTo>
                      <a:pt x="6396" y="871"/>
                    </a:lnTo>
                    <a:lnTo>
                      <a:pt x="6396" y="869"/>
                    </a:lnTo>
                    <a:lnTo>
                      <a:pt x="6396" y="869"/>
                    </a:lnTo>
                    <a:lnTo>
                      <a:pt x="6396" y="850"/>
                    </a:lnTo>
                    <a:close/>
                    <a:moveTo>
                      <a:pt x="3100" y="762"/>
                    </a:moveTo>
                    <a:lnTo>
                      <a:pt x="3100" y="762"/>
                    </a:lnTo>
                    <a:lnTo>
                      <a:pt x="3098" y="762"/>
                    </a:lnTo>
                    <a:lnTo>
                      <a:pt x="3098" y="765"/>
                    </a:lnTo>
                    <a:lnTo>
                      <a:pt x="3098" y="937"/>
                    </a:lnTo>
                    <a:lnTo>
                      <a:pt x="3100" y="937"/>
                    </a:lnTo>
                    <a:lnTo>
                      <a:pt x="3100" y="762"/>
                    </a:lnTo>
                    <a:close/>
                    <a:moveTo>
                      <a:pt x="1008" y="753"/>
                    </a:moveTo>
                    <a:lnTo>
                      <a:pt x="1008" y="753"/>
                    </a:lnTo>
                    <a:lnTo>
                      <a:pt x="1008" y="755"/>
                    </a:lnTo>
                    <a:lnTo>
                      <a:pt x="1008" y="786"/>
                    </a:lnTo>
                    <a:lnTo>
                      <a:pt x="1008" y="786"/>
                    </a:lnTo>
                    <a:lnTo>
                      <a:pt x="1008" y="753"/>
                    </a:lnTo>
                    <a:close/>
                    <a:moveTo>
                      <a:pt x="5131" y="731"/>
                    </a:moveTo>
                    <a:lnTo>
                      <a:pt x="5129" y="731"/>
                    </a:lnTo>
                    <a:lnTo>
                      <a:pt x="5129" y="734"/>
                    </a:lnTo>
                    <a:lnTo>
                      <a:pt x="5129" y="930"/>
                    </a:lnTo>
                    <a:lnTo>
                      <a:pt x="5131" y="930"/>
                    </a:lnTo>
                    <a:lnTo>
                      <a:pt x="5131" y="731"/>
                    </a:lnTo>
                    <a:close/>
                    <a:moveTo>
                      <a:pt x="3138" y="658"/>
                    </a:moveTo>
                    <a:lnTo>
                      <a:pt x="3136" y="658"/>
                    </a:lnTo>
                    <a:lnTo>
                      <a:pt x="3136" y="660"/>
                    </a:lnTo>
                    <a:lnTo>
                      <a:pt x="3136" y="727"/>
                    </a:lnTo>
                    <a:lnTo>
                      <a:pt x="3138" y="727"/>
                    </a:lnTo>
                    <a:lnTo>
                      <a:pt x="3138" y="724"/>
                    </a:lnTo>
                    <a:lnTo>
                      <a:pt x="3138" y="724"/>
                    </a:lnTo>
                    <a:lnTo>
                      <a:pt x="3138" y="658"/>
                    </a:lnTo>
                    <a:close/>
                    <a:moveTo>
                      <a:pt x="97" y="618"/>
                    </a:moveTo>
                    <a:lnTo>
                      <a:pt x="95" y="618"/>
                    </a:lnTo>
                    <a:lnTo>
                      <a:pt x="95" y="620"/>
                    </a:lnTo>
                    <a:lnTo>
                      <a:pt x="95" y="1411"/>
                    </a:lnTo>
                    <a:lnTo>
                      <a:pt x="97" y="1411"/>
                    </a:lnTo>
                    <a:lnTo>
                      <a:pt x="97" y="618"/>
                    </a:lnTo>
                    <a:close/>
                    <a:moveTo>
                      <a:pt x="5252" y="611"/>
                    </a:moveTo>
                    <a:lnTo>
                      <a:pt x="5252" y="611"/>
                    </a:lnTo>
                    <a:lnTo>
                      <a:pt x="5252" y="611"/>
                    </a:lnTo>
                    <a:lnTo>
                      <a:pt x="5252" y="689"/>
                    </a:lnTo>
                    <a:lnTo>
                      <a:pt x="5252" y="689"/>
                    </a:lnTo>
                    <a:lnTo>
                      <a:pt x="5252" y="611"/>
                    </a:lnTo>
                    <a:close/>
                    <a:moveTo>
                      <a:pt x="3282" y="582"/>
                    </a:moveTo>
                    <a:lnTo>
                      <a:pt x="3282" y="582"/>
                    </a:lnTo>
                    <a:lnTo>
                      <a:pt x="3280" y="582"/>
                    </a:lnTo>
                    <a:lnTo>
                      <a:pt x="3280" y="585"/>
                    </a:lnTo>
                    <a:lnTo>
                      <a:pt x="3280" y="615"/>
                    </a:lnTo>
                    <a:lnTo>
                      <a:pt x="3282" y="615"/>
                    </a:lnTo>
                    <a:lnTo>
                      <a:pt x="3282" y="582"/>
                    </a:lnTo>
                    <a:close/>
                    <a:moveTo>
                      <a:pt x="303" y="547"/>
                    </a:moveTo>
                    <a:lnTo>
                      <a:pt x="301" y="547"/>
                    </a:lnTo>
                    <a:lnTo>
                      <a:pt x="301" y="549"/>
                    </a:lnTo>
                    <a:lnTo>
                      <a:pt x="301" y="575"/>
                    </a:lnTo>
                    <a:lnTo>
                      <a:pt x="303" y="575"/>
                    </a:lnTo>
                    <a:lnTo>
                      <a:pt x="303" y="547"/>
                    </a:lnTo>
                    <a:close/>
                    <a:moveTo>
                      <a:pt x="7025" y="509"/>
                    </a:moveTo>
                    <a:lnTo>
                      <a:pt x="7023" y="509"/>
                    </a:lnTo>
                    <a:lnTo>
                      <a:pt x="7023" y="511"/>
                    </a:lnTo>
                    <a:lnTo>
                      <a:pt x="7023" y="1650"/>
                    </a:lnTo>
                    <a:lnTo>
                      <a:pt x="7025" y="1650"/>
                    </a:lnTo>
                    <a:lnTo>
                      <a:pt x="7025" y="509"/>
                    </a:lnTo>
                    <a:close/>
                    <a:moveTo>
                      <a:pt x="4193" y="504"/>
                    </a:moveTo>
                    <a:lnTo>
                      <a:pt x="4193" y="504"/>
                    </a:lnTo>
                    <a:lnTo>
                      <a:pt x="4190" y="507"/>
                    </a:lnTo>
                    <a:lnTo>
                      <a:pt x="4157" y="552"/>
                    </a:lnTo>
                    <a:lnTo>
                      <a:pt x="4159" y="552"/>
                    </a:lnTo>
                    <a:lnTo>
                      <a:pt x="4193" y="504"/>
                    </a:lnTo>
                    <a:close/>
                    <a:moveTo>
                      <a:pt x="3299" y="502"/>
                    </a:moveTo>
                    <a:lnTo>
                      <a:pt x="3299" y="502"/>
                    </a:lnTo>
                    <a:lnTo>
                      <a:pt x="3299" y="502"/>
                    </a:lnTo>
                    <a:lnTo>
                      <a:pt x="3299" y="504"/>
                    </a:lnTo>
                    <a:lnTo>
                      <a:pt x="3299" y="566"/>
                    </a:lnTo>
                    <a:lnTo>
                      <a:pt x="3299" y="566"/>
                    </a:lnTo>
                    <a:lnTo>
                      <a:pt x="3299" y="563"/>
                    </a:lnTo>
                    <a:lnTo>
                      <a:pt x="3299" y="563"/>
                    </a:lnTo>
                    <a:lnTo>
                      <a:pt x="3299" y="502"/>
                    </a:lnTo>
                    <a:close/>
                    <a:moveTo>
                      <a:pt x="4036" y="454"/>
                    </a:moveTo>
                    <a:lnTo>
                      <a:pt x="4034" y="454"/>
                    </a:lnTo>
                    <a:lnTo>
                      <a:pt x="4034" y="454"/>
                    </a:lnTo>
                    <a:lnTo>
                      <a:pt x="4034" y="457"/>
                    </a:lnTo>
                    <a:lnTo>
                      <a:pt x="4034" y="492"/>
                    </a:lnTo>
                    <a:lnTo>
                      <a:pt x="3954" y="644"/>
                    </a:lnTo>
                    <a:lnTo>
                      <a:pt x="3954" y="885"/>
                    </a:lnTo>
                    <a:lnTo>
                      <a:pt x="3954" y="885"/>
                    </a:lnTo>
                    <a:lnTo>
                      <a:pt x="3954" y="642"/>
                    </a:lnTo>
                    <a:lnTo>
                      <a:pt x="4036" y="490"/>
                    </a:lnTo>
                    <a:lnTo>
                      <a:pt x="4036" y="454"/>
                    </a:lnTo>
                    <a:close/>
                    <a:moveTo>
                      <a:pt x="3330" y="436"/>
                    </a:moveTo>
                    <a:lnTo>
                      <a:pt x="3327" y="436"/>
                    </a:lnTo>
                    <a:lnTo>
                      <a:pt x="3327" y="436"/>
                    </a:lnTo>
                    <a:lnTo>
                      <a:pt x="3327" y="473"/>
                    </a:lnTo>
                    <a:lnTo>
                      <a:pt x="3327" y="473"/>
                    </a:lnTo>
                    <a:lnTo>
                      <a:pt x="3327" y="471"/>
                    </a:lnTo>
                    <a:lnTo>
                      <a:pt x="3330" y="471"/>
                    </a:lnTo>
                    <a:lnTo>
                      <a:pt x="3330" y="436"/>
                    </a:lnTo>
                    <a:close/>
                    <a:moveTo>
                      <a:pt x="4041" y="391"/>
                    </a:moveTo>
                    <a:lnTo>
                      <a:pt x="4041" y="391"/>
                    </a:lnTo>
                    <a:lnTo>
                      <a:pt x="4041" y="391"/>
                    </a:lnTo>
                    <a:lnTo>
                      <a:pt x="4041" y="393"/>
                    </a:lnTo>
                    <a:lnTo>
                      <a:pt x="4041" y="450"/>
                    </a:lnTo>
                    <a:lnTo>
                      <a:pt x="4041" y="450"/>
                    </a:lnTo>
                    <a:lnTo>
                      <a:pt x="4041" y="447"/>
                    </a:lnTo>
                    <a:lnTo>
                      <a:pt x="4041" y="447"/>
                    </a:lnTo>
                    <a:lnTo>
                      <a:pt x="4041" y="391"/>
                    </a:lnTo>
                    <a:close/>
                    <a:moveTo>
                      <a:pt x="1809" y="369"/>
                    </a:moveTo>
                    <a:lnTo>
                      <a:pt x="1807" y="369"/>
                    </a:lnTo>
                    <a:lnTo>
                      <a:pt x="1807" y="372"/>
                    </a:lnTo>
                    <a:lnTo>
                      <a:pt x="1807" y="1089"/>
                    </a:lnTo>
                    <a:lnTo>
                      <a:pt x="1809" y="1089"/>
                    </a:lnTo>
                    <a:lnTo>
                      <a:pt x="1809" y="369"/>
                    </a:lnTo>
                    <a:close/>
                    <a:moveTo>
                      <a:pt x="4051" y="329"/>
                    </a:moveTo>
                    <a:lnTo>
                      <a:pt x="4048" y="329"/>
                    </a:lnTo>
                    <a:lnTo>
                      <a:pt x="4048" y="329"/>
                    </a:lnTo>
                    <a:lnTo>
                      <a:pt x="4048" y="383"/>
                    </a:lnTo>
                    <a:lnTo>
                      <a:pt x="4048" y="383"/>
                    </a:lnTo>
                    <a:lnTo>
                      <a:pt x="4048" y="381"/>
                    </a:lnTo>
                    <a:lnTo>
                      <a:pt x="4051" y="381"/>
                    </a:lnTo>
                    <a:lnTo>
                      <a:pt x="4051" y="329"/>
                    </a:lnTo>
                    <a:close/>
                    <a:moveTo>
                      <a:pt x="4703" y="232"/>
                    </a:moveTo>
                    <a:lnTo>
                      <a:pt x="4701" y="232"/>
                    </a:lnTo>
                    <a:lnTo>
                      <a:pt x="4701" y="234"/>
                    </a:lnTo>
                    <a:lnTo>
                      <a:pt x="4642" y="454"/>
                    </a:lnTo>
                    <a:lnTo>
                      <a:pt x="4642" y="454"/>
                    </a:lnTo>
                    <a:lnTo>
                      <a:pt x="4703" y="232"/>
                    </a:lnTo>
                    <a:close/>
                    <a:moveTo>
                      <a:pt x="4803" y="173"/>
                    </a:moveTo>
                    <a:lnTo>
                      <a:pt x="4803" y="173"/>
                    </a:lnTo>
                    <a:lnTo>
                      <a:pt x="4803" y="173"/>
                    </a:lnTo>
                    <a:lnTo>
                      <a:pt x="4803" y="175"/>
                    </a:lnTo>
                    <a:lnTo>
                      <a:pt x="4803" y="189"/>
                    </a:lnTo>
                    <a:lnTo>
                      <a:pt x="4803" y="189"/>
                    </a:lnTo>
                    <a:lnTo>
                      <a:pt x="4803" y="173"/>
                    </a:lnTo>
                    <a:close/>
                    <a:moveTo>
                      <a:pt x="4852" y="0"/>
                    </a:moveTo>
                    <a:lnTo>
                      <a:pt x="4850" y="0"/>
                    </a:lnTo>
                    <a:lnTo>
                      <a:pt x="4850" y="2"/>
                    </a:lnTo>
                    <a:lnTo>
                      <a:pt x="4850" y="130"/>
                    </a:lnTo>
                    <a:lnTo>
                      <a:pt x="4852" y="130"/>
                    </a:lnTo>
                    <a:lnTo>
                      <a:pt x="4852" y="0"/>
                    </a:lnTo>
                    <a:close/>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4" name="Freeform 99"/>
              <p:cNvSpPr>
                <a:spLocks noEditPoints="1"/>
              </p:cNvSpPr>
              <p:nvPr/>
            </p:nvSpPr>
            <p:spPr bwMode="auto">
              <a:xfrm>
                <a:off x="4" y="1703"/>
                <a:ext cx="7025" cy="1650"/>
              </a:xfrm>
              <a:custGeom>
                <a:avLst/>
                <a:gdLst>
                  <a:gd name="T0" fmla="*/ 0 w 7025"/>
                  <a:gd name="T1" fmla="*/ 1491 h 1650"/>
                  <a:gd name="T2" fmla="*/ 5663 w 7025"/>
                  <a:gd name="T3" fmla="*/ 1406 h 1650"/>
                  <a:gd name="T4" fmla="*/ 3708 w 7025"/>
                  <a:gd name="T5" fmla="*/ 1224 h 1650"/>
                  <a:gd name="T6" fmla="*/ 5829 w 7025"/>
                  <a:gd name="T7" fmla="*/ 1210 h 1650"/>
                  <a:gd name="T8" fmla="*/ 5831 w 7025"/>
                  <a:gd name="T9" fmla="*/ 1210 h 1650"/>
                  <a:gd name="T10" fmla="*/ 1689 w 7025"/>
                  <a:gd name="T11" fmla="*/ 1136 h 1650"/>
                  <a:gd name="T12" fmla="*/ 5855 w 7025"/>
                  <a:gd name="T13" fmla="*/ 1129 h 1650"/>
                  <a:gd name="T14" fmla="*/ 5855 w 7025"/>
                  <a:gd name="T15" fmla="*/ 1184 h 1650"/>
                  <a:gd name="T16" fmla="*/ 6321 w 7025"/>
                  <a:gd name="T17" fmla="*/ 1132 h 1650"/>
                  <a:gd name="T18" fmla="*/ 1445 w 7025"/>
                  <a:gd name="T19" fmla="*/ 1127 h 1650"/>
                  <a:gd name="T20" fmla="*/ 1447 w 7025"/>
                  <a:gd name="T21" fmla="*/ 1127 h 1650"/>
                  <a:gd name="T22" fmla="*/ 1464 w 7025"/>
                  <a:gd name="T23" fmla="*/ 1110 h 1650"/>
                  <a:gd name="T24" fmla="*/ 2859 w 7025"/>
                  <a:gd name="T25" fmla="*/ 1063 h 1650"/>
                  <a:gd name="T26" fmla="*/ 2859 w 7025"/>
                  <a:gd name="T27" fmla="*/ 1063 h 1650"/>
                  <a:gd name="T28" fmla="*/ 5928 w 7025"/>
                  <a:gd name="T29" fmla="*/ 1087 h 1650"/>
                  <a:gd name="T30" fmla="*/ 2876 w 7025"/>
                  <a:gd name="T31" fmla="*/ 1013 h 1650"/>
                  <a:gd name="T32" fmla="*/ 2878 w 7025"/>
                  <a:gd name="T33" fmla="*/ 1013 h 1650"/>
                  <a:gd name="T34" fmla="*/ 3769 w 7025"/>
                  <a:gd name="T35" fmla="*/ 1181 h 1650"/>
                  <a:gd name="T36" fmla="*/ 5947 w 7025"/>
                  <a:gd name="T37" fmla="*/ 1025 h 1650"/>
                  <a:gd name="T38" fmla="*/ 6340 w 7025"/>
                  <a:gd name="T39" fmla="*/ 937 h 1650"/>
                  <a:gd name="T40" fmla="*/ 6340 w 7025"/>
                  <a:gd name="T41" fmla="*/ 1113 h 1650"/>
                  <a:gd name="T42" fmla="*/ 3843 w 7025"/>
                  <a:gd name="T43" fmla="*/ 928 h 1650"/>
                  <a:gd name="T44" fmla="*/ 6389 w 7025"/>
                  <a:gd name="T45" fmla="*/ 878 h 1650"/>
                  <a:gd name="T46" fmla="*/ 6389 w 7025"/>
                  <a:gd name="T47" fmla="*/ 892 h 1650"/>
                  <a:gd name="T48" fmla="*/ 6396 w 7025"/>
                  <a:gd name="T49" fmla="*/ 850 h 1650"/>
                  <a:gd name="T50" fmla="*/ 6396 w 7025"/>
                  <a:gd name="T51" fmla="*/ 869 h 1650"/>
                  <a:gd name="T52" fmla="*/ 3098 w 7025"/>
                  <a:gd name="T53" fmla="*/ 765 h 1650"/>
                  <a:gd name="T54" fmla="*/ 1008 w 7025"/>
                  <a:gd name="T55" fmla="*/ 753 h 1650"/>
                  <a:gd name="T56" fmla="*/ 5131 w 7025"/>
                  <a:gd name="T57" fmla="*/ 731 h 1650"/>
                  <a:gd name="T58" fmla="*/ 5131 w 7025"/>
                  <a:gd name="T59" fmla="*/ 731 h 1650"/>
                  <a:gd name="T60" fmla="*/ 3138 w 7025"/>
                  <a:gd name="T61" fmla="*/ 727 h 1650"/>
                  <a:gd name="T62" fmla="*/ 95 w 7025"/>
                  <a:gd name="T63" fmla="*/ 618 h 1650"/>
                  <a:gd name="T64" fmla="*/ 5252 w 7025"/>
                  <a:gd name="T65" fmla="*/ 611 h 1650"/>
                  <a:gd name="T66" fmla="*/ 5252 w 7025"/>
                  <a:gd name="T67" fmla="*/ 611 h 1650"/>
                  <a:gd name="T68" fmla="*/ 3280 w 7025"/>
                  <a:gd name="T69" fmla="*/ 615 h 1650"/>
                  <a:gd name="T70" fmla="*/ 301 w 7025"/>
                  <a:gd name="T71" fmla="*/ 549 h 1650"/>
                  <a:gd name="T72" fmla="*/ 7023 w 7025"/>
                  <a:gd name="T73" fmla="*/ 509 h 1650"/>
                  <a:gd name="T74" fmla="*/ 4193 w 7025"/>
                  <a:gd name="T75" fmla="*/ 504 h 1650"/>
                  <a:gd name="T76" fmla="*/ 4193 w 7025"/>
                  <a:gd name="T77" fmla="*/ 504 h 1650"/>
                  <a:gd name="T78" fmla="*/ 3299 w 7025"/>
                  <a:gd name="T79" fmla="*/ 566 h 1650"/>
                  <a:gd name="T80" fmla="*/ 4036 w 7025"/>
                  <a:gd name="T81" fmla="*/ 454 h 1650"/>
                  <a:gd name="T82" fmla="*/ 3954 w 7025"/>
                  <a:gd name="T83" fmla="*/ 644 h 1650"/>
                  <a:gd name="T84" fmla="*/ 4036 w 7025"/>
                  <a:gd name="T85" fmla="*/ 454 h 1650"/>
                  <a:gd name="T86" fmla="*/ 3327 w 7025"/>
                  <a:gd name="T87" fmla="*/ 473 h 1650"/>
                  <a:gd name="T88" fmla="*/ 4041 w 7025"/>
                  <a:gd name="T89" fmla="*/ 391 h 1650"/>
                  <a:gd name="T90" fmla="*/ 4041 w 7025"/>
                  <a:gd name="T91" fmla="*/ 447 h 1650"/>
                  <a:gd name="T92" fmla="*/ 1807 w 7025"/>
                  <a:gd name="T93" fmla="*/ 372 h 1650"/>
                  <a:gd name="T94" fmla="*/ 4048 w 7025"/>
                  <a:gd name="T95" fmla="*/ 329 h 1650"/>
                  <a:gd name="T96" fmla="*/ 4051 w 7025"/>
                  <a:gd name="T97" fmla="*/ 381 h 1650"/>
                  <a:gd name="T98" fmla="*/ 4642 w 7025"/>
                  <a:gd name="T99" fmla="*/ 454 h 1650"/>
                  <a:gd name="T100" fmla="*/ 4803 w 7025"/>
                  <a:gd name="T101" fmla="*/ 173 h 1650"/>
                  <a:gd name="T102" fmla="*/ 4852 w 7025"/>
                  <a:gd name="T103" fmla="*/ 0 h 1650"/>
                  <a:gd name="T104" fmla="*/ 4852 w 7025"/>
                  <a:gd name="T105" fmla="*/ 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50">
                    <a:moveTo>
                      <a:pt x="0" y="1454"/>
                    </a:moveTo>
                    <a:lnTo>
                      <a:pt x="0" y="1454"/>
                    </a:lnTo>
                    <a:lnTo>
                      <a:pt x="0" y="1456"/>
                    </a:lnTo>
                    <a:lnTo>
                      <a:pt x="0" y="1491"/>
                    </a:lnTo>
                    <a:lnTo>
                      <a:pt x="0" y="1491"/>
                    </a:lnTo>
                    <a:lnTo>
                      <a:pt x="0" y="1454"/>
                    </a:lnTo>
                    <a:moveTo>
                      <a:pt x="5666" y="1326"/>
                    </a:moveTo>
                    <a:lnTo>
                      <a:pt x="5663" y="1326"/>
                    </a:lnTo>
                    <a:lnTo>
                      <a:pt x="5663" y="1328"/>
                    </a:lnTo>
                    <a:lnTo>
                      <a:pt x="5663" y="1406"/>
                    </a:lnTo>
                    <a:lnTo>
                      <a:pt x="5666" y="1406"/>
                    </a:lnTo>
                    <a:lnTo>
                      <a:pt x="5666" y="1326"/>
                    </a:lnTo>
                    <a:moveTo>
                      <a:pt x="3710" y="1224"/>
                    </a:moveTo>
                    <a:lnTo>
                      <a:pt x="3708" y="1224"/>
                    </a:lnTo>
                    <a:lnTo>
                      <a:pt x="3708" y="1224"/>
                    </a:lnTo>
                    <a:lnTo>
                      <a:pt x="3708" y="1274"/>
                    </a:lnTo>
                    <a:lnTo>
                      <a:pt x="3710" y="1274"/>
                    </a:lnTo>
                    <a:lnTo>
                      <a:pt x="3710" y="1224"/>
                    </a:lnTo>
                    <a:moveTo>
                      <a:pt x="5831" y="1210"/>
                    </a:moveTo>
                    <a:lnTo>
                      <a:pt x="5829" y="1210"/>
                    </a:lnTo>
                    <a:lnTo>
                      <a:pt x="5829" y="1210"/>
                    </a:lnTo>
                    <a:lnTo>
                      <a:pt x="5829" y="1212"/>
                    </a:lnTo>
                    <a:lnTo>
                      <a:pt x="5829" y="1283"/>
                    </a:lnTo>
                    <a:lnTo>
                      <a:pt x="5831" y="1283"/>
                    </a:lnTo>
                    <a:lnTo>
                      <a:pt x="5831" y="1210"/>
                    </a:lnTo>
                    <a:moveTo>
                      <a:pt x="1689" y="1132"/>
                    </a:moveTo>
                    <a:lnTo>
                      <a:pt x="1686" y="1132"/>
                    </a:lnTo>
                    <a:lnTo>
                      <a:pt x="1686" y="1134"/>
                    </a:lnTo>
                    <a:lnTo>
                      <a:pt x="1686" y="1136"/>
                    </a:lnTo>
                    <a:lnTo>
                      <a:pt x="1689" y="1136"/>
                    </a:lnTo>
                    <a:lnTo>
                      <a:pt x="1689" y="1134"/>
                    </a:lnTo>
                    <a:lnTo>
                      <a:pt x="1689" y="1134"/>
                    </a:lnTo>
                    <a:lnTo>
                      <a:pt x="1689" y="1132"/>
                    </a:lnTo>
                    <a:moveTo>
                      <a:pt x="5855" y="1129"/>
                    </a:moveTo>
                    <a:lnTo>
                      <a:pt x="5855" y="1129"/>
                    </a:lnTo>
                    <a:lnTo>
                      <a:pt x="5855" y="1132"/>
                    </a:lnTo>
                    <a:lnTo>
                      <a:pt x="5855" y="1186"/>
                    </a:lnTo>
                    <a:lnTo>
                      <a:pt x="5855" y="1186"/>
                    </a:lnTo>
                    <a:lnTo>
                      <a:pt x="5855" y="1184"/>
                    </a:lnTo>
                    <a:lnTo>
                      <a:pt x="5855" y="1184"/>
                    </a:lnTo>
                    <a:lnTo>
                      <a:pt x="5855" y="1129"/>
                    </a:lnTo>
                    <a:moveTo>
                      <a:pt x="6323" y="1129"/>
                    </a:moveTo>
                    <a:lnTo>
                      <a:pt x="6321" y="1129"/>
                    </a:lnTo>
                    <a:lnTo>
                      <a:pt x="6321" y="1129"/>
                    </a:lnTo>
                    <a:lnTo>
                      <a:pt x="6321" y="1132"/>
                    </a:lnTo>
                    <a:lnTo>
                      <a:pt x="6321" y="1167"/>
                    </a:lnTo>
                    <a:lnTo>
                      <a:pt x="6323" y="1167"/>
                    </a:lnTo>
                    <a:lnTo>
                      <a:pt x="6323" y="1129"/>
                    </a:lnTo>
                    <a:moveTo>
                      <a:pt x="1447" y="1127"/>
                    </a:moveTo>
                    <a:lnTo>
                      <a:pt x="1445" y="1127"/>
                    </a:lnTo>
                    <a:lnTo>
                      <a:pt x="1445" y="1127"/>
                    </a:lnTo>
                    <a:lnTo>
                      <a:pt x="1445" y="1129"/>
                    </a:lnTo>
                    <a:lnTo>
                      <a:pt x="1445" y="1158"/>
                    </a:lnTo>
                    <a:lnTo>
                      <a:pt x="1447" y="1158"/>
                    </a:lnTo>
                    <a:lnTo>
                      <a:pt x="1447" y="1127"/>
                    </a:lnTo>
                    <a:moveTo>
                      <a:pt x="1464" y="1084"/>
                    </a:moveTo>
                    <a:lnTo>
                      <a:pt x="1462" y="1084"/>
                    </a:lnTo>
                    <a:lnTo>
                      <a:pt x="1462" y="1087"/>
                    </a:lnTo>
                    <a:lnTo>
                      <a:pt x="1462" y="1110"/>
                    </a:lnTo>
                    <a:lnTo>
                      <a:pt x="1464" y="1110"/>
                    </a:lnTo>
                    <a:lnTo>
                      <a:pt x="1464" y="1108"/>
                    </a:lnTo>
                    <a:lnTo>
                      <a:pt x="1464" y="1108"/>
                    </a:lnTo>
                    <a:lnTo>
                      <a:pt x="1464" y="1084"/>
                    </a:lnTo>
                    <a:moveTo>
                      <a:pt x="2859" y="1063"/>
                    </a:moveTo>
                    <a:lnTo>
                      <a:pt x="2859" y="1063"/>
                    </a:lnTo>
                    <a:lnTo>
                      <a:pt x="2859" y="1063"/>
                    </a:lnTo>
                    <a:lnTo>
                      <a:pt x="2859" y="1065"/>
                    </a:lnTo>
                    <a:lnTo>
                      <a:pt x="2859" y="1198"/>
                    </a:lnTo>
                    <a:lnTo>
                      <a:pt x="2859" y="1198"/>
                    </a:lnTo>
                    <a:lnTo>
                      <a:pt x="2859" y="1063"/>
                    </a:lnTo>
                    <a:moveTo>
                      <a:pt x="5930" y="1042"/>
                    </a:moveTo>
                    <a:lnTo>
                      <a:pt x="5930" y="1042"/>
                    </a:lnTo>
                    <a:lnTo>
                      <a:pt x="5928" y="1042"/>
                    </a:lnTo>
                    <a:lnTo>
                      <a:pt x="5928" y="1044"/>
                    </a:lnTo>
                    <a:lnTo>
                      <a:pt x="5928" y="1087"/>
                    </a:lnTo>
                    <a:lnTo>
                      <a:pt x="5930" y="1087"/>
                    </a:lnTo>
                    <a:lnTo>
                      <a:pt x="5930" y="1042"/>
                    </a:lnTo>
                    <a:moveTo>
                      <a:pt x="2878" y="1013"/>
                    </a:moveTo>
                    <a:lnTo>
                      <a:pt x="2876" y="1013"/>
                    </a:lnTo>
                    <a:lnTo>
                      <a:pt x="2876" y="1013"/>
                    </a:lnTo>
                    <a:lnTo>
                      <a:pt x="2876" y="1046"/>
                    </a:lnTo>
                    <a:lnTo>
                      <a:pt x="2876" y="1046"/>
                    </a:lnTo>
                    <a:lnTo>
                      <a:pt x="2876" y="1044"/>
                    </a:lnTo>
                    <a:lnTo>
                      <a:pt x="2878" y="1044"/>
                    </a:lnTo>
                    <a:lnTo>
                      <a:pt x="2878" y="1013"/>
                    </a:lnTo>
                    <a:moveTo>
                      <a:pt x="3769" y="994"/>
                    </a:moveTo>
                    <a:lnTo>
                      <a:pt x="3769" y="994"/>
                    </a:lnTo>
                    <a:lnTo>
                      <a:pt x="3769" y="997"/>
                    </a:lnTo>
                    <a:lnTo>
                      <a:pt x="3769" y="1181"/>
                    </a:lnTo>
                    <a:lnTo>
                      <a:pt x="3769" y="1181"/>
                    </a:lnTo>
                    <a:lnTo>
                      <a:pt x="3769" y="994"/>
                    </a:lnTo>
                    <a:moveTo>
                      <a:pt x="5949" y="990"/>
                    </a:moveTo>
                    <a:lnTo>
                      <a:pt x="5947" y="990"/>
                    </a:lnTo>
                    <a:lnTo>
                      <a:pt x="5947" y="992"/>
                    </a:lnTo>
                    <a:lnTo>
                      <a:pt x="5947" y="1025"/>
                    </a:lnTo>
                    <a:lnTo>
                      <a:pt x="5947" y="1025"/>
                    </a:lnTo>
                    <a:lnTo>
                      <a:pt x="5947" y="1023"/>
                    </a:lnTo>
                    <a:lnTo>
                      <a:pt x="5949" y="1023"/>
                    </a:lnTo>
                    <a:lnTo>
                      <a:pt x="5949" y="990"/>
                    </a:lnTo>
                    <a:moveTo>
                      <a:pt x="6340" y="937"/>
                    </a:moveTo>
                    <a:lnTo>
                      <a:pt x="6340" y="937"/>
                    </a:lnTo>
                    <a:lnTo>
                      <a:pt x="6337" y="937"/>
                    </a:lnTo>
                    <a:lnTo>
                      <a:pt x="6337" y="937"/>
                    </a:lnTo>
                    <a:lnTo>
                      <a:pt x="6337" y="1113"/>
                    </a:lnTo>
                    <a:lnTo>
                      <a:pt x="6340" y="1113"/>
                    </a:lnTo>
                    <a:lnTo>
                      <a:pt x="6340" y="1110"/>
                    </a:lnTo>
                    <a:lnTo>
                      <a:pt x="6340" y="1110"/>
                    </a:lnTo>
                    <a:lnTo>
                      <a:pt x="6340" y="937"/>
                    </a:lnTo>
                    <a:moveTo>
                      <a:pt x="3845" y="928"/>
                    </a:moveTo>
                    <a:lnTo>
                      <a:pt x="3843" y="928"/>
                    </a:lnTo>
                    <a:lnTo>
                      <a:pt x="3843" y="930"/>
                    </a:lnTo>
                    <a:lnTo>
                      <a:pt x="3843" y="952"/>
                    </a:lnTo>
                    <a:lnTo>
                      <a:pt x="3845" y="952"/>
                    </a:lnTo>
                    <a:lnTo>
                      <a:pt x="3845" y="928"/>
                    </a:lnTo>
                    <a:moveTo>
                      <a:pt x="6389" y="878"/>
                    </a:moveTo>
                    <a:lnTo>
                      <a:pt x="6389" y="878"/>
                    </a:lnTo>
                    <a:lnTo>
                      <a:pt x="6387" y="878"/>
                    </a:lnTo>
                    <a:lnTo>
                      <a:pt x="6387" y="881"/>
                    </a:lnTo>
                    <a:lnTo>
                      <a:pt x="6387" y="892"/>
                    </a:lnTo>
                    <a:lnTo>
                      <a:pt x="6389" y="892"/>
                    </a:lnTo>
                    <a:lnTo>
                      <a:pt x="6389" y="890"/>
                    </a:lnTo>
                    <a:lnTo>
                      <a:pt x="6389" y="890"/>
                    </a:lnTo>
                    <a:lnTo>
                      <a:pt x="6389" y="878"/>
                    </a:lnTo>
                    <a:moveTo>
                      <a:pt x="6396" y="850"/>
                    </a:moveTo>
                    <a:lnTo>
                      <a:pt x="6396" y="850"/>
                    </a:lnTo>
                    <a:lnTo>
                      <a:pt x="6396" y="852"/>
                    </a:lnTo>
                    <a:lnTo>
                      <a:pt x="6396" y="871"/>
                    </a:lnTo>
                    <a:lnTo>
                      <a:pt x="6396" y="871"/>
                    </a:lnTo>
                    <a:lnTo>
                      <a:pt x="6396" y="869"/>
                    </a:lnTo>
                    <a:lnTo>
                      <a:pt x="6396" y="869"/>
                    </a:lnTo>
                    <a:lnTo>
                      <a:pt x="6396" y="850"/>
                    </a:lnTo>
                    <a:moveTo>
                      <a:pt x="3100" y="762"/>
                    </a:moveTo>
                    <a:lnTo>
                      <a:pt x="3100" y="762"/>
                    </a:lnTo>
                    <a:lnTo>
                      <a:pt x="3098" y="762"/>
                    </a:lnTo>
                    <a:lnTo>
                      <a:pt x="3098" y="765"/>
                    </a:lnTo>
                    <a:lnTo>
                      <a:pt x="3098" y="937"/>
                    </a:lnTo>
                    <a:lnTo>
                      <a:pt x="3100" y="937"/>
                    </a:lnTo>
                    <a:lnTo>
                      <a:pt x="3100" y="762"/>
                    </a:lnTo>
                    <a:moveTo>
                      <a:pt x="1008" y="753"/>
                    </a:moveTo>
                    <a:lnTo>
                      <a:pt x="1008" y="753"/>
                    </a:lnTo>
                    <a:lnTo>
                      <a:pt x="1008" y="755"/>
                    </a:lnTo>
                    <a:lnTo>
                      <a:pt x="1008" y="786"/>
                    </a:lnTo>
                    <a:lnTo>
                      <a:pt x="1008" y="786"/>
                    </a:lnTo>
                    <a:lnTo>
                      <a:pt x="1008" y="753"/>
                    </a:lnTo>
                    <a:moveTo>
                      <a:pt x="5131" y="731"/>
                    </a:moveTo>
                    <a:lnTo>
                      <a:pt x="5129" y="731"/>
                    </a:lnTo>
                    <a:lnTo>
                      <a:pt x="5129" y="734"/>
                    </a:lnTo>
                    <a:lnTo>
                      <a:pt x="5129" y="930"/>
                    </a:lnTo>
                    <a:lnTo>
                      <a:pt x="5131" y="930"/>
                    </a:lnTo>
                    <a:lnTo>
                      <a:pt x="5131" y="731"/>
                    </a:lnTo>
                    <a:moveTo>
                      <a:pt x="3138" y="658"/>
                    </a:moveTo>
                    <a:lnTo>
                      <a:pt x="3136" y="658"/>
                    </a:lnTo>
                    <a:lnTo>
                      <a:pt x="3136" y="660"/>
                    </a:lnTo>
                    <a:lnTo>
                      <a:pt x="3136" y="727"/>
                    </a:lnTo>
                    <a:lnTo>
                      <a:pt x="3138" y="727"/>
                    </a:lnTo>
                    <a:lnTo>
                      <a:pt x="3138" y="724"/>
                    </a:lnTo>
                    <a:lnTo>
                      <a:pt x="3138" y="724"/>
                    </a:lnTo>
                    <a:lnTo>
                      <a:pt x="3138" y="658"/>
                    </a:lnTo>
                    <a:moveTo>
                      <a:pt x="97" y="618"/>
                    </a:moveTo>
                    <a:lnTo>
                      <a:pt x="95" y="618"/>
                    </a:lnTo>
                    <a:lnTo>
                      <a:pt x="95" y="620"/>
                    </a:lnTo>
                    <a:lnTo>
                      <a:pt x="95" y="1411"/>
                    </a:lnTo>
                    <a:lnTo>
                      <a:pt x="97" y="1411"/>
                    </a:lnTo>
                    <a:lnTo>
                      <a:pt x="97" y="618"/>
                    </a:lnTo>
                    <a:moveTo>
                      <a:pt x="5252" y="611"/>
                    </a:moveTo>
                    <a:lnTo>
                      <a:pt x="5252" y="611"/>
                    </a:lnTo>
                    <a:lnTo>
                      <a:pt x="5252" y="611"/>
                    </a:lnTo>
                    <a:lnTo>
                      <a:pt x="5252" y="689"/>
                    </a:lnTo>
                    <a:lnTo>
                      <a:pt x="5252" y="689"/>
                    </a:lnTo>
                    <a:lnTo>
                      <a:pt x="5252" y="611"/>
                    </a:lnTo>
                    <a:moveTo>
                      <a:pt x="3282" y="582"/>
                    </a:moveTo>
                    <a:lnTo>
                      <a:pt x="3282" y="582"/>
                    </a:lnTo>
                    <a:lnTo>
                      <a:pt x="3280" y="582"/>
                    </a:lnTo>
                    <a:lnTo>
                      <a:pt x="3280" y="585"/>
                    </a:lnTo>
                    <a:lnTo>
                      <a:pt x="3280" y="615"/>
                    </a:lnTo>
                    <a:lnTo>
                      <a:pt x="3282" y="615"/>
                    </a:lnTo>
                    <a:lnTo>
                      <a:pt x="3282" y="582"/>
                    </a:lnTo>
                    <a:moveTo>
                      <a:pt x="303" y="547"/>
                    </a:moveTo>
                    <a:lnTo>
                      <a:pt x="301" y="547"/>
                    </a:lnTo>
                    <a:lnTo>
                      <a:pt x="301" y="549"/>
                    </a:lnTo>
                    <a:lnTo>
                      <a:pt x="301" y="575"/>
                    </a:lnTo>
                    <a:lnTo>
                      <a:pt x="303" y="575"/>
                    </a:lnTo>
                    <a:lnTo>
                      <a:pt x="303" y="547"/>
                    </a:lnTo>
                    <a:moveTo>
                      <a:pt x="7025" y="509"/>
                    </a:moveTo>
                    <a:lnTo>
                      <a:pt x="7023" y="509"/>
                    </a:lnTo>
                    <a:lnTo>
                      <a:pt x="7023" y="511"/>
                    </a:lnTo>
                    <a:lnTo>
                      <a:pt x="7023" y="1650"/>
                    </a:lnTo>
                    <a:lnTo>
                      <a:pt x="7025" y="1650"/>
                    </a:lnTo>
                    <a:lnTo>
                      <a:pt x="7025" y="509"/>
                    </a:lnTo>
                    <a:moveTo>
                      <a:pt x="4193" y="504"/>
                    </a:moveTo>
                    <a:lnTo>
                      <a:pt x="4193" y="504"/>
                    </a:lnTo>
                    <a:lnTo>
                      <a:pt x="4190" y="507"/>
                    </a:lnTo>
                    <a:lnTo>
                      <a:pt x="4157" y="552"/>
                    </a:lnTo>
                    <a:lnTo>
                      <a:pt x="4159" y="552"/>
                    </a:lnTo>
                    <a:lnTo>
                      <a:pt x="4193" y="504"/>
                    </a:lnTo>
                    <a:moveTo>
                      <a:pt x="3299" y="502"/>
                    </a:moveTo>
                    <a:lnTo>
                      <a:pt x="3299" y="502"/>
                    </a:lnTo>
                    <a:lnTo>
                      <a:pt x="3299" y="502"/>
                    </a:lnTo>
                    <a:lnTo>
                      <a:pt x="3299" y="504"/>
                    </a:lnTo>
                    <a:lnTo>
                      <a:pt x="3299" y="566"/>
                    </a:lnTo>
                    <a:lnTo>
                      <a:pt x="3299" y="566"/>
                    </a:lnTo>
                    <a:lnTo>
                      <a:pt x="3299" y="563"/>
                    </a:lnTo>
                    <a:lnTo>
                      <a:pt x="3299" y="563"/>
                    </a:lnTo>
                    <a:lnTo>
                      <a:pt x="3299" y="502"/>
                    </a:lnTo>
                    <a:moveTo>
                      <a:pt x="4036" y="454"/>
                    </a:moveTo>
                    <a:lnTo>
                      <a:pt x="4034" y="454"/>
                    </a:lnTo>
                    <a:lnTo>
                      <a:pt x="4034" y="454"/>
                    </a:lnTo>
                    <a:lnTo>
                      <a:pt x="4034" y="457"/>
                    </a:lnTo>
                    <a:lnTo>
                      <a:pt x="4034" y="492"/>
                    </a:lnTo>
                    <a:lnTo>
                      <a:pt x="3954" y="644"/>
                    </a:lnTo>
                    <a:lnTo>
                      <a:pt x="3954" y="885"/>
                    </a:lnTo>
                    <a:lnTo>
                      <a:pt x="3954" y="885"/>
                    </a:lnTo>
                    <a:lnTo>
                      <a:pt x="3954" y="642"/>
                    </a:lnTo>
                    <a:lnTo>
                      <a:pt x="4036" y="490"/>
                    </a:lnTo>
                    <a:lnTo>
                      <a:pt x="4036" y="454"/>
                    </a:lnTo>
                    <a:moveTo>
                      <a:pt x="3330" y="436"/>
                    </a:moveTo>
                    <a:lnTo>
                      <a:pt x="3327" y="436"/>
                    </a:lnTo>
                    <a:lnTo>
                      <a:pt x="3327" y="436"/>
                    </a:lnTo>
                    <a:lnTo>
                      <a:pt x="3327" y="473"/>
                    </a:lnTo>
                    <a:lnTo>
                      <a:pt x="3327" y="473"/>
                    </a:lnTo>
                    <a:lnTo>
                      <a:pt x="3327" y="471"/>
                    </a:lnTo>
                    <a:lnTo>
                      <a:pt x="3330" y="471"/>
                    </a:lnTo>
                    <a:lnTo>
                      <a:pt x="3330" y="436"/>
                    </a:lnTo>
                    <a:moveTo>
                      <a:pt x="4041" y="391"/>
                    </a:moveTo>
                    <a:lnTo>
                      <a:pt x="4041" y="391"/>
                    </a:lnTo>
                    <a:lnTo>
                      <a:pt x="4041" y="391"/>
                    </a:lnTo>
                    <a:lnTo>
                      <a:pt x="4041" y="393"/>
                    </a:lnTo>
                    <a:lnTo>
                      <a:pt x="4041" y="450"/>
                    </a:lnTo>
                    <a:lnTo>
                      <a:pt x="4041" y="450"/>
                    </a:lnTo>
                    <a:lnTo>
                      <a:pt x="4041" y="447"/>
                    </a:lnTo>
                    <a:lnTo>
                      <a:pt x="4041" y="447"/>
                    </a:lnTo>
                    <a:lnTo>
                      <a:pt x="4041" y="391"/>
                    </a:lnTo>
                    <a:moveTo>
                      <a:pt x="1809" y="369"/>
                    </a:moveTo>
                    <a:lnTo>
                      <a:pt x="1807" y="369"/>
                    </a:lnTo>
                    <a:lnTo>
                      <a:pt x="1807" y="372"/>
                    </a:lnTo>
                    <a:lnTo>
                      <a:pt x="1807" y="1089"/>
                    </a:lnTo>
                    <a:lnTo>
                      <a:pt x="1809" y="1089"/>
                    </a:lnTo>
                    <a:lnTo>
                      <a:pt x="1809" y="369"/>
                    </a:lnTo>
                    <a:moveTo>
                      <a:pt x="4051" y="329"/>
                    </a:moveTo>
                    <a:lnTo>
                      <a:pt x="4048" y="329"/>
                    </a:lnTo>
                    <a:lnTo>
                      <a:pt x="4048" y="329"/>
                    </a:lnTo>
                    <a:lnTo>
                      <a:pt x="4048" y="383"/>
                    </a:lnTo>
                    <a:lnTo>
                      <a:pt x="4048" y="383"/>
                    </a:lnTo>
                    <a:lnTo>
                      <a:pt x="4048" y="381"/>
                    </a:lnTo>
                    <a:lnTo>
                      <a:pt x="4051" y="381"/>
                    </a:lnTo>
                    <a:lnTo>
                      <a:pt x="4051" y="329"/>
                    </a:lnTo>
                    <a:moveTo>
                      <a:pt x="4703" y="232"/>
                    </a:moveTo>
                    <a:lnTo>
                      <a:pt x="4701" y="232"/>
                    </a:lnTo>
                    <a:lnTo>
                      <a:pt x="4701" y="234"/>
                    </a:lnTo>
                    <a:lnTo>
                      <a:pt x="4642" y="454"/>
                    </a:lnTo>
                    <a:lnTo>
                      <a:pt x="4642" y="454"/>
                    </a:lnTo>
                    <a:lnTo>
                      <a:pt x="4703" y="232"/>
                    </a:lnTo>
                    <a:moveTo>
                      <a:pt x="4803" y="173"/>
                    </a:moveTo>
                    <a:lnTo>
                      <a:pt x="4803" y="173"/>
                    </a:lnTo>
                    <a:lnTo>
                      <a:pt x="4803" y="173"/>
                    </a:lnTo>
                    <a:lnTo>
                      <a:pt x="4803" y="175"/>
                    </a:lnTo>
                    <a:lnTo>
                      <a:pt x="4803" y="189"/>
                    </a:lnTo>
                    <a:lnTo>
                      <a:pt x="4803" y="189"/>
                    </a:lnTo>
                    <a:lnTo>
                      <a:pt x="4803" y="173"/>
                    </a:lnTo>
                    <a:moveTo>
                      <a:pt x="4852" y="0"/>
                    </a:moveTo>
                    <a:lnTo>
                      <a:pt x="4850" y="0"/>
                    </a:lnTo>
                    <a:lnTo>
                      <a:pt x="4850" y="2"/>
                    </a:lnTo>
                    <a:lnTo>
                      <a:pt x="4850" y="130"/>
                    </a:lnTo>
                    <a:lnTo>
                      <a:pt x="4852" y="130"/>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5" name="Freeform 100"/>
              <p:cNvSpPr>
                <a:spLocks noEditPoints="1"/>
              </p:cNvSpPr>
              <p:nvPr/>
            </p:nvSpPr>
            <p:spPr bwMode="auto">
              <a:xfrm>
                <a:off x="4" y="1703"/>
                <a:ext cx="7028" cy="1650"/>
              </a:xfrm>
              <a:custGeom>
                <a:avLst/>
                <a:gdLst>
                  <a:gd name="T0" fmla="*/ 3 w 7028"/>
                  <a:gd name="T1" fmla="*/ 1491 h 1650"/>
                  <a:gd name="T2" fmla="*/ 5666 w 7028"/>
                  <a:gd name="T3" fmla="*/ 1406 h 1650"/>
                  <a:gd name="T4" fmla="*/ 3710 w 7028"/>
                  <a:gd name="T5" fmla="*/ 1224 h 1650"/>
                  <a:gd name="T6" fmla="*/ 5831 w 7028"/>
                  <a:gd name="T7" fmla="*/ 1207 h 1650"/>
                  <a:gd name="T8" fmla="*/ 5834 w 7028"/>
                  <a:gd name="T9" fmla="*/ 1207 h 1650"/>
                  <a:gd name="T10" fmla="*/ 1667 w 7028"/>
                  <a:gd name="T11" fmla="*/ 1158 h 1650"/>
                  <a:gd name="T12" fmla="*/ 1689 w 7028"/>
                  <a:gd name="T13" fmla="*/ 1134 h 1650"/>
                  <a:gd name="T14" fmla="*/ 5857 w 7028"/>
                  <a:gd name="T15" fmla="*/ 1127 h 1650"/>
                  <a:gd name="T16" fmla="*/ 5857 w 7028"/>
                  <a:gd name="T17" fmla="*/ 1181 h 1650"/>
                  <a:gd name="T18" fmla="*/ 6323 w 7028"/>
                  <a:gd name="T19" fmla="*/ 1127 h 1650"/>
                  <a:gd name="T20" fmla="*/ 1447 w 7028"/>
                  <a:gd name="T21" fmla="*/ 1125 h 1650"/>
                  <a:gd name="T22" fmla="*/ 1447 w 7028"/>
                  <a:gd name="T23" fmla="*/ 1158 h 1650"/>
                  <a:gd name="T24" fmla="*/ 1464 w 7028"/>
                  <a:gd name="T25" fmla="*/ 1108 h 1650"/>
                  <a:gd name="T26" fmla="*/ 2861 w 7028"/>
                  <a:gd name="T27" fmla="*/ 1061 h 1650"/>
                  <a:gd name="T28" fmla="*/ 2861 w 7028"/>
                  <a:gd name="T29" fmla="*/ 1198 h 1650"/>
                  <a:gd name="T30" fmla="*/ 5930 w 7028"/>
                  <a:gd name="T31" fmla="*/ 1042 h 1650"/>
                  <a:gd name="T32" fmla="*/ 2878 w 7028"/>
                  <a:gd name="T33" fmla="*/ 1011 h 1650"/>
                  <a:gd name="T34" fmla="*/ 2878 w 7028"/>
                  <a:gd name="T35" fmla="*/ 1044 h 1650"/>
                  <a:gd name="T36" fmla="*/ 3769 w 7028"/>
                  <a:gd name="T37" fmla="*/ 1181 h 1650"/>
                  <a:gd name="T38" fmla="*/ 5949 w 7028"/>
                  <a:gd name="T39" fmla="*/ 990 h 1650"/>
                  <a:gd name="T40" fmla="*/ 5952 w 7028"/>
                  <a:gd name="T41" fmla="*/ 990 h 1650"/>
                  <a:gd name="T42" fmla="*/ 6340 w 7028"/>
                  <a:gd name="T43" fmla="*/ 1110 h 1650"/>
                  <a:gd name="T44" fmla="*/ 3847 w 7028"/>
                  <a:gd name="T45" fmla="*/ 928 h 1650"/>
                  <a:gd name="T46" fmla="*/ 3847 w 7028"/>
                  <a:gd name="T47" fmla="*/ 928 h 1650"/>
                  <a:gd name="T48" fmla="*/ 6387 w 7028"/>
                  <a:gd name="T49" fmla="*/ 892 h 1650"/>
                  <a:gd name="T50" fmla="*/ 6389 w 7028"/>
                  <a:gd name="T51" fmla="*/ 878 h 1650"/>
                  <a:gd name="T52" fmla="*/ 6392 w 7028"/>
                  <a:gd name="T53" fmla="*/ 878 h 1650"/>
                  <a:gd name="T54" fmla="*/ 6399 w 7028"/>
                  <a:gd name="T55" fmla="*/ 869 h 1650"/>
                  <a:gd name="T56" fmla="*/ 3100 w 7028"/>
                  <a:gd name="T57" fmla="*/ 762 h 1650"/>
                  <a:gd name="T58" fmla="*/ 3103 w 7028"/>
                  <a:gd name="T59" fmla="*/ 762 h 1650"/>
                  <a:gd name="T60" fmla="*/ 1010 w 7028"/>
                  <a:gd name="T61" fmla="*/ 786 h 1650"/>
                  <a:gd name="T62" fmla="*/ 5131 w 7028"/>
                  <a:gd name="T63" fmla="*/ 930 h 1650"/>
                  <a:gd name="T64" fmla="*/ 3138 w 7028"/>
                  <a:gd name="T65" fmla="*/ 658 h 1650"/>
                  <a:gd name="T66" fmla="*/ 3140 w 7028"/>
                  <a:gd name="T67" fmla="*/ 656 h 1650"/>
                  <a:gd name="T68" fmla="*/ 97 w 7028"/>
                  <a:gd name="T69" fmla="*/ 1411 h 1650"/>
                  <a:gd name="T70" fmla="*/ 5252 w 7028"/>
                  <a:gd name="T71" fmla="*/ 689 h 1650"/>
                  <a:gd name="T72" fmla="*/ 3282 w 7028"/>
                  <a:gd name="T73" fmla="*/ 580 h 1650"/>
                  <a:gd name="T74" fmla="*/ 303 w 7028"/>
                  <a:gd name="T75" fmla="*/ 547 h 1650"/>
                  <a:gd name="T76" fmla="*/ 303 w 7028"/>
                  <a:gd name="T77" fmla="*/ 547 h 1650"/>
                  <a:gd name="T78" fmla="*/ 7028 w 7028"/>
                  <a:gd name="T79" fmla="*/ 1650 h 1650"/>
                  <a:gd name="T80" fmla="*/ 4159 w 7028"/>
                  <a:gd name="T81" fmla="*/ 552 h 1650"/>
                  <a:gd name="T82" fmla="*/ 3299 w 7028"/>
                  <a:gd name="T83" fmla="*/ 499 h 1650"/>
                  <a:gd name="T84" fmla="*/ 3301 w 7028"/>
                  <a:gd name="T85" fmla="*/ 561 h 1650"/>
                  <a:gd name="T86" fmla="*/ 4036 w 7028"/>
                  <a:gd name="T87" fmla="*/ 454 h 1650"/>
                  <a:gd name="T88" fmla="*/ 3956 w 7028"/>
                  <a:gd name="T89" fmla="*/ 642 h 1650"/>
                  <a:gd name="T90" fmla="*/ 3330 w 7028"/>
                  <a:gd name="T91" fmla="*/ 436 h 1650"/>
                  <a:gd name="T92" fmla="*/ 3330 w 7028"/>
                  <a:gd name="T93" fmla="*/ 433 h 1650"/>
                  <a:gd name="T94" fmla="*/ 4041 w 7028"/>
                  <a:gd name="T95" fmla="*/ 447 h 1650"/>
                  <a:gd name="T96" fmla="*/ 1811 w 7028"/>
                  <a:gd name="T97" fmla="*/ 367 h 1650"/>
                  <a:gd name="T98" fmla="*/ 1811 w 7028"/>
                  <a:gd name="T99" fmla="*/ 367 h 1650"/>
                  <a:gd name="T100" fmla="*/ 4051 w 7028"/>
                  <a:gd name="T101" fmla="*/ 381 h 1650"/>
                  <a:gd name="T102" fmla="*/ 4703 w 7028"/>
                  <a:gd name="T103" fmla="*/ 230 h 1650"/>
                  <a:gd name="T104" fmla="*/ 4805 w 7028"/>
                  <a:gd name="T105" fmla="*/ 170 h 1650"/>
                  <a:gd name="T106" fmla="*/ 4805 w 7028"/>
                  <a:gd name="T107" fmla="*/ 189 h 1650"/>
                  <a:gd name="T108" fmla="*/ 4852 w 7028"/>
                  <a:gd name="T109" fmla="*/ 13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8" h="1650">
                    <a:moveTo>
                      <a:pt x="3" y="1451"/>
                    </a:moveTo>
                    <a:lnTo>
                      <a:pt x="0" y="1451"/>
                    </a:lnTo>
                    <a:lnTo>
                      <a:pt x="0" y="1454"/>
                    </a:lnTo>
                    <a:lnTo>
                      <a:pt x="0" y="1491"/>
                    </a:lnTo>
                    <a:lnTo>
                      <a:pt x="3" y="1491"/>
                    </a:lnTo>
                    <a:lnTo>
                      <a:pt x="3" y="1451"/>
                    </a:lnTo>
                    <a:close/>
                    <a:moveTo>
                      <a:pt x="5668" y="1326"/>
                    </a:moveTo>
                    <a:lnTo>
                      <a:pt x="5666" y="1326"/>
                    </a:lnTo>
                    <a:lnTo>
                      <a:pt x="5666" y="1326"/>
                    </a:lnTo>
                    <a:lnTo>
                      <a:pt x="5666" y="1406"/>
                    </a:lnTo>
                    <a:lnTo>
                      <a:pt x="5668" y="1406"/>
                    </a:lnTo>
                    <a:lnTo>
                      <a:pt x="5668" y="1326"/>
                    </a:lnTo>
                    <a:close/>
                    <a:moveTo>
                      <a:pt x="3713" y="1222"/>
                    </a:moveTo>
                    <a:lnTo>
                      <a:pt x="3710" y="1222"/>
                    </a:lnTo>
                    <a:lnTo>
                      <a:pt x="3710" y="1224"/>
                    </a:lnTo>
                    <a:lnTo>
                      <a:pt x="3710" y="1274"/>
                    </a:lnTo>
                    <a:lnTo>
                      <a:pt x="3713" y="1274"/>
                    </a:lnTo>
                    <a:lnTo>
                      <a:pt x="3713" y="1222"/>
                    </a:lnTo>
                    <a:close/>
                    <a:moveTo>
                      <a:pt x="5834" y="1207"/>
                    </a:moveTo>
                    <a:lnTo>
                      <a:pt x="5831" y="1207"/>
                    </a:lnTo>
                    <a:lnTo>
                      <a:pt x="5831" y="1207"/>
                    </a:lnTo>
                    <a:lnTo>
                      <a:pt x="5831" y="1210"/>
                    </a:lnTo>
                    <a:lnTo>
                      <a:pt x="5831" y="1283"/>
                    </a:lnTo>
                    <a:lnTo>
                      <a:pt x="5834" y="1283"/>
                    </a:lnTo>
                    <a:lnTo>
                      <a:pt x="5834" y="1207"/>
                    </a:lnTo>
                    <a:close/>
                    <a:moveTo>
                      <a:pt x="1667" y="1155"/>
                    </a:moveTo>
                    <a:lnTo>
                      <a:pt x="1667" y="1155"/>
                    </a:lnTo>
                    <a:lnTo>
                      <a:pt x="1665" y="1155"/>
                    </a:lnTo>
                    <a:lnTo>
                      <a:pt x="1665" y="1158"/>
                    </a:lnTo>
                    <a:lnTo>
                      <a:pt x="1667" y="1158"/>
                    </a:lnTo>
                    <a:lnTo>
                      <a:pt x="1667" y="1155"/>
                    </a:lnTo>
                    <a:close/>
                    <a:moveTo>
                      <a:pt x="1691" y="1132"/>
                    </a:moveTo>
                    <a:lnTo>
                      <a:pt x="1689" y="1132"/>
                    </a:lnTo>
                    <a:lnTo>
                      <a:pt x="1689" y="1132"/>
                    </a:lnTo>
                    <a:lnTo>
                      <a:pt x="1689" y="1134"/>
                    </a:lnTo>
                    <a:lnTo>
                      <a:pt x="1689" y="1134"/>
                    </a:lnTo>
                    <a:lnTo>
                      <a:pt x="1689" y="1132"/>
                    </a:lnTo>
                    <a:lnTo>
                      <a:pt x="1691" y="1132"/>
                    </a:lnTo>
                    <a:lnTo>
                      <a:pt x="1691" y="1132"/>
                    </a:lnTo>
                    <a:close/>
                    <a:moveTo>
                      <a:pt x="5857" y="1127"/>
                    </a:moveTo>
                    <a:lnTo>
                      <a:pt x="5855" y="1127"/>
                    </a:lnTo>
                    <a:lnTo>
                      <a:pt x="5855" y="1129"/>
                    </a:lnTo>
                    <a:lnTo>
                      <a:pt x="5855" y="1184"/>
                    </a:lnTo>
                    <a:lnTo>
                      <a:pt x="5857" y="1184"/>
                    </a:lnTo>
                    <a:lnTo>
                      <a:pt x="5857" y="1181"/>
                    </a:lnTo>
                    <a:lnTo>
                      <a:pt x="5857" y="1181"/>
                    </a:lnTo>
                    <a:lnTo>
                      <a:pt x="5857" y="1127"/>
                    </a:lnTo>
                    <a:close/>
                    <a:moveTo>
                      <a:pt x="6325" y="1127"/>
                    </a:moveTo>
                    <a:lnTo>
                      <a:pt x="6323" y="1127"/>
                    </a:lnTo>
                    <a:lnTo>
                      <a:pt x="6323" y="1127"/>
                    </a:lnTo>
                    <a:lnTo>
                      <a:pt x="6323" y="1129"/>
                    </a:lnTo>
                    <a:lnTo>
                      <a:pt x="6323" y="1167"/>
                    </a:lnTo>
                    <a:lnTo>
                      <a:pt x="6325" y="1167"/>
                    </a:lnTo>
                    <a:lnTo>
                      <a:pt x="6325" y="1127"/>
                    </a:lnTo>
                    <a:close/>
                    <a:moveTo>
                      <a:pt x="1447" y="1125"/>
                    </a:moveTo>
                    <a:lnTo>
                      <a:pt x="1447" y="1125"/>
                    </a:lnTo>
                    <a:lnTo>
                      <a:pt x="1447" y="1125"/>
                    </a:lnTo>
                    <a:lnTo>
                      <a:pt x="1447" y="1127"/>
                    </a:lnTo>
                    <a:lnTo>
                      <a:pt x="1447" y="1158"/>
                    </a:lnTo>
                    <a:lnTo>
                      <a:pt x="1447" y="1158"/>
                    </a:lnTo>
                    <a:lnTo>
                      <a:pt x="1447" y="1125"/>
                    </a:lnTo>
                    <a:close/>
                    <a:moveTo>
                      <a:pt x="1466" y="1082"/>
                    </a:moveTo>
                    <a:lnTo>
                      <a:pt x="1464" y="1082"/>
                    </a:lnTo>
                    <a:lnTo>
                      <a:pt x="1464" y="1084"/>
                    </a:lnTo>
                    <a:lnTo>
                      <a:pt x="1464" y="1108"/>
                    </a:lnTo>
                    <a:lnTo>
                      <a:pt x="1464" y="1108"/>
                    </a:lnTo>
                    <a:lnTo>
                      <a:pt x="1464" y="1106"/>
                    </a:lnTo>
                    <a:lnTo>
                      <a:pt x="1466" y="1106"/>
                    </a:lnTo>
                    <a:lnTo>
                      <a:pt x="1466" y="1082"/>
                    </a:lnTo>
                    <a:close/>
                    <a:moveTo>
                      <a:pt x="2861" y="1061"/>
                    </a:moveTo>
                    <a:lnTo>
                      <a:pt x="2861" y="1061"/>
                    </a:lnTo>
                    <a:lnTo>
                      <a:pt x="2859" y="1061"/>
                    </a:lnTo>
                    <a:lnTo>
                      <a:pt x="2859" y="1063"/>
                    </a:lnTo>
                    <a:lnTo>
                      <a:pt x="2859" y="1198"/>
                    </a:lnTo>
                    <a:lnTo>
                      <a:pt x="2861" y="1198"/>
                    </a:lnTo>
                    <a:lnTo>
                      <a:pt x="2861" y="1061"/>
                    </a:lnTo>
                    <a:close/>
                    <a:moveTo>
                      <a:pt x="5933" y="1039"/>
                    </a:moveTo>
                    <a:lnTo>
                      <a:pt x="5933" y="1039"/>
                    </a:lnTo>
                    <a:lnTo>
                      <a:pt x="5930" y="1039"/>
                    </a:lnTo>
                    <a:lnTo>
                      <a:pt x="5930" y="1042"/>
                    </a:lnTo>
                    <a:lnTo>
                      <a:pt x="5930" y="1087"/>
                    </a:lnTo>
                    <a:lnTo>
                      <a:pt x="5933" y="1087"/>
                    </a:lnTo>
                    <a:lnTo>
                      <a:pt x="5933" y="1039"/>
                    </a:lnTo>
                    <a:close/>
                    <a:moveTo>
                      <a:pt x="2878" y="1011"/>
                    </a:moveTo>
                    <a:lnTo>
                      <a:pt x="2878" y="1011"/>
                    </a:lnTo>
                    <a:lnTo>
                      <a:pt x="2878" y="1013"/>
                    </a:lnTo>
                    <a:lnTo>
                      <a:pt x="2878" y="1044"/>
                    </a:lnTo>
                    <a:lnTo>
                      <a:pt x="2878" y="1044"/>
                    </a:lnTo>
                    <a:lnTo>
                      <a:pt x="2878" y="1044"/>
                    </a:lnTo>
                    <a:lnTo>
                      <a:pt x="2878" y="1044"/>
                    </a:lnTo>
                    <a:lnTo>
                      <a:pt x="2878" y="1011"/>
                    </a:lnTo>
                    <a:close/>
                    <a:moveTo>
                      <a:pt x="3772" y="992"/>
                    </a:moveTo>
                    <a:lnTo>
                      <a:pt x="3769" y="992"/>
                    </a:lnTo>
                    <a:lnTo>
                      <a:pt x="3769" y="994"/>
                    </a:lnTo>
                    <a:lnTo>
                      <a:pt x="3769" y="1181"/>
                    </a:lnTo>
                    <a:lnTo>
                      <a:pt x="3772" y="1181"/>
                    </a:lnTo>
                    <a:lnTo>
                      <a:pt x="3772" y="992"/>
                    </a:lnTo>
                    <a:close/>
                    <a:moveTo>
                      <a:pt x="5952" y="990"/>
                    </a:moveTo>
                    <a:lnTo>
                      <a:pt x="5949" y="990"/>
                    </a:lnTo>
                    <a:lnTo>
                      <a:pt x="5949" y="990"/>
                    </a:lnTo>
                    <a:lnTo>
                      <a:pt x="5949" y="1023"/>
                    </a:lnTo>
                    <a:lnTo>
                      <a:pt x="5949" y="1023"/>
                    </a:lnTo>
                    <a:lnTo>
                      <a:pt x="5949" y="1023"/>
                    </a:lnTo>
                    <a:lnTo>
                      <a:pt x="5952" y="1023"/>
                    </a:lnTo>
                    <a:lnTo>
                      <a:pt x="5952" y="990"/>
                    </a:lnTo>
                    <a:close/>
                    <a:moveTo>
                      <a:pt x="6342" y="935"/>
                    </a:moveTo>
                    <a:lnTo>
                      <a:pt x="6342" y="935"/>
                    </a:lnTo>
                    <a:lnTo>
                      <a:pt x="6340" y="935"/>
                    </a:lnTo>
                    <a:lnTo>
                      <a:pt x="6340" y="937"/>
                    </a:lnTo>
                    <a:lnTo>
                      <a:pt x="6340" y="1110"/>
                    </a:lnTo>
                    <a:lnTo>
                      <a:pt x="6342" y="1110"/>
                    </a:lnTo>
                    <a:lnTo>
                      <a:pt x="6342" y="1108"/>
                    </a:lnTo>
                    <a:lnTo>
                      <a:pt x="6342" y="1108"/>
                    </a:lnTo>
                    <a:lnTo>
                      <a:pt x="6342" y="935"/>
                    </a:lnTo>
                    <a:close/>
                    <a:moveTo>
                      <a:pt x="3847" y="928"/>
                    </a:moveTo>
                    <a:lnTo>
                      <a:pt x="3845" y="928"/>
                    </a:lnTo>
                    <a:lnTo>
                      <a:pt x="3845" y="928"/>
                    </a:lnTo>
                    <a:lnTo>
                      <a:pt x="3845" y="952"/>
                    </a:lnTo>
                    <a:lnTo>
                      <a:pt x="3847" y="952"/>
                    </a:lnTo>
                    <a:lnTo>
                      <a:pt x="3847" y="928"/>
                    </a:lnTo>
                    <a:close/>
                    <a:moveTo>
                      <a:pt x="6387" y="892"/>
                    </a:moveTo>
                    <a:lnTo>
                      <a:pt x="6387" y="892"/>
                    </a:lnTo>
                    <a:lnTo>
                      <a:pt x="6384" y="892"/>
                    </a:lnTo>
                    <a:lnTo>
                      <a:pt x="6384" y="892"/>
                    </a:lnTo>
                    <a:lnTo>
                      <a:pt x="6387" y="892"/>
                    </a:lnTo>
                    <a:lnTo>
                      <a:pt x="6387" y="892"/>
                    </a:lnTo>
                    <a:close/>
                    <a:moveTo>
                      <a:pt x="6392" y="878"/>
                    </a:moveTo>
                    <a:lnTo>
                      <a:pt x="6389" y="878"/>
                    </a:lnTo>
                    <a:lnTo>
                      <a:pt x="6389" y="878"/>
                    </a:lnTo>
                    <a:lnTo>
                      <a:pt x="6389" y="878"/>
                    </a:lnTo>
                    <a:lnTo>
                      <a:pt x="6389" y="890"/>
                    </a:lnTo>
                    <a:lnTo>
                      <a:pt x="6389" y="890"/>
                    </a:lnTo>
                    <a:lnTo>
                      <a:pt x="6392" y="888"/>
                    </a:lnTo>
                    <a:lnTo>
                      <a:pt x="6392" y="888"/>
                    </a:lnTo>
                    <a:lnTo>
                      <a:pt x="6392" y="878"/>
                    </a:lnTo>
                    <a:close/>
                    <a:moveTo>
                      <a:pt x="6399" y="850"/>
                    </a:moveTo>
                    <a:lnTo>
                      <a:pt x="6396" y="850"/>
                    </a:lnTo>
                    <a:lnTo>
                      <a:pt x="6396" y="850"/>
                    </a:lnTo>
                    <a:lnTo>
                      <a:pt x="6396" y="869"/>
                    </a:lnTo>
                    <a:lnTo>
                      <a:pt x="6399" y="869"/>
                    </a:lnTo>
                    <a:lnTo>
                      <a:pt x="6399" y="869"/>
                    </a:lnTo>
                    <a:lnTo>
                      <a:pt x="6399" y="869"/>
                    </a:lnTo>
                    <a:lnTo>
                      <a:pt x="6399" y="850"/>
                    </a:lnTo>
                    <a:close/>
                    <a:moveTo>
                      <a:pt x="3103" y="762"/>
                    </a:moveTo>
                    <a:lnTo>
                      <a:pt x="3100" y="762"/>
                    </a:lnTo>
                    <a:lnTo>
                      <a:pt x="3100" y="762"/>
                    </a:lnTo>
                    <a:lnTo>
                      <a:pt x="3100" y="762"/>
                    </a:lnTo>
                    <a:lnTo>
                      <a:pt x="3100" y="937"/>
                    </a:lnTo>
                    <a:lnTo>
                      <a:pt x="3103" y="937"/>
                    </a:lnTo>
                    <a:lnTo>
                      <a:pt x="3103" y="762"/>
                    </a:lnTo>
                    <a:close/>
                    <a:moveTo>
                      <a:pt x="1010" y="753"/>
                    </a:moveTo>
                    <a:lnTo>
                      <a:pt x="1008" y="753"/>
                    </a:lnTo>
                    <a:lnTo>
                      <a:pt x="1008" y="753"/>
                    </a:lnTo>
                    <a:lnTo>
                      <a:pt x="1008" y="786"/>
                    </a:lnTo>
                    <a:lnTo>
                      <a:pt x="1010" y="786"/>
                    </a:lnTo>
                    <a:lnTo>
                      <a:pt x="1010" y="753"/>
                    </a:lnTo>
                    <a:close/>
                    <a:moveTo>
                      <a:pt x="5134" y="731"/>
                    </a:moveTo>
                    <a:lnTo>
                      <a:pt x="5131" y="731"/>
                    </a:lnTo>
                    <a:lnTo>
                      <a:pt x="5131" y="731"/>
                    </a:lnTo>
                    <a:lnTo>
                      <a:pt x="5131" y="930"/>
                    </a:lnTo>
                    <a:lnTo>
                      <a:pt x="5134" y="930"/>
                    </a:lnTo>
                    <a:lnTo>
                      <a:pt x="5134" y="731"/>
                    </a:lnTo>
                    <a:close/>
                    <a:moveTo>
                      <a:pt x="3140" y="656"/>
                    </a:moveTo>
                    <a:lnTo>
                      <a:pt x="3138" y="656"/>
                    </a:lnTo>
                    <a:lnTo>
                      <a:pt x="3138" y="658"/>
                    </a:lnTo>
                    <a:lnTo>
                      <a:pt x="3138" y="724"/>
                    </a:lnTo>
                    <a:lnTo>
                      <a:pt x="3138" y="724"/>
                    </a:lnTo>
                    <a:lnTo>
                      <a:pt x="3138" y="722"/>
                    </a:lnTo>
                    <a:lnTo>
                      <a:pt x="3140" y="722"/>
                    </a:lnTo>
                    <a:lnTo>
                      <a:pt x="3140" y="656"/>
                    </a:lnTo>
                    <a:close/>
                    <a:moveTo>
                      <a:pt x="97" y="615"/>
                    </a:moveTo>
                    <a:lnTo>
                      <a:pt x="97" y="615"/>
                    </a:lnTo>
                    <a:lnTo>
                      <a:pt x="97" y="618"/>
                    </a:lnTo>
                    <a:lnTo>
                      <a:pt x="97" y="1411"/>
                    </a:lnTo>
                    <a:lnTo>
                      <a:pt x="97" y="1411"/>
                    </a:lnTo>
                    <a:lnTo>
                      <a:pt x="97" y="615"/>
                    </a:lnTo>
                    <a:close/>
                    <a:moveTo>
                      <a:pt x="5254" y="608"/>
                    </a:moveTo>
                    <a:lnTo>
                      <a:pt x="5252" y="608"/>
                    </a:lnTo>
                    <a:lnTo>
                      <a:pt x="5252" y="611"/>
                    </a:lnTo>
                    <a:lnTo>
                      <a:pt x="5252" y="689"/>
                    </a:lnTo>
                    <a:lnTo>
                      <a:pt x="5254" y="689"/>
                    </a:lnTo>
                    <a:lnTo>
                      <a:pt x="5254" y="608"/>
                    </a:lnTo>
                    <a:close/>
                    <a:moveTo>
                      <a:pt x="3285" y="580"/>
                    </a:moveTo>
                    <a:lnTo>
                      <a:pt x="3282" y="580"/>
                    </a:lnTo>
                    <a:lnTo>
                      <a:pt x="3282" y="580"/>
                    </a:lnTo>
                    <a:lnTo>
                      <a:pt x="3282" y="582"/>
                    </a:lnTo>
                    <a:lnTo>
                      <a:pt x="3282" y="615"/>
                    </a:lnTo>
                    <a:lnTo>
                      <a:pt x="3285" y="615"/>
                    </a:lnTo>
                    <a:lnTo>
                      <a:pt x="3285" y="580"/>
                    </a:lnTo>
                    <a:close/>
                    <a:moveTo>
                      <a:pt x="303" y="547"/>
                    </a:moveTo>
                    <a:lnTo>
                      <a:pt x="303" y="547"/>
                    </a:lnTo>
                    <a:lnTo>
                      <a:pt x="303" y="547"/>
                    </a:lnTo>
                    <a:lnTo>
                      <a:pt x="303" y="575"/>
                    </a:lnTo>
                    <a:lnTo>
                      <a:pt x="303" y="575"/>
                    </a:lnTo>
                    <a:lnTo>
                      <a:pt x="303" y="547"/>
                    </a:lnTo>
                    <a:close/>
                    <a:moveTo>
                      <a:pt x="7028" y="507"/>
                    </a:moveTo>
                    <a:lnTo>
                      <a:pt x="7025" y="507"/>
                    </a:lnTo>
                    <a:lnTo>
                      <a:pt x="7025" y="509"/>
                    </a:lnTo>
                    <a:lnTo>
                      <a:pt x="7025" y="1650"/>
                    </a:lnTo>
                    <a:lnTo>
                      <a:pt x="7028" y="1650"/>
                    </a:lnTo>
                    <a:lnTo>
                      <a:pt x="7028" y="507"/>
                    </a:lnTo>
                    <a:close/>
                    <a:moveTo>
                      <a:pt x="4195" y="502"/>
                    </a:moveTo>
                    <a:lnTo>
                      <a:pt x="4195" y="502"/>
                    </a:lnTo>
                    <a:lnTo>
                      <a:pt x="4193" y="504"/>
                    </a:lnTo>
                    <a:lnTo>
                      <a:pt x="4159" y="552"/>
                    </a:lnTo>
                    <a:lnTo>
                      <a:pt x="4159" y="552"/>
                    </a:lnTo>
                    <a:lnTo>
                      <a:pt x="4195" y="502"/>
                    </a:lnTo>
                    <a:close/>
                    <a:moveTo>
                      <a:pt x="3301" y="499"/>
                    </a:moveTo>
                    <a:lnTo>
                      <a:pt x="3301" y="499"/>
                    </a:lnTo>
                    <a:lnTo>
                      <a:pt x="3299" y="499"/>
                    </a:lnTo>
                    <a:lnTo>
                      <a:pt x="3299" y="502"/>
                    </a:lnTo>
                    <a:lnTo>
                      <a:pt x="3299" y="563"/>
                    </a:lnTo>
                    <a:lnTo>
                      <a:pt x="3301" y="563"/>
                    </a:lnTo>
                    <a:lnTo>
                      <a:pt x="3301" y="561"/>
                    </a:lnTo>
                    <a:lnTo>
                      <a:pt x="3301" y="561"/>
                    </a:lnTo>
                    <a:lnTo>
                      <a:pt x="3301" y="499"/>
                    </a:lnTo>
                    <a:close/>
                    <a:moveTo>
                      <a:pt x="4039" y="452"/>
                    </a:moveTo>
                    <a:lnTo>
                      <a:pt x="4036" y="452"/>
                    </a:lnTo>
                    <a:lnTo>
                      <a:pt x="4036" y="452"/>
                    </a:lnTo>
                    <a:lnTo>
                      <a:pt x="4036" y="454"/>
                    </a:lnTo>
                    <a:lnTo>
                      <a:pt x="4036" y="490"/>
                    </a:lnTo>
                    <a:lnTo>
                      <a:pt x="3954" y="642"/>
                    </a:lnTo>
                    <a:lnTo>
                      <a:pt x="3954" y="885"/>
                    </a:lnTo>
                    <a:lnTo>
                      <a:pt x="3956" y="885"/>
                    </a:lnTo>
                    <a:lnTo>
                      <a:pt x="3956" y="642"/>
                    </a:lnTo>
                    <a:lnTo>
                      <a:pt x="4039" y="488"/>
                    </a:lnTo>
                    <a:lnTo>
                      <a:pt x="4039" y="452"/>
                    </a:lnTo>
                    <a:close/>
                    <a:moveTo>
                      <a:pt x="3330" y="433"/>
                    </a:moveTo>
                    <a:lnTo>
                      <a:pt x="3330" y="433"/>
                    </a:lnTo>
                    <a:lnTo>
                      <a:pt x="3330" y="436"/>
                    </a:lnTo>
                    <a:lnTo>
                      <a:pt x="3330" y="471"/>
                    </a:lnTo>
                    <a:lnTo>
                      <a:pt x="3330" y="471"/>
                    </a:lnTo>
                    <a:lnTo>
                      <a:pt x="3330" y="471"/>
                    </a:lnTo>
                    <a:lnTo>
                      <a:pt x="3330" y="471"/>
                    </a:lnTo>
                    <a:lnTo>
                      <a:pt x="3330" y="433"/>
                    </a:lnTo>
                    <a:close/>
                    <a:moveTo>
                      <a:pt x="4044" y="391"/>
                    </a:moveTo>
                    <a:lnTo>
                      <a:pt x="4044" y="391"/>
                    </a:lnTo>
                    <a:lnTo>
                      <a:pt x="4041" y="391"/>
                    </a:lnTo>
                    <a:lnTo>
                      <a:pt x="4041" y="391"/>
                    </a:lnTo>
                    <a:lnTo>
                      <a:pt x="4041" y="447"/>
                    </a:lnTo>
                    <a:lnTo>
                      <a:pt x="4044" y="447"/>
                    </a:lnTo>
                    <a:lnTo>
                      <a:pt x="4044" y="445"/>
                    </a:lnTo>
                    <a:lnTo>
                      <a:pt x="4044" y="445"/>
                    </a:lnTo>
                    <a:lnTo>
                      <a:pt x="4044" y="391"/>
                    </a:lnTo>
                    <a:close/>
                    <a:moveTo>
                      <a:pt x="1811" y="367"/>
                    </a:moveTo>
                    <a:lnTo>
                      <a:pt x="1809" y="367"/>
                    </a:lnTo>
                    <a:lnTo>
                      <a:pt x="1809" y="369"/>
                    </a:lnTo>
                    <a:lnTo>
                      <a:pt x="1809" y="1089"/>
                    </a:lnTo>
                    <a:lnTo>
                      <a:pt x="1811" y="1089"/>
                    </a:lnTo>
                    <a:lnTo>
                      <a:pt x="1811" y="367"/>
                    </a:lnTo>
                    <a:close/>
                    <a:moveTo>
                      <a:pt x="4051" y="327"/>
                    </a:moveTo>
                    <a:lnTo>
                      <a:pt x="4051" y="327"/>
                    </a:lnTo>
                    <a:lnTo>
                      <a:pt x="4051" y="329"/>
                    </a:lnTo>
                    <a:lnTo>
                      <a:pt x="4051" y="381"/>
                    </a:lnTo>
                    <a:lnTo>
                      <a:pt x="4051" y="381"/>
                    </a:lnTo>
                    <a:lnTo>
                      <a:pt x="4051" y="381"/>
                    </a:lnTo>
                    <a:lnTo>
                      <a:pt x="4051" y="381"/>
                    </a:lnTo>
                    <a:lnTo>
                      <a:pt x="4051" y="327"/>
                    </a:lnTo>
                    <a:close/>
                    <a:moveTo>
                      <a:pt x="4706" y="230"/>
                    </a:moveTo>
                    <a:lnTo>
                      <a:pt x="4703" y="230"/>
                    </a:lnTo>
                    <a:lnTo>
                      <a:pt x="4703" y="232"/>
                    </a:lnTo>
                    <a:lnTo>
                      <a:pt x="4642" y="454"/>
                    </a:lnTo>
                    <a:lnTo>
                      <a:pt x="4644" y="452"/>
                    </a:lnTo>
                    <a:lnTo>
                      <a:pt x="4706" y="230"/>
                    </a:lnTo>
                    <a:close/>
                    <a:moveTo>
                      <a:pt x="4805" y="170"/>
                    </a:moveTo>
                    <a:lnTo>
                      <a:pt x="4805" y="170"/>
                    </a:lnTo>
                    <a:lnTo>
                      <a:pt x="4803" y="170"/>
                    </a:lnTo>
                    <a:lnTo>
                      <a:pt x="4803" y="173"/>
                    </a:lnTo>
                    <a:lnTo>
                      <a:pt x="4803" y="189"/>
                    </a:lnTo>
                    <a:lnTo>
                      <a:pt x="4805" y="189"/>
                    </a:lnTo>
                    <a:lnTo>
                      <a:pt x="4805" y="170"/>
                    </a:lnTo>
                    <a:close/>
                    <a:moveTo>
                      <a:pt x="4855" y="0"/>
                    </a:moveTo>
                    <a:lnTo>
                      <a:pt x="4852" y="0"/>
                    </a:lnTo>
                    <a:lnTo>
                      <a:pt x="4852" y="0"/>
                    </a:lnTo>
                    <a:lnTo>
                      <a:pt x="4852" y="130"/>
                    </a:lnTo>
                    <a:lnTo>
                      <a:pt x="4855" y="130"/>
                    </a:lnTo>
                    <a:lnTo>
                      <a:pt x="4855"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6" name="Freeform 101"/>
              <p:cNvSpPr>
                <a:spLocks noEditPoints="1"/>
              </p:cNvSpPr>
              <p:nvPr/>
            </p:nvSpPr>
            <p:spPr bwMode="auto">
              <a:xfrm>
                <a:off x="4" y="1703"/>
                <a:ext cx="7028" cy="1650"/>
              </a:xfrm>
              <a:custGeom>
                <a:avLst/>
                <a:gdLst>
                  <a:gd name="T0" fmla="*/ 3 w 7028"/>
                  <a:gd name="T1" fmla="*/ 1491 h 1650"/>
                  <a:gd name="T2" fmla="*/ 5666 w 7028"/>
                  <a:gd name="T3" fmla="*/ 1406 h 1650"/>
                  <a:gd name="T4" fmla="*/ 3710 w 7028"/>
                  <a:gd name="T5" fmla="*/ 1224 h 1650"/>
                  <a:gd name="T6" fmla="*/ 5831 w 7028"/>
                  <a:gd name="T7" fmla="*/ 1207 h 1650"/>
                  <a:gd name="T8" fmla="*/ 5834 w 7028"/>
                  <a:gd name="T9" fmla="*/ 1207 h 1650"/>
                  <a:gd name="T10" fmla="*/ 1667 w 7028"/>
                  <a:gd name="T11" fmla="*/ 1158 h 1650"/>
                  <a:gd name="T12" fmla="*/ 1689 w 7028"/>
                  <a:gd name="T13" fmla="*/ 1134 h 1650"/>
                  <a:gd name="T14" fmla="*/ 5857 w 7028"/>
                  <a:gd name="T15" fmla="*/ 1127 h 1650"/>
                  <a:gd name="T16" fmla="*/ 5857 w 7028"/>
                  <a:gd name="T17" fmla="*/ 1181 h 1650"/>
                  <a:gd name="T18" fmla="*/ 6323 w 7028"/>
                  <a:gd name="T19" fmla="*/ 1127 h 1650"/>
                  <a:gd name="T20" fmla="*/ 1447 w 7028"/>
                  <a:gd name="T21" fmla="*/ 1125 h 1650"/>
                  <a:gd name="T22" fmla="*/ 1447 w 7028"/>
                  <a:gd name="T23" fmla="*/ 1158 h 1650"/>
                  <a:gd name="T24" fmla="*/ 1464 w 7028"/>
                  <a:gd name="T25" fmla="*/ 1108 h 1650"/>
                  <a:gd name="T26" fmla="*/ 2861 w 7028"/>
                  <a:gd name="T27" fmla="*/ 1061 h 1650"/>
                  <a:gd name="T28" fmla="*/ 2861 w 7028"/>
                  <a:gd name="T29" fmla="*/ 1198 h 1650"/>
                  <a:gd name="T30" fmla="*/ 5930 w 7028"/>
                  <a:gd name="T31" fmla="*/ 1042 h 1650"/>
                  <a:gd name="T32" fmla="*/ 2878 w 7028"/>
                  <a:gd name="T33" fmla="*/ 1011 h 1650"/>
                  <a:gd name="T34" fmla="*/ 2878 w 7028"/>
                  <a:gd name="T35" fmla="*/ 1044 h 1650"/>
                  <a:gd name="T36" fmla="*/ 3769 w 7028"/>
                  <a:gd name="T37" fmla="*/ 1181 h 1650"/>
                  <a:gd name="T38" fmla="*/ 5949 w 7028"/>
                  <a:gd name="T39" fmla="*/ 990 h 1650"/>
                  <a:gd name="T40" fmla="*/ 5952 w 7028"/>
                  <a:gd name="T41" fmla="*/ 990 h 1650"/>
                  <a:gd name="T42" fmla="*/ 6340 w 7028"/>
                  <a:gd name="T43" fmla="*/ 1110 h 1650"/>
                  <a:gd name="T44" fmla="*/ 3847 w 7028"/>
                  <a:gd name="T45" fmla="*/ 928 h 1650"/>
                  <a:gd name="T46" fmla="*/ 3847 w 7028"/>
                  <a:gd name="T47" fmla="*/ 928 h 1650"/>
                  <a:gd name="T48" fmla="*/ 6387 w 7028"/>
                  <a:gd name="T49" fmla="*/ 892 h 1650"/>
                  <a:gd name="T50" fmla="*/ 6389 w 7028"/>
                  <a:gd name="T51" fmla="*/ 878 h 1650"/>
                  <a:gd name="T52" fmla="*/ 6392 w 7028"/>
                  <a:gd name="T53" fmla="*/ 878 h 1650"/>
                  <a:gd name="T54" fmla="*/ 6399 w 7028"/>
                  <a:gd name="T55" fmla="*/ 869 h 1650"/>
                  <a:gd name="T56" fmla="*/ 3100 w 7028"/>
                  <a:gd name="T57" fmla="*/ 762 h 1650"/>
                  <a:gd name="T58" fmla="*/ 3103 w 7028"/>
                  <a:gd name="T59" fmla="*/ 762 h 1650"/>
                  <a:gd name="T60" fmla="*/ 1010 w 7028"/>
                  <a:gd name="T61" fmla="*/ 786 h 1650"/>
                  <a:gd name="T62" fmla="*/ 5131 w 7028"/>
                  <a:gd name="T63" fmla="*/ 930 h 1650"/>
                  <a:gd name="T64" fmla="*/ 3138 w 7028"/>
                  <a:gd name="T65" fmla="*/ 658 h 1650"/>
                  <a:gd name="T66" fmla="*/ 3140 w 7028"/>
                  <a:gd name="T67" fmla="*/ 656 h 1650"/>
                  <a:gd name="T68" fmla="*/ 97 w 7028"/>
                  <a:gd name="T69" fmla="*/ 1411 h 1650"/>
                  <a:gd name="T70" fmla="*/ 5252 w 7028"/>
                  <a:gd name="T71" fmla="*/ 689 h 1650"/>
                  <a:gd name="T72" fmla="*/ 3282 w 7028"/>
                  <a:gd name="T73" fmla="*/ 580 h 1650"/>
                  <a:gd name="T74" fmla="*/ 303 w 7028"/>
                  <a:gd name="T75" fmla="*/ 547 h 1650"/>
                  <a:gd name="T76" fmla="*/ 303 w 7028"/>
                  <a:gd name="T77" fmla="*/ 547 h 1650"/>
                  <a:gd name="T78" fmla="*/ 7028 w 7028"/>
                  <a:gd name="T79" fmla="*/ 1650 h 1650"/>
                  <a:gd name="T80" fmla="*/ 4159 w 7028"/>
                  <a:gd name="T81" fmla="*/ 552 h 1650"/>
                  <a:gd name="T82" fmla="*/ 3299 w 7028"/>
                  <a:gd name="T83" fmla="*/ 499 h 1650"/>
                  <a:gd name="T84" fmla="*/ 3301 w 7028"/>
                  <a:gd name="T85" fmla="*/ 561 h 1650"/>
                  <a:gd name="T86" fmla="*/ 4036 w 7028"/>
                  <a:gd name="T87" fmla="*/ 454 h 1650"/>
                  <a:gd name="T88" fmla="*/ 3956 w 7028"/>
                  <a:gd name="T89" fmla="*/ 642 h 1650"/>
                  <a:gd name="T90" fmla="*/ 3330 w 7028"/>
                  <a:gd name="T91" fmla="*/ 436 h 1650"/>
                  <a:gd name="T92" fmla="*/ 3330 w 7028"/>
                  <a:gd name="T93" fmla="*/ 433 h 1650"/>
                  <a:gd name="T94" fmla="*/ 4041 w 7028"/>
                  <a:gd name="T95" fmla="*/ 447 h 1650"/>
                  <a:gd name="T96" fmla="*/ 1811 w 7028"/>
                  <a:gd name="T97" fmla="*/ 367 h 1650"/>
                  <a:gd name="T98" fmla="*/ 1811 w 7028"/>
                  <a:gd name="T99" fmla="*/ 367 h 1650"/>
                  <a:gd name="T100" fmla="*/ 4051 w 7028"/>
                  <a:gd name="T101" fmla="*/ 381 h 1650"/>
                  <a:gd name="T102" fmla="*/ 4703 w 7028"/>
                  <a:gd name="T103" fmla="*/ 230 h 1650"/>
                  <a:gd name="T104" fmla="*/ 4805 w 7028"/>
                  <a:gd name="T105" fmla="*/ 170 h 1650"/>
                  <a:gd name="T106" fmla="*/ 4805 w 7028"/>
                  <a:gd name="T107" fmla="*/ 189 h 1650"/>
                  <a:gd name="T108" fmla="*/ 4852 w 7028"/>
                  <a:gd name="T109" fmla="*/ 13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8" h="1650">
                    <a:moveTo>
                      <a:pt x="3" y="1451"/>
                    </a:moveTo>
                    <a:lnTo>
                      <a:pt x="0" y="1451"/>
                    </a:lnTo>
                    <a:lnTo>
                      <a:pt x="0" y="1454"/>
                    </a:lnTo>
                    <a:lnTo>
                      <a:pt x="0" y="1491"/>
                    </a:lnTo>
                    <a:lnTo>
                      <a:pt x="3" y="1491"/>
                    </a:lnTo>
                    <a:lnTo>
                      <a:pt x="3" y="1451"/>
                    </a:lnTo>
                    <a:moveTo>
                      <a:pt x="5668" y="1326"/>
                    </a:moveTo>
                    <a:lnTo>
                      <a:pt x="5666" y="1326"/>
                    </a:lnTo>
                    <a:lnTo>
                      <a:pt x="5666" y="1326"/>
                    </a:lnTo>
                    <a:lnTo>
                      <a:pt x="5666" y="1406"/>
                    </a:lnTo>
                    <a:lnTo>
                      <a:pt x="5668" y="1406"/>
                    </a:lnTo>
                    <a:lnTo>
                      <a:pt x="5668" y="1326"/>
                    </a:lnTo>
                    <a:moveTo>
                      <a:pt x="3713" y="1222"/>
                    </a:moveTo>
                    <a:lnTo>
                      <a:pt x="3710" y="1222"/>
                    </a:lnTo>
                    <a:lnTo>
                      <a:pt x="3710" y="1224"/>
                    </a:lnTo>
                    <a:lnTo>
                      <a:pt x="3710" y="1274"/>
                    </a:lnTo>
                    <a:lnTo>
                      <a:pt x="3713" y="1274"/>
                    </a:lnTo>
                    <a:lnTo>
                      <a:pt x="3713" y="1222"/>
                    </a:lnTo>
                    <a:moveTo>
                      <a:pt x="5834" y="1207"/>
                    </a:moveTo>
                    <a:lnTo>
                      <a:pt x="5831" y="1207"/>
                    </a:lnTo>
                    <a:lnTo>
                      <a:pt x="5831" y="1207"/>
                    </a:lnTo>
                    <a:lnTo>
                      <a:pt x="5831" y="1210"/>
                    </a:lnTo>
                    <a:lnTo>
                      <a:pt x="5831" y="1283"/>
                    </a:lnTo>
                    <a:lnTo>
                      <a:pt x="5834" y="1283"/>
                    </a:lnTo>
                    <a:lnTo>
                      <a:pt x="5834" y="1207"/>
                    </a:lnTo>
                    <a:moveTo>
                      <a:pt x="1667" y="1155"/>
                    </a:moveTo>
                    <a:lnTo>
                      <a:pt x="1667" y="1155"/>
                    </a:lnTo>
                    <a:lnTo>
                      <a:pt x="1665" y="1155"/>
                    </a:lnTo>
                    <a:lnTo>
                      <a:pt x="1665" y="1158"/>
                    </a:lnTo>
                    <a:lnTo>
                      <a:pt x="1667" y="1158"/>
                    </a:lnTo>
                    <a:lnTo>
                      <a:pt x="1667" y="1155"/>
                    </a:lnTo>
                    <a:moveTo>
                      <a:pt x="1691" y="1132"/>
                    </a:moveTo>
                    <a:lnTo>
                      <a:pt x="1689" y="1132"/>
                    </a:lnTo>
                    <a:lnTo>
                      <a:pt x="1689" y="1132"/>
                    </a:lnTo>
                    <a:lnTo>
                      <a:pt x="1689" y="1134"/>
                    </a:lnTo>
                    <a:lnTo>
                      <a:pt x="1689" y="1134"/>
                    </a:lnTo>
                    <a:lnTo>
                      <a:pt x="1689" y="1132"/>
                    </a:lnTo>
                    <a:lnTo>
                      <a:pt x="1691" y="1132"/>
                    </a:lnTo>
                    <a:lnTo>
                      <a:pt x="1691" y="1132"/>
                    </a:lnTo>
                    <a:moveTo>
                      <a:pt x="5857" y="1127"/>
                    </a:moveTo>
                    <a:lnTo>
                      <a:pt x="5855" y="1127"/>
                    </a:lnTo>
                    <a:lnTo>
                      <a:pt x="5855" y="1129"/>
                    </a:lnTo>
                    <a:lnTo>
                      <a:pt x="5855" y="1184"/>
                    </a:lnTo>
                    <a:lnTo>
                      <a:pt x="5857" y="1184"/>
                    </a:lnTo>
                    <a:lnTo>
                      <a:pt x="5857" y="1181"/>
                    </a:lnTo>
                    <a:lnTo>
                      <a:pt x="5857" y="1181"/>
                    </a:lnTo>
                    <a:lnTo>
                      <a:pt x="5857" y="1127"/>
                    </a:lnTo>
                    <a:moveTo>
                      <a:pt x="6325" y="1127"/>
                    </a:moveTo>
                    <a:lnTo>
                      <a:pt x="6323" y="1127"/>
                    </a:lnTo>
                    <a:lnTo>
                      <a:pt x="6323" y="1127"/>
                    </a:lnTo>
                    <a:lnTo>
                      <a:pt x="6323" y="1129"/>
                    </a:lnTo>
                    <a:lnTo>
                      <a:pt x="6323" y="1167"/>
                    </a:lnTo>
                    <a:lnTo>
                      <a:pt x="6325" y="1167"/>
                    </a:lnTo>
                    <a:lnTo>
                      <a:pt x="6325" y="1127"/>
                    </a:lnTo>
                    <a:moveTo>
                      <a:pt x="1447" y="1125"/>
                    </a:moveTo>
                    <a:lnTo>
                      <a:pt x="1447" y="1125"/>
                    </a:lnTo>
                    <a:lnTo>
                      <a:pt x="1447" y="1125"/>
                    </a:lnTo>
                    <a:lnTo>
                      <a:pt x="1447" y="1127"/>
                    </a:lnTo>
                    <a:lnTo>
                      <a:pt x="1447" y="1158"/>
                    </a:lnTo>
                    <a:lnTo>
                      <a:pt x="1447" y="1158"/>
                    </a:lnTo>
                    <a:lnTo>
                      <a:pt x="1447" y="1125"/>
                    </a:lnTo>
                    <a:moveTo>
                      <a:pt x="1466" y="1082"/>
                    </a:moveTo>
                    <a:lnTo>
                      <a:pt x="1464" y="1082"/>
                    </a:lnTo>
                    <a:lnTo>
                      <a:pt x="1464" y="1084"/>
                    </a:lnTo>
                    <a:lnTo>
                      <a:pt x="1464" y="1108"/>
                    </a:lnTo>
                    <a:lnTo>
                      <a:pt x="1464" y="1108"/>
                    </a:lnTo>
                    <a:lnTo>
                      <a:pt x="1464" y="1106"/>
                    </a:lnTo>
                    <a:lnTo>
                      <a:pt x="1466" y="1106"/>
                    </a:lnTo>
                    <a:lnTo>
                      <a:pt x="1466" y="1082"/>
                    </a:lnTo>
                    <a:moveTo>
                      <a:pt x="2861" y="1061"/>
                    </a:moveTo>
                    <a:lnTo>
                      <a:pt x="2861" y="1061"/>
                    </a:lnTo>
                    <a:lnTo>
                      <a:pt x="2859" y="1061"/>
                    </a:lnTo>
                    <a:lnTo>
                      <a:pt x="2859" y="1063"/>
                    </a:lnTo>
                    <a:lnTo>
                      <a:pt x="2859" y="1198"/>
                    </a:lnTo>
                    <a:lnTo>
                      <a:pt x="2861" y="1198"/>
                    </a:lnTo>
                    <a:lnTo>
                      <a:pt x="2861" y="1061"/>
                    </a:lnTo>
                    <a:moveTo>
                      <a:pt x="5933" y="1039"/>
                    </a:moveTo>
                    <a:lnTo>
                      <a:pt x="5933" y="1039"/>
                    </a:lnTo>
                    <a:lnTo>
                      <a:pt x="5930" y="1039"/>
                    </a:lnTo>
                    <a:lnTo>
                      <a:pt x="5930" y="1042"/>
                    </a:lnTo>
                    <a:lnTo>
                      <a:pt x="5930" y="1087"/>
                    </a:lnTo>
                    <a:lnTo>
                      <a:pt x="5933" y="1087"/>
                    </a:lnTo>
                    <a:lnTo>
                      <a:pt x="5933" y="1039"/>
                    </a:lnTo>
                    <a:moveTo>
                      <a:pt x="2878" y="1011"/>
                    </a:moveTo>
                    <a:lnTo>
                      <a:pt x="2878" y="1011"/>
                    </a:lnTo>
                    <a:lnTo>
                      <a:pt x="2878" y="1013"/>
                    </a:lnTo>
                    <a:lnTo>
                      <a:pt x="2878" y="1044"/>
                    </a:lnTo>
                    <a:lnTo>
                      <a:pt x="2878" y="1044"/>
                    </a:lnTo>
                    <a:lnTo>
                      <a:pt x="2878" y="1044"/>
                    </a:lnTo>
                    <a:lnTo>
                      <a:pt x="2878" y="1044"/>
                    </a:lnTo>
                    <a:lnTo>
                      <a:pt x="2878" y="1011"/>
                    </a:lnTo>
                    <a:moveTo>
                      <a:pt x="3772" y="992"/>
                    </a:moveTo>
                    <a:lnTo>
                      <a:pt x="3769" y="992"/>
                    </a:lnTo>
                    <a:lnTo>
                      <a:pt x="3769" y="994"/>
                    </a:lnTo>
                    <a:lnTo>
                      <a:pt x="3769" y="1181"/>
                    </a:lnTo>
                    <a:lnTo>
                      <a:pt x="3772" y="1181"/>
                    </a:lnTo>
                    <a:lnTo>
                      <a:pt x="3772" y="992"/>
                    </a:lnTo>
                    <a:moveTo>
                      <a:pt x="5952" y="990"/>
                    </a:moveTo>
                    <a:lnTo>
                      <a:pt x="5949" y="990"/>
                    </a:lnTo>
                    <a:lnTo>
                      <a:pt x="5949" y="990"/>
                    </a:lnTo>
                    <a:lnTo>
                      <a:pt x="5949" y="1023"/>
                    </a:lnTo>
                    <a:lnTo>
                      <a:pt x="5949" y="1023"/>
                    </a:lnTo>
                    <a:lnTo>
                      <a:pt x="5949" y="1023"/>
                    </a:lnTo>
                    <a:lnTo>
                      <a:pt x="5952" y="1023"/>
                    </a:lnTo>
                    <a:lnTo>
                      <a:pt x="5952" y="990"/>
                    </a:lnTo>
                    <a:moveTo>
                      <a:pt x="6342" y="935"/>
                    </a:moveTo>
                    <a:lnTo>
                      <a:pt x="6342" y="935"/>
                    </a:lnTo>
                    <a:lnTo>
                      <a:pt x="6340" y="935"/>
                    </a:lnTo>
                    <a:lnTo>
                      <a:pt x="6340" y="937"/>
                    </a:lnTo>
                    <a:lnTo>
                      <a:pt x="6340" y="1110"/>
                    </a:lnTo>
                    <a:lnTo>
                      <a:pt x="6342" y="1110"/>
                    </a:lnTo>
                    <a:lnTo>
                      <a:pt x="6342" y="1108"/>
                    </a:lnTo>
                    <a:lnTo>
                      <a:pt x="6342" y="1108"/>
                    </a:lnTo>
                    <a:lnTo>
                      <a:pt x="6342" y="935"/>
                    </a:lnTo>
                    <a:moveTo>
                      <a:pt x="3847" y="928"/>
                    </a:moveTo>
                    <a:lnTo>
                      <a:pt x="3845" y="928"/>
                    </a:lnTo>
                    <a:lnTo>
                      <a:pt x="3845" y="928"/>
                    </a:lnTo>
                    <a:lnTo>
                      <a:pt x="3845" y="952"/>
                    </a:lnTo>
                    <a:lnTo>
                      <a:pt x="3847" y="952"/>
                    </a:lnTo>
                    <a:lnTo>
                      <a:pt x="3847" y="928"/>
                    </a:lnTo>
                    <a:moveTo>
                      <a:pt x="6387" y="892"/>
                    </a:moveTo>
                    <a:lnTo>
                      <a:pt x="6387" y="892"/>
                    </a:lnTo>
                    <a:lnTo>
                      <a:pt x="6384" y="892"/>
                    </a:lnTo>
                    <a:lnTo>
                      <a:pt x="6384" y="892"/>
                    </a:lnTo>
                    <a:lnTo>
                      <a:pt x="6387" y="892"/>
                    </a:lnTo>
                    <a:lnTo>
                      <a:pt x="6387" y="892"/>
                    </a:lnTo>
                    <a:moveTo>
                      <a:pt x="6392" y="878"/>
                    </a:moveTo>
                    <a:lnTo>
                      <a:pt x="6389" y="878"/>
                    </a:lnTo>
                    <a:lnTo>
                      <a:pt x="6389" y="878"/>
                    </a:lnTo>
                    <a:lnTo>
                      <a:pt x="6389" y="878"/>
                    </a:lnTo>
                    <a:lnTo>
                      <a:pt x="6389" y="890"/>
                    </a:lnTo>
                    <a:lnTo>
                      <a:pt x="6389" y="890"/>
                    </a:lnTo>
                    <a:lnTo>
                      <a:pt x="6392" y="888"/>
                    </a:lnTo>
                    <a:lnTo>
                      <a:pt x="6392" y="888"/>
                    </a:lnTo>
                    <a:lnTo>
                      <a:pt x="6392" y="878"/>
                    </a:lnTo>
                    <a:moveTo>
                      <a:pt x="6399" y="850"/>
                    </a:moveTo>
                    <a:lnTo>
                      <a:pt x="6396" y="850"/>
                    </a:lnTo>
                    <a:lnTo>
                      <a:pt x="6396" y="850"/>
                    </a:lnTo>
                    <a:lnTo>
                      <a:pt x="6396" y="869"/>
                    </a:lnTo>
                    <a:lnTo>
                      <a:pt x="6399" y="869"/>
                    </a:lnTo>
                    <a:lnTo>
                      <a:pt x="6399" y="869"/>
                    </a:lnTo>
                    <a:lnTo>
                      <a:pt x="6399" y="869"/>
                    </a:lnTo>
                    <a:lnTo>
                      <a:pt x="6399" y="850"/>
                    </a:lnTo>
                    <a:moveTo>
                      <a:pt x="3103" y="762"/>
                    </a:moveTo>
                    <a:lnTo>
                      <a:pt x="3100" y="762"/>
                    </a:lnTo>
                    <a:lnTo>
                      <a:pt x="3100" y="762"/>
                    </a:lnTo>
                    <a:lnTo>
                      <a:pt x="3100" y="762"/>
                    </a:lnTo>
                    <a:lnTo>
                      <a:pt x="3100" y="937"/>
                    </a:lnTo>
                    <a:lnTo>
                      <a:pt x="3103" y="937"/>
                    </a:lnTo>
                    <a:lnTo>
                      <a:pt x="3103" y="762"/>
                    </a:lnTo>
                    <a:moveTo>
                      <a:pt x="1010" y="753"/>
                    </a:moveTo>
                    <a:lnTo>
                      <a:pt x="1008" y="753"/>
                    </a:lnTo>
                    <a:lnTo>
                      <a:pt x="1008" y="753"/>
                    </a:lnTo>
                    <a:lnTo>
                      <a:pt x="1008" y="786"/>
                    </a:lnTo>
                    <a:lnTo>
                      <a:pt x="1010" y="786"/>
                    </a:lnTo>
                    <a:lnTo>
                      <a:pt x="1010" y="753"/>
                    </a:lnTo>
                    <a:moveTo>
                      <a:pt x="5134" y="731"/>
                    </a:moveTo>
                    <a:lnTo>
                      <a:pt x="5131" y="731"/>
                    </a:lnTo>
                    <a:lnTo>
                      <a:pt x="5131" y="731"/>
                    </a:lnTo>
                    <a:lnTo>
                      <a:pt x="5131" y="930"/>
                    </a:lnTo>
                    <a:lnTo>
                      <a:pt x="5134" y="930"/>
                    </a:lnTo>
                    <a:lnTo>
                      <a:pt x="5134" y="731"/>
                    </a:lnTo>
                    <a:moveTo>
                      <a:pt x="3140" y="656"/>
                    </a:moveTo>
                    <a:lnTo>
                      <a:pt x="3138" y="656"/>
                    </a:lnTo>
                    <a:lnTo>
                      <a:pt x="3138" y="658"/>
                    </a:lnTo>
                    <a:lnTo>
                      <a:pt x="3138" y="724"/>
                    </a:lnTo>
                    <a:lnTo>
                      <a:pt x="3138" y="724"/>
                    </a:lnTo>
                    <a:lnTo>
                      <a:pt x="3138" y="722"/>
                    </a:lnTo>
                    <a:lnTo>
                      <a:pt x="3140" y="722"/>
                    </a:lnTo>
                    <a:lnTo>
                      <a:pt x="3140" y="656"/>
                    </a:lnTo>
                    <a:moveTo>
                      <a:pt x="97" y="615"/>
                    </a:moveTo>
                    <a:lnTo>
                      <a:pt x="97" y="615"/>
                    </a:lnTo>
                    <a:lnTo>
                      <a:pt x="97" y="618"/>
                    </a:lnTo>
                    <a:lnTo>
                      <a:pt x="97" y="1411"/>
                    </a:lnTo>
                    <a:lnTo>
                      <a:pt x="97" y="1411"/>
                    </a:lnTo>
                    <a:lnTo>
                      <a:pt x="97" y="615"/>
                    </a:lnTo>
                    <a:moveTo>
                      <a:pt x="5254" y="608"/>
                    </a:moveTo>
                    <a:lnTo>
                      <a:pt x="5252" y="608"/>
                    </a:lnTo>
                    <a:lnTo>
                      <a:pt x="5252" y="611"/>
                    </a:lnTo>
                    <a:lnTo>
                      <a:pt x="5252" y="689"/>
                    </a:lnTo>
                    <a:lnTo>
                      <a:pt x="5254" y="689"/>
                    </a:lnTo>
                    <a:lnTo>
                      <a:pt x="5254" y="608"/>
                    </a:lnTo>
                    <a:moveTo>
                      <a:pt x="3285" y="580"/>
                    </a:moveTo>
                    <a:lnTo>
                      <a:pt x="3282" y="580"/>
                    </a:lnTo>
                    <a:lnTo>
                      <a:pt x="3282" y="580"/>
                    </a:lnTo>
                    <a:lnTo>
                      <a:pt x="3282" y="582"/>
                    </a:lnTo>
                    <a:lnTo>
                      <a:pt x="3282" y="615"/>
                    </a:lnTo>
                    <a:lnTo>
                      <a:pt x="3285" y="615"/>
                    </a:lnTo>
                    <a:lnTo>
                      <a:pt x="3285" y="580"/>
                    </a:lnTo>
                    <a:moveTo>
                      <a:pt x="303" y="547"/>
                    </a:moveTo>
                    <a:lnTo>
                      <a:pt x="303" y="547"/>
                    </a:lnTo>
                    <a:lnTo>
                      <a:pt x="303" y="547"/>
                    </a:lnTo>
                    <a:lnTo>
                      <a:pt x="303" y="575"/>
                    </a:lnTo>
                    <a:lnTo>
                      <a:pt x="303" y="575"/>
                    </a:lnTo>
                    <a:lnTo>
                      <a:pt x="303" y="547"/>
                    </a:lnTo>
                    <a:moveTo>
                      <a:pt x="7028" y="507"/>
                    </a:moveTo>
                    <a:lnTo>
                      <a:pt x="7025" y="507"/>
                    </a:lnTo>
                    <a:lnTo>
                      <a:pt x="7025" y="509"/>
                    </a:lnTo>
                    <a:lnTo>
                      <a:pt x="7025" y="1650"/>
                    </a:lnTo>
                    <a:lnTo>
                      <a:pt x="7028" y="1650"/>
                    </a:lnTo>
                    <a:lnTo>
                      <a:pt x="7028" y="507"/>
                    </a:lnTo>
                    <a:moveTo>
                      <a:pt x="4195" y="502"/>
                    </a:moveTo>
                    <a:lnTo>
                      <a:pt x="4195" y="502"/>
                    </a:lnTo>
                    <a:lnTo>
                      <a:pt x="4193" y="504"/>
                    </a:lnTo>
                    <a:lnTo>
                      <a:pt x="4159" y="552"/>
                    </a:lnTo>
                    <a:lnTo>
                      <a:pt x="4159" y="552"/>
                    </a:lnTo>
                    <a:lnTo>
                      <a:pt x="4195" y="502"/>
                    </a:lnTo>
                    <a:moveTo>
                      <a:pt x="3301" y="499"/>
                    </a:moveTo>
                    <a:lnTo>
                      <a:pt x="3301" y="499"/>
                    </a:lnTo>
                    <a:lnTo>
                      <a:pt x="3299" y="499"/>
                    </a:lnTo>
                    <a:lnTo>
                      <a:pt x="3299" y="502"/>
                    </a:lnTo>
                    <a:lnTo>
                      <a:pt x="3299" y="563"/>
                    </a:lnTo>
                    <a:lnTo>
                      <a:pt x="3301" y="563"/>
                    </a:lnTo>
                    <a:lnTo>
                      <a:pt x="3301" y="561"/>
                    </a:lnTo>
                    <a:lnTo>
                      <a:pt x="3301" y="561"/>
                    </a:lnTo>
                    <a:lnTo>
                      <a:pt x="3301" y="499"/>
                    </a:lnTo>
                    <a:moveTo>
                      <a:pt x="4039" y="452"/>
                    </a:moveTo>
                    <a:lnTo>
                      <a:pt x="4036" y="452"/>
                    </a:lnTo>
                    <a:lnTo>
                      <a:pt x="4036" y="452"/>
                    </a:lnTo>
                    <a:lnTo>
                      <a:pt x="4036" y="454"/>
                    </a:lnTo>
                    <a:lnTo>
                      <a:pt x="4036" y="490"/>
                    </a:lnTo>
                    <a:lnTo>
                      <a:pt x="3954" y="642"/>
                    </a:lnTo>
                    <a:lnTo>
                      <a:pt x="3954" y="885"/>
                    </a:lnTo>
                    <a:lnTo>
                      <a:pt x="3956" y="885"/>
                    </a:lnTo>
                    <a:lnTo>
                      <a:pt x="3956" y="642"/>
                    </a:lnTo>
                    <a:lnTo>
                      <a:pt x="4039" y="488"/>
                    </a:lnTo>
                    <a:lnTo>
                      <a:pt x="4039" y="452"/>
                    </a:lnTo>
                    <a:moveTo>
                      <a:pt x="3330" y="433"/>
                    </a:moveTo>
                    <a:lnTo>
                      <a:pt x="3330" y="433"/>
                    </a:lnTo>
                    <a:lnTo>
                      <a:pt x="3330" y="436"/>
                    </a:lnTo>
                    <a:lnTo>
                      <a:pt x="3330" y="471"/>
                    </a:lnTo>
                    <a:lnTo>
                      <a:pt x="3330" y="471"/>
                    </a:lnTo>
                    <a:lnTo>
                      <a:pt x="3330" y="471"/>
                    </a:lnTo>
                    <a:lnTo>
                      <a:pt x="3330" y="471"/>
                    </a:lnTo>
                    <a:lnTo>
                      <a:pt x="3330" y="433"/>
                    </a:lnTo>
                    <a:moveTo>
                      <a:pt x="4044" y="391"/>
                    </a:moveTo>
                    <a:lnTo>
                      <a:pt x="4044" y="391"/>
                    </a:lnTo>
                    <a:lnTo>
                      <a:pt x="4041" y="391"/>
                    </a:lnTo>
                    <a:lnTo>
                      <a:pt x="4041" y="391"/>
                    </a:lnTo>
                    <a:lnTo>
                      <a:pt x="4041" y="447"/>
                    </a:lnTo>
                    <a:lnTo>
                      <a:pt x="4044" y="447"/>
                    </a:lnTo>
                    <a:lnTo>
                      <a:pt x="4044" y="445"/>
                    </a:lnTo>
                    <a:lnTo>
                      <a:pt x="4044" y="445"/>
                    </a:lnTo>
                    <a:lnTo>
                      <a:pt x="4044" y="391"/>
                    </a:lnTo>
                    <a:moveTo>
                      <a:pt x="1811" y="367"/>
                    </a:moveTo>
                    <a:lnTo>
                      <a:pt x="1809" y="367"/>
                    </a:lnTo>
                    <a:lnTo>
                      <a:pt x="1809" y="369"/>
                    </a:lnTo>
                    <a:lnTo>
                      <a:pt x="1809" y="1089"/>
                    </a:lnTo>
                    <a:lnTo>
                      <a:pt x="1811" y="1089"/>
                    </a:lnTo>
                    <a:lnTo>
                      <a:pt x="1811" y="367"/>
                    </a:lnTo>
                    <a:moveTo>
                      <a:pt x="4051" y="327"/>
                    </a:moveTo>
                    <a:lnTo>
                      <a:pt x="4051" y="327"/>
                    </a:lnTo>
                    <a:lnTo>
                      <a:pt x="4051" y="329"/>
                    </a:lnTo>
                    <a:lnTo>
                      <a:pt x="4051" y="381"/>
                    </a:lnTo>
                    <a:lnTo>
                      <a:pt x="4051" y="381"/>
                    </a:lnTo>
                    <a:lnTo>
                      <a:pt x="4051" y="381"/>
                    </a:lnTo>
                    <a:lnTo>
                      <a:pt x="4051" y="381"/>
                    </a:lnTo>
                    <a:lnTo>
                      <a:pt x="4051" y="327"/>
                    </a:lnTo>
                    <a:moveTo>
                      <a:pt x="4706" y="230"/>
                    </a:moveTo>
                    <a:lnTo>
                      <a:pt x="4703" y="230"/>
                    </a:lnTo>
                    <a:lnTo>
                      <a:pt x="4703" y="232"/>
                    </a:lnTo>
                    <a:lnTo>
                      <a:pt x="4642" y="454"/>
                    </a:lnTo>
                    <a:lnTo>
                      <a:pt x="4644" y="452"/>
                    </a:lnTo>
                    <a:lnTo>
                      <a:pt x="4706" y="230"/>
                    </a:lnTo>
                    <a:moveTo>
                      <a:pt x="4805" y="170"/>
                    </a:moveTo>
                    <a:lnTo>
                      <a:pt x="4805" y="170"/>
                    </a:lnTo>
                    <a:lnTo>
                      <a:pt x="4803" y="170"/>
                    </a:lnTo>
                    <a:lnTo>
                      <a:pt x="4803" y="173"/>
                    </a:lnTo>
                    <a:lnTo>
                      <a:pt x="4803" y="189"/>
                    </a:lnTo>
                    <a:lnTo>
                      <a:pt x="4805" y="189"/>
                    </a:lnTo>
                    <a:lnTo>
                      <a:pt x="4805" y="170"/>
                    </a:lnTo>
                    <a:moveTo>
                      <a:pt x="4855" y="0"/>
                    </a:moveTo>
                    <a:lnTo>
                      <a:pt x="4852" y="0"/>
                    </a:lnTo>
                    <a:lnTo>
                      <a:pt x="4852" y="0"/>
                    </a:lnTo>
                    <a:lnTo>
                      <a:pt x="4852" y="130"/>
                    </a:lnTo>
                    <a:lnTo>
                      <a:pt x="4855" y="130"/>
                    </a:lnTo>
                    <a:lnTo>
                      <a:pt x="48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7" name="Freeform 102"/>
              <p:cNvSpPr>
                <a:spLocks noEditPoints="1"/>
              </p:cNvSpPr>
              <p:nvPr/>
            </p:nvSpPr>
            <p:spPr bwMode="auto">
              <a:xfrm>
                <a:off x="7" y="1701"/>
                <a:ext cx="7027" cy="1652"/>
              </a:xfrm>
              <a:custGeom>
                <a:avLst/>
                <a:gdLst>
                  <a:gd name="T0" fmla="*/ 2 w 7027"/>
                  <a:gd name="T1" fmla="*/ 1493 h 1652"/>
                  <a:gd name="T2" fmla="*/ 5665 w 7027"/>
                  <a:gd name="T3" fmla="*/ 1408 h 1652"/>
                  <a:gd name="T4" fmla="*/ 3710 w 7027"/>
                  <a:gd name="T5" fmla="*/ 1224 h 1652"/>
                  <a:gd name="T6" fmla="*/ 5831 w 7027"/>
                  <a:gd name="T7" fmla="*/ 1207 h 1652"/>
                  <a:gd name="T8" fmla="*/ 5831 w 7027"/>
                  <a:gd name="T9" fmla="*/ 1207 h 1652"/>
                  <a:gd name="T10" fmla="*/ 1664 w 7027"/>
                  <a:gd name="T11" fmla="*/ 1160 h 1652"/>
                  <a:gd name="T12" fmla="*/ 1688 w 7027"/>
                  <a:gd name="T13" fmla="*/ 1134 h 1652"/>
                  <a:gd name="T14" fmla="*/ 1690 w 7027"/>
                  <a:gd name="T15" fmla="*/ 1131 h 1652"/>
                  <a:gd name="T16" fmla="*/ 5857 w 7027"/>
                  <a:gd name="T17" fmla="*/ 1183 h 1652"/>
                  <a:gd name="T18" fmla="*/ 6322 w 7027"/>
                  <a:gd name="T19" fmla="*/ 1127 h 1652"/>
                  <a:gd name="T20" fmla="*/ 6322 w 7027"/>
                  <a:gd name="T21" fmla="*/ 1127 h 1652"/>
                  <a:gd name="T22" fmla="*/ 1444 w 7027"/>
                  <a:gd name="T23" fmla="*/ 1160 h 1652"/>
                  <a:gd name="T24" fmla="*/ 1463 w 7027"/>
                  <a:gd name="T25" fmla="*/ 1084 h 1652"/>
                  <a:gd name="T26" fmla="*/ 1463 w 7027"/>
                  <a:gd name="T27" fmla="*/ 1084 h 1652"/>
                  <a:gd name="T28" fmla="*/ 2858 w 7027"/>
                  <a:gd name="T29" fmla="*/ 1200 h 1652"/>
                  <a:gd name="T30" fmla="*/ 5930 w 7027"/>
                  <a:gd name="T31" fmla="*/ 1041 h 1652"/>
                  <a:gd name="T32" fmla="*/ 2877 w 7027"/>
                  <a:gd name="T33" fmla="*/ 1010 h 1652"/>
                  <a:gd name="T34" fmla="*/ 2877 w 7027"/>
                  <a:gd name="T35" fmla="*/ 1044 h 1652"/>
                  <a:gd name="T36" fmla="*/ 3769 w 7027"/>
                  <a:gd name="T37" fmla="*/ 994 h 1652"/>
                  <a:gd name="T38" fmla="*/ 5949 w 7027"/>
                  <a:gd name="T39" fmla="*/ 989 h 1652"/>
                  <a:gd name="T40" fmla="*/ 5949 w 7027"/>
                  <a:gd name="T41" fmla="*/ 1022 h 1652"/>
                  <a:gd name="T42" fmla="*/ 6339 w 7027"/>
                  <a:gd name="T43" fmla="*/ 937 h 1652"/>
                  <a:gd name="T44" fmla="*/ 6341 w 7027"/>
                  <a:gd name="T45" fmla="*/ 935 h 1652"/>
                  <a:gd name="T46" fmla="*/ 3847 w 7027"/>
                  <a:gd name="T47" fmla="*/ 954 h 1652"/>
                  <a:gd name="T48" fmla="*/ 6384 w 7027"/>
                  <a:gd name="T49" fmla="*/ 894 h 1652"/>
                  <a:gd name="T50" fmla="*/ 6389 w 7027"/>
                  <a:gd name="T51" fmla="*/ 878 h 1652"/>
                  <a:gd name="T52" fmla="*/ 6389 w 7027"/>
                  <a:gd name="T53" fmla="*/ 887 h 1652"/>
                  <a:gd name="T54" fmla="*/ 6396 w 7027"/>
                  <a:gd name="T55" fmla="*/ 852 h 1652"/>
                  <a:gd name="T56" fmla="*/ 6398 w 7027"/>
                  <a:gd name="T57" fmla="*/ 850 h 1652"/>
                  <a:gd name="T58" fmla="*/ 3100 w 7027"/>
                  <a:gd name="T59" fmla="*/ 939 h 1652"/>
                  <a:gd name="T60" fmla="*/ 1007 w 7027"/>
                  <a:gd name="T61" fmla="*/ 755 h 1652"/>
                  <a:gd name="T62" fmla="*/ 5131 w 7027"/>
                  <a:gd name="T63" fmla="*/ 731 h 1652"/>
                  <a:gd name="T64" fmla="*/ 3140 w 7027"/>
                  <a:gd name="T65" fmla="*/ 655 h 1652"/>
                  <a:gd name="T66" fmla="*/ 3137 w 7027"/>
                  <a:gd name="T67" fmla="*/ 722 h 1652"/>
                  <a:gd name="T68" fmla="*/ 94 w 7027"/>
                  <a:gd name="T69" fmla="*/ 617 h 1652"/>
                  <a:gd name="T70" fmla="*/ 5251 w 7027"/>
                  <a:gd name="T71" fmla="*/ 608 h 1652"/>
                  <a:gd name="T72" fmla="*/ 3284 w 7027"/>
                  <a:gd name="T73" fmla="*/ 582 h 1652"/>
                  <a:gd name="T74" fmla="*/ 3284 w 7027"/>
                  <a:gd name="T75" fmla="*/ 617 h 1652"/>
                  <a:gd name="T76" fmla="*/ 300 w 7027"/>
                  <a:gd name="T77" fmla="*/ 577 h 1652"/>
                  <a:gd name="T78" fmla="*/ 7025 w 7027"/>
                  <a:gd name="T79" fmla="*/ 509 h 1652"/>
                  <a:gd name="T80" fmla="*/ 4194 w 7027"/>
                  <a:gd name="T81" fmla="*/ 501 h 1652"/>
                  <a:gd name="T82" fmla="*/ 3300 w 7027"/>
                  <a:gd name="T83" fmla="*/ 499 h 1652"/>
                  <a:gd name="T84" fmla="*/ 3300 w 7027"/>
                  <a:gd name="T85" fmla="*/ 563 h 1652"/>
                  <a:gd name="T86" fmla="*/ 4036 w 7027"/>
                  <a:gd name="T87" fmla="*/ 454 h 1652"/>
                  <a:gd name="T88" fmla="*/ 3953 w 7027"/>
                  <a:gd name="T89" fmla="*/ 887 h 1652"/>
                  <a:gd name="T90" fmla="*/ 3329 w 7027"/>
                  <a:gd name="T91" fmla="*/ 433 h 1652"/>
                  <a:gd name="T92" fmla="*/ 3329 w 7027"/>
                  <a:gd name="T93" fmla="*/ 471 h 1652"/>
                  <a:gd name="T94" fmla="*/ 4041 w 7027"/>
                  <a:gd name="T95" fmla="*/ 390 h 1652"/>
                  <a:gd name="T96" fmla="*/ 4043 w 7027"/>
                  <a:gd name="T97" fmla="*/ 445 h 1652"/>
                  <a:gd name="T98" fmla="*/ 1808 w 7027"/>
                  <a:gd name="T99" fmla="*/ 1091 h 1652"/>
                  <a:gd name="T100" fmla="*/ 4048 w 7027"/>
                  <a:gd name="T101" fmla="*/ 329 h 1652"/>
                  <a:gd name="T102" fmla="*/ 4050 w 7027"/>
                  <a:gd name="T103" fmla="*/ 326 h 1652"/>
                  <a:gd name="T104" fmla="*/ 2028 w 7027"/>
                  <a:gd name="T105" fmla="*/ 293 h 1652"/>
                  <a:gd name="T106" fmla="*/ 4644 w 7027"/>
                  <a:gd name="T107" fmla="*/ 454 h 1652"/>
                  <a:gd name="T108" fmla="*/ 4802 w 7027"/>
                  <a:gd name="T109" fmla="*/ 172 h 1652"/>
                  <a:gd name="T110" fmla="*/ 4852 w 7027"/>
                  <a:gd name="T111" fmla="*/ 0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52">
                    <a:moveTo>
                      <a:pt x="2" y="1451"/>
                    </a:moveTo>
                    <a:lnTo>
                      <a:pt x="0" y="1451"/>
                    </a:lnTo>
                    <a:lnTo>
                      <a:pt x="0" y="1453"/>
                    </a:lnTo>
                    <a:lnTo>
                      <a:pt x="0" y="1493"/>
                    </a:lnTo>
                    <a:lnTo>
                      <a:pt x="2" y="1493"/>
                    </a:lnTo>
                    <a:lnTo>
                      <a:pt x="2" y="1451"/>
                    </a:lnTo>
                    <a:close/>
                    <a:moveTo>
                      <a:pt x="5667" y="1325"/>
                    </a:moveTo>
                    <a:lnTo>
                      <a:pt x="5665" y="1325"/>
                    </a:lnTo>
                    <a:lnTo>
                      <a:pt x="5665" y="1328"/>
                    </a:lnTo>
                    <a:lnTo>
                      <a:pt x="5665" y="1408"/>
                    </a:lnTo>
                    <a:lnTo>
                      <a:pt x="5667" y="1408"/>
                    </a:lnTo>
                    <a:lnTo>
                      <a:pt x="5667" y="1325"/>
                    </a:lnTo>
                    <a:close/>
                    <a:moveTo>
                      <a:pt x="3712" y="1221"/>
                    </a:moveTo>
                    <a:lnTo>
                      <a:pt x="3710" y="1221"/>
                    </a:lnTo>
                    <a:lnTo>
                      <a:pt x="3710" y="1224"/>
                    </a:lnTo>
                    <a:lnTo>
                      <a:pt x="3710" y="1276"/>
                    </a:lnTo>
                    <a:lnTo>
                      <a:pt x="3712" y="1276"/>
                    </a:lnTo>
                    <a:lnTo>
                      <a:pt x="3712" y="1221"/>
                    </a:lnTo>
                    <a:close/>
                    <a:moveTo>
                      <a:pt x="5831" y="1207"/>
                    </a:moveTo>
                    <a:lnTo>
                      <a:pt x="5831" y="1207"/>
                    </a:lnTo>
                    <a:lnTo>
                      <a:pt x="5831" y="1207"/>
                    </a:lnTo>
                    <a:lnTo>
                      <a:pt x="5831" y="1209"/>
                    </a:lnTo>
                    <a:lnTo>
                      <a:pt x="5831" y="1285"/>
                    </a:lnTo>
                    <a:lnTo>
                      <a:pt x="5831" y="1285"/>
                    </a:lnTo>
                    <a:lnTo>
                      <a:pt x="5831" y="1207"/>
                    </a:lnTo>
                    <a:close/>
                    <a:moveTo>
                      <a:pt x="1667" y="1155"/>
                    </a:moveTo>
                    <a:lnTo>
                      <a:pt x="1664" y="1155"/>
                    </a:lnTo>
                    <a:lnTo>
                      <a:pt x="1664" y="1155"/>
                    </a:lnTo>
                    <a:lnTo>
                      <a:pt x="1664" y="1157"/>
                    </a:lnTo>
                    <a:lnTo>
                      <a:pt x="1664" y="1160"/>
                    </a:lnTo>
                    <a:lnTo>
                      <a:pt x="1667" y="1160"/>
                    </a:lnTo>
                    <a:lnTo>
                      <a:pt x="1667" y="1155"/>
                    </a:lnTo>
                    <a:close/>
                    <a:moveTo>
                      <a:pt x="1690" y="1131"/>
                    </a:moveTo>
                    <a:lnTo>
                      <a:pt x="1688" y="1131"/>
                    </a:lnTo>
                    <a:lnTo>
                      <a:pt x="1688" y="1134"/>
                    </a:lnTo>
                    <a:lnTo>
                      <a:pt x="1688" y="1134"/>
                    </a:lnTo>
                    <a:lnTo>
                      <a:pt x="1688" y="1134"/>
                    </a:lnTo>
                    <a:lnTo>
                      <a:pt x="1688" y="1131"/>
                    </a:lnTo>
                    <a:lnTo>
                      <a:pt x="1690" y="1131"/>
                    </a:lnTo>
                    <a:lnTo>
                      <a:pt x="1690" y="1131"/>
                    </a:lnTo>
                    <a:close/>
                    <a:moveTo>
                      <a:pt x="5857" y="1127"/>
                    </a:moveTo>
                    <a:lnTo>
                      <a:pt x="5854" y="1127"/>
                    </a:lnTo>
                    <a:lnTo>
                      <a:pt x="5854" y="1129"/>
                    </a:lnTo>
                    <a:lnTo>
                      <a:pt x="5854" y="1183"/>
                    </a:lnTo>
                    <a:lnTo>
                      <a:pt x="5857" y="1183"/>
                    </a:lnTo>
                    <a:lnTo>
                      <a:pt x="5857" y="1181"/>
                    </a:lnTo>
                    <a:lnTo>
                      <a:pt x="5857" y="1181"/>
                    </a:lnTo>
                    <a:lnTo>
                      <a:pt x="5857" y="1127"/>
                    </a:lnTo>
                    <a:close/>
                    <a:moveTo>
                      <a:pt x="6322" y="1127"/>
                    </a:moveTo>
                    <a:lnTo>
                      <a:pt x="6322" y="1127"/>
                    </a:lnTo>
                    <a:lnTo>
                      <a:pt x="6322" y="1127"/>
                    </a:lnTo>
                    <a:lnTo>
                      <a:pt x="6322" y="1129"/>
                    </a:lnTo>
                    <a:lnTo>
                      <a:pt x="6322" y="1169"/>
                    </a:lnTo>
                    <a:lnTo>
                      <a:pt x="6322" y="1169"/>
                    </a:lnTo>
                    <a:lnTo>
                      <a:pt x="6322" y="1127"/>
                    </a:lnTo>
                    <a:close/>
                    <a:moveTo>
                      <a:pt x="1447" y="1124"/>
                    </a:moveTo>
                    <a:lnTo>
                      <a:pt x="1447" y="1124"/>
                    </a:lnTo>
                    <a:lnTo>
                      <a:pt x="1444" y="1124"/>
                    </a:lnTo>
                    <a:lnTo>
                      <a:pt x="1444" y="1127"/>
                    </a:lnTo>
                    <a:lnTo>
                      <a:pt x="1444" y="1160"/>
                    </a:lnTo>
                    <a:lnTo>
                      <a:pt x="1447" y="1160"/>
                    </a:lnTo>
                    <a:lnTo>
                      <a:pt x="1447" y="1124"/>
                    </a:lnTo>
                    <a:close/>
                    <a:moveTo>
                      <a:pt x="1463" y="1084"/>
                    </a:moveTo>
                    <a:lnTo>
                      <a:pt x="1463" y="1084"/>
                    </a:lnTo>
                    <a:lnTo>
                      <a:pt x="1463" y="1084"/>
                    </a:lnTo>
                    <a:lnTo>
                      <a:pt x="1463" y="1108"/>
                    </a:lnTo>
                    <a:lnTo>
                      <a:pt x="1463" y="1108"/>
                    </a:lnTo>
                    <a:lnTo>
                      <a:pt x="1463" y="1105"/>
                    </a:lnTo>
                    <a:lnTo>
                      <a:pt x="1463" y="1105"/>
                    </a:lnTo>
                    <a:lnTo>
                      <a:pt x="1463" y="1084"/>
                    </a:lnTo>
                    <a:close/>
                    <a:moveTo>
                      <a:pt x="2861" y="1063"/>
                    </a:moveTo>
                    <a:lnTo>
                      <a:pt x="2858" y="1063"/>
                    </a:lnTo>
                    <a:lnTo>
                      <a:pt x="2858" y="1063"/>
                    </a:lnTo>
                    <a:lnTo>
                      <a:pt x="2858" y="1063"/>
                    </a:lnTo>
                    <a:lnTo>
                      <a:pt x="2858" y="1200"/>
                    </a:lnTo>
                    <a:lnTo>
                      <a:pt x="2861" y="1200"/>
                    </a:lnTo>
                    <a:lnTo>
                      <a:pt x="2861" y="1063"/>
                    </a:lnTo>
                    <a:close/>
                    <a:moveTo>
                      <a:pt x="5932" y="1041"/>
                    </a:moveTo>
                    <a:lnTo>
                      <a:pt x="5932" y="1041"/>
                    </a:lnTo>
                    <a:lnTo>
                      <a:pt x="5930" y="1041"/>
                    </a:lnTo>
                    <a:lnTo>
                      <a:pt x="5930" y="1041"/>
                    </a:lnTo>
                    <a:lnTo>
                      <a:pt x="5930" y="1089"/>
                    </a:lnTo>
                    <a:lnTo>
                      <a:pt x="5932" y="1089"/>
                    </a:lnTo>
                    <a:lnTo>
                      <a:pt x="5932" y="1041"/>
                    </a:lnTo>
                    <a:close/>
                    <a:moveTo>
                      <a:pt x="2877" y="1010"/>
                    </a:moveTo>
                    <a:lnTo>
                      <a:pt x="2875" y="1010"/>
                    </a:lnTo>
                    <a:lnTo>
                      <a:pt x="2875" y="1013"/>
                    </a:lnTo>
                    <a:lnTo>
                      <a:pt x="2875" y="1046"/>
                    </a:lnTo>
                    <a:lnTo>
                      <a:pt x="2877" y="1046"/>
                    </a:lnTo>
                    <a:lnTo>
                      <a:pt x="2877" y="1044"/>
                    </a:lnTo>
                    <a:lnTo>
                      <a:pt x="2877" y="1044"/>
                    </a:lnTo>
                    <a:lnTo>
                      <a:pt x="2877" y="1010"/>
                    </a:lnTo>
                    <a:close/>
                    <a:moveTo>
                      <a:pt x="3771" y="992"/>
                    </a:moveTo>
                    <a:lnTo>
                      <a:pt x="3769" y="992"/>
                    </a:lnTo>
                    <a:lnTo>
                      <a:pt x="3769" y="994"/>
                    </a:lnTo>
                    <a:lnTo>
                      <a:pt x="3769" y="1183"/>
                    </a:lnTo>
                    <a:lnTo>
                      <a:pt x="3771" y="1183"/>
                    </a:lnTo>
                    <a:lnTo>
                      <a:pt x="3771" y="992"/>
                    </a:lnTo>
                    <a:close/>
                    <a:moveTo>
                      <a:pt x="5949" y="989"/>
                    </a:moveTo>
                    <a:lnTo>
                      <a:pt x="5949" y="989"/>
                    </a:lnTo>
                    <a:lnTo>
                      <a:pt x="5949" y="992"/>
                    </a:lnTo>
                    <a:lnTo>
                      <a:pt x="5949" y="1025"/>
                    </a:lnTo>
                    <a:lnTo>
                      <a:pt x="5949" y="1025"/>
                    </a:lnTo>
                    <a:lnTo>
                      <a:pt x="5949" y="1022"/>
                    </a:lnTo>
                    <a:lnTo>
                      <a:pt x="5949" y="1022"/>
                    </a:lnTo>
                    <a:lnTo>
                      <a:pt x="5949" y="989"/>
                    </a:lnTo>
                    <a:close/>
                    <a:moveTo>
                      <a:pt x="6341" y="935"/>
                    </a:moveTo>
                    <a:lnTo>
                      <a:pt x="6339" y="935"/>
                    </a:lnTo>
                    <a:lnTo>
                      <a:pt x="6339" y="935"/>
                    </a:lnTo>
                    <a:lnTo>
                      <a:pt x="6339" y="937"/>
                    </a:lnTo>
                    <a:lnTo>
                      <a:pt x="6339" y="1110"/>
                    </a:lnTo>
                    <a:lnTo>
                      <a:pt x="6339" y="1110"/>
                    </a:lnTo>
                    <a:lnTo>
                      <a:pt x="6339" y="1108"/>
                    </a:lnTo>
                    <a:lnTo>
                      <a:pt x="6341" y="1108"/>
                    </a:lnTo>
                    <a:lnTo>
                      <a:pt x="6341" y="935"/>
                    </a:lnTo>
                    <a:close/>
                    <a:moveTo>
                      <a:pt x="3847" y="928"/>
                    </a:moveTo>
                    <a:lnTo>
                      <a:pt x="3844" y="928"/>
                    </a:lnTo>
                    <a:lnTo>
                      <a:pt x="3844" y="930"/>
                    </a:lnTo>
                    <a:lnTo>
                      <a:pt x="3844" y="954"/>
                    </a:lnTo>
                    <a:lnTo>
                      <a:pt x="3847" y="954"/>
                    </a:lnTo>
                    <a:lnTo>
                      <a:pt x="3847" y="928"/>
                    </a:lnTo>
                    <a:close/>
                    <a:moveTo>
                      <a:pt x="6386" y="894"/>
                    </a:moveTo>
                    <a:lnTo>
                      <a:pt x="6384" y="894"/>
                    </a:lnTo>
                    <a:lnTo>
                      <a:pt x="6384" y="894"/>
                    </a:lnTo>
                    <a:lnTo>
                      <a:pt x="6384" y="894"/>
                    </a:lnTo>
                    <a:lnTo>
                      <a:pt x="6384" y="894"/>
                    </a:lnTo>
                    <a:lnTo>
                      <a:pt x="6384" y="894"/>
                    </a:lnTo>
                    <a:lnTo>
                      <a:pt x="6386" y="894"/>
                    </a:lnTo>
                    <a:close/>
                    <a:moveTo>
                      <a:pt x="6391" y="878"/>
                    </a:moveTo>
                    <a:lnTo>
                      <a:pt x="6389" y="878"/>
                    </a:lnTo>
                    <a:lnTo>
                      <a:pt x="6389" y="878"/>
                    </a:lnTo>
                    <a:lnTo>
                      <a:pt x="6389" y="880"/>
                    </a:lnTo>
                    <a:lnTo>
                      <a:pt x="6389" y="890"/>
                    </a:lnTo>
                    <a:lnTo>
                      <a:pt x="6389" y="890"/>
                    </a:lnTo>
                    <a:lnTo>
                      <a:pt x="6389" y="887"/>
                    </a:lnTo>
                    <a:lnTo>
                      <a:pt x="6391" y="887"/>
                    </a:lnTo>
                    <a:lnTo>
                      <a:pt x="6391" y="878"/>
                    </a:lnTo>
                    <a:close/>
                    <a:moveTo>
                      <a:pt x="6398" y="850"/>
                    </a:moveTo>
                    <a:lnTo>
                      <a:pt x="6396" y="850"/>
                    </a:lnTo>
                    <a:lnTo>
                      <a:pt x="6396" y="852"/>
                    </a:lnTo>
                    <a:lnTo>
                      <a:pt x="6396" y="871"/>
                    </a:lnTo>
                    <a:lnTo>
                      <a:pt x="6398" y="871"/>
                    </a:lnTo>
                    <a:lnTo>
                      <a:pt x="6398" y="868"/>
                    </a:lnTo>
                    <a:lnTo>
                      <a:pt x="6398" y="868"/>
                    </a:lnTo>
                    <a:lnTo>
                      <a:pt x="6398" y="850"/>
                    </a:lnTo>
                    <a:close/>
                    <a:moveTo>
                      <a:pt x="3100" y="762"/>
                    </a:moveTo>
                    <a:lnTo>
                      <a:pt x="3100" y="762"/>
                    </a:lnTo>
                    <a:lnTo>
                      <a:pt x="3100" y="762"/>
                    </a:lnTo>
                    <a:lnTo>
                      <a:pt x="3100" y="764"/>
                    </a:lnTo>
                    <a:lnTo>
                      <a:pt x="3100" y="939"/>
                    </a:lnTo>
                    <a:lnTo>
                      <a:pt x="3100" y="939"/>
                    </a:lnTo>
                    <a:lnTo>
                      <a:pt x="3100" y="762"/>
                    </a:lnTo>
                    <a:close/>
                    <a:moveTo>
                      <a:pt x="1009" y="752"/>
                    </a:moveTo>
                    <a:lnTo>
                      <a:pt x="1007" y="752"/>
                    </a:lnTo>
                    <a:lnTo>
                      <a:pt x="1007" y="755"/>
                    </a:lnTo>
                    <a:lnTo>
                      <a:pt x="1007" y="788"/>
                    </a:lnTo>
                    <a:lnTo>
                      <a:pt x="1009" y="788"/>
                    </a:lnTo>
                    <a:lnTo>
                      <a:pt x="1009" y="752"/>
                    </a:lnTo>
                    <a:close/>
                    <a:moveTo>
                      <a:pt x="5133" y="731"/>
                    </a:moveTo>
                    <a:lnTo>
                      <a:pt x="5131" y="731"/>
                    </a:lnTo>
                    <a:lnTo>
                      <a:pt x="5131" y="733"/>
                    </a:lnTo>
                    <a:lnTo>
                      <a:pt x="5131" y="932"/>
                    </a:lnTo>
                    <a:lnTo>
                      <a:pt x="5133" y="932"/>
                    </a:lnTo>
                    <a:lnTo>
                      <a:pt x="5133" y="731"/>
                    </a:lnTo>
                    <a:close/>
                    <a:moveTo>
                      <a:pt x="3140" y="655"/>
                    </a:moveTo>
                    <a:lnTo>
                      <a:pt x="3137" y="655"/>
                    </a:lnTo>
                    <a:lnTo>
                      <a:pt x="3137" y="658"/>
                    </a:lnTo>
                    <a:lnTo>
                      <a:pt x="3137" y="724"/>
                    </a:lnTo>
                    <a:lnTo>
                      <a:pt x="3137" y="724"/>
                    </a:lnTo>
                    <a:lnTo>
                      <a:pt x="3137" y="722"/>
                    </a:lnTo>
                    <a:lnTo>
                      <a:pt x="3140" y="722"/>
                    </a:lnTo>
                    <a:lnTo>
                      <a:pt x="3140" y="655"/>
                    </a:lnTo>
                    <a:close/>
                    <a:moveTo>
                      <a:pt x="97" y="615"/>
                    </a:moveTo>
                    <a:lnTo>
                      <a:pt x="94" y="615"/>
                    </a:lnTo>
                    <a:lnTo>
                      <a:pt x="94" y="617"/>
                    </a:lnTo>
                    <a:lnTo>
                      <a:pt x="94" y="1413"/>
                    </a:lnTo>
                    <a:lnTo>
                      <a:pt x="97" y="1413"/>
                    </a:lnTo>
                    <a:lnTo>
                      <a:pt x="97" y="615"/>
                    </a:lnTo>
                    <a:close/>
                    <a:moveTo>
                      <a:pt x="5254" y="608"/>
                    </a:moveTo>
                    <a:lnTo>
                      <a:pt x="5251" y="608"/>
                    </a:lnTo>
                    <a:lnTo>
                      <a:pt x="5251" y="610"/>
                    </a:lnTo>
                    <a:lnTo>
                      <a:pt x="5251" y="691"/>
                    </a:lnTo>
                    <a:lnTo>
                      <a:pt x="5254" y="691"/>
                    </a:lnTo>
                    <a:lnTo>
                      <a:pt x="5254" y="608"/>
                    </a:lnTo>
                    <a:close/>
                    <a:moveTo>
                      <a:pt x="3284" y="582"/>
                    </a:moveTo>
                    <a:lnTo>
                      <a:pt x="3282" y="582"/>
                    </a:lnTo>
                    <a:lnTo>
                      <a:pt x="3282" y="582"/>
                    </a:lnTo>
                    <a:lnTo>
                      <a:pt x="3282" y="582"/>
                    </a:lnTo>
                    <a:lnTo>
                      <a:pt x="3282" y="617"/>
                    </a:lnTo>
                    <a:lnTo>
                      <a:pt x="3284" y="617"/>
                    </a:lnTo>
                    <a:lnTo>
                      <a:pt x="3284" y="582"/>
                    </a:lnTo>
                    <a:close/>
                    <a:moveTo>
                      <a:pt x="302" y="546"/>
                    </a:moveTo>
                    <a:lnTo>
                      <a:pt x="300" y="546"/>
                    </a:lnTo>
                    <a:lnTo>
                      <a:pt x="300" y="549"/>
                    </a:lnTo>
                    <a:lnTo>
                      <a:pt x="300" y="577"/>
                    </a:lnTo>
                    <a:lnTo>
                      <a:pt x="302" y="577"/>
                    </a:lnTo>
                    <a:lnTo>
                      <a:pt x="302" y="546"/>
                    </a:lnTo>
                    <a:close/>
                    <a:moveTo>
                      <a:pt x="7027" y="509"/>
                    </a:moveTo>
                    <a:lnTo>
                      <a:pt x="7025" y="509"/>
                    </a:lnTo>
                    <a:lnTo>
                      <a:pt x="7025" y="509"/>
                    </a:lnTo>
                    <a:lnTo>
                      <a:pt x="7025" y="1652"/>
                    </a:lnTo>
                    <a:lnTo>
                      <a:pt x="7027" y="1652"/>
                    </a:lnTo>
                    <a:lnTo>
                      <a:pt x="7027" y="509"/>
                    </a:lnTo>
                    <a:close/>
                    <a:moveTo>
                      <a:pt x="4194" y="501"/>
                    </a:moveTo>
                    <a:lnTo>
                      <a:pt x="4194" y="501"/>
                    </a:lnTo>
                    <a:lnTo>
                      <a:pt x="4192" y="504"/>
                    </a:lnTo>
                    <a:lnTo>
                      <a:pt x="4156" y="554"/>
                    </a:lnTo>
                    <a:lnTo>
                      <a:pt x="4156" y="554"/>
                    </a:lnTo>
                    <a:lnTo>
                      <a:pt x="4194" y="501"/>
                    </a:lnTo>
                    <a:close/>
                    <a:moveTo>
                      <a:pt x="3300" y="499"/>
                    </a:moveTo>
                    <a:lnTo>
                      <a:pt x="3300" y="499"/>
                    </a:lnTo>
                    <a:lnTo>
                      <a:pt x="3298" y="499"/>
                    </a:lnTo>
                    <a:lnTo>
                      <a:pt x="3298" y="501"/>
                    </a:lnTo>
                    <a:lnTo>
                      <a:pt x="3298" y="563"/>
                    </a:lnTo>
                    <a:lnTo>
                      <a:pt x="3300" y="563"/>
                    </a:lnTo>
                    <a:lnTo>
                      <a:pt x="3300" y="563"/>
                    </a:lnTo>
                    <a:lnTo>
                      <a:pt x="3300" y="563"/>
                    </a:lnTo>
                    <a:lnTo>
                      <a:pt x="3300" y="499"/>
                    </a:lnTo>
                    <a:close/>
                    <a:moveTo>
                      <a:pt x="4038" y="454"/>
                    </a:moveTo>
                    <a:lnTo>
                      <a:pt x="4036" y="454"/>
                    </a:lnTo>
                    <a:lnTo>
                      <a:pt x="4036" y="454"/>
                    </a:lnTo>
                    <a:lnTo>
                      <a:pt x="4036" y="454"/>
                    </a:lnTo>
                    <a:lnTo>
                      <a:pt x="4036" y="490"/>
                    </a:lnTo>
                    <a:lnTo>
                      <a:pt x="3953" y="644"/>
                    </a:lnTo>
                    <a:lnTo>
                      <a:pt x="3953" y="887"/>
                    </a:lnTo>
                    <a:lnTo>
                      <a:pt x="3955" y="887"/>
                    </a:lnTo>
                    <a:lnTo>
                      <a:pt x="3955" y="641"/>
                    </a:lnTo>
                    <a:lnTo>
                      <a:pt x="4038" y="487"/>
                    </a:lnTo>
                    <a:lnTo>
                      <a:pt x="4038" y="454"/>
                    </a:lnTo>
                    <a:close/>
                    <a:moveTo>
                      <a:pt x="3329" y="433"/>
                    </a:moveTo>
                    <a:lnTo>
                      <a:pt x="3327" y="433"/>
                    </a:lnTo>
                    <a:lnTo>
                      <a:pt x="3327" y="435"/>
                    </a:lnTo>
                    <a:lnTo>
                      <a:pt x="3327" y="473"/>
                    </a:lnTo>
                    <a:lnTo>
                      <a:pt x="3329" y="473"/>
                    </a:lnTo>
                    <a:lnTo>
                      <a:pt x="3329" y="471"/>
                    </a:lnTo>
                    <a:lnTo>
                      <a:pt x="3329" y="471"/>
                    </a:lnTo>
                    <a:lnTo>
                      <a:pt x="3329" y="433"/>
                    </a:lnTo>
                    <a:close/>
                    <a:moveTo>
                      <a:pt x="4043" y="390"/>
                    </a:moveTo>
                    <a:lnTo>
                      <a:pt x="4041" y="390"/>
                    </a:lnTo>
                    <a:lnTo>
                      <a:pt x="4041" y="390"/>
                    </a:lnTo>
                    <a:lnTo>
                      <a:pt x="4041" y="393"/>
                    </a:lnTo>
                    <a:lnTo>
                      <a:pt x="4041" y="447"/>
                    </a:lnTo>
                    <a:lnTo>
                      <a:pt x="4043" y="447"/>
                    </a:lnTo>
                    <a:lnTo>
                      <a:pt x="4043" y="445"/>
                    </a:lnTo>
                    <a:lnTo>
                      <a:pt x="4043" y="445"/>
                    </a:lnTo>
                    <a:lnTo>
                      <a:pt x="4043" y="390"/>
                    </a:lnTo>
                    <a:close/>
                    <a:moveTo>
                      <a:pt x="1811" y="367"/>
                    </a:moveTo>
                    <a:lnTo>
                      <a:pt x="1808" y="367"/>
                    </a:lnTo>
                    <a:lnTo>
                      <a:pt x="1808" y="369"/>
                    </a:lnTo>
                    <a:lnTo>
                      <a:pt x="1808" y="1091"/>
                    </a:lnTo>
                    <a:lnTo>
                      <a:pt x="1811" y="1091"/>
                    </a:lnTo>
                    <a:lnTo>
                      <a:pt x="1811" y="367"/>
                    </a:lnTo>
                    <a:close/>
                    <a:moveTo>
                      <a:pt x="4050" y="326"/>
                    </a:moveTo>
                    <a:lnTo>
                      <a:pt x="4048" y="326"/>
                    </a:lnTo>
                    <a:lnTo>
                      <a:pt x="4048" y="329"/>
                    </a:lnTo>
                    <a:lnTo>
                      <a:pt x="4048" y="383"/>
                    </a:lnTo>
                    <a:lnTo>
                      <a:pt x="4050" y="383"/>
                    </a:lnTo>
                    <a:lnTo>
                      <a:pt x="4050" y="381"/>
                    </a:lnTo>
                    <a:lnTo>
                      <a:pt x="4050" y="381"/>
                    </a:lnTo>
                    <a:lnTo>
                      <a:pt x="4050" y="326"/>
                    </a:lnTo>
                    <a:close/>
                    <a:moveTo>
                      <a:pt x="2028" y="293"/>
                    </a:moveTo>
                    <a:lnTo>
                      <a:pt x="2028" y="293"/>
                    </a:lnTo>
                    <a:lnTo>
                      <a:pt x="2028" y="293"/>
                    </a:lnTo>
                    <a:lnTo>
                      <a:pt x="2028" y="293"/>
                    </a:lnTo>
                    <a:lnTo>
                      <a:pt x="2028" y="293"/>
                    </a:lnTo>
                    <a:close/>
                    <a:moveTo>
                      <a:pt x="4703" y="232"/>
                    </a:moveTo>
                    <a:lnTo>
                      <a:pt x="4703" y="232"/>
                    </a:lnTo>
                    <a:lnTo>
                      <a:pt x="4703" y="232"/>
                    </a:lnTo>
                    <a:lnTo>
                      <a:pt x="4641" y="454"/>
                    </a:lnTo>
                    <a:lnTo>
                      <a:pt x="4644" y="454"/>
                    </a:lnTo>
                    <a:lnTo>
                      <a:pt x="4703" y="232"/>
                    </a:lnTo>
                    <a:close/>
                    <a:moveTo>
                      <a:pt x="4804" y="172"/>
                    </a:moveTo>
                    <a:lnTo>
                      <a:pt x="4802" y="172"/>
                    </a:lnTo>
                    <a:lnTo>
                      <a:pt x="4802" y="172"/>
                    </a:lnTo>
                    <a:lnTo>
                      <a:pt x="4802" y="172"/>
                    </a:lnTo>
                    <a:lnTo>
                      <a:pt x="4802" y="191"/>
                    </a:lnTo>
                    <a:lnTo>
                      <a:pt x="4804" y="191"/>
                    </a:lnTo>
                    <a:lnTo>
                      <a:pt x="4804" y="172"/>
                    </a:lnTo>
                    <a:close/>
                    <a:moveTo>
                      <a:pt x="4854" y="0"/>
                    </a:moveTo>
                    <a:lnTo>
                      <a:pt x="4852" y="0"/>
                    </a:lnTo>
                    <a:lnTo>
                      <a:pt x="4852" y="2"/>
                    </a:lnTo>
                    <a:lnTo>
                      <a:pt x="4852" y="132"/>
                    </a:lnTo>
                    <a:lnTo>
                      <a:pt x="4854" y="132"/>
                    </a:lnTo>
                    <a:lnTo>
                      <a:pt x="4854" y="0"/>
                    </a:lnTo>
                    <a:close/>
                  </a:path>
                </a:pathLst>
              </a:custGeom>
              <a:solidFill>
                <a:srgbClr val="D5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8" name="Freeform 103"/>
              <p:cNvSpPr>
                <a:spLocks noEditPoints="1"/>
              </p:cNvSpPr>
              <p:nvPr/>
            </p:nvSpPr>
            <p:spPr bwMode="auto">
              <a:xfrm>
                <a:off x="7" y="1701"/>
                <a:ext cx="7027" cy="1652"/>
              </a:xfrm>
              <a:custGeom>
                <a:avLst/>
                <a:gdLst>
                  <a:gd name="T0" fmla="*/ 2 w 7027"/>
                  <a:gd name="T1" fmla="*/ 1493 h 1652"/>
                  <a:gd name="T2" fmla="*/ 5665 w 7027"/>
                  <a:gd name="T3" fmla="*/ 1408 h 1652"/>
                  <a:gd name="T4" fmla="*/ 3710 w 7027"/>
                  <a:gd name="T5" fmla="*/ 1224 h 1652"/>
                  <a:gd name="T6" fmla="*/ 5831 w 7027"/>
                  <a:gd name="T7" fmla="*/ 1207 h 1652"/>
                  <a:gd name="T8" fmla="*/ 5831 w 7027"/>
                  <a:gd name="T9" fmla="*/ 1207 h 1652"/>
                  <a:gd name="T10" fmla="*/ 1664 w 7027"/>
                  <a:gd name="T11" fmla="*/ 1160 h 1652"/>
                  <a:gd name="T12" fmla="*/ 1688 w 7027"/>
                  <a:gd name="T13" fmla="*/ 1134 h 1652"/>
                  <a:gd name="T14" fmla="*/ 1690 w 7027"/>
                  <a:gd name="T15" fmla="*/ 1131 h 1652"/>
                  <a:gd name="T16" fmla="*/ 5857 w 7027"/>
                  <a:gd name="T17" fmla="*/ 1183 h 1652"/>
                  <a:gd name="T18" fmla="*/ 6322 w 7027"/>
                  <a:gd name="T19" fmla="*/ 1127 h 1652"/>
                  <a:gd name="T20" fmla="*/ 6322 w 7027"/>
                  <a:gd name="T21" fmla="*/ 1127 h 1652"/>
                  <a:gd name="T22" fmla="*/ 1444 w 7027"/>
                  <a:gd name="T23" fmla="*/ 1160 h 1652"/>
                  <a:gd name="T24" fmla="*/ 1463 w 7027"/>
                  <a:gd name="T25" fmla="*/ 1084 h 1652"/>
                  <a:gd name="T26" fmla="*/ 1463 w 7027"/>
                  <a:gd name="T27" fmla="*/ 1084 h 1652"/>
                  <a:gd name="T28" fmla="*/ 2858 w 7027"/>
                  <a:gd name="T29" fmla="*/ 1200 h 1652"/>
                  <a:gd name="T30" fmla="*/ 5930 w 7027"/>
                  <a:gd name="T31" fmla="*/ 1041 h 1652"/>
                  <a:gd name="T32" fmla="*/ 2877 w 7027"/>
                  <a:gd name="T33" fmla="*/ 1010 h 1652"/>
                  <a:gd name="T34" fmla="*/ 2877 w 7027"/>
                  <a:gd name="T35" fmla="*/ 1044 h 1652"/>
                  <a:gd name="T36" fmla="*/ 3769 w 7027"/>
                  <a:gd name="T37" fmla="*/ 994 h 1652"/>
                  <a:gd name="T38" fmla="*/ 5949 w 7027"/>
                  <a:gd name="T39" fmla="*/ 989 h 1652"/>
                  <a:gd name="T40" fmla="*/ 5949 w 7027"/>
                  <a:gd name="T41" fmla="*/ 1022 h 1652"/>
                  <a:gd name="T42" fmla="*/ 6339 w 7027"/>
                  <a:gd name="T43" fmla="*/ 937 h 1652"/>
                  <a:gd name="T44" fmla="*/ 6341 w 7027"/>
                  <a:gd name="T45" fmla="*/ 935 h 1652"/>
                  <a:gd name="T46" fmla="*/ 3847 w 7027"/>
                  <a:gd name="T47" fmla="*/ 954 h 1652"/>
                  <a:gd name="T48" fmla="*/ 6384 w 7027"/>
                  <a:gd name="T49" fmla="*/ 894 h 1652"/>
                  <a:gd name="T50" fmla="*/ 6389 w 7027"/>
                  <a:gd name="T51" fmla="*/ 878 h 1652"/>
                  <a:gd name="T52" fmla="*/ 6389 w 7027"/>
                  <a:gd name="T53" fmla="*/ 887 h 1652"/>
                  <a:gd name="T54" fmla="*/ 6396 w 7027"/>
                  <a:gd name="T55" fmla="*/ 852 h 1652"/>
                  <a:gd name="T56" fmla="*/ 6398 w 7027"/>
                  <a:gd name="T57" fmla="*/ 850 h 1652"/>
                  <a:gd name="T58" fmla="*/ 3100 w 7027"/>
                  <a:gd name="T59" fmla="*/ 939 h 1652"/>
                  <a:gd name="T60" fmla="*/ 1007 w 7027"/>
                  <a:gd name="T61" fmla="*/ 755 h 1652"/>
                  <a:gd name="T62" fmla="*/ 5131 w 7027"/>
                  <a:gd name="T63" fmla="*/ 731 h 1652"/>
                  <a:gd name="T64" fmla="*/ 3140 w 7027"/>
                  <a:gd name="T65" fmla="*/ 655 h 1652"/>
                  <a:gd name="T66" fmla="*/ 3137 w 7027"/>
                  <a:gd name="T67" fmla="*/ 722 h 1652"/>
                  <a:gd name="T68" fmla="*/ 94 w 7027"/>
                  <a:gd name="T69" fmla="*/ 617 h 1652"/>
                  <a:gd name="T70" fmla="*/ 5251 w 7027"/>
                  <a:gd name="T71" fmla="*/ 608 h 1652"/>
                  <a:gd name="T72" fmla="*/ 3284 w 7027"/>
                  <a:gd name="T73" fmla="*/ 582 h 1652"/>
                  <a:gd name="T74" fmla="*/ 3284 w 7027"/>
                  <a:gd name="T75" fmla="*/ 617 h 1652"/>
                  <a:gd name="T76" fmla="*/ 300 w 7027"/>
                  <a:gd name="T77" fmla="*/ 577 h 1652"/>
                  <a:gd name="T78" fmla="*/ 7025 w 7027"/>
                  <a:gd name="T79" fmla="*/ 509 h 1652"/>
                  <a:gd name="T80" fmla="*/ 4194 w 7027"/>
                  <a:gd name="T81" fmla="*/ 501 h 1652"/>
                  <a:gd name="T82" fmla="*/ 3300 w 7027"/>
                  <a:gd name="T83" fmla="*/ 499 h 1652"/>
                  <a:gd name="T84" fmla="*/ 3300 w 7027"/>
                  <a:gd name="T85" fmla="*/ 563 h 1652"/>
                  <a:gd name="T86" fmla="*/ 4036 w 7027"/>
                  <a:gd name="T87" fmla="*/ 454 h 1652"/>
                  <a:gd name="T88" fmla="*/ 3953 w 7027"/>
                  <a:gd name="T89" fmla="*/ 887 h 1652"/>
                  <a:gd name="T90" fmla="*/ 3329 w 7027"/>
                  <a:gd name="T91" fmla="*/ 433 h 1652"/>
                  <a:gd name="T92" fmla="*/ 3329 w 7027"/>
                  <a:gd name="T93" fmla="*/ 471 h 1652"/>
                  <a:gd name="T94" fmla="*/ 4041 w 7027"/>
                  <a:gd name="T95" fmla="*/ 390 h 1652"/>
                  <a:gd name="T96" fmla="*/ 4043 w 7027"/>
                  <a:gd name="T97" fmla="*/ 445 h 1652"/>
                  <a:gd name="T98" fmla="*/ 1808 w 7027"/>
                  <a:gd name="T99" fmla="*/ 1091 h 1652"/>
                  <a:gd name="T100" fmla="*/ 4048 w 7027"/>
                  <a:gd name="T101" fmla="*/ 329 h 1652"/>
                  <a:gd name="T102" fmla="*/ 4050 w 7027"/>
                  <a:gd name="T103" fmla="*/ 326 h 1652"/>
                  <a:gd name="T104" fmla="*/ 2028 w 7027"/>
                  <a:gd name="T105" fmla="*/ 293 h 1652"/>
                  <a:gd name="T106" fmla="*/ 4644 w 7027"/>
                  <a:gd name="T107" fmla="*/ 454 h 1652"/>
                  <a:gd name="T108" fmla="*/ 4802 w 7027"/>
                  <a:gd name="T109" fmla="*/ 172 h 1652"/>
                  <a:gd name="T110" fmla="*/ 4852 w 7027"/>
                  <a:gd name="T111" fmla="*/ 0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52">
                    <a:moveTo>
                      <a:pt x="2" y="1451"/>
                    </a:moveTo>
                    <a:lnTo>
                      <a:pt x="0" y="1451"/>
                    </a:lnTo>
                    <a:lnTo>
                      <a:pt x="0" y="1453"/>
                    </a:lnTo>
                    <a:lnTo>
                      <a:pt x="0" y="1493"/>
                    </a:lnTo>
                    <a:lnTo>
                      <a:pt x="2" y="1493"/>
                    </a:lnTo>
                    <a:lnTo>
                      <a:pt x="2" y="1451"/>
                    </a:lnTo>
                    <a:moveTo>
                      <a:pt x="5667" y="1325"/>
                    </a:moveTo>
                    <a:lnTo>
                      <a:pt x="5665" y="1325"/>
                    </a:lnTo>
                    <a:lnTo>
                      <a:pt x="5665" y="1328"/>
                    </a:lnTo>
                    <a:lnTo>
                      <a:pt x="5665" y="1408"/>
                    </a:lnTo>
                    <a:lnTo>
                      <a:pt x="5667" y="1408"/>
                    </a:lnTo>
                    <a:lnTo>
                      <a:pt x="5667" y="1325"/>
                    </a:lnTo>
                    <a:moveTo>
                      <a:pt x="3712" y="1221"/>
                    </a:moveTo>
                    <a:lnTo>
                      <a:pt x="3710" y="1221"/>
                    </a:lnTo>
                    <a:lnTo>
                      <a:pt x="3710" y="1224"/>
                    </a:lnTo>
                    <a:lnTo>
                      <a:pt x="3710" y="1276"/>
                    </a:lnTo>
                    <a:lnTo>
                      <a:pt x="3712" y="1276"/>
                    </a:lnTo>
                    <a:lnTo>
                      <a:pt x="3712" y="1221"/>
                    </a:lnTo>
                    <a:moveTo>
                      <a:pt x="5831" y="1207"/>
                    </a:moveTo>
                    <a:lnTo>
                      <a:pt x="5831" y="1207"/>
                    </a:lnTo>
                    <a:lnTo>
                      <a:pt x="5831" y="1207"/>
                    </a:lnTo>
                    <a:lnTo>
                      <a:pt x="5831" y="1209"/>
                    </a:lnTo>
                    <a:lnTo>
                      <a:pt x="5831" y="1285"/>
                    </a:lnTo>
                    <a:lnTo>
                      <a:pt x="5831" y="1285"/>
                    </a:lnTo>
                    <a:lnTo>
                      <a:pt x="5831" y="1207"/>
                    </a:lnTo>
                    <a:moveTo>
                      <a:pt x="1667" y="1155"/>
                    </a:moveTo>
                    <a:lnTo>
                      <a:pt x="1664" y="1155"/>
                    </a:lnTo>
                    <a:lnTo>
                      <a:pt x="1664" y="1155"/>
                    </a:lnTo>
                    <a:lnTo>
                      <a:pt x="1664" y="1157"/>
                    </a:lnTo>
                    <a:lnTo>
                      <a:pt x="1664" y="1160"/>
                    </a:lnTo>
                    <a:lnTo>
                      <a:pt x="1667" y="1160"/>
                    </a:lnTo>
                    <a:lnTo>
                      <a:pt x="1667" y="1155"/>
                    </a:lnTo>
                    <a:moveTo>
                      <a:pt x="1690" y="1131"/>
                    </a:moveTo>
                    <a:lnTo>
                      <a:pt x="1688" y="1131"/>
                    </a:lnTo>
                    <a:lnTo>
                      <a:pt x="1688" y="1134"/>
                    </a:lnTo>
                    <a:lnTo>
                      <a:pt x="1688" y="1134"/>
                    </a:lnTo>
                    <a:lnTo>
                      <a:pt x="1688" y="1134"/>
                    </a:lnTo>
                    <a:lnTo>
                      <a:pt x="1688" y="1131"/>
                    </a:lnTo>
                    <a:lnTo>
                      <a:pt x="1690" y="1131"/>
                    </a:lnTo>
                    <a:lnTo>
                      <a:pt x="1690" y="1131"/>
                    </a:lnTo>
                    <a:moveTo>
                      <a:pt x="5857" y="1127"/>
                    </a:moveTo>
                    <a:lnTo>
                      <a:pt x="5854" y="1127"/>
                    </a:lnTo>
                    <a:lnTo>
                      <a:pt x="5854" y="1129"/>
                    </a:lnTo>
                    <a:lnTo>
                      <a:pt x="5854" y="1183"/>
                    </a:lnTo>
                    <a:lnTo>
                      <a:pt x="5857" y="1183"/>
                    </a:lnTo>
                    <a:lnTo>
                      <a:pt x="5857" y="1181"/>
                    </a:lnTo>
                    <a:lnTo>
                      <a:pt x="5857" y="1181"/>
                    </a:lnTo>
                    <a:lnTo>
                      <a:pt x="5857" y="1127"/>
                    </a:lnTo>
                    <a:moveTo>
                      <a:pt x="6322" y="1127"/>
                    </a:moveTo>
                    <a:lnTo>
                      <a:pt x="6322" y="1127"/>
                    </a:lnTo>
                    <a:lnTo>
                      <a:pt x="6322" y="1127"/>
                    </a:lnTo>
                    <a:lnTo>
                      <a:pt x="6322" y="1129"/>
                    </a:lnTo>
                    <a:lnTo>
                      <a:pt x="6322" y="1169"/>
                    </a:lnTo>
                    <a:lnTo>
                      <a:pt x="6322" y="1169"/>
                    </a:lnTo>
                    <a:lnTo>
                      <a:pt x="6322" y="1127"/>
                    </a:lnTo>
                    <a:moveTo>
                      <a:pt x="1447" y="1124"/>
                    </a:moveTo>
                    <a:lnTo>
                      <a:pt x="1447" y="1124"/>
                    </a:lnTo>
                    <a:lnTo>
                      <a:pt x="1444" y="1124"/>
                    </a:lnTo>
                    <a:lnTo>
                      <a:pt x="1444" y="1127"/>
                    </a:lnTo>
                    <a:lnTo>
                      <a:pt x="1444" y="1160"/>
                    </a:lnTo>
                    <a:lnTo>
                      <a:pt x="1447" y="1160"/>
                    </a:lnTo>
                    <a:lnTo>
                      <a:pt x="1447" y="1124"/>
                    </a:lnTo>
                    <a:moveTo>
                      <a:pt x="1463" y="1084"/>
                    </a:moveTo>
                    <a:lnTo>
                      <a:pt x="1463" y="1084"/>
                    </a:lnTo>
                    <a:lnTo>
                      <a:pt x="1463" y="1084"/>
                    </a:lnTo>
                    <a:lnTo>
                      <a:pt x="1463" y="1108"/>
                    </a:lnTo>
                    <a:lnTo>
                      <a:pt x="1463" y="1108"/>
                    </a:lnTo>
                    <a:lnTo>
                      <a:pt x="1463" y="1105"/>
                    </a:lnTo>
                    <a:lnTo>
                      <a:pt x="1463" y="1105"/>
                    </a:lnTo>
                    <a:lnTo>
                      <a:pt x="1463" y="1084"/>
                    </a:lnTo>
                    <a:moveTo>
                      <a:pt x="2861" y="1063"/>
                    </a:moveTo>
                    <a:lnTo>
                      <a:pt x="2858" y="1063"/>
                    </a:lnTo>
                    <a:lnTo>
                      <a:pt x="2858" y="1063"/>
                    </a:lnTo>
                    <a:lnTo>
                      <a:pt x="2858" y="1063"/>
                    </a:lnTo>
                    <a:lnTo>
                      <a:pt x="2858" y="1200"/>
                    </a:lnTo>
                    <a:lnTo>
                      <a:pt x="2861" y="1200"/>
                    </a:lnTo>
                    <a:lnTo>
                      <a:pt x="2861" y="1063"/>
                    </a:lnTo>
                    <a:moveTo>
                      <a:pt x="5932" y="1041"/>
                    </a:moveTo>
                    <a:lnTo>
                      <a:pt x="5932" y="1041"/>
                    </a:lnTo>
                    <a:lnTo>
                      <a:pt x="5930" y="1041"/>
                    </a:lnTo>
                    <a:lnTo>
                      <a:pt x="5930" y="1041"/>
                    </a:lnTo>
                    <a:lnTo>
                      <a:pt x="5930" y="1089"/>
                    </a:lnTo>
                    <a:lnTo>
                      <a:pt x="5932" y="1089"/>
                    </a:lnTo>
                    <a:lnTo>
                      <a:pt x="5932" y="1041"/>
                    </a:lnTo>
                    <a:moveTo>
                      <a:pt x="2877" y="1010"/>
                    </a:moveTo>
                    <a:lnTo>
                      <a:pt x="2875" y="1010"/>
                    </a:lnTo>
                    <a:lnTo>
                      <a:pt x="2875" y="1013"/>
                    </a:lnTo>
                    <a:lnTo>
                      <a:pt x="2875" y="1046"/>
                    </a:lnTo>
                    <a:lnTo>
                      <a:pt x="2877" y="1046"/>
                    </a:lnTo>
                    <a:lnTo>
                      <a:pt x="2877" y="1044"/>
                    </a:lnTo>
                    <a:lnTo>
                      <a:pt x="2877" y="1044"/>
                    </a:lnTo>
                    <a:lnTo>
                      <a:pt x="2877" y="1010"/>
                    </a:lnTo>
                    <a:moveTo>
                      <a:pt x="3771" y="992"/>
                    </a:moveTo>
                    <a:lnTo>
                      <a:pt x="3769" y="992"/>
                    </a:lnTo>
                    <a:lnTo>
                      <a:pt x="3769" y="994"/>
                    </a:lnTo>
                    <a:lnTo>
                      <a:pt x="3769" y="1183"/>
                    </a:lnTo>
                    <a:lnTo>
                      <a:pt x="3771" y="1183"/>
                    </a:lnTo>
                    <a:lnTo>
                      <a:pt x="3771" y="992"/>
                    </a:lnTo>
                    <a:moveTo>
                      <a:pt x="5949" y="989"/>
                    </a:moveTo>
                    <a:lnTo>
                      <a:pt x="5949" y="989"/>
                    </a:lnTo>
                    <a:lnTo>
                      <a:pt x="5949" y="992"/>
                    </a:lnTo>
                    <a:lnTo>
                      <a:pt x="5949" y="1025"/>
                    </a:lnTo>
                    <a:lnTo>
                      <a:pt x="5949" y="1025"/>
                    </a:lnTo>
                    <a:lnTo>
                      <a:pt x="5949" y="1022"/>
                    </a:lnTo>
                    <a:lnTo>
                      <a:pt x="5949" y="1022"/>
                    </a:lnTo>
                    <a:lnTo>
                      <a:pt x="5949" y="989"/>
                    </a:lnTo>
                    <a:moveTo>
                      <a:pt x="6341" y="935"/>
                    </a:moveTo>
                    <a:lnTo>
                      <a:pt x="6339" y="935"/>
                    </a:lnTo>
                    <a:lnTo>
                      <a:pt x="6339" y="935"/>
                    </a:lnTo>
                    <a:lnTo>
                      <a:pt x="6339" y="937"/>
                    </a:lnTo>
                    <a:lnTo>
                      <a:pt x="6339" y="1110"/>
                    </a:lnTo>
                    <a:lnTo>
                      <a:pt x="6339" y="1110"/>
                    </a:lnTo>
                    <a:lnTo>
                      <a:pt x="6339" y="1108"/>
                    </a:lnTo>
                    <a:lnTo>
                      <a:pt x="6341" y="1108"/>
                    </a:lnTo>
                    <a:lnTo>
                      <a:pt x="6341" y="935"/>
                    </a:lnTo>
                    <a:moveTo>
                      <a:pt x="3847" y="928"/>
                    </a:moveTo>
                    <a:lnTo>
                      <a:pt x="3844" y="928"/>
                    </a:lnTo>
                    <a:lnTo>
                      <a:pt x="3844" y="930"/>
                    </a:lnTo>
                    <a:lnTo>
                      <a:pt x="3844" y="954"/>
                    </a:lnTo>
                    <a:lnTo>
                      <a:pt x="3847" y="954"/>
                    </a:lnTo>
                    <a:lnTo>
                      <a:pt x="3847" y="928"/>
                    </a:lnTo>
                    <a:moveTo>
                      <a:pt x="6386" y="894"/>
                    </a:moveTo>
                    <a:lnTo>
                      <a:pt x="6384" y="894"/>
                    </a:lnTo>
                    <a:lnTo>
                      <a:pt x="6384" y="894"/>
                    </a:lnTo>
                    <a:lnTo>
                      <a:pt x="6384" y="894"/>
                    </a:lnTo>
                    <a:lnTo>
                      <a:pt x="6384" y="894"/>
                    </a:lnTo>
                    <a:lnTo>
                      <a:pt x="6384" y="894"/>
                    </a:lnTo>
                    <a:lnTo>
                      <a:pt x="6386" y="894"/>
                    </a:lnTo>
                    <a:moveTo>
                      <a:pt x="6391" y="878"/>
                    </a:moveTo>
                    <a:lnTo>
                      <a:pt x="6389" y="878"/>
                    </a:lnTo>
                    <a:lnTo>
                      <a:pt x="6389" y="878"/>
                    </a:lnTo>
                    <a:lnTo>
                      <a:pt x="6389" y="880"/>
                    </a:lnTo>
                    <a:lnTo>
                      <a:pt x="6389" y="890"/>
                    </a:lnTo>
                    <a:lnTo>
                      <a:pt x="6389" y="890"/>
                    </a:lnTo>
                    <a:lnTo>
                      <a:pt x="6389" y="887"/>
                    </a:lnTo>
                    <a:lnTo>
                      <a:pt x="6391" y="887"/>
                    </a:lnTo>
                    <a:lnTo>
                      <a:pt x="6391" y="878"/>
                    </a:lnTo>
                    <a:moveTo>
                      <a:pt x="6398" y="850"/>
                    </a:moveTo>
                    <a:lnTo>
                      <a:pt x="6396" y="850"/>
                    </a:lnTo>
                    <a:lnTo>
                      <a:pt x="6396" y="852"/>
                    </a:lnTo>
                    <a:lnTo>
                      <a:pt x="6396" y="871"/>
                    </a:lnTo>
                    <a:lnTo>
                      <a:pt x="6398" y="871"/>
                    </a:lnTo>
                    <a:lnTo>
                      <a:pt x="6398" y="868"/>
                    </a:lnTo>
                    <a:lnTo>
                      <a:pt x="6398" y="868"/>
                    </a:lnTo>
                    <a:lnTo>
                      <a:pt x="6398" y="850"/>
                    </a:lnTo>
                    <a:moveTo>
                      <a:pt x="3100" y="762"/>
                    </a:moveTo>
                    <a:lnTo>
                      <a:pt x="3100" y="762"/>
                    </a:lnTo>
                    <a:lnTo>
                      <a:pt x="3100" y="762"/>
                    </a:lnTo>
                    <a:lnTo>
                      <a:pt x="3100" y="764"/>
                    </a:lnTo>
                    <a:lnTo>
                      <a:pt x="3100" y="939"/>
                    </a:lnTo>
                    <a:lnTo>
                      <a:pt x="3100" y="939"/>
                    </a:lnTo>
                    <a:lnTo>
                      <a:pt x="3100" y="762"/>
                    </a:lnTo>
                    <a:moveTo>
                      <a:pt x="1009" y="752"/>
                    </a:moveTo>
                    <a:lnTo>
                      <a:pt x="1007" y="752"/>
                    </a:lnTo>
                    <a:lnTo>
                      <a:pt x="1007" y="755"/>
                    </a:lnTo>
                    <a:lnTo>
                      <a:pt x="1007" y="788"/>
                    </a:lnTo>
                    <a:lnTo>
                      <a:pt x="1009" y="788"/>
                    </a:lnTo>
                    <a:lnTo>
                      <a:pt x="1009" y="752"/>
                    </a:lnTo>
                    <a:moveTo>
                      <a:pt x="5133" y="731"/>
                    </a:moveTo>
                    <a:lnTo>
                      <a:pt x="5131" y="731"/>
                    </a:lnTo>
                    <a:lnTo>
                      <a:pt x="5131" y="733"/>
                    </a:lnTo>
                    <a:lnTo>
                      <a:pt x="5131" y="932"/>
                    </a:lnTo>
                    <a:lnTo>
                      <a:pt x="5133" y="932"/>
                    </a:lnTo>
                    <a:lnTo>
                      <a:pt x="5133" y="731"/>
                    </a:lnTo>
                    <a:moveTo>
                      <a:pt x="3140" y="655"/>
                    </a:moveTo>
                    <a:lnTo>
                      <a:pt x="3137" y="655"/>
                    </a:lnTo>
                    <a:lnTo>
                      <a:pt x="3137" y="658"/>
                    </a:lnTo>
                    <a:lnTo>
                      <a:pt x="3137" y="724"/>
                    </a:lnTo>
                    <a:lnTo>
                      <a:pt x="3137" y="724"/>
                    </a:lnTo>
                    <a:lnTo>
                      <a:pt x="3137" y="722"/>
                    </a:lnTo>
                    <a:lnTo>
                      <a:pt x="3140" y="722"/>
                    </a:lnTo>
                    <a:lnTo>
                      <a:pt x="3140" y="655"/>
                    </a:lnTo>
                    <a:moveTo>
                      <a:pt x="97" y="615"/>
                    </a:moveTo>
                    <a:lnTo>
                      <a:pt x="94" y="615"/>
                    </a:lnTo>
                    <a:lnTo>
                      <a:pt x="94" y="617"/>
                    </a:lnTo>
                    <a:lnTo>
                      <a:pt x="94" y="1413"/>
                    </a:lnTo>
                    <a:lnTo>
                      <a:pt x="97" y="1413"/>
                    </a:lnTo>
                    <a:lnTo>
                      <a:pt x="97" y="615"/>
                    </a:lnTo>
                    <a:moveTo>
                      <a:pt x="5254" y="608"/>
                    </a:moveTo>
                    <a:lnTo>
                      <a:pt x="5251" y="608"/>
                    </a:lnTo>
                    <a:lnTo>
                      <a:pt x="5251" y="610"/>
                    </a:lnTo>
                    <a:lnTo>
                      <a:pt x="5251" y="691"/>
                    </a:lnTo>
                    <a:lnTo>
                      <a:pt x="5254" y="691"/>
                    </a:lnTo>
                    <a:lnTo>
                      <a:pt x="5254" y="608"/>
                    </a:lnTo>
                    <a:moveTo>
                      <a:pt x="3284" y="582"/>
                    </a:moveTo>
                    <a:lnTo>
                      <a:pt x="3282" y="582"/>
                    </a:lnTo>
                    <a:lnTo>
                      <a:pt x="3282" y="582"/>
                    </a:lnTo>
                    <a:lnTo>
                      <a:pt x="3282" y="582"/>
                    </a:lnTo>
                    <a:lnTo>
                      <a:pt x="3282" y="617"/>
                    </a:lnTo>
                    <a:lnTo>
                      <a:pt x="3284" y="617"/>
                    </a:lnTo>
                    <a:lnTo>
                      <a:pt x="3284" y="582"/>
                    </a:lnTo>
                    <a:moveTo>
                      <a:pt x="302" y="546"/>
                    </a:moveTo>
                    <a:lnTo>
                      <a:pt x="300" y="546"/>
                    </a:lnTo>
                    <a:lnTo>
                      <a:pt x="300" y="549"/>
                    </a:lnTo>
                    <a:lnTo>
                      <a:pt x="300" y="577"/>
                    </a:lnTo>
                    <a:lnTo>
                      <a:pt x="302" y="577"/>
                    </a:lnTo>
                    <a:lnTo>
                      <a:pt x="302" y="546"/>
                    </a:lnTo>
                    <a:moveTo>
                      <a:pt x="7027" y="509"/>
                    </a:moveTo>
                    <a:lnTo>
                      <a:pt x="7025" y="509"/>
                    </a:lnTo>
                    <a:lnTo>
                      <a:pt x="7025" y="509"/>
                    </a:lnTo>
                    <a:lnTo>
                      <a:pt x="7025" y="1652"/>
                    </a:lnTo>
                    <a:lnTo>
                      <a:pt x="7027" y="1652"/>
                    </a:lnTo>
                    <a:lnTo>
                      <a:pt x="7027" y="509"/>
                    </a:lnTo>
                    <a:moveTo>
                      <a:pt x="4194" y="501"/>
                    </a:moveTo>
                    <a:lnTo>
                      <a:pt x="4194" y="501"/>
                    </a:lnTo>
                    <a:lnTo>
                      <a:pt x="4192" y="504"/>
                    </a:lnTo>
                    <a:lnTo>
                      <a:pt x="4156" y="554"/>
                    </a:lnTo>
                    <a:lnTo>
                      <a:pt x="4156" y="554"/>
                    </a:lnTo>
                    <a:lnTo>
                      <a:pt x="4194" y="501"/>
                    </a:lnTo>
                    <a:moveTo>
                      <a:pt x="3300" y="499"/>
                    </a:moveTo>
                    <a:lnTo>
                      <a:pt x="3300" y="499"/>
                    </a:lnTo>
                    <a:lnTo>
                      <a:pt x="3298" y="499"/>
                    </a:lnTo>
                    <a:lnTo>
                      <a:pt x="3298" y="501"/>
                    </a:lnTo>
                    <a:lnTo>
                      <a:pt x="3298" y="563"/>
                    </a:lnTo>
                    <a:lnTo>
                      <a:pt x="3300" y="563"/>
                    </a:lnTo>
                    <a:lnTo>
                      <a:pt x="3300" y="563"/>
                    </a:lnTo>
                    <a:lnTo>
                      <a:pt x="3300" y="563"/>
                    </a:lnTo>
                    <a:lnTo>
                      <a:pt x="3300" y="499"/>
                    </a:lnTo>
                    <a:moveTo>
                      <a:pt x="4038" y="454"/>
                    </a:moveTo>
                    <a:lnTo>
                      <a:pt x="4036" y="454"/>
                    </a:lnTo>
                    <a:lnTo>
                      <a:pt x="4036" y="454"/>
                    </a:lnTo>
                    <a:lnTo>
                      <a:pt x="4036" y="454"/>
                    </a:lnTo>
                    <a:lnTo>
                      <a:pt x="4036" y="490"/>
                    </a:lnTo>
                    <a:lnTo>
                      <a:pt x="3953" y="644"/>
                    </a:lnTo>
                    <a:lnTo>
                      <a:pt x="3953" y="887"/>
                    </a:lnTo>
                    <a:lnTo>
                      <a:pt x="3955" y="887"/>
                    </a:lnTo>
                    <a:lnTo>
                      <a:pt x="3955" y="641"/>
                    </a:lnTo>
                    <a:lnTo>
                      <a:pt x="4038" y="487"/>
                    </a:lnTo>
                    <a:lnTo>
                      <a:pt x="4038" y="454"/>
                    </a:lnTo>
                    <a:moveTo>
                      <a:pt x="3329" y="433"/>
                    </a:moveTo>
                    <a:lnTo>
                      <a:pt x="3327" y="433"/>
                    </a:lnTo>
                    <a:lnTo>
                      <a:pt x="3327" y="435"/>
                    </a:lnTo>
                    <a:lnTo>
                      <a:pt x="3327" y="473"/>
                    </a:lnTo>
                    <a:lnTo>
                      <a:pt x="3329" y="473"/>
                    </a:lnTo>
                    <a:lnTo>
                      <a:pt x="3329" y="471"/>
                    </a:lnTo>
                    <a:lnTo>
                      <a:pt x="3329" y="471"/>
                    </a:lnTo>
                    <a:lnTo>
                      <a:pt x="3329" y="433"/>
                    </a:lnTo>
                    <a:moveTo>
                      <a:pt x="4043" y="390"/>
                    </a:moveTo>
                    <a:lnTo>
                      <a:pt x="4041" y="390"/>
                    </a:lnTo>
                    <a:lnTo>
                      <a:pt x="4041" y="390"/>
                    </a:lnTo>
                    <a:lnTo>
                      <a:pt x="4041" y="393"/>
                    </a:lnTo>
                    <a:lnTo>
                      <a:pt x="4041" y="447"/>
                    </a:lnTo>
                    <a:lnTo>
                      <a:pt x="4043" y="447"/>
                    </a:lnTo>
                    <a:lnTo>
                      <a:pt x="4043" y="445"/>
                    </a:lnTo>
                    <a:lnTo>
                      <a:pt x="4043" y="445"/>
                    </a:lnTo>
                    <a:lnTo>
                      <a:pt x="4043" y="390"/>
                    </a:lnTo>
                    <a:moveTo>
                      <a:pt x="1811" y="367"/>
                    </a:moveTo>
                    <a:lnTo>
                      <a:pt x="1808" y="367"/>
                    </a:lnTo>
                    <a:lnTo>
                      <a:pt x="1808" y="369"/>
                    </a:lnTo>
                    <a:lnTo>
                      <a:pt x="1808" y="1091"/>
                    </a:lnTo>
                    <a:lnTo>
                      <a:pt x="1811" y="1091"/>
                    </a:lnTo>
                    <a:lnTo>
                      <a:pt x="1811" y="367"/>
                    </a:lnTo>
                    <a:moveTo>
                      <a:pt x="4050" y="326"/>
                    </a:moveTo>
                    <a:lnTo>
                      <a:pt x="4048" y="326"/>
                    </a:lnTo>
                    <a:lnTo>
                      <a:pt x="4048" y="329"/>
                    </a:lnTo>
                    <a:lnTo>
                      <a:pt x="4048" y="383"/>
                    </a:lnTo>
                    <a:lnTo>
                      <a:pt x="4050" y="383"/>
                    </a:lnTo>
                    <a:lnTo>
                      <a:pt x="4050" y="381"/>
                    </a:lnTo>
                    <a:lnTo>
                      <a:pt x="4050" y="381"/>
                    </a:lnTo>
                    <a:lnTo>
                      <a:pt x="4050" y="326"/>
                    </a:lnTo>
                    <a:moveTo>
                      <a:pt x="2028" y="293"/>
                    </a:moveTo>
                    <a:lnTo>
                      <a:pt x="2028" y="293"/>
                    </a:lnTo>
                    <a:lnTo>
                      <a:pt x="2028" y="293"/>
                    </a:lnTo>
                    <a:lnTo>
                      <a:pt x="2028" y="293"/>
                    </a:lnTo>
                    <a:lnTo>
                      <a:pt x="2028" y="293"/>
                    </a:lnTo>
                    <a:moveTo>
                      <a:pt x="4703" y="232"/>
                    </a:moveTo>
                    <a:lnTo>
                      <a:pt x="4703" y="232"/>
                    </a:lnTo>
                    <a:lnTo>
                      <a:pt x="4703" y="232"/>
                    </a:lnTo>
                    <a:lnTo>
                      <a:pt x="4641" y="454"/>
                    </a:lnTo>
                    <a:lnTo>
                      <a:pt x="4644" y="454"/>
                    </a:lnTo>
                    <a:lnTo>
                      <a:pt x="4703" y="232"/>
                    </a:lnTo>
                    <a:moveTo>
                      <a:pt x="4804" y="172"/>
                    </a:moveTo>
                    <a:lnTo>
                      <a:pt x="4802" y="172"/>
                    </a:lnTo>
                    <a:lnTo>
                      <a:pt x="4802" y="172"/>
                    </a:lnTo>
                    <a:lnTo>
                      <a:pt x="4802" y="172"/>
                    </a:lnTo>
                    <a:lnTo>
                      <a:pt x="4802" y="191"/>
                    </a:lnTo>
                    <a:lnTo>
                      <a:pt x="4804" y="191"/>
                    </a:lnTo>
                    <a:lnTo>
                      <a:pt x="4804" y="172"/>
                    </a:lnTo>
                    <a:moveTo>
                      <a:pt x="4854" y="0"/>
                    </a:moveTo>
                    <a:lnTo>
                      <a:pt x="4852" y="0"/>
                    </a:lnTo>
                    <a:lnTo>
                      <a:pt x="4852" y="2"/>
                    </a:lnTo>
                    <a:lnTo>
                      <a:pt x="4852" y="132"/>
                    </a:lnTo>
                    <a:lnTo>
                      <a:pt x="4854" y="132"/>
                    </a:lnTo>
                    <a:lnTo>
                      <a:pt x="48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89" name="Freeform 104"/>
              <p:cNvSpPr>
                <a:spLocks noEditPoints="1"/>
              </p:cNvSpPr>
              <p:nvPr/>
            </p:nvSpPr>
            <p:spPr bwMode="auto">
              <a:xfrm>
                <a:off x="9" y="1698"/>
                <a:ext cx="7025" cy="1655"/>
              </a:xfrm>
              <a:custGeom>
                <a:avLst/>
                <a:gdLst>
                  <a:gd name="T0" fmla="*/ 2 w 7025"/>
                  <a:gd name="T1" fmla="*/ 1496 h 1655"/>
                  <a:gd name="T2" fmla="*/ 5665 w 7025"/>
                  <a:gd name="T3" fmla="*/ 1411 h 1655"/>
                  <a:gd name="T4" fmla="*/ 3710 w 7025"/>
                  <a:gd name="T5" fmla="*/ 1224 h 1655"/>
                  <a:gd name="T6" fmla="*/ 5831 w 7025"/>
                  <a:gd name="T7" fmla="*/ 1210 h 1655"/>
                  <a:gd name="T8" fmla="*/ 5831 w 7025"/>
                  <a:gd name="T9" fmla="*/ 1210 h 1655"/>
                  <a:gd name="T10" fmla="*/ 1665 w 7025"/>
                  <a:gd name="T11" fmla="*/ 1163 h 1655"/>
                  <a:gd name="T12" fmla="*/ 1688 w 7025"/>
                  <a:gd name="T13" fmla="*/ 1134 h 1655"/>
                  <a:gd name="T14" fmla="*/ 1688 w 7025"/>
                  <a:gd name="T15" fmla="*/ 1132 h 1655"/>
                  <a:gd name="T16" fmla="*/ 5855 w 7025"/>
                  <a:gd name="T17" fmla="*/ 1184 h 1655"/>
                  <a:gd name="T18" fmla="*/ 6323 w 7025"/>
                  <a:gd name="T19" fmla="*/ 1127 h 1655"/>
                  <a:gd name="T20" fmla="*/ 6323 w 7025"/>
                  <a:gd name="T21" fmla="*/ 1127 h 1655"/>
                  <a:gd name="T22" fmla="*/ 1445 w 7025"/>
                  <a:gd name="T23" fmla="*/ 1163 h 1655"/>
                  <a:gd name="T24" fmla="*/ 1461 w 7025"/>
                  <a:gd name="T25" fmla="*/ 1087 h 1655"/>
                  <a:gd name="T26" fmla="*/ 1464 w 7025"/>
                  <a:gd name="T27" fmla="*/ 1085 h 1655"/>
                  <a:gd name="T28" fmla="*/ 2859 w 7025"/>
                  <a:gd name="T29" fmla="*/ 1203 h 1655"/>
                  <a:gd name="T30" fmla="*/ 5930 w 7025"/>
                  <a:gd name="T31" fmla="*/ 1042 h 1655"/>
                  <a:gd name="T32" fmla="*/ 2878 w 7025"/>
                  <a:gd name="T33" fmla="*/ 1011 h 1655"/>
                  <a:gd name="T34" fmla="*/ 2878 w 7025"/>
                  <a:gd name="T35" fmla="*/ 1044 h 1655"/>
                  <a:gd name="T36" fmla="*/ 3769 w 7025"/>
                  <a:gd name="T37" fmla="*/ 995 h 1655"/>
                  <a:gd name="T38" fmla="*/ 5947 w 7025"/>
                  <a:gd name="T39" fmla="*/ 990 h 1655"/>
                  <a:gd name="T40" fmla="*/ 5949 w 7025"/>
                  <a:gd name="T41" fmla="*/ 1023 h 1655"/>
                  <a:gd name="T42" fmla="*/ 6339 w 7025"/>
                  <a:gd name="T43" fmla="*/ 938 h 1655"/>
                  <a:gd name="T44" fmla="*/ 6339 w 7025"/>
                  <a:gd name="T45" fmla="*/ 935 h 1655"/>
                  <a:gd name="T46" fmla="*/ 3845 w 7025"/>
                  <a:gd name="T47" fmla="*/ 957 h 1655"/>
                  <a:gd name="T48" fmla="*/ 6384 w 7025"/>
                  <a:gd name="T49" fmla="*/ 897 h 1655"/>
                  <a:gd name="T50" fmla="*/ 6389 w 7025"/>
                  <a:gd name="T51" fmla="*/ 879 h 1655"/>
                  <a:gd name="T52" fmla="*/ 6389 w 7025"/>
                  <a:gd name="T53" fmla="*/ 890 h 1655"/>
                  <a:gd name="T54" fmla="*/ 6396 w 7025"/>
                  <a:gd name="T55" fmla="*/ 853 h 1655"/>
                  <a:gd name="T56" fmla="*/ 6398 w 7025"/>
                  <a:gd name="T57" fmla="*/ 850 h 1655"/>
                  <a:gd name="T58" fmla="*/ 3098 w 7025"/>
                  <a:gd name="T59" fmla="*/ 942 h 1655"/>
                  <a:gd name="T60" fmla="*/ 1007 w 7025"/>
                  <a:gd name="T61" fmla="*/ 755 h 1655"/>
                  <a:gd name="T62" fmla="*/ 5131 w 7025"/>
                  <a:gd name="T63" fmla="*/ 732 h 1655"/>
                  <a:gd name="T64" fmla="*/ 3140 w 7025"/>
                  <a:gd name="T65" fmla="*/ 656 h 1655"/>
                  <a:gd name="T66" fmla="*/ 3140 w 7025"/>
                  <a:gd name="T67" fmla="*/ 656 h 1655"/>
                  <a:gd name="T68" fmla="*/ 97 w 7025"/>
                  <a:gd name="T69" fmla="*/ 1416 h 1655"/>
                  <a:gd name="T70" fmla="*/ 5252 w 7025"/>
                  <a:gd name="T71" fmla="*/ 694 h 1655"/>
                  <a:gd name="T72" fmla="*/ 3282 w 7025"/>
                  <a:gd name="T73" fmla="*/ 583 h 1655"/>
                  <a:gd name="T74" fmla="*/ 303 w 7025"/>
                  <a:gd name="T75" fmla="*/ 547 h 1655"/>
                  <a:gd name="T76" fmla="*/ 303 w 7025"/>
                  <a:gd name="T77" fmla="*/ 547 h 1655"/>
                  <a:gd name="T78" fmla="*/ 7025 w 7025"/>
                  <a:gd name="T79" fmla="*/ 1655 h 1655"/>
                  <a:gd name="T80" fmla="*/ 4154 w 7025"/>
                  <a:gd name="T81" fmla="*/ 557 h 1655"/>
                  <a:gd name="T82" fmla="*/ 3298 w 7025"/>
                  <a:gd name="T83" fmla="*/ 502 h 1655"/>
                  <a:gd name="T84" fmla="*/ 3301 w 7025"/>
                  <a:gd name="T85" fmla="*/ 564 h 1655"/>
                  <a:gd name="T86" fmla="*/ 4036 w 7025"/>
                  <a:gd name="T87" fmla="*/ 457 h 1655"/>
                  <a:gd name="T88" fmla="*/ 3956 w 7025"/>
                  <a:gd name="T89" fmla="*/ 642 h 1655"/>
                  <a:gd name="T90" fmla="*/ 3327 w 7025"/>
                  <a:gd name="T91" fmla="*/ 436 h 1655"/>
                  <a:gd name="T92" fmla="*/ 3329 w 7025"/>
                  <a:gd name="T93" fmla="*/ 433 h 1655"/>
                  <a:gd name="T94" fmla="*/ 4041 w 7025"/>
                  <a:gd name="T95" fmla="*/ 448 h 1655"/>
                  <a:gd name="T96" fmla="*/ 1809 w 7025"/>
                  <a:gd name="T97" fmla="*/ 370 h 1655"/>
                  <a:gd name="T98" fmla="*/ 1809 w 7025"/>
                  <a:gd name="T99" fmla="*/ 370 h 1655"/>
                  <a:gd name="T100" fmla="*/ 4050 w 7025"/>
                  <a:gd name="T101" fmla="*/ 384 h 1655"/>
                  <a:gd name="T102" fmla="*/ 2026 w 7025"/>
                  <a:gd name="T103" fmla="*/ 294 h 1655"/>
                  <a:gd name="T104" fmla="*/ 4703 w 7025"/>
                  <a:gd name="T105" fmla="*/ 232 h 1655"/>
                  <a:gd name="T106" fmla="*/ 4703 w 7025"/>
                  <a:gd name="T107" fmla="*/ 232 h 1655"/>
                  <a:gd name="T108" fmla="*/ 4802 w 7025"/>
                  <a:gd name="T109" fmla="*/ 194 h 1655"/>
                  <a:gd name="T110" fmla="*/ 4852 w 7025"/>
                  <a:gd name="T111" fmla="*/ 3 h 1655"/>
                  <a:gd name="T112" fmla="*/ 4909 w 7025"/>
                  <a:gd name="T113" fmla="*/ 0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55">
                    <a:moveTo>
                      <a:pt x="2" y="1454"/>
                    </a:moveTo>
                    <a:lnTo>
                      <a:pt x="0" y="1454"/>
                    </a:lnTo>
                    <a:lnTo>
                      <a:pt x="0" y="1454"/>
                    </a:lnTo>
                    <a:lnTo>
                      <a:pt x="0" y="1496"/>
                    </a:lnTo>
                    <a:lnTo>
                      <a:pt x="2" y="1496"/>
                    </a:lnTo>
                    <a:lnTo>
                      <a:pt x="2" y="1454"/>
                    </a:lnTo>
                    <a:close/>
                    <a:moveTo>
                      <a:pt x="5665" y="1326"/>
                    </a:moveTo>
                    <a:lnTo>
                      <a:pt x="5665" y="1326"/>
                    </a:lnTo>
                    <a:lnTo>
                      <a:pt x="5665" y="1328"/>
                    </a:lnTo>
                    <a:lnTo>
                      <a:pt x="5665" y="1411"/>
                    </a:lnTo>
                    <a:lnTo>
                      <a:pt x="5665" y="1411"/>
                    </a:lnTo>
                    <a:lnTo>
                      <a:pt x="5665" y="1326"/>
                    </a:lnTo>
                    <a:close/>
                    <a:moveTo>
                      <a:pt x="3712" y="1222"/>
                    </a:moveTo>
                    <a:lnTo>
                      <a:pt x="3710" y="1222"/>
                    </a:lnTo>
                    <a:lnTo>
                      <a:pt x="3710" y="1224"/>
                    </a:lnTo>
                    <a:lnTo>
                      <a:pt x="3710" y="1279"/>
                    </a:lnTo>
                    <a:lnTo>
                      <a:pt x="3712" y="1279"/>
                    </a:lnTo>
                    <a:lnTo>
                      <a:pt x="3712" y="1222"/>
                    </a:lnTo>
                    <a:close/>
                    <a:moveTo>
                      <a:pt x="5831" y="1210"/>
                    </a:moveTo>
                    <a:lnTo>
                      <a:pt x="5831" y="1210"/>
                    </a:lnTo>
                    <a:lnTo>
                      <a:pt x="5829" y="1210"/>
                    </a:lnTo>
                    <a:lnTo>
                      <a:pt x="5829" y="1210"/>
                    </a:lnTo>
                    <a:lnTo>
                      <a:pt x="5829" y="1288"/>
                    </a:lnTo>
                    <a:lnTo>
                      <a:pt x="5831" y="1288"/>
                    </a:lnTo>
                    <a:lnTo>
                      <a:pt x="5831" y="1210"/>
                    </a:lnTo>
                    <a:close/>
                    <a:moveTo>
                      <a:pt x="1667" y="1158"/>
                    </a:moveTo>
                    <a:lnTo>
                      <a:pt x="1665" y="1158"/>
                    </a:lnTo>
                    <a:lnTo>
                      <a:pt x="1665" y="1158"/>
                    </a:lnTo>
                    <a:lnTo>
                      <a:pt x="1665" y="1158"/>
                    </a:lnTo>
                    <a:lnTo>
                      <a:pt x="1665" y="1163"/>
                    </a:lnTo>
                    <a:lnTo>
                      <a:pt x="1667" y="1163"/>
                    </a:lnTo>
                    <a:lnTo>
                      <a:pt x="1667" y="1158"/>
                    </a:lnTo>
                    <a:close/>
                    <a:moveTo>
                      <a:pt x="1688" y="1132"/>
                    </a:moveTo>
                    <a:lnTo>
                      <a:pt x="1688" y="1132"/>
                    </a:lnTo>
                    <a:lnTo>
                      <a:pt x="1688" y="1134"/>
                    </a:lnTo>
                    <a:lnTo>
                      <a:pt x="1688" y="1134"/>
                    </a:lnTo>
                    <a:lnTo>
                      <a:pt x="1688" y="1134"/>
                    </a:lnTo>
                    <a:lnTo>
                      <a:pt x="1688" y="1132"/>
                    </a:lnTo>
                    <a:lnTo>
                      <a:pt x="1688" y="1132"/>
                    </a:lnTo>
                    <a:lnTo>
                      <a:pt x="1688" y="1132"/>
                    </a:lnTo>
                    <a:close/>
                    <a:moveTo>
                      <a:pt x="5857" y="1127"/>
                    </a:moveTo>
                    <a:lnTo>
                      <a:pt x="5855" y="1127"/>
                    </a:lnTo>
                    <a:lnTo>
                      <a:pt x="5855" y="1130"/>
                    </a:lnTo>
                    <a:lnTo>
                      <a:pt x="5855" y="1184"/>
                    </a:lnTo>
                    <a:lnTo>
                      <a:pt x="5855" y="1184"/>
                    </a:lnTo>
                    <a:lnTo>
                      <a:pt x="5855" y="1184"/>
                    </a:lnTo>
                    <a:lnTo>
                      <a:pt x="5857" y="1184"/>
                    </a:lnTo>
                    <a:lnTo>
                      <a:pt x="5857" y="1127"/>
                    </a:lnTo>
                    <a:close/>
                    <a:moveTo>
                      <a:pt x="6323" y="1127"/>
                    </a:moveTo>
                    <a:lnTo>
                      <a:pt x="6323" y="1127"/>
                    </a:lnTo>
                    <a:lnTo>
                      <a:pt x="6320" y="1127"/>
                    </a:lnTo>
                    <a:lnTo>
                      <a:pt x="6320" y="1130"/>
                    </a:lnTo>
                    <a:lnTo>
                      <a:pt x="6320" y="1172"/>
                    </a:lnTo>
                    <a:lnTo>
                      <a:pt x="6323" y="1172"/>
                    </a:lnTo>
                    <a:lnTo>
                      <a:pt x="6323" y="1127"/>
                    </a:lnTo>
                    <a:close/>
                    <a:moveTo>
                      <a:pt x="1447" y="1125"/>
                    </a:moveTo>
                    <a:lnTo>
                      <a:pt x="1445" y="1125"/>
                    </a:lnTo>
                    <a:lnTo>
                      <a:pt x="1445" y="1125"/>
                    </a:lnTo>
                    <a:lnTo>
                      <a:pt x="1445" y="1127"/>
                    </a:lnTo>
                    <a:lnTo>
                      <a:pt x="1445" y="1163"/>
                    </a:lnTo>
                    <a:lnTo>
                      <a:pt x="1447" y="1163"/>
                    </a:lnTo>
                    <a:lnTo>
                      <a:pt x="1447" y="1125"/>
                    </a:lnTo>
                    <a:close/>
                    <a:moveTo>
                      <a:pt x="1464" y="1085"/>
                    </a:moveTo>
                    <a:lnTo>
                      <a:pt x="1461" y="1085"/>
                    </a:lnTo>
                    <a:lnTo>
                      <a:pt x="1461" y="1087"/>
                    </a:lnTo>
                    <a:lnTo>
                      <a:pt x="1461" y="1108"/>
                    </a:lnTo>
                    <a:lnTo>
                      <a:pt x="1464" y="1108"/>
                    </a:lnTo>
                    <a:lnTo>
                      <a:pt x="1464" y="1108"/>
                    </a:lnTo>
                    <a:lnTo>
                      <a:pt x="1464" y="1108"/>
                    </a:lnTo>
                    <a:lnTo>
                      <a:pt x="1464" y="1085"/>
                    </a:lnTo>
                    <a:close/>
                    <a:moveTo>
                      <a:pt x="2861" y="1063"/>
                    </a:moveTo>
                    <a:lnTo>
                      <a:pt x="2859" y="1063"/>
                    </a:lnTo>
                    <a:lnTo>
                      <a:pt x="2859" y="1063"/>
                    </a:lnTo>
                    <a:lnTo>
                      <a:pt x="2859" y="1066"/>
                    </a:lnTo>
                    <a:lnTo>
                      <a:pt x="2859" y="1203"/>
                    </a:lnTo>
                    <a:lnTo>
                      <a:pt x="2861" y="1203"/>
                    </a:lnTo>
                    <a:lnTo>
                      <a:pt x="2861" y="1063"/>
                    </a:lnTo>
                    <a:close/>
                    <a:moveTo>
                      <a:pt x="5930" y="1042"/>
                    </a:moveTo>
                    <a:lnTo>
                      <a:pt x="5930" y="1042"/>
                    </a:lnTo>
                    <a:lnTo>
                      <a:pt x="5930" y="1042"/>
                    </a:lnTo>
                    <a:lnTo>
                      <a:pt x="5930" y="1044"/>
                    </a:lnTo>
                    <a:lnTo>
                      <a:pt x="5930" y="1092"/>
                    </a:lnTo>
                    <a:lnTo>
                      <a:pt x="5930" y="1092"/>
                    </a:lnTo>
                    <a:lnTo>
                      <a:pt x="5930" y="1042"/>
                    </a:lnTo>
                    <a:close/>
                    <a:moveTo>
                      <a:pt x="2878" y="1011"/>
                    </a:moveTo>
                    <a:lnTo>
                      <a:pt x="2875" y="1013"/>
                    </a:lnTo>
                    <a:lnTo>
                      <a:pt x="2875" y="1013"/>
                    </a:lnTo>
                    <a:lnTo>
                      <a:pt x="2875" y="1047"/>
                    </a:lnTo>
                    <a:lnTo>
                      <a:pt x="2878" y="1047"/>
                    </a:lnTo>
                    <a:lnTo>
                      <a:pt x="2878" y="1044"/>
                    </a:lnTo>
                    <a:lnTo>
                      <a:pt x="2878" y="1044"/>
                    </a:lnTo>
                    <a:lnTo>
                      <a:pt x="2878" y="1011"/>
                    </a:lnTo>
                    <a:close/>
                    <a:moveTo>
                      <a:pt x="3771" y="995"/>
                    </a:moveTo>
                    <a:lnTo>
                      <a:pt x="3769" y="995"/>
                    </a:lnTo>
                    <a:lnTo>
                      <a:pt x="3769" y="995"/>
                    </a:lnTo>
                    <a:lnTo>
                      <a:pt x="3769" y="1186"/>
                    </a:lnTo>
                    <a:lnTo>
                      <a:pt x="3771" y="1186"/>
                    </a:lnTo>
                    <a:lnTo>
                      <a:pt x="3771" y="995"/>
                    </a:lnTo>
                    <a:close/>
                    <a:moveTo>
                      <a:pt x="5949" y="990"/>
                    </a:moveTo>
                    <a:lnTo>
                      <a:pt x="5947" y="990"/>
                    </a:lnTo>
                    <a:lnTo>
                      <a:pt x="5947" y="992"/>
                    </a:lnTo>
                    <a:lnTo>
                      <a:pt x="5947" y="1025"/>
                    </a:lnTo>
                    <a:lnTo>
                      <a:pt x="5947" y="1025"/>
                    </a:lnTo>
                    <a:lnTo>
                      <a:pt x="5947" y="1023"/>
                    </a:lnTo>
                    <a:lnTo>
                      <a:pt x="5949" y="1023"/>
                    </a:lnTo>
                    <a:lnTo>
                      <a:pt x="5949" y="990"/>
                    </a:lnTo>
                    <a:close/>
                    <a:moveTo>
                      <a:pt x="6339" y="935"/>
                    </a:moveTo>
                    <a:lnTo>
                      <a:pt x="6339" y="935"/>
                    </a:lnTo>
                    <a:lnTo>
                      <a:pt x="6339" y="935"/>
                    </a:lnTo>
                    <a:lnTo>
                      <a:pt x="6339" y="938"/>
                    </a:lnTo>
                    <a:lnTo>
                      <a:pt x="6339" y="1111"/>
                    </a:lnTo>
                    <a:lnTo>
                      <a:pt x="6339" y="1111"/>
                    </a:lnTo>
                    <a:lnTo>
                      <a:pt x="6339" y="1111"/>
                    </a:lnTo>
                    <a:lnTo>
                      <a:pt x="6339" y="1111"/>
                    </a:lnTo>
                    <a:lnTo>
                      <a:pt x="6339" y="935"/>
                    </a:lnTo>
                    <a:close/>
                    <a:moveTo>
                      <a:pt x="3845" y="928"/>
                    </a:moveTo>
                    <a:lnTo>
                      <a:pt x="3845" y="928"/>
                    </a:lnTo>
                    <a:lnTo>
                      <a:pt x="3845" y="931"/>
                    </a:lnTo>
                    <a:lnTo>
                      <a:pt x="3845" y="957"/>
                    </a:lnTo>
                    <a:lnTo>
                      <a:pt x="3845" y="957"/>
                    </a:lnTo>
                    <a:lnTo>
                      <a:pt x="3845" y="928"/>
                    </a:lnTo>
                    <a:close/>
                    <a:moveTo>
                      <a:pt x="6384" y="895"/>
                    </a:moveTo>
                    <a:lnTo>
                      <a:pt x="6384" y="895"/>
                    </a:lnTo>
                    <a:lnTo>
                      <a:pt x="6384" y="895"/>
                    </a:lnTo>
                    <a:lnTo>
                      <a:pt x="6384" y="897"/>
                    </a:lnTo>
                    <a:lnTo>
                      <a:pt x="6382" y="897"/>
                    </a:lnTo>
                    <a:lnTo>
                      <a:pt x="6384" y="897"/>
                    </a:lnTo>
                    <a:lnTo>
                      <a:pt x="6384" y="895"/>
                    </a:lnTo>
                    <a:close/>
                    <a:moveTo>
                      <a:pt x="6389" y="879"/>
                    </a:moveTo>
                    <a:lnTo>
                      <a:pt x="6389" y="879"/>
                    </a:lnTo>
                    <a:lnTo>
                      <a:pt x="6389" y="879"/>
                    </a:lnTo>
                    <a:lnTo>
                      <a:pt x="6389" y="881"/>
                    </a:lnTo>
                    <a:lnTo>
                      <a:pt x="6389" y="890"/>
                    </a:lnTo>
                    <a:lnTo>
                      <a:pt x="6389" y="890"/>
                    </a:lnTo>
                    <a:lnTo>
                      <a:pt x="6389" y="890"/>
                    </a:lnTo>
                    <a:lnTo>
                      <a:pt x="6389" y="890"/>
                    </a:lnTo>
                    <a:lnTo>
                      <a:pt x="6389" y="879"/>
                    </a:lnTo>
                    <a:close/>
                    <a:moveTo>
                      <a:pt x="6398" y="850"/>
                    </a:moveTo>
                    <a:lnTo>
                      <a:pt x="6396" y="850"/>
                    </a:lnTo>
                    <a:lnTo>
                      <a:pt x="6396" y="853"/>
                    </a:lnTo>
                    <a:lnTo>
                      <a:pt x="6396" y="871"/>
                    </a:lnTo>
                    <a:lnTo>
                      <a:pt x="6398" y="871"/>
                    </a:lnTo>
                    <a:lnTo>
                      <a:pt x="6398" y="869"/>
                    </a:lnTo>
                    <a:lnTo>
                      <a:pt x="6398" y="869"/>
                    </a:lnTo>
                    <a:lnTo>
                      <a:pt x="6398" y="850"/>
                    </a:lnTo>
                    <a:close/>
                    <a:moveTo>
                      <a:pt x="3100" y="763"/>
                    </a:moveTo>
                    <a:lnTo>
                      <a:pt x="3100" y="763"/>
                    </a:lnTo>
                    <a:lnTo>
                      <a:pt x="3098" y="763"/>
                    </a:lnTo>
                    <a:lnTo>
                      <a:pt x="3098" y="765"/>
                    </a:lnTo>
                    <a:lnTo>
                      <a:pt x="3098" y="942"/>
                    </a:lnTo>
                    <a:lnTo>
                      <a:pt x="3100" y="942"/>
                    </a:lnTo>
                    <a:lnTo>
                      <a:pt x="3100" y="763"/>
                    </a:lnTo>
                    <a:close/>
                    <a:moveTo>
                      <a:pt x="1010" y="753"/>
                    </a:moveTo>
                    <a:lnTo>
                      <a:pt x="1007" y="753"/>
                    </a:lnTo>
                    <a:lnTo>
                      <a:pt x="1007" y="755"/>
                    </a:lnTo>
                    <a:lnTo>
                      <a:pt x="1007" y="791"/>
                    </a:lnTo>
                    <a:lnTo>
                      <a:pt x="1010" y="791"/>
                    </a:lnTo>
                    <a:lnTo>
                      <a:pt x="1010" y="753"/>
                    </a:lnTo>
                    <a:close/>
                    <a:moveTo>
                      <a:pt x="5133" y="732"/>
                    </a:moveTo>
                    <a:lnTo>
                      <a:pt x="5131" y="732"/>
                    </a:lnTo>
                    <a:lnTo>
                      <a:pt x="5131" y="734"/>
                    </a:lnTo>
                    <a:lnTo>
                      <a:pt x="5131" y="935"/>
                    </a:lnTo>
                    <a:lnTo>
                      <a:pt x="5133" y="935"/>
                    </a:lnTo>
                    <a:lnTo>
                      <a:pt x="5133" y="732"/>
                    </a:lnTo>
                    <a:close/>
                    <a:moveTo>
                      <a:pt x="3140" y="656"/>
                    </a:moveTo>
                    <a:lnTo>
                      <a:pt x="3138" y="656"/>
                    </a:lnTo>
                    <a:lnTo>
                      <a:pt x="3138" y="658"/>
                    </a:lnTo>
                    <a:lnTo>
                      <a:pt x="3138" y="725"/>
                    </a:lnTo>
                    <a:lnTo>
                      <a:pt x="3140" y="725"/>
                    </a:lnTo>
                    <a:lnTo>
                      <a:pt x="3140" y="656"/>
                    </a:lnTo>
                    <a:close/>
                    <a:moveTo>
                      <a:pt x="97" y="616"/>
                    </a:moveTo>
                    <a:lnTo>
                      <a:pt x="95" y="616"/>
                    </a:lnTo>
                    <a:lnTo>
                      <a:pt x="95" y="618"/>
                    </a:lnTo>
                    <a:lnTo>
                      <a:pt x="95" y="1416"/>
                    </a:lnTo>
                    <a:lnTo>
                      <a:pt x="97" y="1416"/>
                    </a:lnTo>
                    <a:lnTo>
                      <a:pt x="97" y="616"/>
                    </a:lnTo>
                    <a:close/>
                    <a:moveTo>
                      <a:pt x="5254" y="609"/>
                    </a:moveTo>
                    <a:lnTo>
                      <a:pt x="5252" y="609"/>
                    </a:lnTo>
                    <a:lnTo>
                      <a:pt x="5252" y="611"/>
                    </a:lnTo>
                    <a:lnTo>
                      <a:pt x="5252" y="694"/>
                    </a:lnTo>
                    <a:lnTo>
                      <a:pt x="5254" y="694"/>
                    </a:lnTo>
                    <a:lnTo>
                      <a:pt x="5254" y="609"/>
                    </a:lnTo>
                    <a:close/>
                    <a:moveTo>
                      <a:pt x="3282" y="583"/>
                    </a:moveTo>
                    <a:lnTo>
                      <a:pt x="3282" y="583"/>
                    </a:lnTo>
                    <a:lnTo>
                      <a:pt x="3282" y="583"/>
                    </a:lnTo>
                    <a:lnTo>
                      <a:pt x="3282" y="585"/>
                    </a:lnTo>
                    <a:lnTo>
                      <a:pt x="3282" y="620"/>
                    </a:lnTo>
                    <a:lnTo>
                      <a:pt x="3282" y="620"/>
                    </a:lnTo>
                    <a:lnTo>
                      <a:pt x="3282" y="583"/>
                    </a:lnTo>
                    <a:close/>
                    <a:moveTo>
                      <a:pt x="303" y="547"/>
                    </a:moveTo>
                    <a:lnTo>
                      <a:pt x="300" y="547"/>
                    </a:lnTo>
                    <a:lnTo>
                      <a:pt x="300" y="549"/>
                    </a:lnTo>
                    <a:lnTo>
                      <a:pt x="300" y="580"/>
                    </a:lnTo>
                    <a:lnTo>
                      <a:pt x="303" y="580"/>
                    </a:lnTo>
                    <a:lnTo>
                      <a:pt x="303" y="547"/>
                    </a:lnTo>
                    <a:close/>
                    <a:moveTo>
                      <a:pt x="7025" y="509"/>
                    </a:moveTo>
                    <a:lnTo>
                      <a:pt x="7025" y="509"/>
                    </a:lnTo>
                    <a:lnTo>
                      <a:pt x="7025" y="512"/>
                    </a:lnTo>
                    <a:lnTo>
                      <a:pt x="7025" y="1655"/>
                    </a:lnTo>
                    <a:lnTo>
                      <a:pt x="7025" y="1655"/>
                    </a:lnTo>
                    <a:lnTo>
                      <a:pt x="7025" y="509"/>
                    </a:lnTo>
                    <a:close/>
                    <a:moveTo>
                      <a:pt x="4195" y="502"/>
                    </a:moveTo>
                    <a:lnTo>
                      <a:pt x="4192" y="502"/>
                    </a:lnTo>
                    <a:lnTo>
                      <a:pt x="4192" y="504"/>
                    </a:lnTo>
                    <a:lnTo>
                      <a:pt x="4154" y="557"/>
                    </a:lnTo>
                    <a:lnTo>
                      <a:pt x="4154" y="559"/>
                    </a:lnTo>
                    <a:lnTo>
                      <a:pt x="4195" y="502"/>
                    </a:lnTo>
                    <a:close/>
                    <a:moveTo>
                      <a:pt x="3301" y="502"/>
                    </a:moveTo>
                    <a:lnTo>
                      <a:pt x="3298" y="502"/>
                    </a:lnTo>
                    <a:lnTo>
                      <a:pt x="3298" y="502"/>
                    </a:lnTo>
                    <a:lnTo>
                      <a:pt x="3298" y="502"/>
                    </a:lnTo>
                    <a:lnTo>
                      <a:pt x="3298" y="566"/>
                    </a:lnTo>
                    <a:lnTo>
                      <a:pt x="3298" y="566"/>
                    </a:lnTo>
                    <a:lnTo>
                      <a:pt x="3298" y="564"/>
                    </a:lnTo>
                    <a:lnTo>
                      <a:pt x="3301" y="564"/>
                    </a:lnTo>
                    <a:lnTo>
                      <a:pt x="3301" y="502"/>
                    </a:lnTo>
                    <a:close/>
                    <a:moveTo>
                      <a:pt x="4036" y="455"/>
                    </a:moveTo>
                    <a:lnTo>
                      <a:pt x="4036" y="455"/>
                    </a:lnTo>
                    <a:lnTo>
                      <a:pt x="4036" y="455"/>
                    </a:lnTo>
                    <a:lnTo>
                      <a:pt x="4036" y="457"/>
                    </a:lnTo>
                    <a:lnTo>
                      <a:pt x="4036" y="490"/>
                    </a:lnTo>
                    <a:lnTo>
                      <a:pt x="3953" y="644"/>
                    </a:lnTo>
                    <a:lnTo>
                      <a:pt x="3953" y="890"/>
                    </a:lnTo>
                    <a:lnTo>
                      <a:pt x="3956" y="890"/>
                    </a:lnTo>
                    <a:lnTo>
                      <a:pt x="3956" y="642"/>
                    </a:lnTo>
                    <a:lnTo>
                      <a:pt x="4036" y="490"/>
                    </a:lnTo>
                    <a:lnTo>
                      <a:pt x="4036" y="455"/>
                    </a:lnTo>
                    <a:close/>
                    <a:moveTo>
                      <a:pt x="3329" y="433"/>
                    </a:moveTo>
                    <a:lnTo>
                      <a:pt x="3327" y="433"/>
                    </a:lnTo>
                    <a:lnTo>
                      <a:pt x="3327" y="436"/>
                    </a:lnTo>
                    <a:lnTo>
                      <a:pt x="3327" y="474"/>
                    </a:lnTo>
                    <a:lnTo>
                      <a:pt x="3329" y="474"/>
                    </a:lnTo>
                    <a:lnTo>
                      <a:pt x="3329" y="471"/>
                    </a:lnTo>
                    <a:lnTo>
                      <a:pt x="3329" y="471"/>
                    </a:lnTo>
                    <a:lnTo>
                      <a:pt x="3329" y="433"/>
                    </a:lnTo>
                    <a:close/>
                    <a:moveTo>
                      <a:pt x="4043" y="391"/>
                    </a:moveTo>
                    <a:lnTo>
                      <a:pt x="4041" y="391"/>
                    </a:lnTo>
                    <a:lnTo>
                      <a:pt x="4041" y="391"/>
                    </a:lnTo>
                    <a:lnTo>
                      <a:pt x="4041" y="393"/>
                    </a:lnTo>
                    <a:lnTo>
                      <a:pt x="4041" y="448"/>
                    </a:lnTo>
                    <a:lnTo>
                      <a:pt x="4043" y="448"/>
                    </a:lnTo>
                    <a:lnTo>
                      <a:pt x="4043" y="448"/>
                    </a:lnTo>
                    <a:lnTo>
                      <a:pt x="4043" y="448"/>
                    </a:lnTo>
                    <a:lnTo>
                      <a:pt x="4043" y="391"/>
                    </a:lnTo>
                    <a:close/>
                    <a:moveTo>
                      <a:pt x="1809" y="370"/>
                    </a:moveTo>
                    <a:lnTo>
                      <a:pt x="1809" y="370"/>
                    </a:lnTo>
                    <a:lnTo>
                      <a:pt x="1809" y="370"/>
                    </a:lnTo>
                    <a:lnTo>
                      <a:pt x="1809" y="1094"/>
                    </a:lnTo>
                    <a:lnTo>
                      <a:pt x="1809" y="1094"/>
                    </a:lnTo>
                    <a:lnTo>
                      <a:pt x="1809" y="370"/>
                    </a:lnTo>
                    <a:close/>
                    <a:moveTo>
                      <a:pt x="4050" y="327"/>
                    </a:moveTo>
                    <a:lnTo>
                      <a:pt x="4048" y="327"/>
                    </a:lnTo>
                    <a:lnTo>
                      <a:pt x="4048" y="329"/>
                    </a:lnTo>
                    <a:lnTo>
                      <a:pt x="4048" y="384"/>
                    </a:lnTo>
                    <a:lnTo>
                      <a:pt x="4050" y="384"/>
                    </a:lnTo>
                    <a:lnTo>
                      <a:pt x="4050" y="381"/>
                    </a:lnTo>
                    <a:lnTo>
                      <a:pt x="4050" y="381"/>
                    </a:lnTo>
                    <a:lnTo>
                      <a:pt x="4050" y="327"/>
                    </a:lnTo>
                    <a:close/>
                    <a:moveTo>
                      <a:pt x="2029" y="294"/>
                    </a:moveTo>
                    <a:lnTo>
                      <a:pt x="2026" y="294"/>
                    </a:lnTo>
                    <a:lnTo>
                      <a:pt x="2026" y="296"/>
                    </a:lnTo>
                    <a:lnTo>
                      <a:pt x="2026" y="296"/>
                    </a:lnTo>
                    <a:lnTo>
                      <a:pt x="2029" y="296"/>
                    </a:lnTo>
                    <a:lnTo>
                      <a:pt x="2029" y="294"/>
                    </a:lnTo>
                    <a:close/>
                    <a:moveTo>
                      <a:pt x="4703" y="232"/>
                    </a:moveTo>
                    <a:lnTo>
                      <a:pt x="4703" y="232"/>
                    </a:lnTo>
                    <a:lnTo>
                      <a:pt x="4701" y="235"/>
                    </a:lnTo>
                    <a:lnTo>
                      <a:pt x="4642" y="457"/>
                    </a:lnTo>
                    <a:lnTo>
                      <a:pt x="4644" y="455"/>
                    </a:lnTo>
                    <a:lnTo>
                      <a:pt x="4703" y="232"/>
                    </a:lnTo>
                    <a:close/>
                    <a:moveTo>
                      <a:pt x="4805" y="173"/>
                    </a:moveTo>
                    <a:lnTo>
                      <a:pt x="4802" y="173"/>
                    </a:lnTo>
                    <a:lnTo>
                      <a:pt x="4802" y="173"/>
                    </a:lnTo>
                    <a:lnTo>
                      <a:pt x="4802" y="175"/>
                    </a:lnTo>
                    <a:lnTo>
                      <a:pt x="4802" y="194"/>
                    </a:lnTo>
                    <a:lnTo>
                      <a:pt x="4805" y="194"/>
                    </a:lnTo>
                    <a:lnTo>
                      <a:pt x="4805" y="173"/>
                    </a:lnTo>
                    <a:close/>
                    <a:moveTo>
                      <a:pt x="4852" y="0"/>
                    </a:moveTo>
                    <a:lnTo>
                      <a:pt x="4852" y="0"/>
                    </a:lnTo>
                    <a:lnTo>
                      <a:pt x="4852" y="3"/>
                    </a:lnTo>
                    <a:lnTo>
                      <a:pt x="4852" y="135"/>
                    </a:lnTo>
                    <a:lnTo>
                      <a:pt x="4852" y="135"/>
                    </a:lnTo>
                    <a:lnTo>
                      <a:pt x="4852" y="0"/>
                    </a:lnTo>
                    <a:close/>
                    <a:moveTo>
                      <a:pt x="4911" y="0"/>
                    </a:moveTo>
                    <a:lnTo>
                      <a:pt x="4909" y="0"/>
                    </a:lnTo>
                    <a:lnTo>
                      <a:pt x="4909" y="135"/>
                    </a:lnTo>
                    <a:lnTo>
                      <a:pt x="4911" y="135"/>
                    </a:lnTo>
                    <a:lnTo>
                      <a:pt x="4911"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0" name="Freeform 105"/>
              <p:cNvSpPr>
                <a:spLocks noEditPoints="1"/>
              </p:cNvSpPr>
              <p:nvPr/>
            </p:nvSpPr>
            <p:spPr bwMode="auto">
              <a:xfrm>
                <a:off x="9" y="1698"/>
                <a:ext cx="7025" cy="1655"/>
              </a:xfrm>
              <a:custGeom>
                <a:avLst/>
                <a:gdLst>
                  <a:gd name="T0" fmla="*/ 2 w 7025"/>
                  <a:gd name="T1" fmla="*/ 1496 h 1655"/>
                  <a:gd name="T2" fmla="*/ 5665 w 7025"/>
                  <a:gd name="T3" fmla="*/ 1411 h 1655"/>
                  <a:gd name="T4" fmla="*/ 3710 w 7025"/>
                  <a:gd name="T5" fmla="*/ 1224 h 1655"/>
                  <a:gd name="T6" fmla="*/ 5831 w 7025"/>
                  <a:gd name="T7" fmla="*/ 1210 h 1655"/>
                  <a:gd name="T8" fmla="*/ 5831 w 7025"/>
                  <a:gd name="T9" fmla="*/ 1210 h 1655"/>
                  <a:gd name="T10" fmla="*/ 1665 w 7025"/>
                  <a:gd name="T11" fmla="*/ 1163 h 1655"/>
                  <a:gd name="T12" fmla="*/ 1688 w 7025"/>
                  <a:gd name="T13" fmla="*/ 1134 h 1655"/>
                  <a:gd name="T14" fmla="*/ 1688 w 7025"/>
                  <a:gd name="T15" fmla="*/ 1132 h 1655"/>
                  <a:gd name="T16" fmla="*/ 5855 w 7025"/>
                  <a:gd name="T17" fmla="*/ 1184 h 1655"/>
                  <a:gd name="T18" fmla="*/ 6323 w 7025"/>
                  <a:gd name="T19" fmla="*/ 1127 h 1655"/>
                  <a:gd name="T20" fmla="*/ 6323 w 7025"/>
                  <a:gd name="T21" fmla="*/ 1127 h 1655"/>
                  <a:gd name="T22" fmla="*/ 1445 w 7025"/>
                  <a:gd name="T23" fmla="*/ 1163 h 1655"/>
                  <a:gd name="T24" fmla="*/ 1461 w 7025"/>
                  <a:gd name="T25" fmla="*/ 1087 h 1655"/>
                  <a:gd name="T26" fmla="*/ 1464 w 7025"/>
                  <a:gd name="T27" fmla="*/ 1085 h 1655"/>
                  <a:gd name="T28" fmla="*/ 2859 w 7025"/>
                  <a:gd name="T29" fmla="*/ 1203 h 1655"/>
                  <a:gd name="T30" fmla="*/ 5930 w 7025"/>
                  <a:gd name="T31" fmla="*/ 1042 h 1655"/>
                  <a:gd name="T32" fmla="*/ 2878 w 7025"/>
                  <a:gd name="T33" fmla="*/ 1011 h 1655"/>
                  <a:gd name="T34" fmla="*/ 2878 w 7025"/>
                  <a:gd name="T35" fmla="*/ 1044 h 1655"/>
                  <a:gd name="T36" fmla="*/ 3769 w 7025"/>
                  <a:gd name="T37" fmla="*/ 995 h 1655"/>
                  <a:gd name="T38" fmla="*/ 5947 w 7025"/>
                  <a:gd name="T39" fmla="*/ 990 h 1655"/>
                  <a:gd name="T40" fmla="*/ 5949 w 7025"/>
                  <a:gd name="T41" fmla="*/ 1023 h 1655"/>
                  <a:gd name="T42" fmla="*/ 6339 w 7025"/>
                  <a:gd name="T43" fmla="*/ 938 h 1655"/>
                  <a:gd name="T44" fmla="*/ 6339 w 7025"/>
                  <a:gd name="T45" fmla="*/ 935 h 1655"/>
                  <a:gd name="T46" fmla="*/ 3845 w 7025"/>
                  <a:gd name="T47" fmla="*/ 957 h 1655"/>
                  <a:gd name="T48" fmla="*/ 6384 w 7025"/>
                  <a:gd name="T49" fmla="*/ 897 h 1655"/>
                  <a:gd name="T50" fmla="*/ 6389 w 7025"/>
                  <a:gd name="T51" fmla="*/ 879 h 1655"/>
                  <a:gd name="T52" fmla="*/ 6389 w 7025"/>
                  <a:gd name="T53" fmla="*/ 890 h 1655"/>
                  <a:gd name="T54" fmla="*/ 6396 w 7025"/>
                  <a:gd name="T55" fmla="*/ 853 h 1655"/>
                  <a:gd name="T56" fmla="*/ 6398 w 7025"/>
                  <a:gd name="T57" fmla="*/ 850 h 1655"/>
                  <a:gd name="T58" fmla="*/ 3098 w 7025"/>
                  <a:gd name="T59" fmla="*/ 942 h 1655"/>
                  <a:gd name="T60" fmla="*/ 1007 w 7025"/>
                  <a:gd name="T61" fmla="*/ 755 h 1655"/>
                  <a:gd name="T62" fmla="*/ 5131 w 7025"/>
                  <a:gd name="T63" fmla="*/ 732 h 1655"/>
                  <a:gd name="T64" fmla="*/ 3140 w 7025"/>
                  <a:gd name="T65" fmla="*/ 656 h 1655"/>
                  <a:gd name="T66" fmla="*/ 3140 w 7025"/>
                  <a:gd name="T67" fmla="*/ 656 h 1655"/>
                  <a:gd name="T68" fmla="*/ 97 w 7025"/>
                  <a:gd name="T69" fmla="*/ 1416 h 1655"/>
                  <a:gd name="T70" fmla="*/ 5252 w 7025"/>
                  <a:gd name="T71" fmla="*/ 694 h 1655"/>
                  <a:gd name="T72" fmla="*/ 3282 w 7025"/>
                  <a:gd name="T73" fmla="*/ 583 h 1655"/>
                  <a:gd name="T74" fmla="*/ 303 w 7025"/>
                  <a:gd name="T75" fmla="*/ 547 h 1655"/>
                  <a:gd name="T76" fmla="*/ 303 w 7025"/>
                  <a:gd name="T77" fmla="*/ 547 h 1655"/>
                  <a:gd name="T78" fmla="*/ 7025 w 7025"/>
                  <a:gd name="T79" fmla="*/ 1655 h 1655"/>
                  <a:gd name="T80" fmla="*/ 4154 w 7025"/>
                  <a:gd name="T81" fmla="*/ 557 h 1655"/>
                  <a:gd name="T82" fmla="*/ 3298 w 7025"/>
                  <a:gd name="T83" fmla="*/ 502 h 1655"/>
                  <a:gd name="T84" fmla="*/ 3301 w 7025"/>
                  <a:gd name="T85" fmla="*/ 564 h 1655"/>
                  <a:gd name="T86" fmla="*/ 4036 w 7025"/>
                  <a:gd name="T87" fmla="*/ 457 h 1655"/>
                  <a:gd name="T88" fmla="*/ 3956 w 7025"/>
                  <a:gd name="T89" fmla="*/ 642 h 1655"/>
                  <a:gd name="T90" fmla="*/ 3327 w 7025"/>
                  <a:gd name="T91" fmla="*/ 436 h 1655"/>
                  <a:gd name="T92" fmla="*/ 3329 w 7025"/>
                  <a:gd name="T93" fmla="*/ 433 h 1655"/>
                  <a:gd name="T94" fmla="*/ 4041 w 7025"/>
                  <a:gd name="T95" fmla="*/ 448 h 1655"/>
                  <a:gd name="T96" fmla="*/ 1809 w 7025"/>
                  <a:gd name="T97" fmla="*/ 370 h 1655"/>
                  <a:gd name="T98" fmla="*/ 1809 w 7025"/>
                  <a:gd name="T99" fmla="*/ 370 h 1655"/>
                  <a:gd name="T100" fmla="*/ 4050 w 7025"/>
                  <a:gd name="T101" fmla="*/ 384 h 1655"/>
                  <a:gd name="T102" fmla="*/ 2026 w 7025"/>
                  <a:gd name="T103" fmla="*/ 294 h 1655"/>
                  <a:gd name="T104" fmla="*/ 4703 w 7025"/>
                  <a:gd name="T105" fmla="*/ 232 h 1655"/>
                  <a:gd name="T106" fmla="*/ 4703 w 7025"/>
                  <a:gd name="T107" fmla="*/ 232 h 1655"/>
                  <a:gd name="T108" fmla="*/ 4802 w 7025"/>
                  <a:gd name="T109" fmla="*/ 194 h 1655"/>
                  <a:gd name="T110" fmla="*/ 4852 w 7025"/>
                  <a:gd name="T111" fmla="*/ 3 h 1655"/>
                  <a:gd name="T112" fmla="*/ 4909 w 7025"/>
                  <a:gd name="T113" fmla="*/ 0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55">
                    <a:moveTo>
                      <a:pt x="2" y="1454"/>
                    </a:moveTo>
                    <a:lnTo>
                      <a:pt x="0" y="1454"/>
                    </a:lnTo>
                    <a:lnTo>
                      <a:pt x="0" y="1454"/>
                    </a:lnTo>
                    <a:lnTo>
                      <a:pt x="0" y="1496"/>
                    </a:lnTo>
                    <a:lnTo>
                      <a:pt x="2" y="1496"/>
                    </a:lnTo>
                    <a:lnTo>
                      <a:pt x="2" y="1454"/>
                    </a:lnTo>
                    <a:moveTo>
                      <a:pt x="5665" y="1326"/>
                    </a:moveTo>
                    <a:lnTo>
                      <a:pt x="5665" y="1326"/>
                    </a:lnTo>
                    <a:lnTo>
                      <a:pt x="5665" y="1328"/>
                    </a:lnTo>
                    <a:lnTo>
                      <a:pt x="5665" y="1411"/>
                    </a:lnTo>
                    <a:lnTo>
                      <a:pt x="5665" y="1411"/>
                    </a:lnTo>
                    <a:lnTo>
                      <a:pt x="5665" y="1326"/>
                    </a:lnTo>
                    <a:moveTo>
                      <a:pt x="3712" y="1222"/>
                    </a:moveTo>
                    <a:lnTo>
                      <a:pt x="3710" y="1222"/>
                    </a:lnTo>
                    <a:lnTo>
                      <a:pt x="3710" y="1224"/>
                    </a:lnTo>
                    <a:lnTo>
                      <a:pt x="3710" y="1279"/>
                    </a:lnTo>
                    <a:lnTo>
                      <a:pt x="3712" y="1279"/>
                    </a:lnTo>
                    <a:lnTo>
                      <a:pt x="3712" y="1222"/>
                    </a:lnTo>
                    <a:moveTo>
                      <a:pt x="5831" y="1210"/>
                    </a:moveTo>
                    <a:lnTo>
                      <a:pt x="5831" y="1210"/>
                    </a:lnTo>
                    <a:lnTo>
                      <a:pt x="5829" y="1210"/>
                    </a:lnTo>
                    <a:lnTo>
                      <a:pt x="5829" y="1210"/>
                    </a:lnTo>
                    <a:lnTo>
                      <a:pt x="5829" y="1288"/>
                    </a:lnTo>
                    <a:lnTo>
                      <a:pt x="5831" y="1288"/>
                    </a:lnTo>
                    <a:lnTo>
                      <a:pt x="5831" y="1210"/>
                    </a:lnTo>
                    <a:moveTo>
                      <a:pt x="1667" y="1158"/>
                    </a:moveTo>
                    <a:lnTo>
                      <a:pt x="1665" y="1158"/>
                    </a:lnTo>
                    <a:lnTo>
                      <a:pt x="1665" y="1158"/>
                    </a:lnTo>
                    <a:lnTo>
                      <a:pt x="1665" y="1158"/>
                    </a:lnTo>
                    <a:lnTo>
                      <a:pt x="1665" y="1163"/>
                    </a:lnTo>
                    <a:lnTo>
                      <a:pt x="1667" y="1163"/>
                    </a:lnTo>
                    <a:lnTo>
                      <a:pt x="1667" y="1158"/>
                    </a:lnTo>
                    <a:moveTo>
                      <a:pt x="1688" y="1132"/>
                    </a:moveTo>
                    <a:lnTo>
                      <a:pt x="1688" y="1132"/>
                    </a:lnTo>
                    <a:lnTo>
                      <a:pt x="1688" y="1134"/>
                    </a:lnTo>
                    <a:lnTo>
                      <a:pt x="1688" y="1134"/>
                    </a:lnTo>
                    <a:lnTo>
                      <a:pt x="1688" y="1134"/>
                    </a:lnTo>
                    <a:lnTo>
                      <a:pt x="1688" y="1132"/>
                    </a:lnTo>
                    <a:lnTo>
                      <a:pt x="1688" y="1132"/>
                    </a:lnTo>
                    <a:lnTo>
                      <a:pt x="1688" y="1132"/>
                    </a:lnTo>
                    <a:moveTo>
                      <a:pt x="5857" y="1127"/>
                    </a:moveTo>
                    <a:lnTo>
                      <a:pt x="5855" y="1127"/>
                    </a:lnTo>
                    <a:lnTo>
                      <a:pt x="5855" y="1130"/>
                    </a:lnTo>
                    <a:lnTo>
                      <a:pt x="5855" y="1184"/>
                    </a:lnTo>
                    <a:lnTo>
                      <a:pt x="5855" y="1184"/>
                    </a:lnTo>
                    <a:lnTo>
                      <a:pt x="5855" y="1184"/>
                    </a:lnTo>
                    <a:lnTo>
                      <a:pt x="5857" y="1184"/>
                    </a:lnTo>
                    <a:lnTo>
                      <a:pt x="5857" y="1127"/>
                    </a:lnTo>
                    <a:moveTo>
                      <a:pt x="6323" y="1127"/>
                    </a:moveTo>
                    <a:lnTo>
                      <a:pt x="6323" y="1127"/>
                    </a:lnTo>
                    <a:lnTo>
                      <a:pt x="6320" y="1127"/>
                    </a:lnTo>
                    <a:lnTo>
                      <a:pt x="6320" y="1130"/>
                    </a:lnTo>
                    <a:lnTo>
                      <a:pt x="6320" y="1172"/>
                    </a:lnTo>
                    <a:lnTo>
                      <a:pt x="6323" y="1172"/>
                    </a:lnTo>
                    <a:lnTo>
                      <a:pt x="6323" y="1127"/>
                    </a:lnTo>
                    <a:moveTo>
                      <a:pt x="1447" y="1125"/>
                    </a:moveTo>
                    <a:lnTo>
                      <a:pt x="1445" y="1125"/>
                    </a:lnTo>
                    <a:lnTo>
                      <a:pt x="1445" y="1125"/>
                    </a:lnTo>
                    <a:lnTo>
                      <a:pt x="1445" y="1127"/>
                    </a:lnTo>
                    <a:lnTo>
                      <a:pt x="1445" y="1163"/>
                    </a:lnTo>
                    <a:lnTo>
                      <a:pt x="1447" y="1163"/>
                    </a:lnTo>
                    <a:lnTo>
                      <a:pt x="1447" y="1125"/>
                    </a:lnTo>
                    <a:moveTo>
                      <a:pt x="1464" y="1085"/>
                    </a:moveTo>
                    <a:lnTo>
                      <a:pt x="1461" y="1085"/>
                    </a:lnTo>
                    <a:lnTo>
                      <a:pt x="1461" y="1087"/>
                    </a:lnTo>
                    <a:lnTo>
                      <a:pt x="1461" y="1108"/>
                    </a:lnTo>
                    <a:lnTo>
                      <a:pt x="1464" y="1108"/>
                    </a:lnTo>
                    <a:lnTo>
                      <a:pt x="1464" y="1108"/>
                    </a:lnTo>
                    <a:lnTo>
                      <a:pt x="1464" y="1108"/>
                    </a:lnTo>
                    <a:lnTo>
                      <a:pt x="1464" y="1085"/>
                    </a:lnTo>
                    <a:moveTo>
                      <a:pt x="2861" y="1063"/>
                    </a:moveTo>
                    <a:lnTo>
                      <a:pt x="2859" y="1063"/>
                    </a:lnTo>
                    <a:lnTo>
                      <a:pt x="2859" y="1063"/>
                    </a:lnTo>
                    <a:lnTo>
                      <a:pt x="2859" y="1066"/>
                    </a:lnTo>
                    <a:lnTo>
                      <a:pt x="2859" y="1203"/>
                    </a:lnTo>
                    <a:lnTo>
                      <a:pt x="2861" y="1203"/>
                    </a:lnTo>
                    <a:lnTo>
                      <a:pt x="2861" y="1063"/>
                    </a:lnTo>
                    <a:moveTo>
                      <a:pt x="5930" y="1042"/>
                    </a:moveTo>
                    <a:lnTo>
                      <a:pt x="5930" y="1042"/>
                    </a:lnTo>
                    <a:lnTo>
                      <a:pt x="5930" y="1042"/>
                    </a:lnTo>
                    <a:lnTo>
                      <a:pt x="5930" y="1044"/>
                    </a:lnTo>
                    <a:lnTo>
                      <a:pt x="5930" y="1092"/>
                    </a:lnTo>
                    <a:lnTo>
                      <a:pt x="5930" y="1092"/>
                    </a:lnTo>
                    <a:lnTo>
                      <a:pt x="5930" y="1042"/>
                    </a:lnTo>
                    <a:moveTo>
                      <a:pt x="2878" y="1011"/>
                    </a:moveTo>
                    <a:lnTo>
                      <a:pt x="2875" y="1013"/>
                    </a:lnTo>
                    <a:lnTo>
                      <a:pt x="2875" y="1013"/>
                    </a:lnTo>
                    <a:lnTo>
                      <a:pt x="2875" y="1047"/>
                    </a:lnTo>
                    <a:lnTo>
                      <a:pt x="2878" y="1047"/>
                    </a:lnTo>
                    <a:lnTo>
                      <a:pt x="2878" y="1044"/>
                    </a:lnTo>
                    <a:lnTo>
                      <a:pt x="2878" y="1044"/>
                    </a:lnTo>
                    <a:lnTo>
                      <a:pt x="2878" y="1011"/>
                    </a:lnTo>
                    <a:moveTo>
                      <a:pt x="3771" y="995"/>
                    </a:moveTo>
                    <a:lnTo>
                      <a:pt x="3769" y="995"/>
                    </a:lnTo>
                    <a:lnTo>
                      <a:pt x="3769" y="995"/>
                    </a:lnTo>
                    <a:lnTo>
                      <a:pt x="3769" y="1186"/>
                    </a:lnTo>
                    <a:lnTo>
                      <a:pt x="3771" y="1186"/>
                    </a:lnTo>
                    <a:lnTo>
                      <a:pt x="3771" y="995"/>
                    </a:lnTo>
                    <a:moveTo>
                      <a:pt x="5949" y="990"/>
                    </a:moveTo>
                    <a:lnTo>
                      <a:pt x="5947" y="990"/>
                    </a:lnTo>
                    <a:lnTo>
                      <a:pt x="5947" y="992"/>
                    </a:lnTo>
                    <a:lnTo>
                      <a:pt x="5947" y="1025"/>
                    </a:lnTo>
                    <a:lnTo>
                      <a:pt x="5947" y="1025"/>
                    </a:lnTo>
                    <a:lnTo>
                      <a:pt x="5947" y="1023"/>
                    </a:lnTo>
                    <a:lnTo>
                      <a:pt x="5949" y="1023"/>
                    </a:lnTo>
                    <a:lnTo>
                      <a:pt x="5949" y="990"/>
                    </a:lnTo>
                    <a:moveTo>
                      <a:pt x="6339" y="935"/>
                    </a:moveTo>
                    <a:lnTo>
                      <a:pt x="6339" y="935"/>
                    </a:lnTo>
                    <a:lnTo>
                      <a:pt x="6339" y="935"/>
                    </a:lnTo>
                    <a:lnTo>
                      <a:pt x="6339" y="938"/>
                    </a:lnTo>
                    <a:lnTo>
                      <a:pt x="6339" y="1111"/>
                    </a:lnTo>
                    <a:lnTo>
                      <a:pt x="6339" y="1111"/>
                    </a:lnTo>
                    <a:lnTo>
                      <a:pt x="6339" y="1111"/>
                    </a:lnTo>
                    <a:lnTo>
                      <a:pt x="6339" y="1111"/>
                    </a:lnTo>
                    <a:lnTo>
                      <a:pt x="6339" y="935"/>
                    </a:lnTo>
                    <a:moveTo>
                      <a:pt x="3845" y="928"/>
                    </a:moveTo>
                    <a:lnTo>
                      <a:pt x="3845" y="928"/>
                    </a:lnTo>
                    <a:lnTo>
                      <a:pt x="3845" y="931"/>
                    </a:lnTo>
                    <a:lnTo>
                      <a:pt x="3845" y="957"/>
                    </a:lnTo>
                    <a:lnTo>
                      <a:pt x="3845" y="957"/>
                    </a:lnTo>
                    <a:lnTo>
                      <a:pt x="3845" y="928"/>
                    </a:lnTo>
                    <a:moveTo>
                      <a:pt x="6384" y="895"/>
                    </a:moveTo>
                    <a:lnTo>
                      <a:pt x="6384" y="895"/>
                    </a:lnTo>
                    <a:lnTo>
                      <a:pt x="6384" y="895"/>
                    </a:lnTo>
                    <a:lnTo>
                      <a:pt x="6384" y="897"/>
                    </a:lnTo>
                    <a:lnTo>
                      <a:pt x="6382" y="897"/>
                    </a:lnTo>
                    <a:lnTo>
                      <a:pt x="6384" y="897"/>
                    </a:lnTo>
                    <a:lnTo>
                      <a:pt x="6384" y="895"/>
                    </a:lnTo>
                    <a:moveTo>
                      <a:pt x="6389" y="879"/>
                    </a:moveTo>
                    <a:lnTo>
                      <a:pt x="6389" y="879"/>
                    </a:lnTo>
                    <a:lnTo>
                      <a:pt x="6389" y="879"/>
                    </a:lnTo>
                    <a:lnTo>
                      <a:pt x="6389" y="881"/>
                    </a:lnTo>
                    <a:lnTo>
                      <a:pt x="6389" y="890"/>
                    </a:lnTo>
                    <a:lnTo>
                      <a:pt x="6389" y="890"/>
                    </a:lnTo>
                    <a:lnTo>
                      <a:pt x="6389" y="890"/>
                    </a:lnTo>
                    <a:lnTo>
                      <a:pt x="6389" y="890"/>
                    </a:lnTo>
                    <a:lnTo>
                      <a:pt x="6389" y="879"/>
                    </a:lnTo>
                    <a:moveTo>
                      <a:pt x="6398" y="850"/>
                    </a:moveTo>
                    <a:lnTo>
                      <a:pt x="6396" y="850"/>
                    </a:lnTo>
                    <a:lnTo>
                      <a:pt x="6396" y="853"/>
                    </a:lnTo>
                    <a:lnTo>
                      <a:pt x="6396" y="871"/>
                    </a:lnTo>
                    <a:lnTo>
                      <a:pt x="6398" y="871"/>
                    </a:lnTo>
                    <a:lnTo>
                      <a:pt x="6398" y="869"/>
                    </a:lnTo>
                    <a:lnTo>
                      <a:pt x="6398" y="869"/>
                    </a:lnTo>
                    <a:lnTo>
                      <a:pt x="6398" y="850"/>
                    </a:lnTo>
                    <a:moveTo>
                      <a:pt x="3100" y="763"/>
                    </a:moveTo>
                    <a:lnTo>
                      <a:pt x="3100" y="763"/>
                    </a:lnTo>
                    <a:lnTo>
                      <a:pt x="3098" y="763"/>
                    </a:lnTo>
                    <a:lnTo>
                      <a:pt x="3098" y="765"/>
                    </a:lnTo>
                    <a:lnTo>
                      <a:pt x="3098" y="942"/>
                    </a:lnTo>
                    <a:lnTo>
                      <a:pt x="3100" y="942"/>
                    </a:lnTo>
                    <a:lnTo>
                      <a:pt x="3100" y="763"/>
                    </a:lnTo>
                    <a:moveTo>
                      <a:pt x="1010" y="753"/>
                    </a:moveTo>
                    <a:lnTo>
                      <a:pt x="1007" y="753"/>
                    </a:lnTo>
                    <a:lnTo>
                      <a:pt x="1007" y="755"/>
                    </a:lnTo>
                    <a:lnTo>
                      <a:pt x="1007" y="791"/>
                    </a:lnTo>
                    <a:lnTo>
                      <a:pt x="1010" y="791"/>
                    </a:lnTo>
                    <a:lnTo>
                      <a:pt x="1010" y="753"/>
                    </a:lnTo>
                    <a:moveTo>
                      <a:pt x="5133" y="732"/>
                    </a:moveTo>
                    <a:lnTo>
                      <a:pt x="5131" y="732"/>
                    </a:lnTo>
                    <a:lnTo>
                      <a:pt x="5131" y="734"/>
                    </a:lnTo>
                    <a:lnTo>
                      <a:pt x="5131" y="935"/>
                    </a:lnTo>
                    <a:lnTo>
                      <a:pt x="5133" y="935"/>
                    </a:lnTo>
                    <a:lnTo>
                      <a:pt x="5133" y="732"/>
                    </a:lnTo>
                    <a:moveTo>
                      <a:pt x="3140" y="656"/>
                    </a:moveTo>
                    <a:lnTo>
                      <a:pt x="3138" y="656"/>
                    </a:lnTo>
                    <a:lnTo>
                      <a:pt x="3138" y="658"/>
                    </a:lnTo>
                    <a:lnTo>
                      <a:pt x="3138" y="725"/>
                    </a:lnTo>
                    <a:lnTo>
                      <a:pt x="3140" y="725"/>
                    </a:lnTo>
                    <a:lnTo>
                      <a:pt x="3140" y="656"/>
                    </a:lnTo>
                    <a:moveTo>
                      <a:pt x="97" y="616"/>
                    </a:moveTo>
                    <a:lnTo>
                      <a:pt x="95" y="616"/>
                    </a:lnTo>
                    <a:lnTo>
                      <a:pt x="95" y="618"/>
                    </a:lnTo>
                    <a:lnTo>
                      <a:pt x="95" y="1416"/>
                    </a:lnTo>
                    <a:lnTo>
                      <a:pt x="97" y="1416"/>
                    </a:lnTo>
                    <a:lnTo>
                      <a:pt x="97" y="616"/>
                    </a:lnTo>
                    <a:moveTo>
                      <a:pt x="5254" y="609"/>
                    </a:moveTo>
                    <a:lnTo>
                      <a:pt x="5252" y="609"/>
                    </a:lnTo>
                    <a:lnTo>
                      <a:pt x="5252" y="611"/>
                    </a:lnTo>
                    <a:lnTo>
                      <a:pt x="5252" y="694"/>
                    </a:lnTo>
                    <a:lnTo>
                      <a:pt x="5254" y="694"/>
                    </a:lnTo>
                    <a:lnTo>
                      <a:pt x="5254" y="609"/>
                    </a:lnTo>
                    <a:moveTo>
                      <a:pt x="3282" y="583"/>
                    </a:moveTo>
                    <a:lnTo>
                      <a:pt x="3282" y="583"/>
                    </a:lnTo>
                    <a:lnTo>
                      <a:pt x="3282" y="583"/>
                    </a:lnTo>
                    <a:lnTo>
                      <a:pt x="3282" y="585"/>
                    </a:lnTo>
                    <a:lnTo>
                      <a:pt x="3282" y="620"/>
                    </a:lnTo>
                    <a:lnTo>
                      <a:pt x="3282" y="620"/>
                    </a:lnTo>
                    <a:lnTo>
                      <a:pt x="3282" y="583"/>
                    </a:lnTo>
                    <a:moveTo>
                      <a:pt x="303" y="547"/>
                    </a:moveTo>
                    <a:lnTo>
                      <a:pt x="300" y="547"/>
                    </a:lnTo>
                    <a:lnTo>
                      <a:pt x="300" y="549"/>
                    </a:lnTo>
                    <a:lnTo>
                      <a:pt x="300" y="580"/>
                    </a:lnTo>
                    <a:lnTo>
                      <a:pt x="303" y="580"/>
                    </a:lnTo>
                    <a:lnTo>
                      <a:pt x="303" y="547"/>
                    </a:lnTo>
                    <a:moveTo>
                      <a:pt x="7025" y="509"/>
                    </a:moveTo>
                    <a:lnTo>
                      <a:pt x="7025" y="509"/>
                    </a:lnTo>
                    <a:lnTo>
                      <a:pt x="7025" y="512"/>
                    </a:lnTo>
                    <a:lnTo>
                      <a:pt x="7025" y="1655"/>
                    </a:lnTo>
                    <a:lnTo>
                      <a:pt x="7025" y="1655"/>
                    </a:lnTo>
                    <a:lnTo>
                      <a:pt x="7025" y="509"/>
                    </a:lnTo>
                    <a:moveTo>
                      <a:pt x="4195" y="502"/>
                    </a:moveTo>
                    <a:lnTo>
                      <a:pt x="4192" y="502"/>
                    </a:lnTo>
                    <a:lnTo>
                      <a:pt x="4192" y="504"/>
                    </a:lnTo>
                    <a:lnTo>
                      <a:pt x="4154" y="557"/>
                    </a:lnTo>
                    <a:lnTo>
                      <a:pt x="4154" y="559"/>
                    </a:lnTo>
                    <a:lnTo>
                      <a:pt x="4195" y="502"/>
                    </a:lnTo>
                    <a:moveTo>
                      <a:pt x="3301" y="502"/>
                    </a:moveTo>
                    <a:lnTo>
                      <a:pt x="3298" y="502"/>
                    </a:lnTo>
                    <a:lnTo>
                      <a:pt x="3298" y="502"/>
                    </a:lnTo>
                    <a:lnTo>
                      <a:pt x="3298" y="502"/>
                    </a:lnTo>
                    <a:lnTo>
                      <a:pt x="3298" y="566"/>
                    </a:lnTo>
                    <a:lnTo>
                      <a:pt x="3298" y="566"/>
                    </a:lnTo>
                    <a:lnTo>
                      <a:pt x="3298" y="564"/>
                    </a:lnTo>
                    <a:lnTo>
                      <a:pt x="3301" y="564"/>
                    </a:lnTo>
                    <a:lnTo>
                      <a:pt x="3301" y="502"/>
                    </a:lnTo>
                    <a:moveTo>
                      <a:pt x="4036" y="455"/>
                    </a:moveTo>
                    <a:lnTo>
                      <a:pt x="4036" y="455"/>
                    </a:lnTo>
                    <a:lnTo>
                      <a:pt x="4036" y="455"/>
                    </a:lnTo>
                    <a:lnTo>
                      <a:pt x="4036" y="457"/>
                    </a:lnTo>
                    <a:lnTo>
                      <a:pt x="4036" y="490"/>
                    </a:lnTo>
                    <a:lnTo>
                      <a:pt x="3953" y="644"/>
                    </a:lnTo>
                    <a:lnTo>
                      <a:pt x="3953" y="890"/>
                    </a:lnTo>
                    <a:lnTo>
                      <a:pt x="3956" y="890"/>
                    </a:lnTo>
                    <a:lnTo>
                      <a:pt x="3956" y="642"/>
                    </a:lnTo>
                    <a:lnTo>
                      <a:pt x="4036" y="490"/>
                    </a:lnTo>
                    <a:lnTo>
                      <a:pt x="4036" y="455"/>
                    </a:lnTo>
                    <a:moveTo>
                      <a:pt x="3329" y="433"/>
                    </a:moveTo>
                    <a:lnTo>
                      <a:pt x="3327" y="433"/>
                    </a:lnTo>
                    <a:lnTo>
                      <a:pt x="3327" y="436"/>
                    </a:lnTo>
                    <a:lnTo>
                      <a:pt x="3327" y="474"/>
                    </a:lnTo>
                    <a:lnTo>
                      <a:pt x="3329" y="474"/>
                    </a:lnTo>
                    <a:lnTo>
                      <a:pt x="3329" y="471"/>
                    </a:lnTo>
                    <a:lnTo>
                      <a:pt x="3329" y="471"/>
                    </a:lnTo>
                    <a:lnTo>
                      <a:pt x="3329" y="433"/>
                    </a:lnTo>
                    <a:moveTo>
                      <a:pt x="4043" y="391"/>
                    </a:moveTo>
                    <a:lnTo>
                      <a:pt x="4041" y="391"/>
                    </a:lnTo>
                    <a:lnTo>
                      <a:pt x="4041" y="391"/>
                    </a:lnTo>
                    <a:lnTo>
                      <a:pt x="4041" y="393"/>
                    </a:lnTo>
                    <a:lnTo>
                      <a:pt x="4041" y="448"/>
                    </a:lnTo>
                    <a:lnTo>
                      <a:pt x="4043" y="448"/>
                    </a:lnTo>
                    <a:lnTo>
                      <a:pt x="4043" y="448"/>
                    </a:lnTo>
                    <a:lnTo>
                      <a:pt x="4043" y="448"/>
                    </a:lnTo>
                    <a:lnTo>
                      <a:pt x="4043" y="391"/>
                    </a:lnTo>
                    <a:moveTo>
                      <a:pt x="1809" y="370"/>
                    </a:moveTo>
                    <a:lnTo>
                      <a:pt x="1809" y="370"/>
                    </a:lnTo>
                    <a:lnTo>
                      <a:pt x="1809" y="370"/>
                    </a:lnTo>
                    <a:lnTo>
                      <a:pt x="1809" y="1094"/>
                    </a:lnTo>
                    <a:lnTo>
                      <a:pt x="1809" y="1094"/>
                    </a:lnTo>
                    <a:lnTo>
                      <a:pt x="1809" y="370"/>
                    </a:lnTo>
                    <a:moveTo>
                      <a:pt x="4050" y="327"/>
                    </a:moveTo>
                    <a:lnTo>
                      <a:pt x="4048" y="327"/>
                    </a:lnTo>
                    <a:lnTo>
                      <a:pt x="4048" y="329"/>
                    </a:lnTo>
                    <a:lnTo>
                      <a:pt x="4048" y="384"/>
                    </a:lnTo>
                    <a:lnTo>
                      <a:pt x="4050" y="384"/>
                    </a:lnTo>
                    <a:lnTo>
                      <a:pt x="4050" y="381"/>
                    </a:lnTo>
                    <a:lnTo>
                      <a:pt x="4050" y="381"/>
                    </a:lnTo>
                    <a:lnTo>
                      <a:pt x="4050" y="327"/>
                    </a:lnTo>
                    <a:moveTo>
                      <a:pt x="2029" y="294"/>
                    </a:moveTo>
                    <a:lnTo>
                      <a:pt x="2026" y="294"/>
                    </a:lnTo>
                    <a:lnTo>
                      <a:pt x="2026" y="296"/>
                    </a:lnTo>
                    <a:lnTo>
                      <a:pt x="2026" y="296"/>
                    </a:lnTo>
                    <a:lnTo>
                      <a:pt x="2029" y="296"/>
                    </a:lnTo>
                    <a:lnTo>
                      <a:pt x="2029" y="294"/>
                    </a:lnTo>
                    <a:moveTo>
                      <a:pt x="4703" y="232"/>
                    </a:moveTo>
                    <a:lnTo>
                      <a:pt x="4703" y="232"/>
                    </a:lnTo>
                    <a:lnTo>
                      <a:pt x="4701" y="235"/>
                    </a:lnTo>
                    <a:lnTo>
                      <a:pt x="4642" y="457"/>
                    </a:lnTo>
                    <a:lnTo>
                      <a:pt x="4644" y="455"/>
                    </a:lnTo>
                    <a:lnTo>
                      <a:pt x="4703" y="232"/>
                    </a:lnTo>
                    <a:moveTo>
                      <a:pt x="4805" y="173"/>
                    </a:moveTo>
                    <a:lnTo>
                      <a:pt x="4802" y="173"/>
                    </a:lnTo>
                    <a:lnTo>
                      <a:pt x="4802" y="173"/>
                    </a:lnTo>
                    <a:lnTo>
                      <a:pt x="4802" y="175"/>
                    </a:lnTo>
                    <a:lnTo>
                      <a:pt x="4802" y="194"/>
                    </a:lnTo>
                    <a:lnTo>
                      <a:pt x="4805" y="194"/>
                    </a:lnTo>
                    <a:lnTo>
                      <a:pt x="4805" y="173"/>
                    </a:lnTo>
                    <a:moveTo>
                      <a:pt x="4852" y="0"/>
                    </a:moveTo>
                    <a:lnTo>
                      <a:pt x="4852" y="0"/>
                    </a:lnTo>
                    <a:lnTo>
                      <a:pt x="4852" y="3"/>
                    </a:lnTo>
                    <a:lnTo>
                      <a:pt x="4852" y="135"/>
                    </a:lnTo>
                    <a:lnTo>
                      <a:pt x="4852" y="135"/>
                    </a:lnTo>
                    <a:lnTo>
                      <a:pt x="4852" y="0"/>
                    </a:lnTo>
                    <a:moveTo>
                      <a:pt x="4911" y="0"/>
                    </a:moveTo>
                    <a:lnTo>
                      <a:pt x="4909" y="0"/>
                    </a:lnTo>
                    <a:lnTo>
                      <a:pt x="4909" y="135"/>
                    </a:lnTo>
                    <a:lnTo>
                      <a:pt x="4911" y="135"/>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1" name="Freeform 106"/>
              <p:cNvSpPr>
                <a:spLocks noEditPoints="1"/>
              </p:cNvSpPr>
              <p:nvPr/>
            </p:nvSpPr>
            <p:spPr bwMode="auto">
              <a:xfrm>
                <a:off x="11" y="1696"/>
                <a:ext cx="7025" cy="1657"/>
              </a:xfrm>
              <a:custGeom>
                <a:avLst/>
                <a:gdLst>
                  <a:gd name="T0" fmla="*/ 3 w 7025"/>
                  <a:gd name="T1" fmla="*/ 1498 h 1657"/>
                  <a:gd name="T2" fmla="*/ 5663 w 7025"/>
                  <a:gd name="T3" fmla="*/ 1413 h 1657"/>
                  <a:gd name="T4" fmla="*/ 3710 w 7025"/>
                  <a:gd name="T5" fmla="*/ 1221 h 1657"/>
                  <a:gd name="T6" fmla="*/ 3710 w 7025"/>
                  <a:gd name="T7" fmla="*/ 1356 h 1657"/>
                  <a:gd name="T8" fmla="*/ 5829 w 7025"/>
                  <a:gd name="T9" fmla="*/ 1212 h 1657"/>
                  <a:gd name="T10" fmla="*/ 1665 w 7025"/>
                  <a:gd name="T11" fmla="*/ 1158 h 1657"/>
                  <a:gd name="T12" fmla="*/ 1665 w 7025"/>
                  <a:gd name="T13" fmla="*/ 1158 h 1657"/>
                  <a:gd name="T14" fmla="*/ 1689 w 7025"/>
                  <a:gd name="T15" fmla="*/ 1134 h 1657"/>
                  <a:gd name="T16" fmla="*/ 5855 w 7025"/>
                  <a:gd name="T17" fmla="*/ 1129 h 1657"/>
                  <a:gd name="T18" fmla="*/ 5857 w 7025"/>
                  <a:gd name="T19" fmla="*/ 1184 h 1657"/>
                  <a:gd name="T20" fmla="*/ 6321 w 7025"/>
                  <a:gd name="T21" fmla="*/ 1129 h 1657"/>
                  <a:gd name="T22" fmla="*/ 1445 w 7025"/>
                  <a:gd name="T23" fmla="*/ 1127 h 1657"/>
                  <a:gd name="T24" fmla="*/ 1447 w 7025"/>
                  <a:gd name="T25" fmla="*/ 1127 h 1657"/>
                  <a:gd name="T26" fmla="*/ 1464 w 7025"/>
                  <a:gd name="T27" fmla="*/ 1110 h 1657"/>
                  <a:gd name="T28" fmla="*/ 2859 w 7025"/>
                  <a:gd name="T29" fmla="*/ 1063 h 1657"/>
                  <a:gd name="T30" fmla="*/ 2861 w 7025"/>
                  <a:gd name="T31" fmla="*/ 1063 h 1657"/>
                  <a:gd name="T32" fmla="*/ 5928 w 7025"/>
                  <a:gd name="T33" fmla="*/ 1094 h 1657"/>
                  <a:gd name="T34" fmla="*/ 2876 w 7025"/>
                  <a:gd name="T35" fmla="*/ 1013 h 1657"/>
                  <a:gd name="T36" fmla="*/ 2878 w 7025"/>
                  <a:gd name="T37" fmla="*/ 1013 h 1657"/>
                  <a:gd name="T38" fmla="*/ 3772 w 7025"/>
                  <a:gd name="T39" fmla="*/ 1188 h 1657"/>
                  <a:gd name="T40" fmla="*/ 5947 w 7025"/>
                  <a:gd name="T41" fmla="*/ 1025 h 1657"/>
                  <a:gd name="T42" fmla="*/ 6340 w 7025"/>
                  <a:gd name="T43" fmla="*/ 935 h 1657"/>
                  <a:gd name="T44" fmla="*/ 6340 w 7025"/>
                  <a:gd name="T45" fmla="*/ 1113 h 1657"/>
                  <a:gd name="T46" fmla="*/ 3843 w 7025"/>
                  <a:gd name="T47" fmla="*/ 928 h 1657"/>
                  <a:gd name="T48" fmla="*/ 6385 w 7025"/>
                  <a:gd name="T49" fmla="*/ 895 h 1657"/>
                  <a:gd name="T50" fmla="*/ 6385 w 7025"/>
                  <a:gd name="T51" fmla="*/ 899 h 1657"/>
                  <a:gd name="T52" fmla="*/ 6387 w 7025"/>
                  <a:gd name="T53" fmla="*/ 881 h 1657"/>
                  <a:gd name="T54" fmla="*/ 6389 w 7025"/>
                  <a:gd name="T55" fmla="*/ 878 h 1657"/>
                  <a:gd name="T56" fmla="*/ 6396 w 7025"/>
                  <a:gd name="T57" fmla="*/ 871 h 1657"/>
                  <a:gd name="T58" fmla="*/ 804 w 7025"/>
                  <a:gd name="T59" fmla="*/ 828 h 1657"/>
                  <a:gd name="T60" fmla="*/ 3100 w 7025"/>
                  <a:gd name="T61" fmla="*/ 762 h 1657"/>
                  <a:gd name="T62" fmla="*/ 3100 w 7025"/>
                  <a:gd name="T63" fmla="*/ 762 h 1657"/>
                  <a:gd name="T64" fmla="*/ 1010 w 7025"/>
                  <a:gd name="T65" fmla="*/ 793 h 1657"/>
                  <a:gd name="T66" fmla="*/ 5131 w 7025"/>
                  <a:gd name="T67" fmla="*/ 937 h 1657"/>
                  <a:gd name="T68" fmla="*/ 3138 w 7025"/>
                  <a:gd name="T69" fmla="*/ 658 h 1657"/>
                  <a:gd name="T70" fmla="*/ 95 w 7025"/>
                  <a:gd name="T71" fmla="*/ 618 h 1657"/>
                  <a:gd name="T72" fmla="*/ 5254 w 7025"/>
                  <a:gd name="T73" fmla="*/ 611 h 1657"/>
                  <a:gd name="T74" fmla="*/ 5254 w 7025"/>
                  <a:gd name="T75" fmla="*/ 611 h 1657"/>
                  <a:gd name="T76" fmla="*/ 3280 w 7025"/>
                  <a:gd name="T77" fmla="*/ 622 h 1657"/>
                  <a:gd name="T78" fmla="*/ 301 w 7025"/>
                  <a:gd name="T79" fmla="*/ 549 h 1657"/>
                  <a:gd name="T80" fmla="*/ 7023 w 7025"/>
                  <a:gd name="T81" fmla="*/ 509 h 1657"/>
                  <a:gd name="T82" fmla="*/ 4193 w 7025"/>
                  <a:gd name="T83" fmla="*/ 504 h 1657"/>
                  <a:gd name="T84" fmla="*/ 4193 w 7025"/>
                  <a:gd name="T85" fmla="*/ 504 h 1657"/>
                  <a:gd name="T86" fmla="*/ 3299 w 7025"/>
                  <a:gd name="T87" fmla="*/ 566 h 1657"/>
                  <a:gd name="T88" fmla="*/ 4037 w 7025"/>
                  <a:gd name="T89" fmla="*/ 454 h 1657"/>
                  <a:gd name="T90" fmla="*/ 3954 w 7025"/>
                  <a:gd name="T91" fmla="*/ 644 h 1657"/>
                  <a:gd name="T92" fmla="*/ 4037 w 7025"/>
                  <a:gd name="T93" fmla="*/ 454 h 1657"/>
                  <a:gd name="T94" fmla="*/ 3327 w 7025"/>
                  <a:gd name="T95" fmla="*/ 473 h 1657"/>
                  <a:gd name="T96" fmla="*/ 4041 w 7025"/>
                  <a:gd name="T97" fmla="*/ 390 h 1657"/>
                  <a:gd name="T98" fmla="*/ 4041 w 7025"/>
                  <a:gd name="T99" fmla="*/ 447 h 1657"/>
                  <a:gd name="T100" fmla="*/ 1807 w 7025"/>
                  <a:gd name="T101" fmla="*/ 372 h 1657"/>
                  <a:gd name="T102" fmla="*/ 4048 w 7025"/>
                  <a:gd name="T103" fmla="*/ 327 h 1657"/>
                  <a:gd name="T104" fmla="*/ 4051 w 7025"/>
                  <a:gd name="T105" fmla="*/ 381 h 1657"/>
                  <a:gd name="T106" fmla="*/ 2027 w 7025"/>
                  <a:gd name="T107" fmla="*/ 298 h 1657"/>
                  <a:gd name="T108" fmla="*/ 4701 w 7025"/>
                  <a:gd name="T109" fmla="*/ 234 h 1657"/>
                  <a:gd name="T110" fmla="*/ 4803 w 7025"/>
                  <a:gd name="T111" fmla="*/ 173 h 1657"/>
                  <a:gd name="T112" fmla="*/ 4803 w 7025"/>
                  <a:gd name="T113" fmla="*/ 173 h 1657"/>
                  <a:gd name="T114" fmla="*/ 4852 w 7025"/>
                  <a:gd name="T115" fmla="*/ 137 h 1657"/>
                  <a:gd name="T116" fmla="*/ 4909 w 7025"/>
                  <a:gd name="T117" fmla="*/ 1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57">
                    <a:moveTo>
                      <a:pt x="3" y="1454"/>
                    </a:moveTo>
                    <a:lnTo>
                      <a:pt x="0" y="1454"/>
                    </a:lnTo>
                    <a:lnTo>
                      <a:pt x="0" y="1456"/>
                    </a:lnTo>
                    <a:lnTo>
                      <a:pt x="0" y="1498"/>
                    </a:lnTo>
                    <a:lnTo>
                      <a:pt x="3" y="1498"/>
                    </a:lnTo>
                    <a:lnTo>
                      <a:pt x="3" y="1454"/>
                    </a:lnTo>
                    <a:close/>
                    <a:moveTo>
                      <a:pt x="5666" y="1326"/>
                    </a:moveTo>
                    <a:lnTo>
                      <a:pt x="5663" y="1326"/>
                    </a:lnTo>
                    <a:lnTo>
                      <a:pt x="5663" y="1328"/>
                    </a:lnTo>
                    <a:lnTo>
                      <a:pt x="5663" y="1413"/>
                    </a:lnTo>
                    <a:lnTo>
                      <a:pt x="5666" y="1413"/>
                    </a:lnTo>
                    <a:lnTo>
                      <a:pt x="5666" y="1326"/>
                    </a:lnTo>
                    <a:close/>
                    <a:moveTo>
                      <a:pt x="3710" y="1221"/>
                    </a:moveTo>
                    <a:lnTo>
                      <a:pt x="3710" y="1221"/>
                    </a:lnTo>
                    <a:lnTo>
                      <a:pt x="3710" y="1221"/>
                    </a:lnTo>
                    <a:lnTo>
                      <a:pt x="3710" y="1224"/>
                    </a:lnTo>
                    <a:lnTo>
                      <a:pt x="3710" y="1281"/>
                    </a:lnTo>
                    <a:lnTo>
                      <a:pt x="3710" y="1281"/>
                    </a:lnTo>
                    <a:lnTo>
                      <a:pt x="3710" y="1356"/>
                    </a:lnTo>
                    <a:lnTo>
                      <a:pt x="3710" y="1356"/>
                    </a:lnTo>
                    <a:lnTo>
                      <a:pt x="3710" y="1221"/>
                    </a:lnTo>
                    <a:close/>
                    <a:moveTo>
                      <a:pt x="5831" y="1210"/>
                    </a:moveTo>
                    <a:lnTo>
                      <a:pt x="5831" y="1210"/>
                    </a:lnTo>
                    <a:lnTo>
                      <a:pt x="5829" y="1210"/>
                    </a:lnTo>
                    <a:lnTo>
                      <a:pt x="5829" y="1212"/>
                    </a:lnTo>
                    <a:lnTo>
                      <a:pt x="5829" y="1290"/>
                    </a:lnTo>
                    <a:lnTo>
                      <a:pt x="5831" y="1290"/>
                    </a:lnTo>
                    <a:lnTo>
                      <a:pt x="5831" y="1210"/>
                    </a:lnTo>
                    <a:close/>
                    <a:moveTo>
                      <a:pt x="1665" y="1158"/>
                    </a:moveTo>
                    <a:lnTo>
                      <a:pt x="1665" y="1158"/>
                    </a:lnTo>
                    <a:lnTo>
                      <a:pt x="1665" y="1158"/>
                    </a:lnTo>
                    <a:lnTo>
                      <a:pt x="1665" y="1160"/>
                    </a:lnTo>
                    <a:lnTo>
                      <a:pt x="1665" y="1165"/>
                    </a:lnTo>
                    <a:lnTo>
                      <a:pt x="1665" y="1165"/>
                    </a:lnTo>
                    <a:lnTo>
                      <a:pt x="1665" y="1158"/>
                    </a:lnTo>
                    <a:close/>
                    <a:moveTo>
                      <a:pt x="1689" y="1132"/>
                    </a:moveTo>
                    <a:lnTo>
                      <a:pt x="1686" y="1132"/>
                    </a:lnTo>
                    <a:lnTo>
                      <a:pt x="1686" y="1134"/>
                    </a:lnTo>
                    <a:lnTo>
                      <a:pt x="1686" y="1134"/>
                    </a:lnTo>
                    <a:lnTo>
                      <a:pt x="1689" y="1134"/>
                    </a:lnTo>
                    <a:lnTo>
                      <a:pt x="1689" y="1134"/>
                    </a:lnTo>
                    <a:lnTo>
                      <a:pt x="1689" y="1134"/>
                    </a:lnTo>
                    <a:lnTo>
                      <a:pt x="1689" y="1132"/>
                    </a:lnTo>
                    <a:close/>
                    <a:moveTo>
                      <a:pt x="5857" y="1129"/>
                    </a:moveTo>
                    <a:lnTo>
                      <a:pt x="5855" y="1129"/>
                    </a:lnTo>
                    <a:lnTo>
                      <a:pt x="5855" y="1129"/>
                    </a:lnTo>
                    <a:lnTo>
                      <a:pt x="5855" y="1186"/>
                    </a:lnTo>
                    <a:lnTo>
                      <a:pt x="5855" y="1186"/>
                    </a:lnTo>
                    <a:lnTo>
                      <a:pt x="5855" y="1184"/>
                    </a:lnTo>
                    <a:lnTo>
                      <a:pt x="5857" y="1184"/>
                    </a:lnTo>
                    <a:lnTo>
                      <a:pt x="5857" y="1129"/>
                    </a:lnTo>
                    <a:close/>
                    <a:moveTo>
                      <a:pt x="6323" y="1129"/>
                    </a:moveTo>
                    <a:lnTo>
                      <a:pt x="6321" y="1129"/>
                    </a:lnTo>
                    <a:lnTo>
                      <a:pt x="6321" y="1129"/>
                    </a:lnTo>
                    <a:lnTo>
                      <a:pt x="6321" y="1129"/>
                    </a:lnTo>
                    <a:lnTo>
                      <a:pt x="6321" y="1174"/>
                    </a:lnTo>
                    <a:lnTo>
                      <a:pt x="6323" y="1174"/>
                    </a:lnTo>
                    <a:lnTo>
                      <a:pt x="6323" y="1129"/>
                    </a:lnTo>
                    <a:close/>
                    <a:moveTo>
                      <a:pt x="1447" y="1127"/>
                    </a:moveTo>
                    <a:lnTo>
                      <a:pt x="1445" y="1127"/>
                    </a:lnTo>
                    <a:lnTo>
                      <a:pt x="1445" y="1127"/>
                    </a:lnTo>
                    <a:lnTo>
                      <a:pt x="1445" y="1127"/>
                    </a:lnTo>
                    <a:lnTo>
                      <a:pt x="1445" y="1165"/>
                    </a:lnTo>
                    <a:lnTo>
                      <a:pt x="1447" y="1165"/>
                    </a:lnTo>
                    <a:lnTo>
                      <a:pt x="1447" y="1127"/>
                    </a:lnTo>
                    <a:close/>
                    <a:moveTo>
                      <a:pt x="1464" y="1084"/>
                    </a:moveTo>
                    <a:lnTo>
                      <a:pt x="1462" y="1084"/>
                    </a:lnTo>
                    <a:lnTo>
                      <a:pt x="1462" y="1087"/>
                    </a:lnTo>
                    <a:lnTo>
                      <a:pt x="1462" y="1110"/>
                    </a:lnTo>
                    <a:lnTo>
                      <a:pt x="1464" y="1110"/>
                    </a:lnTo>
                    <a:lnTo>
                      <a:pt x="1464" y="1108"/>
                    </a:lnTo>
                    <a:lnTo>
                      <a:pt x="1464" y="1108"/>
                    </a:lnTo>
                    <a:lnTo>
                      <a:pt x="1464" y="1084"/>
                    </a:lnTo>
                    <a:close/>
                    <a:moveTo>
                      <a:pt x="2861" y="1063"/>
                    </a:moveTo>
                    <a:lnTo>
                      <a:pt x="2859" y="1063"/>
                    </a:lnTo>
                    <a:lnTo>
                      <a:pt x="2859" y="1063"/>
                    </a:lnTo>
                    <a:lnTo>
                      <a:pt x="2859" y="1065"/>
                    </a:lnTo>
                    <a:lnTo>
                      <a:pt x="2859" y="1205"/>
                    </a:lnTo>
                    <a:lnTo>
                      <a:pt x="2861" y="1205"/>
                    </a:lnTo>
                    <a:lnTo>
                      <a:pt x="2861" y="1063"/>
                    </a:lnTo>
                    <a:close/>
                    <a:moveTo>
                      <a:pt x="5931" y="1042"/>
                    </a:moveTo>
                    <a:lnTo>
                      <a:pt x="5931" y="1042"/>
                    </a:lnTo>
                    <a:lnTo>
                      <a:pt x="5928" y="1042"/>
                    </a:lnTo>
                    <a:lnTo>
                      <a:pt x="5928" y="1044"/>
                    </a:lnTo>
                    <a:lnTo>
                      <a:pt x="5928" y="1094"/>
                    </a:lnTo>
                    <a:lnTo>
                      <a:pt x="5931" y="1094"/>
                    </a:lnTo>
                    <a:lnTo>
                      <a:pt x="5931" y="1042"/>
                    </a:lnTo>
                    <a:close/>
                    <a:moveTo>
                      <a:pt x="2878" y="1013"/>
                    </a:moveTo>
                    <a:lnTo>
                      <a:pt x="2876" y="1013"/>
                    </a:lnTo>
                    <a:lnTo>
                      <a:pt x="2876" y="1013"/>
                    </a:lnTo>
                    <a:lnTo>
                      <a:pt x="2876" y="1046"/>
                    </a:lnTo>
                    <a:lnTo>
                      <a:pt x="2878" y="1046"/>
                    </a:lnTo>
                    <a:lnTo>
                      <a:pt x="2878" y="1044"/>
                    </a:lnTo>
                    <a:lnTo>
                      <a:pt x="2878" y="1044"/>
                    </a:lnTo>
                    <a:lnTo>
                      <a:pt x="2878" y="1013"/>
                    </a:lnTo>
                    <a:close/>
                    <a:moveTo>
                      <a:pt x="3772" y="994"/>
                    </a:moveTo>
                    <a:lnTo>
                      <a:pt x="3769" y="994"/>
                    </a:lnTo>
                    <a:lnTo>
                      <a:pt x="3769" y="997"/>
                    </a:lnTo>
                    <a:lnTo>
                      <a:pt x="3769" y="1188"/>
                    </a:lnTo>
                    <a:lnTo>
                      <a:pt x="3772" y="1188"/>
                    </a:lnTo>
                    <a:lnTo>
                      <a:pt x="3772" y="994"/>
                    </a:lnTo>
                    <a:close/>
                    <a:moveTo>
                      <a:pt x="5949" y="989"/>
                    </a:moveTo>
                    <a:lnTo>
                      <a:pt x="5947" y="989"/>
                    </a:lnTo>
                    <a:lnTo>
                      <a:pt x="5947" y="992"/>
                    </a:lnTo>
                    <a:lnTo>
                      <a:pt x="5947" y="1025"/>
                    </a:lnTo>
                    <a:lnTo>
                      <a:pt x="5947" y="1025"/>
                    </a:lnTo>
                    <a:lnTo>
                      <a:pt x="5947" y="1023"/>
                    </a:lnTo>
                    <a:lnTo>
                      <a:pt x="5949" y="1023"/>
                    </a:lnTo>
                    <a:lnTo>
                      <a:pt x="5949" y="989"/>
                    </a:lnTo>
                    <a:close/>
                    <a:moveTo>
                      <a:pt x="6340" y="935"/>
                    </a:moveTo>
                    <a:lnTo>
                      <a:pt x="6340" y="935"/>
                    </a:lnTo>
                    <a:lnTo>
                      <a:pt x="6337" y="935"/>
                    </a:lnTo>
                    <a:lnTo>
                      <a:pt x="6337" y="937"/>
                    </a:lnTo>
                    <a:lnTo>
                      <a:pt x="6337" y="1113"/>
                    </a:lnTo>
                    <a:lnTo>
                      <a:pt x="6340" y="1113"/>
                    </a:lnTo>
                    <a:lnTo>
                      <a:pt x="6340" y="1110"/>
                    </a:lnTo>
                    <a:lnTo>
                      <a:pt x="6340" y="1110"/>
                    </a:lnTo>
                    <a:lnTo>
                      <a:pt x="6340" y="935"/>
                    </a:lnTo>
                    <a:close/>
                    <a:moveTo>
                      <a:pt x="3845" y="928"/>
                    </a:moveTo>
                    <a:lnTo>
                      <a:pt x="3843" y="928"/>
                    </a:lnTo>
                    <a:lnTo>
                      <a:pt x="3843" y="930"/>
                    </a:lnTo>
                    <a:lnTo>
                      <a:pt x="3843" y="959"/>
                    </a:lnTo>
                    <a:lnTo>
                      <a:pt x="3845" y="959"/>
                    </a:lnTo>
                    <a:lnTo>
                      <a:pt x="3845" y="928"/>
                    </a:lnTo>
                    <a:close/>
                    <a:moveTo>
                      <a:pt x="6385" y="895"/>
                    </a:moveTo>
                    <a:lnTo>
                      <a:pt x="6385" y="895"/>
                    </a:lnTo>
                    <a:lnTo>
                      <a:pt x="6385" y="895"/>
                    </a:lnTo>
                    <a:lnTo>
                      <a:pt x="6382" y="897"/>
                    </a:lnTo>
                    <a:lnTo>
                      <a:pt x="6382" y="899"/>
                    </a:lnTo>
                    <a:lnTo>
                      <a:pt x="6385" y="899"/>
                    </a:lnTo>
                    <a:lnTo>
                      <a:pt x="6385" y="895"/>
                    </a:lnTo>
                    <a:close/>
                    <a:moveTo>
                      <a:pt x="6389" y="878"/>
                    </a:moveTo>
                    <a:lnTo>
                      <a:pt x="6389" y="878"/>
                    </a:lnTo>
                    <a:lnTo>
                      <a:pt x="6387" y="878"/>
                    </a:lnTo>
                    <a:lnTo>
                      <a:pt x="6387" y="881"/>
                    </a:lnTo>
                    <a:lnTo>
                      <a:pt x="6387" y="892"/>
                    </a:lnTo>
                    <a:lnTo>
                      <a:pt x="6389" y="892"/>
                    </a:lnTo>
                    <a:lnTo>
                      <a:pt x="6389" y="890"/>
                    </a:lnTo>
                    <a:lnTo>
                      <a:pt x="6389" y="890"/>
                    </a:lnTo>
                    <a:lnTo>
                      <a:pt x="6389" y="878"/>
                    </a:lnTo>
                    <a:close/>
                    <a:moveTo>
                      <a:pt x="6399" y="850"/>
                    </a:moveTo>
                    <a:lnTo>
                      <a:pt x="6396" y="850"/>
                    </a:lnTo>
                    <a:lnTo>
                      <a:pt x="6396" y="852"/>
                    </a:lnTo>
                    <a:lnTo>
                      <a:pt x="6396" y="871"/>
                    </a:lnTo>
                    <a:lnTo>
                      <a:pt x="6396" y="871"/>
                    </a:lnTo>
                    <a:lnTo>
                      <a:pt x="6396" y="869"/>
                    </a:lnTo>
                    <a:lnTo>
                      <a:pt x="6399" y="869"/>
                    </a:lnTo>
                    <a:lnTo>
                      <a:pt x="6399" y="850"/>
                    </a:lnTo>
                    <a:close/>
                    <a:moveTo>
                      <a:pt x="804" y="828"/>
                    </a:moveTo>
                    <a:lnTo>
                      <a:pt x="804" y="828"/>
                    </a:lnTo>
                    <a:lnTo>
                      <a:pt x="804" y="1034"/>
                    </a:lnTo>
                    <a:lnTo>
                      <a:pt x="804" y="1034"/>
                    </a:lnTo>
                    <a:lnTo>
                      <a:pt x="804" y="828"/>
                    </a:lnTo>
                    <a:close/>
                    <a:moveTo>
                      <a:pt x="3100" y="762"/>
                    </a:moveTo>
                    <a:lnTo>
                      <a:pt x="3100" y="762"/>
                    </a:lnTo>
                    <a:lnTo>
                      <a:pt x="3098" y="762"/>
                    </a:lnTo>
                    <a:lnTo>
                      <a:pt x="3098" y="765"/>
                    </a:lnTo>
                    <a:lnTo>
                      <a:pt x="3098" y="944"/>
                    </a:lnTo>
                    <a:lnTo>
                      <a:pt x="3100" y="944"/>
                    </a:lnTo>
                    <a:lnTo>
                      <a:pt x="3100" y="762"/>
                    </a:lnTo>
                    <a:close/>
                    <a:moveTo>
                      <a:pt x="1010" y="753"/>
                    </a:moveTo>
                    <a:lnTo>
                      <a:pt x="1008" y="753"/>
                    </a:lnTo>
                    <a:lnTo>
                      <a:pt x="1008" y="755"/>
                    </a:lnTo>
                    <a:lnTo>
                      <a:pt x="1008" y="793"/>
                    </a:lnTo>
                    <a:lnTo>
                      <a:pt x="1010" y="793"/>
                    </a:lnTo>
                    <a:lnTo>
                      <a:pt x="1010" y="753"/>
                    </a:lnTo>
                    <a:close/>
                    <a:moveTo>
                      <a:pt x="5131" y="731"/>
                    </a:moveTo>
                    <a:lnTo>
                      <a:pt x="5131" y="731"/>
                    </a:lnTo>
                    <a:lnTo>
                      <a:pt x="5131" y="734"/>
                    </a:lnTo>
                    <a:lnTo>
                      <a:pt x="5131" y="937"/>
                    </a:lnTo>
                    <a:lnTo>
                      <a:pt x="5131" y="937"/>
                    </a:lnTo>
                    <a:lnTo>
                      <a:pt x="5131" y="731"/>
                    </a:lnTo>
                    <a:close/>
                    <a:moveTo>
                      <a:pt x="3138" y="658"/>
                    </a:moveTo>
                    <a:lnTo>
                      <a:pt x="3138" y="658"/>
                    </a:lnTo>
                    <a:lnTo>
                      <a:pt x="3138" y="658"/>
                    </a:lnTo>
                    <a:lnTo>
                      <a:pt x="3138" y="727"/>
                    </a:lnTo>
                    <a:lnTo>
                      <a:pt x="3138" y="727"/>
                    </a:lnTo>
                    <a:lnTo>
                      <a:pt x="3138" y="658"/>
                    </a:lnTo>
                    <a:close/>
                    <a:moveTo>
                      <a:pt x="97" y="618"/>
                    </a:moveTo>
                    <a:lnTo>
                      <a:pt x="95" y="618"/>
                    </a:lnTo>
                    <a:lnTo>
                      <a:pt x="95" y="618"/>
                    </a:lnTo>
                    <a:lnTo>
                      <a:pt x="95" y="1418"/>
                    </a:lnTo>
                    <a:lnTo>
                      <a:pt x="97" y="1418"/>
                    </a:lnTo>
                    <a:lnTo>
                      <a:pt x="97" y="618"/>
                    </a:lnTo>
                    <a:close/>
                    <a:moveTo>
                      <a:pt x="5254" y="611"/>
                    </a:moveTo>
                    <a:lnTo>
                      <a:pt x="5252" y="611"/>
                    </a:lnTo>
                    <a:lnTo>
                      <a:pt x="5252" y="611"/>
                    </a:lnTo>
                    <a:lnTo>
                      <a:pt x="5252" y="696"/>
                    </a:lnTo>
                    <a:lnTo>
                      <a:pt x="5254" y="696"/>
                    </a:lnTo>
                    <a:lnTo>
                      <a:pt x="5254" y="611"/>
                    </a:lnTo>
                    <a:close/>
                    <a:moveTo>
                      <a:pt x="3282" y="582"/>
                    </a:moveTo>
                    <a:lnTo>
                      <a:pt x="3282" y="582"/>
                    </a:lnTo>
                    <a:lnTo>
                      <a:pt x="3280" y="582"/>
                    </a:lnTo>
                    <a:lnTo>
                      <a:pt x="3280" y="585"/>
                    </a:lnTo>
                    <a:lnTo>
                      <a:pt x="3280" y="622"/>
                    </a:lnTo>
                    <a:lnTo>
                      <a:pt x="3282" y="622"/>
                    </a:lnTo>
                    <a:lnTo>
                      <a:pt x="3282" y="582"/>
                    </a:lnTo>
                    <a:close/>
                    <a:moveTo>
                      <a:pt x="303" y="547"/>
                    </a:moveTo>
                    <a:lnTo>
                      <a:pt x="301" y="547"/>
                    </a:lnTo>
                    <a:lnTo>
                      <a:pt x="301" y="549"/>
                    </a:lnTo>
                    <a:lnTo>
                      <a:pt x="301" y="582"/>
                    </a:lnTo>
                    <a:lnTo>
                      <a:pt x="303" y="582"/>
                    </a:lnTo>
                    <a:lnTo>
                      <a:pt x="303" y="547"/>
                    </a:lnTo>
                    <a:close/>
                    <a:moveTo>
                      <a:pt x="7025" y="509"/>
                    </a:moveTo>
                    <a:lnTo>
                      <a:pt x="7023" y="509"/>
                    </a:lnTo>
                    <a:lnTo>
                      <a:pt x="7023" y="511"/>
                    </a:lnTo>
                    <a:lnTo>
                      <a:pt x="7023" y="1657"/>
                    </a:lnTo>
                    <a:lnTo>
                      <a:pt x="7025" y="1657"/>
                    </a:lnTo>
                    <a:lnTo>
                      <a:pt x="7025" y="509"/>
                    </a:lnTo>
                    <a:close/>
                    <a:moveTo>
                      <a:pt x="4193" y="504"/>
                    </a:moveTo>
                    <a:lnTo>
                      <a:pt x="4193" y="504"/>
                    </a:lnTo>
                    <a:lnTo>
                      <a:pt x="4193" y="504"/>
                    </a:lnTo>
                    <a:lnTo>
                      <a:pt x="4152" y="561"/>
                    </a:lnTo>
                    <a:lnTo>
                      <a:pt x="4152" y="561"/>
                    </a:lnTo>
                    <a:lnTo>
                      <a:pt x="4193" y="504"/>
                    </a:lnTo>
                    <a:close/>
                    <a:moveTo>
                      <a:pt x="3301" y="502"/>
                    </a:moveTo>
                    <a:lnTo>
                      <a:pt x="3299" y="502"/>
                    </a:lnTo>
                    <a:lnTo>
                      <a:pt x="3299" y="502"/>
                    </a:lnTo>
                    <a:lnTo>
                      <a:pt x="3299" y="504"/>
                    </a:lnTo>
                    <a:lnTo>
                      <a:pt x="3299" y="566"/>
                    </a:lnTo>
                    <a:lnTo>
                      <a:pt x="3299" y="566"/>
                    </a:lnTo>
                    <a:lnTo>
                      <a:pt x="3299" y="563"/>
                    </a:lnTo>
                    <a:lnTo>
                      <a:pt x="3301" y="563"/>
                    </a:lnTo>
                    <a:lnTo>
                      <a:pt x="3301" y="502"/>
                    </a:lnTo>
                    <a:close/>
                    <a:moveTo>
                      <a:pt x="4037" y="454"/>
                    </a:moveTo>
                    <a:lnTo>
                      <a:pt x="4034" y="454"/>
                    </a:lnTo>
                    <a:lnTo>
                      <a:pt x="4034" y="454"/>
                    </a:lnTo>
                    <a:lnTo>
                      <a:pt x="4034" y="457"/>
                    </a:lnTo>
                    <a:lnTo>
                      <a:pt x="4034" y="492"/>
                    </a:lnTo>
                    <a:lnTo>
                      <a:pt x="3954" y="644"/>
                    </a:lnTo>
                    <a:lnTo>
                      <a:pt x="3954" y="892"/>
                    </a:lnTo>
                    <a:lnTo>
                      <a:pt x="3954" y="892"/>
                    </a:lnTo>
                    <a:lnTo>
                      <a:pt x="3954" y="641"/>
                    </a:lnTo>
                    <a:lnTo>
                      <a:pt x="4037" y="490"/>
                    </a:lnTo>
                    <a:lnTo>
                      <a:pt x="4037" y="454"/>
                    </a:lnTo>
                    <a:close/>
                    <a:moveTo>
                      <a:pt x="3330" y="433"/>
                    </a:moveTo>
                    <a:lnTo>
                      <a:pt x="3327" y="433"/>
                    </a:lnTo>
                    <a:lnTo>
                      <a:pt x="3327" y="435"/>
                    </a:lnTo>
                    <a:lnTo>
                      <a:pt x="3327" y="473"/>
                    </a:lnTo>
                    <a:lnTo>
                      <a:pt x="3327" y="473"/>
                    </a:lnTo>
                    <a:lnTo>
                      <a:pt x="3327" y="471"/>
                    </a:lnTo>
                    <a:lnTo>
                      <a:pt x="3330" y="471"/>
                    </a:lnTo>
                    <a:lnTo>
                      <a:pt x="3330" y="433"/>
                    </a:lnTo>
                    <a:close/>
                    <a:moveTo>
                      <a:pt x="4041" y="390"/>
                    </a:moveTo>
                    <a:lnTo>
                      <a:pt x="4041" y="390"/>
                    </a:lnTo>
                    <a:lnTo>
                      <a:pt x="4041" y="390"/>
                    </a:lnTo>
                    <a:lnTo>
                      <a:pt x="4041" y="393"/>
                    </a:lnTo>
                    <a:lnTo>
                      <a:pt x="4041" y="450"/>
                    </a:lnTo>
                    <a:lnTo>
                      <a:pt x="4041" y="450"/>
                    </a:lnTo>
                    <a:lnTo>
                      <a:pt x="4041" y="447"/>
                    </a:lnTo>
                    <a:lnTo>
                      <a:pt x="4041" y="447"/>
                    </a:lnTo>
                    <a:lnTo>
                      <a:pt x="4041" y="390"/>
                    </a:lnTo>
                    <a:close/>
                    <a:moveTo>
                      <a:pt x="1809" y="369"/>
                    </a:moveTo>
                    <a:lnTo>
                      <a:pt x="1807" y="369"/>
                    </a:lnTo>
                    <a:lnTo>
                      <a:pt x="1807" y="372"/>
                    </a:lnTo>
                    <a:lnTo>
                      <a:pt x="1807" y="1096"/>
                    </a:lnTo>
                    <a:lnTo>
                      <a:pt x="1809" y="1096"/>
                    </a:lnTo>
                    <a:lnTo>
                      <a:pt x="1809" y="369"/>
                    </a:lnTo>
                    <a:close/>
                    <a:moveTo>
                      <a:pt x="4051" y="327"/>
                    </a:moveTo>
                    <a:lnTo>
                      <a:pt x="4048" y="327"/>
                    </a:lnTo>
                    <a:lnTo>
                      <a:pt x="4048" y="329"/>
                    </a:lnTo>
                    <a:lnTo>
                      <a:pt x="4048" y="383"/>
                    </a:lnTo>
                    <a:lnTo>
                      <a:pt x="4051" y="383"/>
                    </a:lnTo>
                    <a:lnTo>
                      <a:pt x="4051" y="381"/>
                    </a:lnTo>
                    <a:lnTo>
                      <a:pt x="4051" y="381"/>
                    </a:lnTo>
                    <a:lnTo>
                      <a:pt x="4051" y="327"/>
                    </a:lnTo>
                    <a:close/>
                    <a:moveTo>
                      <a:pt x="2029" y="293"/>
                    </a:moveTo>
                    <a:lnTo>
                      <a:pt x="2027" y="293"/>
                    </a:lnTo>
                    <a:lnTo>
                      <a:pt x="2027" y="296"/>
                    </a:lnTo>
                    <a:lnTo>
                      <a:pt x="2027" y="298"/>
                    </a:lnTo>
                    <a:lnTo>
                      <a:pt x="2029" y="298"/>
                    </a:lnTo>
                    <a:lnTo>
                      <a:pt x="2029" y="293"/>
                    </a:lnTo>
                    <a:close/>
                    <a:moveTo>
                      <a:pt x="4703" y="232"/>
                    </a:moveTo>
                    <a:lnTo>
                      <a:pt x="4701" y="232"/>
                    </a:lnTo>
                    <a:lnTo>
                      <a:pt x="4701" y="234"/>
                    </a:lnTo>
                    <a:lnTo>
                      <a:pt x="4642" y="457"/>
                    </a:lnTo>
                    <a:lnTo>
                      <a:pt x="4642" y="457"/>
                    </a:lnTo>
                    <a:lnTo>
                      <a:pt x="4703" y="232"/>
                    </a:lnTo>
                    <a:close/>
                    <a:moveTo>
                      <a:pt x="4803" y="173"/>
                    </a:moveTo>
                    <a:lnTo>
                      <a:pt x="4803" y="173"/>
                    </a:lnTo>
                    <a:lnTo>
                      <a:pt x="4803" y="173"/>
                    </a:lnTo>
                    <a:lnTo>
                      <a:pt x="4803" y="175"/>
                    </a:lnTo>
                    <a:lnTo>
                      <a:pt x="4803" y="196"/>
                    </a:lnTo>
                    <a:lnTo>
                      <a:pt x="4803" y="196"/>
                    </a:lnTo>
                    <a:lnTo>
                      <a:pt x="4803" y="173"/>
                    </a:lnTo>
                    <a:close/>
                    <a:moveTo>
                      <a:pt x="4852" y="0"/>
                    </a:moveTo>
                    <a:lnTo>
                      <a:pt x="4850" y="0"/>
                    </a:lnTo>
                    <a:lnTo>
                      <a:pt x="4850" y="2"/>
                    </a:lnTo>
                    <a:lnTo>
                      <a:pt x="4850" y="137"/>
                    </a:lnTo>
                    <a:lnTo>
                      <a:pt x="4852" y="137"/>
                    </a:lnTo>
                    <a:lnTo>
                      <a:pt x="4852" y="0"/>
                    </a:lnTo>
                    <a:close/>
                    <a:moveTo>
                      <a:pt x="4911" y="0"/>
                    </a:moveTo>
                    <a:lnTo>
                      <a:pt x="4909" y="0"/>
                    </a:lnTo>
                    <a:lnTo>
                      <a:pt x="4909" y="2"/>
                    </a:lnTo>
                    <a:lnTo>
                      <a:pt x="4909" y="137"/>
                    </a:lnTo>
                    <a:lnTo>
                      <a:pt x="4911" y="137"/>
                    </a:lnTo>
                    <a:lnTo>
                      <a:pt x="491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2" name="Freeform 107"/>
              <p:cNvSpPr>
                <a:spLocks noEditPoints="1"/>
              </p:cNvSpPr>
              <p:nvPr/>
            </p:nvSpPr>
            <p:spPr bwMode="auto">
              <a:xfrm>
                <a:off x="11" y="1696"/>
                <a:ext cx="7025" cy="1657"/>
              </a:xfrm>
              <a:custGeom>
                <a:avLst/>
                <a:gdLst>
                  <a:gd name="T0" fmla="*/ 3 w 7025"/>
                  <a:gd name="T1" fmla="*/ 1498 h 1657"/>
                  <a:gd name="T2" fmla="*/ 5663 w 7025"/>
                  <a:gd name="T3" fmla="*/ 1413 h 1657"/>
                  <a:gd name="T4" fmla="*/ 3710 w 7025"/>
                  <a:gd name="T5" fmla="*/ 1221 h 1657"/>
                  <a:gd name="T6" fmla="*/ 3710 w 7025"/>
                  <a:gd name="T7" fmla="*/ 1356 h 1657"/>
                  <a:gd name="T8" fmla="*/ 5829 w 7025"/>
                  <a:gd name="T9" fmla="*/ 1212 h 1657"/>
                  <a:gd name="T10" fmla="*/ 1665 w 7025"/>
                  <a:gd name="T11" fmla="*/ 1158 h 1657"/>
                  <a:gd name="T12" fmla="*/ 1665 w 7025"/>
                  <a:gd name="T13" fmla="*/ 1158 h 1657"/>
                  <a:gd name="T14" fmla="*/ 1689 w 7025"/>
                  <a:gd name="T15" fmla="*/ 1134 h 1657"/>
                  <a:gd name="T16" fmla="*/ 5855 w 7025"/>
                  <a:gd name="T17" fmla="*/ 1129 h 1657"/>
                  <a:gd name="T18" fmla="*/ 5857 w 7025"/>
                  <a:gd name="T19" fmla="*/ 1184 h 1657"/>
                  <a:gd name="T20" fmla="*/ 6321 w 7025"/>
                  <a:gd name="T21" fmla="*/ 1129 h 1657"/>
                  <a:gd name="T22" fmla="*/ 1445 w 7025"/>
                  <a:gd name="T23" fmla="*/ 1127 h 1657"/>
                  <a:gd name="T24" fmla="*/ 1447 w 7025"/>
                  <a:gd name="T25" fmla="*/ 1127 h 1657"/>
                  <a:gd name="T26" fmla="*/ 1464 w 7025"/>
                  <a:gd name="T27" fmla="*/ 1110 h 1657"/>
                  <a:gd name="T28" fmla="*/ 2859 w 7025"/>
                  <a:gd name="T29" fmla="*/ 1063 h 1657"/>
                  <a:gd name="T30" fmla="*/ 2861 w 7025"/>
                  <a:gd name="T31" fmla="*/ 1063 h 1657"/>
                  <a:gd name="T32" fmla="*/ 5928 w 7025"/>
                  <a:gd name="T33" fmla="*/ 1094 h 1657"/>
                  <a:gd name="T34" fmla="*/ 2876 w 7025"/>
                  <a:gd name="T35" fmla="*/ 1013 h 1657"/>
                  <a:gd name="T36" fmla="*/ 2878 w 7025"/>
                  <a:gd name="T37" fmla="*/ 1013 h 1657"/>
                  <a:gd name="T38" fmla="*/ 3772 w 7025"/>
                  <a:gd name="T39" fmla="*/ 1188 h 1657"/>
                  <a:gd name="T40" fmla="*/ 5947 w 7025"/>
                  <a:gd name="T41" fmla="*/ 1025 h 1657"/>
                  <a:gd name="T42" fmla="*/ 6340 w 7025"/>
                  <a:gd name="T43" fmla="*/ 935 h 1657"/>
                  <a:gd name="T44" fmla="*/ 6340 w 7025"/>
                  <a:gd name="T45" fmla="*/ 1113 h 1657"/>
                  <a:gd name="T46" fmla="*/ 3843 w 7025"/>
                  <a:gd name="T47" fmla="*/ 928 h 1657"/>
                  <a:gd name="T48" fmla="*/ 6385 w 7025"/>
                  <a:gd name="T49" fmla="*/ 895 h 1657"/>
                  <a:gd name="T50" fmla="*/ 6385 w 7025"/>
                  <a:gd name="T51" fmla="*/ 899 h 1657"/>
                  <a:gd name="T52" fmla="*/ 6387 w 7025"/>
                  <a:gd name="T53" fmla="*/ 881 h 1657"/>
                  <a:gd name="T54" fmla="*/ 6389 w 7025"/>
                  <a:gd name="T55" fmla="*/ 878 h 1657"/>
                  <a:gd name="T56" fmla="*/ 6396 w 7025"/>
                  <a:gd name="T57" fmla="*/ 871 h 1657"/>
                  <a:gd name="T58" fmla="*/ 804 w 7025"/>
                  <a:gd name="T59" fmla="*/ 828 h 1657"/>
                  <a:gd name="T60" fmla="*/ 3100 w 7025"/>
                  <a:gd name="T61" fmla="*/ 762 h 1657"/>
                  <a:gd name="T62" fmla="*/ 3100 w 7025"/>
                  <a:gd name="T63" fmla="*/ 762 h 1657"/>
                  <a:gd name="T64" fmla="*/ 1010 w 7025"/>
                  <a:gd name="T65" fmla="*/ 793 h 1657"/>
                  <a:gd name="T66" fmla="*/ 5131 w 7025"/>
                  <a:gd name="T67" fmla="*/ 937 h 1657"/>
                  <a:gd name="T68" fmla="*/ 3138 w 7025"/>
                  <a:gd name="T69" fmla="*/ 658 h 1657"/>
                  <a:gd name="T70" fmla="*/ 95 w 7025"/>
                  <a:gd name="T71" fmla="*/ 618 h 1657"/>
                  <a:gd name="T72" fmla="*/ 5254 w 7025"/>
                  <a:gd name="T73" fmla="*/ 611 h 1657"/>
                  <a:gd name="T74" fmla="*/ 5254 w 7025"/>
                  <a:gd name="T75" fmla="*/ 611 h 1657"/>
                  <a:gd name="T76" fmla="*/ 3280 w 7025"/>
                  <a:gd name="T77" fmla="*/ 622 h 1657"/>
                  <a:gd name="T78" fmla="*/ 301 w 7025"/>
                  <a:gd name="T79" fmla="*/ 549 h 1657"/>
                  <a:gd name="T80" fmla="*/ 7023 w 7025"/>
                  <a:gd name="T81" fmla="*/ 509 h 1657"/>
                  <a:gd name="T82" fmla="*/ 4193 w 7025"/>
                  <a:gd name="T83" fmla="*/ 504 h 1657"/>
                  <a:gd name="T84" fmla="*/ 4193 w 7025"/>
                  <a:gd name="T85" fmla="*/ 504 h 1657"/>
                  <a:gd name="T86" fmla="*/ 3299 w 7025"/>
                  <a:gd name="T87" fmla="*/ 566 h 1657"/>
                  <a:gd name="T88" fmla="*/ 4037 w 7025"/>
                  <a:gd name="T89" fmla="*/ 454 h 1657"/>
                  <a:gd name="T90" fmla="*/ 3954 w 7025"/>
                  <a:gd name="T91" fmla="*/ 644 h 1657"/>
                  <a:gd name="T92" fmla="*/ 4037 w 7025"/>
                  <a:gd name="T93" fmla="*/ 454 h 1657"/>
                  <a:gd name="T94" fmla="*/ 3327 w 7025"/>
                  <a:gd name="T95" fmla="*/ 473 h 1657"/>
                  <a:gd name="T96" fmla="*/ 4041 w 7025"/>
                  <a:gd name="T97" fmla="*/ 390 h 1657"/>
                  <a:gd name="T98" fmla="*/ 4041 w 7025"/>
                  <a:gd name="T99" fmla="*/ 447 h 1657"/>
                  <a:gd name="T100" fmla="*/ 1807 w 7025"/>
                  <a:gd name="T101" fmla="*/ 372 h 1657"/>
                  <a:gd name="T102" fmla="*/ 4048 w 7025"/>
                  <a:gd name="T103" fmla="*/ 327 h 1657"/>
                  <a:gd name="T104" fmla="*/ 4051 w 7025"/>
                  <a:gd name="T105" fmla="*/ 381 h 1657"/>
                  <a:gd name="T106" fmla="*/ 2027 w 7025"/>
                  <a:gd name="T107" fmla="*/ 298 h 1657"/>
                  <a:gd name="T108" fmla="*/ 4701 w 7025"/>
                  <a:gd name="T109" fmla="*/ 234 h 1657"/>
                  <a:gd name="T110" fmla="*/ 4803 w 7025"/>
                  <a:gd name="T111" fmla="*/ 173 h 1657"/>
                  <a:gd name="T112" fmla="*/ 4803 w 7025"/>
                  <a:gd name="T113" fmla="*/ 173 h 1657"/>
                  <a:gd name="T114" fmla="*/ 4852 w 7025"/>
                  <a:gd name="T115" fmla="*/ 137 h 1657"/>
                  <a:gd name="T116" fmla="*/ 4909 w 7025"/>
                  <a:gd name="T117" fmla="*/ 1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57">
                    <a:moveTo>
                      <a:pt x="3" y="1454"/>
                    </a:moveTo>
                    <a:lnTo>
                      <a:pt x="0" y="1454"/>
                    </a:lnTo>
                    <a:lnTo>
                      <a:pt x="0" y="1456"/>
                    </a:lnTo>
                    <a:lnTo>
                      <a:pt x="0" y="1498"/>
                    </a:lnTo>
                    <a:lnTo>
                      <a:pt x="3" y="1498"/>
                    </a:lnTo>
                    <a:lnTo>
                      <a:pt x="3" y="1454"/>
                    </a:lnTo>
                    <a:moveTo>
                      <a:pt x="5666" y="1326"/>
                    </a:moveTo>
                    <a:lnTo>
                      <a:pt x="5663" y="1326"/>
                    </a:lnTo>
                    <a:lnTo>
                      <a:pt x="5663" y="1328"/>
                    </a:lnTo>
                    <a:lnTo>
                      <a:pt x="5663" y="1413"/>
                    </a:lnTo>
                    <a:lnTo>
                      <a:pt x="5666" y="1413"/>
                    </a:lnTo>
                    <a:lnTo>
                      <a:pt x="5666" y="1326"/>
                    </a:lnTo>
                    <a:moveTo>
                      <a:pt x="3710" y="1221"/>
                    </a:moveTo>
                    <a:lnTo>
                      <a:pt x="3710" y="1221"/>
                    </a:lnTo>
                    <a:lnTo>
                      <a:pt x="3710" y="1221"/>
                    </a:lnTo>
                    <a:lnTo>
                      <a:pt x="3710" y="1224"/>
                    </a:lnTo>
                    <a:lnTo>
                      <a:pt x="3710" y="1281"/>
                    </a:lnTo>
                    <a:lnTo>
                      <a:pt x="3710" y="1281"/>
                    </a:lnTo>
                    <a:lnTo>
                      <a:pt x="3710" y="1356"/>
                    </a:lnTo>
                    <a:lnTo>
                      <a:pt x="3710" y="1356"/>
                    </a:lnTo>
                    <a:lnTo>
                      <a:pt x="3710" y="1221"/>
                    </a:lnTo>
                    <a:moveTo>
                      <a:pt x="5831" y="1210"/>
                    </a:moveTo>
                    <a:lnTo>
                      <a:pt x="5831" y="1210"/>
                    </a:lnTo>
                    <a:lnTo>
                      <a:pt x="5829" y="1210"/>
                    </a:lnTo>
                    <a:lnTo>
                      <a:pt x="5829" y="1212"/>
                    </a:lnTo>
                    <a:lnTo>
                      <a:pt x="5829" y="1290"/>
                    </a:lnTo>
                    <a:lnTo>
                      <a:pt x="5831" y="1290"/>
                    </a:lnTo>
                    <a:lnTo>
                      <a:pt x="5831" y="1210"/>
                    </a:lnTo>
                    <a:moveTo>
                      <a:pt x="1665" y="1158"/>
                    </a:moveTo>
                    <a:lnTo>
                      <a:pt x="1665" y="1158"/>
                    </a:lnTo>
                    <a:lnTo>
                      <a:pt x="1665" y="1158"/>
                    </a:lnTo>
                    <a:lnTo>
                      <a:pt x="1665" y="1160"/>
                    </a:lnTo>
                    <a:lnTo>
                      <a:pt x="1665" y="1165"/>
                    </a:lnTo>
                    <a:lnTo>
                      <a:pt x="1665" y="1165"/>
                    </a:lnTo>
                    <a:lnTo>
                      <a:pt x="1665" y="1158"/>
                    </a:lnTo>
                    <a:moveTo>
                      <a:pt x="1689" y="1132"/>
                    </a:moveTo>
                    <a:lnTo>
                      <a:pt x="1686" y="1132"/>
                    </a:lnTo>
                    <a:lnTo>
                      <a:pt x="1686" y="1134"/>
                    </a:lnTo>
                    <a:lnTo>
                      <a:pt x="1686" y="1134"/>
                    </a:lnTo>
                    <a:lnTo>
                      <a:pt x="1689" y="1134"/>
                    </a:lnTo>
                    <a:lnTo>
                      <a:pt x="1689" y="1134"/>
                    </a:lnTo>
                    <a:lnTo>
                      <a:pt x="1689" y="1134"/>
                    </a:lnTo>
                    <a:lnTo>
                      <a:pt x="1689" y="1132"/>
                    </a:lnTo>
                    <a:moveTo>
                      <a:pt x="5857" y="1129"/>
                    </a:moveTo>
                    <a:lnTo>
                      <a:pt x="5855" y="1129"/>
                    </a:lnTo>
                    <a:lnTo>
                      <a:pt x="5855" y="1129"/>
                    </a:lnTo>
                    <a:lnTo>
                      <a:pt x="5855" y="1186"/>
                    </a:lnTo>
                    <a:lnTo>
                      <a:pt x="5855" y="1186"/>
                    </a:lnTo>
                    <a:lnTo>
                      <a:pt x="5855" y="1184"/>
                    </a:lnTo>
                    <a:lnTo>
                      <a:pt x="5857" y="1184"/>
                    </a:lnTo>
                    <a:lnTo>
                      <a:pt x="5857" y="1129"/>
                    </a:lnTo>
                    <a:moveTo>
                      <a:pt x="6323" y="1129"/>
                    </a:moveTo>
                    <a:lnTo>
                      <a:pt x="6321" y="1129"/>
                    </a:lnTo>
                    <a:lnTo>
                      <a:pt x="6321" y="1129"/>
                    </a:lnTo>
                    <a:lnTo>
                      <a:pt x="6321" y="1129"/>
                    </a:lnTo>
                    <a:lnTo>
                      <a:pt x="6321" y="1174"/>
                    </a:lnTo>
                    <a:lnTo>
                      <a:pt x="6323" y="1174"/>
                    </a:lnTo>
                    <a:lnTo>
                      <a:pt x="6323" y="1129"/>
                    </a:lnTo>
                    <a:moveTo>
                      <a:pt x="1447" y="1127"/>
                    </a:moveTo>
                    <a:lnTo>
                      <a:pt x="1445" y="1127"/>
                    </a:lnTo>
                    <a:lnTo>
                      <a:pt x="1445" y="1127"/>
                    </a:lnTo>
                    <a:lnTo>
                      <a:pt x="1445" y="1127"/>
                    </a:lnTo>
                    <a:lnTo>
                      <a:pt x="1445" y="1165"/>
                    </a:lnTo>
                    <a:lnTo>
                      <a:pt x="1447" y="1165"/>
                    </a:lnTo>
                    <a:lnTo>
                      <a:pt x="1447" y="1127"/>
                    </a:lnTo>
                    <a:moveTo>
                      <a:pt x="1464" y="1084"/>
                    </a:moveTo>
                    <a:lnTo>
                      <a:pt x="1462" y="1084"/>
                    </a:lnTo>
                    <a:lnTo>
                      <a:pt x="1462" y="1087"/>
                    </a:lnTo>
                    <a:lnTo>
                      <a:pt x="1462" y="1110"/>
                    </a:lnTo>
                    <a:lnTo>
                      <a:pt x="1464" y="1110"/>
                    </a:lnTo>
                    <a:lnTo>
                      <a:pt x="1464" y="1108"/>
                    </a:lnTo>
                    <a:lnTo>
                      <a:pt x="1464" y="1108"/>
                    </a:lnTo>
                    <a:lnTo>
                      <a:pt x="1464" y="1084"/>
                    </a:lnTo>
                    <a:moveTo>
                      <a:pt x="2861" y="1063"/>
                    </a:moveTo>
                    <a:lnTo>
                      <a:pt x="2859" y="1063"/>
                    </a:lnTo>
                    <a:lnTo>
                      <a:pt x="2859" y="1063"/>
                    </a:lnTo>
                    <a:lnTo>
                      <a:pt x="2859" y="1065"/>
                    </a:lnTo>
                    <a:lnTo>
                      <a:pt x="2859" y="1205"/>
                    </a:lnTo>
                    <a:lnTo>
                      <a:pt x="2861" y="1205"/>
                    </a:lnTo>
                    <a:lnTo>
                      <a:pt x="2861" y="1063"/>
                    </a:lnTo>
                    <a:moveTo>
                      <a:pt x="5931" y="1042"/>
                    </a:moveTo>
                    <a:lnTo>
                      <a:pt x="5931" y="1042"/>
                    </a:lnTo>
                    <a:lnTo>
                      <a:pt x="5928" y="1042"/>
                    </a:lnTo>
                    <a:lnTo>
                      <a:pt x="5928" y="1044"/>
                    </a:lnTo>
                    <a:lnTo>
                      <a:pt x="5928" y="1094"/>
                    </a:lnTo>
                    <a:lnTo>
                      <a:pt x="5931" y="1094"/>
                    </a:lnTo>
                    <a:lnTo>
                      <a:pt x="5931" y="1042"/>
                    </a:lnTo>
                    <a:moveTo>
                      <a:pt x="2878" y="1013"/>
                    </a:moveTo>
                    <a:lnTo>
                      <a:pt x="2876" y="1013"/>
                    </a:lnTo>
                    <a:lnTo>
                      <a:pt x="2876" y="1013"/>
                    </a:lnTo>
                    <a:lnTo>
                      <a:pt x="2876" y="1046"/>
                    </a:lnTo>
                    <a:lnTo>
                      <a:pt x="2878" y="1046"/>
                    </a:lnTo>
                    <a:lnTo>
                      <a:pt x="2878" y="1044"/>
                    </a:lnTo>
                    <a:lnTo>
                      <a:pt x="2878" y="1044"/>
                    </a:lnTo>
                    <a:lnTo>
                      <a:pt x="2878" y="1013"/>
                    </a:lnTo>
                    <a:moveTo>
                      <a:pt x="3772" y="994"/>
                    </a:moveTo>
                    <a:lnTo>
                      <a:pt x="3769" y="994"/>
                    </a:lnTo>
                    <a:lnTo>
                      <a:pt x="3769" y="997"/>
                    </a:lnTo>
                    <a:lnTo>
                      <a:pt x="3769" y="1188"/>
                    </a:lnTo>
                    <a:lnTo>
                      <a:pt x="3772" y="1188"/>
                    </a:lnTo>
                    <a:lnTo>
                      <a:pt x="3772" y="994"/>
                    </a:lnTo>
                    <a:moveTo>
                      <a:pt x="5949" y="989"/>
                    </a:moveTo>
                    <a:lnTo>
                      <a:pt x="5947" y="989"/>
                    </a:lnTo>
                    <a:lnTo>
                      <a:pt x="5947" y="992"/>
                    </a:lnTo>
                    <a:lnTo>
                      <a:pt x="5947" y="1025"/>
                    </a:lnTo>
                    <a:lnTo>
                      <a:pt x="5947" y="1025"/>
                    </a:lnTo>
                    <a:lnTo>
                      <a:pt x="5947" y="1023"/>
                    </a:lnTo>
                    <a:lnTo>
                      <a:pt x="5949" y="1023"/>
                    </a:lnTo>
                    <a:lnTo>
                      <a:pt x="5949" y="989"/>
                    </a:lnTo>
                    <a:moveTo>
                      <a:pt x="6340" y="935"/>
                    </a:moveTo>
                    <a:lnTo>
                      <a:pt x="6340" y="935"/>
                    </a:lnTo>
                    <a:lnTo>
                      <a:pt x="6337" y="935"/>
                    </a:lnTo>
                    <a:lnTo>
                      <a:pt x="6337" y="937"/>
                    </a:lnTo>
                    <a:lnTo>
                      <a:pt x="6337" y="1113"/>
                    </a:lnTo>
                    <a:lnTo>
                      <a:pt x="6340" y="1113"/>
                    </a:lnTo>
                    <a:lnTo>
                      <a:pt x="6340" y="1110"/>
                    </a:lnTo>
                    <a:lnTo>
                      <a:pt x="6340" y="1110"/>
                    </a:lnTo>
                    <a:lnTo>
                      <a:pt x="6340" y="935"/>
                    </a:lnTo>
                    <a:moveTo>
                      <a:pt x="3845" y="928"/>
                    </a:moveTo>
                    <a:lnTo>
                      <a:pt x="3843" y="928"/>
                    </a:lnTo>
                    <a:lnTo>
                      <a:pt x="3843" y="930"/>
                    </a:lnTo>
                    <a:lnTo>
                      <a:pt x="3843" y="959"/>
                    </a:lnTo>
                    <a:lnTo>
                      <a:pt x="3845" y="959"/>
                    </a:lnTo>
                    <a:lnTo>
                      <a:pt x="3845" y="928"/>
                    </a:lnTo>
                    <a:moveTo>
                      <a:pt x="6385" y="895"/>
                    </a:moveTo>
                    <a:lnTo>
                      <a:pt x="6385" y="895"/>
                    </a:lnTo>
                    <a:lnTo>
                      <a:pt x="6385" y="895"/>
                    </a:lnTo>
                    <a:lnTo>
                      <a:pt x="6382" y="897"/>
                    </a:lnTo>
                    <a:lnTo>
                      <a:pt x="6382" y="899"/>
                    </a:lnTo>
                    <a:lnTo>
                      <a:pt x="6385" y="899"/>
                    </a:lnTo>
                    <a:lnTo>
                      <a:pt x="6385" y="895"/>
                    </a:lnTo>
                    <a:moveTo>
                      <a:pt x="6389" y="878"/>
                    </a:moveTo>
                    <a:lnTo>
                      <a:pt x="6389" y="878"/>
                    </a:lnTo>
                    <a:lnTo>
                      <a:pt x="6387" y="878"/>
                    </a:lnTo>
                    <a:lnTo>
                      <a:pt x="6387" y="881"/>
                    </a:lnTo>
                    <a:lnTo>
                      <a:pt x="6387" y="892"/>
                    </a:lnTo>
                    <a:lnTo>
                      <a:pt x="6389" y="892"/>
                    </a:lnTo>
                    <a:lnTo>
                      <a:pt x="6389" y="890"/>
                    </a:lnTo>
                    <a:lnTo>
                      <a:pt x="6389" y="890"/>
                    </a:lnTo>
                    <a:lnTo>
                      <a:pt x="6389" y="878"/>
                    </a:lnTo>
                    <a:moveTo>
                      <a:pt x="6399" y="850"/>
                    </a:moveTo>
                    <a:lnTo>
                      <a:pt x="6396" y="850"/>
                    </a:lnTo>
                    <a:lnTo>
                      <a:pt x="6396" y="852"/>
                    </a:lnTo>
                    <a:lnTo>
                      <a:pt x="6396" y="871"/>
                    </a:lnTo>
                    <a:lnTo>
                      <a:pt x="6396" y="871"/>
                    </a:lnTo>
                    <a:lnTo>
                      <a:pt x="6396" y="869"/>
                    </a:lnTo>
                    <a:lnTo>
                      <a:pt x="6399" y="869"/>
                    </a:lnTo>
                    <a:lnTo>
                      <a:pt x="6399" y="850"/>
                    </a:lnTo>
                    <a:moveTo>
                      <a:pt x="804" y="828"/>
                    </a:moveTo>
                    <a:lnTo>
                      <a:pt x="804" y="828"/>
                    </a:lnTo>
                    <a:lnTo>
                      <a:pt x="804" y="1034"/>
                    </a:lnTo>
                    <a:lnTo>
                      <a:pt x="804" y="1034"/>
                    </a:lnTo>
                    <a:lnTo>
                      <a:pt x="804" y="828"/>
                    </a:lnTo>
                    <a:moveTo>
                      <a:pt x="3100" y="762"/>
                    </a:moveTo>
                    <a:lnTo>
                      <a:pt x="3100" y="762"/>
                    </a:lnTo>
                    <a:lnTo>
                      <a:pt x="3098" y="762"/>
                    </a:lnTo>
                    <a:lnTo>
                      <a:pt x="3098" y="765"/>
                    </a:lnTo>
                    <a:lnTo>
                      <a:pt x="3098" y="944"/>
                    </a:lnTo>
                    <a:lnTo>
                      <a:pt x="3100" y="944"/>
                    </a:lnTo>
                    <a:lnTo>
                      <a:pt x="3100" y="762"/>
                    </a:lnTo>
                    <a:moveTo>
                      <a:pt x="1010" y="753"/>
                    </a:moveTo>
                    <a:lnTo>
                      <a:pt x="1008" y="753"/>
                    </a:lnTo>
                    <a:lnTo>
                      <a:pt x="1008" y="755"/>
                    </a:lnTo>
                    <a:lnTo>
                      <a:pt x="1008" y="793"/>
                    </a:lnTo>
                    <a:lnTo>
                      <a:pt x="1010" y="793"/>
                    </a:lnTo>
                    <a:lnTo>
                      <a:pt x="1010" y="753"/>
                    </a:lnTo>
                    <a:moveTo>
                      <a:pt x="5131" y="731"/>
                    </a:moveTo>
                    <a:lnTo>
                      <a:pt x="5131" y="731"/>
                    </a:lnTo>
                    <a:lnTo>
                      <a:pt x="5131" y="734"/>
                    </a:lnTo>
                    <a:lnTo>
                      <a:pt x="5131" y="937"/>
                    </a:lnTo>
                    <a:lnTo>
                      <a:pt x="5131" y="937"/>
                    </a:lnTo>
                    <a:lnTo>
                      <a:pt x="5131" y="731"/>
                    </a:lnTo>
                    <a:moveTo>
                      <a:pt x="3138" y="658"/>
                    </a:moveTo>
                    <a:lnTo>
                      <a:pt x="3138" y="658"/>
                    </a:lnTo>
                    <a:lnTo>
                      <a:pt x="3138" y="658"/>
                    </a:lnTo>
                    <a:lnTo>
                      <a:pt x="3138" y="727"/>
                    </a:lnTo>
                    <a:lnTo>
                      <a:pt x="3138" y="727"/>
                    </a:lnTo>
                    <a:lnTo>
                      <a:pt x="3138" y="658"/>
                    </a:lnTo>
                    <a:moveTo>
                      <a:pt x="97" y="618"/>
                    </a:moveTo>
                    <a:lnTo>
                      <a:pt x="95" y="618"/>
                    </a:lnTo>
                    <a:lnTo>
                      <a:pt x="95" y="618"/>
                    </a:lnTo>
                    <a:lnTo>
                      <a:pt x="95" y="1418"/>
                    </a:lnTo>
                    <a:lnTo>
                      <a:pt x="97" y="1418"/>
                    </a:lnTo>
                    <a:lnTo>
                      <a:pt x="97" y="618"/>
                    </a:lnTo>
                    <a:moveTo>
                      <a:pt x="5254" y="611"/>
                    </a:moveTo>
                    <a:lnTo>
                      <a:pt x="5252" y="611"/>
                    </a:lnTo>
                    <a:lnTo>
                      <a:pt x="5252" y="611"/>
                    </a:lnTo>
                    <a:lnTo>
                      <a:pt x="5252" y="696"/>
                    </a:lnTo>
                    <a:lnTo>
                      <a:pt x="5254" y="696"/>
                    </a:lnTo>
                    <a:lnTo>
                      <a:pt x="5254" y="611"/>
                    </a:lnTo>
                    <a:moveTo>
                      <a:pt x="3282" y="582"/>
                    </a:moveTo>
                    <a:lnTo>
                      <a:pt x="3282" y="582"/>
                    </a:lnTo>
                    <a:lnTo>
                      <a:pt x="3280" y="582"/>
                    </a:lnTo>
                    <a:lnTo>
                      <a:pt x="3280" y="585"/>
                    </a:lnTo>
                    <a:lnTo>
                      <a:pt x="3280" y="622"/>
                    </a:lnTo>
                    <a:lnTo>
                      <a:pt x="3282" y="622"/>
                    </a:lnTo>
                    <a:lnTo>
                      <a:pt x="3282" y="582"/>
                    </a:lnTo>
                    <a:moveTo>
                      <a:pt x="303" y="547"/>
                    </a:moveTo>
                    <a:lnTo>
                      <a:pt x="301" y="547"/>
                    </a:lnTo>
                    <a:lnTo>
                      <a:pt x="301" y="549"/>
                    </a:lnTo>
                    <a:lnTo>
                      <a:pt x="301" y="582"/>
                    </a:lnTo>
                    <a:lnTo>
                      <a:pt x="303" y="582"/>
                    </a:lnTo>
                    <a:lnTo>
                      <a:pt x="303" y="547"/>
                    </a:lnTo>
                    <a:moveTo>
                      <a:pt x="7025" y="509"/>
                    </a:moveTo>
                    <a:lnTo>
                      <a:pt x="7023" y="509"/>
                    </a:lnTo>
                    <a:lnTo>
                      <a:pt x="7023" y="511"/>
                    </a:lnTo>
                    <a:lnTo>
                      <a:pt x="7023" y="1657"/>
                    </a:lnTo>
                    <a:lnTo>
                      <a:pt x="7025" y="1657"/>
                    </a:lnTo>
                    <a:lnTo>
                      <a:pt x="7025" y="509"/>
                    </a:lnTo>
                    <a:moveTo>
                      <a:pt x="4193" y="504"/>
                    </a:moveTo>
                    <a:lnTo>
                      <a:pt x="4193" y="504"/>
                    </a:lnTo>
                    <a:lnTo>
                      <a:pt x="4193" y="504"/>
                    </a:lnTo>
                    <a:lnTo>
                      <a:pt x="4152" y="561"/>
                    </a:lnTo>
                    <a:lnTo>
                      <a:pt x="4152" y="561"/>
                    </a:lnTo>
                    <a:lnTo>
                      <a:pt x="4193" y="504"/>
                    </a:lnTo>
                    <a:moveTo>
                      <a:pt x="3301" y="502"/>
                    </a:moveTo>
                    <a:lnTo>
                      <a:pt x="3299" y="502"/>
                    </a:lnTo>
                    <a:lnTo>
                      <a:pt x="3299" y="502"/>
                    </a:lnTo>
                    <a:lnTo>
                      <a:pt x="3299" y="504"/>
                    </a:lnTo>
                    <a:lnTo>
                      <a:pt x="3299" y="566"/>
                    </a:lnTo>
                    <a:lnTo>
                      <a:pt x="3299" y="566"/>
                    </a:lnTo>
                    <a:lnTo>
                      <a:pt x="3299" y="563"/>
                    </a:lnTo>
                    <a:lnTo>
                      <a:pt x="3301" y="563"/>
                    </a:lnTo>
                    <a:lnTo>
                      <a:pt x="3301" y="502"/>
                    </a:lnTo>
                    <a:moveTo>
                      <a:pt x="4037" y="454"/>
                    </a:moveTo>
                    <a:lnTo>
                      <a:pt x="4034" y="454"/>
                    </a:lnTo>
                    <a:lnTo>
                      <a:pt x="4034" y="454"/>
                    </a:lnTo>
                    <a:lnTo>
                      <a:pt x="4034" y="457"/>
                    </a:lnTo>
                    <a:lnTo>
                      <a:pt x="4034" y="492"/>
                    </a:lnTo>
                    <a:lnTo>
                      <a:pt x="3954" y="644"/>
                    </a:lnTo>
                    <a:lnTo>
                      <a:pt x="3954" y="892"/>
                    </a:lnTo>
                    <a:lnTo>
                      <a:pt x="3954" y="892"/>
                    </a:lnTo>
                    <a:lnTo>
                      <a:pt x="3954" y="641"/>
                    </a:lnTo>
                    <a:lnTo>
                      <a:pt x="4037" y="490"/>
                    </a:lnTo>
                    <a:lnTo>
                      <a:pt x="4037" y="454"/>
                    </a:lnTo>
                    <a:moveTo>
                      <a:pt x="3330" y="433"/>
                    </a:moveTo>
                    <a:lnTo>
                      <a:pt x="3327" y="433"/>
                    </a:lnTo>
                    <a:lnTo>
                      <a:pt x="3327" y="435"/>
                    </a:lnTo>
                    <a:lnTo>
                      <a:pt x="3327" y="473"/>
                    </a:lnTo>
                    <a:lnTo>
                      <a:pt x="3327" y="473"/>
                    </a:lnTo>
                    <a:lnTo>
                      <a:pt x="3327" y="471"/>
                    </a:lnTo>
                    <a:lnTo>
                      <a:pt x="3330" y="471"/>
                    </a:lnTo>
                    <a:lnTo>
                      <a:pt x="3330" y="433"/>
                    </a:lnTo>
                    <a:moveTo>
                      <a:pt x="4041" y="390"/>
                    </a:moveTo>
                    <a:lnTo>
                      <a:pt x="4041" y="390"/>
                    </a:lnTo>
                    <a:lnTo>
                      <a:pt x="4041" y="390"/>
                    </a:lnTo>
                    <a:lnTo>
                      <a:pt x="4041" y="393"/>
                    </a:lnTo>
                    <a:lnTo>
                      <a:pt x="4041" y="450"/>
                    </a:lnTo>
                    <a:lnTo>
                      <a:pt x="4041" y="450"/>
                    </a:lnTo>
                    <a:lnTo>
                      <a:pt x="4041" y="447"/>
                    </a:lnTo>
                    <a:lnTo>
                      <a:pt x="4041" y="447"/>
                    </a:lnTo>
                    <a:lnTo>
                      <a:pt x="4041" y="390"/>
                    </a:lnTo>
                    <a:moveTo>
                      <a:pt x="1809" y="369"/>
                    </a:moveTo>
                    <a:lnTo>
                      <a:pt x="1807" y="369"/>
                    </a:lnTo>
                    <a:lnTo>
                      <a:pt x="1807" y="372"/>
                    </a:lnTo>
                    <a:lnTo>
                      <a:pt x="1807" y="1096"/>
                    </a:lnTo>
                    <a:lnTo>
                      <a:pt x="1809" y="1096"/>
                    </a:lnTo>
                    <a:lnTo>
                      <a:pt x="1809" y="369"/>
                    </a:lnTo>
                    <a:moveTo>
                      <a:pt x="4051" y="327"/>
                    </a:moveTo>
                    <a:lnTo>
                      <a:pt x="4048" y="327"/>
                    </a:lnTo>
                    <a:lnTo>
                      <a:pt x="4048" y="329"/>
                    </a:lnTo>
                    <a:lnTo>
                      <a:pt x="4048" y="383"/>
                    </a:lnTo>
                    <a:lnTo>
                      <a:pt x="4051" y="383"/>
                    </a:lnTo>
                    <a:lnTo>
                      <a:pt x="4051" y="381"/>
                    </a:lnTo>
                    <a:lnTo>
                      <a:pt x="4051" y="381"/>
                    </a:lnTo>
                    <a:lnTo>
                      <a:pt x="4051" y="327"/>
                    </a:lnTo>
                    <a:moveTo>
                      <a:pt x="2029" y="293"/>
                    </a:moveTo>
                    <a:lnTo>
                      <a:pt x="2027" y="293"/>
                    </a:lnTo>
                    <a:lnTo>
                      <a:pt x="2027" y="296"/>
                    </a:lnTo>
                    <a:lnTo>
                      <a:pt x="2027" y="298"/>
                    </a:lnTo>
                    <a:lnTo>
                      <a:pt x="2029" y="298"/>
                    </a:lnTo>
                    <a:lnTo>
                      <a:pt x="2029" y="293"/>
                    </a:lnTo>
                    <a:moveTo>
                      <a:pt x="4703" y="232"/>
                    </a:moveTo>
                    <a:lnTo>
                      <a:pt x="4701" y="232"/>
                    </a:lnTo>
                    <a:lnTo>
                      <a:pt x="4701" y="234"/>
                    </a:lnTo>
                    <a:lnTo>
                      <a:pt x="4642" y="457"/>
                    </a:lnTo>
                    <a:lnTo>
                      <a:pt x="4642" y="457"/>
                    </a:lnTo>
                    <a:lnTo>
                      <a:pt x="4703" y="232"/>
                    </a:lnTo>
                    <a:moveTo>
                      <a:pt x="4803" y="173"/>
                    </a:moveTo>
                    <a:lnTo>
                      <a:pt x="4803" y="173"/>
                    </a:lnTo>
                    <a:lnTo>
                      <a:pt x="4803" y="173"/>
                    </a:lnTo>
                    <a:lnTo>
                      <a:pt x="4803" y="175"/>
                    </a:lnTo>
                    <a:lnTo>
                      <a:pt x="4803" y="196"/>
                    </a:lnTo>
                    <a:lnTo>
                      <a:pt x="4803" y="196"/>
                    </a:lnTo>
                    <a:lnTo>
                      <a:pt x="4803" y="173"/>
                    </a:lnTo>
                    <a:moveTo>
                      <a:pt x="4852" y="0"/>
                    </a:moveTo>
                    <a:lnTo>
                      <a:pt x="4850" y="0"/>
                    </a:lnTo>
                    <a:lnTo>
                      <a:pt x="4850" y="2"/>
                    </a:lnTo>
                    <a:lnTo>
                      <a:pt x="4850" y="137"/>
                    </a:lnTo>
                    <a:lnTo>
                      <a:pt x="4852" y="137"/>
                    </a:lnTo>
                    <a:lnTo>
                      <a:pt x="4852" y="0"/>
                    </a:lnTo>
                    <a:moveTo>
                      <a:pt x="4911" y="0"/>
                    </a:moveTo>
                    <a:lnTo>
                      <a:pt x="4909" y="0"/>
                    </a:lnTo>
                    <a:lnTo>
                      <a:pt x="4909" y="2"/>
                    </a:lnTo>
                    <a:lnTo>
                      <a:pt x="4909" y="137"/>
                    </a:lnTo>
                    <a:lnTo>
                      <a:pt x="4911" y="137"/>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3" name="Freeform 108"/>
              <p:cNvSpPr>
                <a:spLocks noEditPoints="1"/>
              </p:cNvSpPr>
              <p:nvPr/>
            </p:nvSpPr>
            <p:spPr bwMode="auto">
              <a:xfrm>
                <a:off x="14" y="1693"/>
                <a:ext cx="7025" cy="1660"/>
              </a:xfrm>
              <a:custGeom>
                <a:avLst/>
                <a:gdLst>
                  <a:gd name="T0" fmla="*/ 0 w 7025"/>
                  <a:gd name="T1" fmla="*/ 1501 h 1660"/>
                  <a:gd name="T2" fmla="*/ 5663 w 7025"/>
                  <a:gd name="T3" fmla="*/ 1416 h 1660"/>
                  <a:gd name="T4" fmla="*/ 3707 w 7025"/>
                  <a:gd name="T5" fmla="*/ 1224 h 1660"/>
                  <a:gd name="T6" fmla="*/ 5831 w 7025"/>
                  <a:gd name="T7" fmla="*/ 1210 h 1660"/>
                  <a:gd name="T8" fmla="*/ 5831 w 7025"/>
                  <a:gd name="T9" fmla="*/ 1293 h 1660"/>
                  <a:gd name="T10" fmla="*/ 1662 w 7025"/>
                  <a:gd name="T11" fmla="*/ 1161 h 1660"/>
                  <a:gd name="T12" fmla="*/ 1686 w 7025"/>
                  <a:gd name="T13" fmla="*/ 1132 h 1660"/>
                  <a:gd name="T14" fmla="*/ 1688 w 7025"/>
                  <a:gd name="T15" fmla="*/ 1135 h 1660"/>
                  <a:gd name="T16" fmla="*/ 5854 w 7025"/>
                  <a:gd name="T17" fmla="*/ 1187 h 1660"/>
                  <a:gd name="T18" fmla="*/ 6322 w 7025"/>
                  <a:gd name="T19" fmla="*/ 1130 h 1660"/>
                  <a:gd name="T20" fmla="*/ 6322 w 7025"/>
                  <a:gd name="T21" fmla="*/ 1177 h 1660"/>
                  <a:gd name="T22" fmla="*/ 1444 w 7025"/>
                  <a:gd name="T23" fmla="*/ 1130 h 1660"/>
                  <a:gd name="T24" fmla="*/ 1461 w 7025"/>
                  <a:gd name="T25" fmla="*/ 1085 h 1660"/>
                  <a:gd name="T26" fmla="*/ 1463 w 7025"/>
                  <a:gd name="T27" fmla="*/ 1108 h 1660"/>
                  <a:gd name="T28" fmla="*/ 2858 w 7025"/>
                  <a:gd name="T29" fmla="*/ 1066 h 1660"/>
                  <a:gd name="T30" fmla="*/ 5930 w 7025"/>
                  <a:gd name="T31" fmla="*/ 1042 h 1660"/>
                  <a:gd name="T32" fmla="*/ 5930 w 7025"/>
                  <a:gd name="T33" fmla="*/ 1042 h 1660"/>
                  <a:gd name="T34" fmla="*/ 2875 w 7025"/>
                  <a:gd name="T35" fmla="*/ 1047 h 1660"/>
                  <a:gd name="T36" fmla="*/ 3769 w 7025"/>
                  <a:gd name="T37" fmla="*/ 995 h 1660"/>
                  <a:gd name="T38" fmla="*/ 5949 w 7025"/>
                  <a:gd name="T39" fmla="*/ 990 h 1660"/>
                  <a:gd name="T40" fmla="*/ 5946 w 7025"/>
                  <a:gd name="T41" fmla="*/ 1023 h 1660"/>
                  <a:gd name="T42" fmla="*/ 6337 w 7025"/>
                  <a:gd name="T43" fmla="*/ 938 h 1660"/>
                  <a:gd name="T44" fmla="*/ 6339 w 7025"/>
                  <a:gd name="T45" fmla="*/ 1111 h 1660"/>
                  <a:gd name="T46" fmla="*/ 3842 w 7025"/>
                  <a:gd name="T47" fmla="*/ 962 h 1660"/>
                  <a:gd name="T48" fmla="*/ 6382 w 7025"/>
                  <a:gd name="T49" fmla="*/ 895 h 1660"/>
                  <a:gd name="T50" fmla="*/ 6389 w 7025"/>
                  <a:gd name="T51" fmla="*/ 879 h 1660"/>
                  <a:gd name="T52" fmla="*/ 6386 w 7025"/>
                  <a:gd name="T53" fmla="*/ 893 h 1660"/>
                  <a:gd name="T54" fmla="*/ 6396 w 7025"/>
                  <a:gd name="T55" fmla="*/ 850 h 1660"/>
                  <a:gd name="T56" fmla="*/ 6396 w 7025"/>
                  <a:gd name="T57" fmla="*/ 872 h 1660"/>
                  <a:gd name="T58" fmla="*/ 801 w 7025"/>
                  <a:gd name="T59" fmla="*/ 1037 h 1660"/>
                  <a:gd name="T60" fmla="*/ 3097 w 7025"/>
                  <a:gd name="T61" fmla="*/ 765 h 1660"/>
                  <a:gd name="T62" fmla="*/ 1007 w 7025"/>
                  <a:gd name="T63" fmla="*/ 753 h 1660"/>
                  <a:gd name="T64" fmla="*/ 1007 w 7025"/>
                  <a:gd name="T65" fmla="*/ 753 h 1660"/>
                  <a:gd name="T66" fmla="*/ 5131 w 7025"/>
                  <a:gd name="T67" fmla="*/ 940 h 1660"/>
                  <a:gd name="T68" fmla="*/ 3135 w 7025"/>
                  <a:gd name="T69" fmla="*/ 730 h 1660"/>
                  <a:gd name="T70" fmla="*/ 94 w 7025"/>
                  <a:gd name="T71" fmla="*/ 621 h 1660"/>
                  <a:gd name="T72" fmla="*/ 5251 w 7025"/>
                  <a:gd name="T73" fmla="*/ 611 h 1660"/>
                  <a:gd name="T74" fmla="*/ 3282 w 7025"/>
                  <a:gd name="T75" fmla="*/ 583 h 1660"/>
                  <a:gd name="T76" fmla="*/ 3282 w 7025"/>
                  <a:gd name="T77" fmla="*/ 625 h 1660"/>
                  <a:gd name="T78" fmla="*/ 300 w 7025"/>
                  <a:gd name="T79" fmla="*/ 585 h 1660"/>
                  <a:gd name="T80" fmla="*/ 7022 w 7025"/>
                  <a:gd name="T81" fmla="*/ 512 h 1660"/>
                  <a:gd name="T82" fmla="*/ 4192 w 7025"/>
                  <a:gd name="T83" fmla="*/ 505 h 1660"/>
                  <a:gd name="T84" fmla="*/ 3298 w 7025"/>
                  <a:gd name="T85" fmla="*/ 502 h 1660"/>
                  <a:gd name="T86" fmla="*/ 3298 w 7025"/>
                  <a:gd name="T87" fmla="*/ 566 h 1660"/>
                  <a:gd name="T88" fmla="*/ 4034 w 7025"/>
                  <a:gd name="T89" fmla="*/ 455 h 1660"/>
                  <a:gd name="T90" fmla="*/ 3951 w 7025"/>
                  <a:gd name="T91" fmla="*/ 895 h 1660"/>
                  <a:gd name="T92" fmla="*/ 3327 w 7025"/>
                  <a:gd name="T93" fmla="*/ 436 h 1660"/>
                  <a:gd name="T94" fmla="*/ 3327 w 7025"/>
                  <a:gd name="T95" fmla="*/ 474 h 1660"/>
                  <a:gd name="T96" fmla="*/ 4038 w 7025"/>
                  <a:gd name="T97" fmla="*/ 391 h 1660"/>
                  <a:gd name="T98" fmla="*/ 4041 w 7025"/>
                  <a:gd name="T99" fmla="*/ 448 h 1660"/>
                  <a:gd name="T100" fmla="*/ 1806 w 7025"/>
                  <a:gd name="T101" fmla="*/ 1099 h 1660"/>
                  <a:gd name="T102" fmla="*/ 1936 w 7025"/>
                  <a:gd name="T103" fmla="*/ 337 h 1660"/>
                  <a:gd name="T104" fmla="*/ 4048 w 7025"/>
                  <a:gd name="T105" fmla="*/ 330 h 1660"/>
                  <a:gd name="T106" fmla="*/ 4050 w 7025"/>
                  <a:gd name="T107" fmla="*/ 330 h 1660"/>
                  <a:gd name="T108" fmla="*/ 2028 w 7025"/>
                  <a:gd name="T109" fmla="*/ 301 h 1660"/>
                  <a:gd name="T110" fmla="*/ 4639 w 7025"/>
                  <a:gd name="T111" fmla="*/ 460 h 1660"/>
                  <a:gd name="T112" fmla="*/ 4800 w 7025"/>
                  <a:gd name="T113" fmla="*/ 173 h 1660"/>
                  <a:gd name="T114" fmla="*/ 4852 w 7025"/>
                  <a:gd name="T115" fmla="*/ 0 h 1660"/>
                  <a:gd name="T116" fmla="*/ 4852 w 7025"/>
                  <a:gd name="T117" fmla="*/ 0 h 1660"/>
                  <a:gd name="T118" fmla="*/ 4908 w 7025"/>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0">
                    <a:moveTo>
                      <a:pt x="0" y="1454"/>
                    </a:moveTo>
                    <a:lnTo>
                      <a:pt x="0" y="1454"/>
                    </a:lnTo>
                    <a:lnTo>
                      <a:pt x="0" y="1457"/>
                    </a:lnTo>
                    <a:lnTo>
                      <a:pt x="0" y="1501"/>
                    </a:lnTo>
                    <a:lnTo>
                      <a:pt x="0" y="1501"/>
                    </a:lnTo>
                    <a:lnTo>
                      <a:pt x="0" y="1454"/>
                    </a:lnTo>
                    <a:close/>
                    <a:moveTo>
                      <a:pt x="5665" y="1326"/>
                    </a:moveTo>
                    <a:lnTo>
                      <a:pt x="5663" y="1326"/>
                    </a:lnTo>
                    <a:lnTo>
                      <a:pt x="5663" y="1329"/>
                    </a:lnTo>
                    <a:lnTo>
                      <a:pt x="5663" y="1416"/>
                    </a:lnTo>
                    <a:lnTo>
                      <a:pt x="5665" y="1416"/>
                    </a:lnTo>
                    <a:lnTo>
                      <a:pt x="5665" y="1326"/>
                    </a:lnTo>
                    <a:close/>
                    <a:moveTo>
                      <a:pt x="3710" y="1224"/>
                    </a:moveTo>
                    <a:lnTo>
                      <a:pt x="3707" y="1224"/>
                    </a:lnTo>
                    <a:lnTo>
                      <a:pt x="3707" y="1224"/>
                    </a:lnTo>
                    <a:lnTo>
                      <a:pt x="3707" y="1224"/>
                    </a:lnTo>
                    <a:lnTo>
                      <a:pt x="3707" y="1359"/>
                    </a:lnTo>
                    <a:lnTo>
                      <a:pt x="3710" y="1359"/>
                    </a:lnTo>
                    <a:lnTo>
                      <a:pt x="3710" y="1224"/>
                    </a:lnTo>
                    <a:close/>
                    <a:moveTo>
                      <a:pt x="5831" y="1210"/>
                    </a:moveTo>
                    <a:lnTo>
                      <a:pt x="5828" y="1210"/>
                    </a:lnTo>
                    <a:lnTo>
                      <a:pt x="5828" y="1210"/>
                    </a:lnTo>
                    <a:lnTo>
                      <a:pt x="5828" y="1213"/>
                    </a:lnTo>
                    <a:lnTo>
                      <a:pt x="5828" y="1293"/>
                    </a:lnTo>
                    <a:lnTo>
                      <a:pt x="5831" y="1293"/>
                    </a:lnTo>
                    <a:lnTo>
                      <a:pt x="5831" y="1210"/>
                    </a:lnTo>
                    <a:close/>
                    <a:moveTo>
                      <a:pt x="1664" y="1158"/>
                    </a:moveTo>
                    <a:lnTo>
                      <a:pt x="1664" y="1158"/>
                    </a:lnTo>
                    <a:lnTo>
                      <a:pt x="1662" y="1158"/>
                    </a:lnTo>
                    <a:lnTo>
                      <a:pt x="1662" y="1161"/>
                    </a:lnTo>
                    <a:lnTo>
                      <a:pt x="1662" y="1168"/>
                    </a:lnTo>
                    <a:lnTo>
                      <a:pt x="1664" y="1168"/>
                    </a:lnTo>
                    <a:lnTo>
                      <a:pt x="1664" y="1158"/>
                    </a:lnTo>
                    <a:close/>
                    <a:moveTo>
                      <a:pt x="1688" y="1132"/>
                    </a:moveTo>
                    <a:lnTo>
                      <a:pt x="1686" y="1132"/>
                    </a:lnTo>
                    <a:lnTo>
                      <a:pt x="1686" y="1135"/>
                    </a:lnTo>
                    <a:lnTo>
                      <a:pt x="1686" y="1137"/>
                    </a:lnTo>
                    <a:lnTo>
                      <a:pt x="1688" y="1137"/>
                    </a:lnTo>
                    <a:lnTo>
                      <a:pt x="1688" y="1135"/>
                    </a:lnTo>
                    <a:lnTo>
                      <a:pt x="1688" y="1135"/>
                    </a:lnTo>
                    <a:lnTo>
                      <a:pt x="1688" y="1132"/>
                    </a:lnTo>
                    <a:close/>
                    <a:moveTo>
                      <a:pt x="5854" y="1130"/>
                    </a:moveTo>
                    <a:lnTo>
                      <a:pt x="5854" y="1130"/>
                    </a:lnTo>
                    <a:lnTo>
                      <a:pt x="5854" y="1132"/>
                    </a:lnTo>
                    <a:lnTo>
                      <a:pt x="5854" y="1187"/>
                    </a:lnTo>
                    <a:lnTo>
                      <a:pt x="5854" y="1187"/>
                    </a:lnTo>
                    <a:lnTo>
                      <a:pt x="5854" y="1184"/>
                    </a:lnTo>
                    <a:lnTo>
                      <a:pt x="5854" y="1184"/>
                    </a:lnTo>
                    <a:lnTo>
                      <a:pt x="5854" y="1130"/>
                    </a:lnTo>
                    <a:close/>
                    <a:moveTo>
                      <a:pt x="6322" y="1130"/>
                    </a:moveTo>
                    <a:lnTo>
                      <a:pt x="6320" y="1130"/>
                    </a:lnTo>
                    <a:lnTo>
                      <a:pt x="6320" y="1130"/>
                    </a:lnTo>
                    <a:lnTo>
                      <a:pt x="6320" y="1132"/>
                    </a:lnTo>
                    <a:lnTo>
                      <a:pt x="6320" y="1177"/>
                    </a:lnTo>
                    <a:lnTo>
                      <a:pt x="6322" y="1177"/>
                    </a:lnTo>
                    <a:lnTo>
                      <a:pt x="6322" y="1130"/>
                    </a:lnTo>
                    <a:close/>
                    <a:moveTo>
                      <a:pt x="1447" y="1127"/>
                    </a:moveTo>
                    <a:lnTo>
                      <a:pt x="1444" y="1127"/>
                    </a:lnTo>
                    <a:lnTo>
                      <a:pt x="1444" y="1127"/>
                    </a:lnTo>
                    <a:lnTo>
                      <a:pt x="1444" y="1130"/>
                    </a:lnTo>
                    <a:lnTo>
                      <a:pt x="1444" y="1168"/>
                    </a:lnTo>
                    <a:lnTo>
                      <a:pt x="1447" y="1168"/>
                    </a:lnTo>
                    <a:lnTo>
                      <a:pt x="1447" y="1127"/>
                    </a:lnTo>
                    <a:close/>
                    <a:moveTo>
                      <a:pt x="1463" y="1085"/>
                    </a:moveTo>
                    <a:lnTo>
                      <a:pt x="1461" y="1085"/>
                    </a:lnTo>
                    <a:lnTo>
                      <a:pt x="1461" y="1087"/>
                    </a:lnTo>
                    <a:lnTo>
                      <a:pt x="1461" y="1111"/>
                    </a:lnTo>
                    <a:lnTo>
                      <a:pt x="1463" y="1111"/>
                    </a:lnTo>
                    <a:lnTo>
                      <a:pt x="1463" y="1108"/>
                    </a:lnTo>
                    <a:lnTo>
                      <a:pt x="1463" y="1108"/>
                    </a:lnTo>
                    <a:lnTo>
                      <a:pt x="1463" y="1085"/>
                    </a:lnTo>
                    <a:close/>
                    <a:moveTo>
                      <a:pt x="2858" y="1063"/>
                    </a:moveTo>
                    <a:lnTo>
                      <a:pt x="2858" y="1063"/>
                    </a:lnTo>
                    <a:lnTo>
                      <a:pt x="2858" y="1063"/>
                    </a:lnTo>
                    <a:lnTo>
                      <a:pt x="2858" y="1066"/>
                    </a:lnTo>
                    <a:lnTo>
                      <a:pt x="2858" y="1208"/>
                    </a:lnTo>
                    <a:lnTo>
                      <a:pt x="2858" y="1208"/>
                    </a:lnTo>
                    <a:lnTo>
                      <a:pt x="2858" y="1063"/>
                    </a:lnTo>
                    <a:close/>
                    <a:moveTo>
                      <a:pt x="5930" y="1042"/>
                    </a:moveTo>
                    <a:lnTo>
                      <a:pt x="5930" y="1042"/>
                    </a:lnTo>
                    <a:lnTo>
                      <a:pt x="5928" y="1042"/>
                    </a:lnTo>
                    <a:lnTo>
                      <a:pt x="5928" y="1045"/>
                    </a:lnTo>
                    <a:lnTo>
                      <a:pt x="5928" y="1097"/>
                    </a:lnTo>
                    <a:lnTo>
                      <a:pt x="5930" y="1097"/>
                    </a:lnTo>
                    <a:lnTo>
                      <a:pt x="5930" y="1042"/>
                    </a:lnTo>
                    <a:close/>
                    <a:moveTo>
                      <a:pt x="2877" y="1014"/>
                    </a:moveTo>
                    <a:lnTo>
                      <a:pt x="2875" y="1014"/>
                    </a:lnTo>
                    <a:lnTo>
                      <a:pt x="2875" y="1016"/>
                    </a:lnTo>
                    <a:lnTo>
                      <a:pt x="2875" y="1047"/>
                    </a:lnTo>
                    <a:lnTo>
                      <a:pt x="2875" y="1047"/>
                    </a:lnTo>
                    <a:lnTo>
                      <a:pt x="2875" y="1045"/>
                    </a:lnTo>
                    <a:lnTo>
                      <a:pt x="2877" y="1045"/>
                    </a:lnTo>
                    <a:lnTo>
                      <a:pt x="2877" y="1014"/>
                    </a:lnTo>
                    <a:close/>
                    <a:moveTo>
                      <a:pt x="3769" y="995"/>
                    </a:moveTo>
                    <a:lnTo>
                      <a:pt x="3769" y="995"/>
                    </a:lnTo>
                    <a:lnTo>
                      <a:pt x="3769" y="997"/>
                    </a:lnTo>
                    <a:lnTo>
                      <a:pt x="3769" y="1191"/>
                    </a:lnTo>
                    <a:lnTo>
                      <a:pt x="3769" y="1191"/>
                    </a:lnTo>
                    <a:lnTo>
                      <a:pt x="3769" y="995"/>
                    </a:lnTo>
                    <a:close/>
                    <a:moveTo>
                      <a:pt x="5949" y="990"/>
                    </a:moveTo>
                    <a:lnTo>
                      <a:pt x="5946" y="990"/>
                    </a:lnTo>
                    <a:lnTo>
                      <a:pt x="5946" y="992"/>
                    </a:lnTo>
                    <a:lnTo>
                      <a:pt x="5946" y="1026"/>
                    </a:lnTo>
                    <a:lnTo>
                      <a:pt x="5946" y="1026"/>
                    </a:lnTo>
                    <a:lnTo>
                      <a:pt x="5946" y="1023"/>
                    </a:lnTo>
                    <a:lnTo>
                      <a:pt x="5949" y="1023"/>
                    </a:lnTo>
                    <a:lnTo>
                      <a:pt x="5949" y="990"/>
                    </a:lnTo>
                    <a:close/>
                    <a:moveTo>
                      <a:pt x="6339" y="938"/>
                    </a:moveTo>
                    <a:lnTo>
                      <a:pt x="6339" y="938"/>
                    </a:lnTo>
                    <a:lnTo>
                      <a:pt x="6337" y="938"/>
                    </a:lnTo>
                    <a:lnTo>
                      <a:pt x="6337" y="938"/>
                    </a:lnTo>
                    <a:lnTo>
                      <a:pt x="6337" y="1113"/>
                    </a:lnTo>
                    <a:lnTo>
                      <a:pt x="6339" y="1113"/>
                    </a:lnTo>
                    <a:lnTo>
                      <a:pt x="6339" y="1111"/>
                    </a:lnTo>
                    <a:lnTo>
                      <a:pt x="6339" y="1111"/>
                    </a:lnTo>
                    <a:lnTo>
                      <a:pt x="6339" y="938"/>
                    </a:lnTo>
                    <a:close/>
                    <a:moveTo>
                      <a:pt x="3844" y="929"/>
                    </a:moveTo>
                    <a:lnTo>
                      <a:pt x="3842" y="929"/>
                    </a:lnTo>
                    <a:lnTo>
                      <a:pt x="3842" y="931"/>
                    </a:lnTo>
                    <a:lnTo>
                      <a:pt x="3842" y="962"/>
                    </a:lnTo>
                    <a:lnTo>
                      <a:pt x="3844" y="962"/>
                    </a:lnTo>
                    <a:lnTo>
                      <a:pt x="3844" y="929"/>
                    </a:lnTo>
                    <a:close/>
                    <a:moveTo>
                      <a:pt x="6384" y="895"/>
                    </a:moveTo>
                    <a:lnTo>
                      <a:pt x="6384" y="895"/>
                    </a:lnTo>
                    <a:lnTo>
                      <a:pt x="6382" y="895"/>
                    </a:lnTo>
                    <a:lnTo>
                      <a:pt x="6382" y="898"/>
                    </a:lnTo>
                    <a:lnTo>
                      <a:pt x="6382" y="902"/>
                    </a:lnTo>
                    <a:lnTo>
                      <a:pt x="6382" y="902"/>
                    </a:lnTo>
                    <a:lnTo>
                      <a:pt x="6384" y="895"/>
                    </a:lnTo>
                    <a:close/>
                    <a:moveTo>
                      <a:pt x="6389" y="879"/>
                    </a:moveTo>
                    <a:lnTo>
                      <a:pt x="6386" y="879"/>
                    </a:lnTo>
                    <a:lnTo>
                      <a:pt x="6386" y="879"/>
                    </a:lnTo>
                    <a:lnTo>
                      <a:pt x="6386" y="881"/>
                    </a:lnTo>
                    <a:lnTo>
                      <a:pt x="6386" y="893"/>
                    </a:lnTo>
                    <a:lnTo>
                      <a:pt x="6386" y="893"/>
                    </a:lnTo>
                    <a:lnTo>
                      <a:pt x="6389" y="891"/>
                    </a:lnTo>
                    <a:lnTo>
                      <a:pt x="6389" y="891"/>
                    </a:lnTo>
                    <a:lnTo>
                      <a:pt x="6389" y="879"/>
                    </a:lnTo>
                    <a:close/>
                    <a:moveTo>
                      <a:pt x="6396" y="850"/>
                    </a:moveTo>
                    <a:lnTo>
                      <a:pt x="6396" y="850"/>
                    </a:lnTo>
                    <a:lnTo>
                      <a:pt x="6396" y="853"/>
                    </a:lnTo>
                    <a:lnTo>
                      <a:pt x="6396" y="872"/>
                    </a:lnTo>
                    <a:lnTo>
                      <a:pt x="6396" y="872"/>
                    </a:lnTo>
                    <a:lnTo>
                      <a:pt x="6396" y="872"/>
                    </a:lnTo>
                    <a:lnTo>
                      <a:pt x="6396" y="872"/>
                    </a:lnTo>
                    <a:lnTo>
                      <a:pt x="6396" y="850"/>
                    </a:lnTo>
                    <a:close/>
                    <a:moveTo>
                      <a:pt x="804" y="829"/>
                    </a:moveTo>
                    <a:lnTo>
                      <a:pt x="801" y="829"/>
                    </a:lnTo>
                    <a:lnTo>
                      <a:pt x="801" y="831"/>
                    </a:lnTo>
                    <a:lnTo>
                      <a:pt x="801" y="1037"/>
                    </a:lnTo>
                    <a:lnTo>
                      <a:pt x="804" y="1037"/>
                    </a:lnTo>
                    <a:lnTo>
                      <a:pt x="804" y="829"/>
                    </a:lnTo>
                    <a:close/>
                    <a:moveTo>
                      <a:pt x="3100" y="765"/>
                    </a:moveTo>
                    <a:lnTo>
                      <a:pt x="3100" y="765"/>
                    </a:lnTo>
                    <a:lnTo>
                      <a:pt x="3097" y="765"/>
                    </a:lnTo>
                    <a:lnTo>
                      <a:pt x="3097" y="765"/>
                    </a:lnTo>
                    <a:lnTo>
                      <a:pt x="3097" y="947"/>
                    </a:lnTo>
                    <a:lnTo>
                      <a:pt x="3100" y="947"/>
                    </a:lnTo>
                    <a:lnTo>
                      <a:pt x="3100" y="765"/>
                    </a:lnTo>
                    <a:close/>
                    <a:moveTo>
                      <a:pt x="1007" y="753"/>
                    </a:moveTo>
                    <a:lnTo>
                      <a:pt x="1007" y="753"/>
                    </a:lnTo>
                    <a:lnTo>
                      <a:pt x="1007" y="756"/>
                    </a:lnTo>
                    <a:lnTo>
                      <a:pt x="1007" y="796"/>
                    </a:lnTo>
                    <a:lnTo>
                      <a:pt x="1007" y="796"/>
                    </a:lnTo>
                    <a:lnTo>
                      <a:pt x="1007" y="753"/>
                    </a:lnTo>
                    <a:close/>
                    <a:moveTo>
                      <a:pt x="5131" y="734"/>
                    </a:moveTo>
                    <a:lnTo>
                      <a:pt x="5128" y="734"/>
                    </a:lnTo>
                    <a:lnTo>
                      <a:pt x="5128" y="734"/>
                    </a:lnTo>
                    <a:lnTo>
                      <a:pt x="5128" y="940"/>
                    </a:lnTo>
                    <a:lnTo>
                      <a:pt x="5131" y="940"/>
                    </a:lnTo>
                    <a:lnTo>
                      <a:pt x="5131" y="734"/>
                    </a:lnTo>
                    <a:close/>
                    <a:moveTo>
                      <a:pt x="3137" y="659"/>
                    </a:moveTo>
                    <a:lnTo>
                      <a:pt x="3135" y="659"/>
                    </a:lnTo>
                    <a:lnTo>
                      <a:pt x="3135" y="661"/>
                    </a:lnTo>
                    <a:lnTo>
                      <a:pt x="3135" y="730"/>
                    </a:lnTo>
                    <a:lnTo>
                      <a:pt x="3137" y="730"/>
                    </a:lnTo>
                    <a:lnTo>
                      <a:pt x="3137" y="659"/>
                    </a:lnTo>
                    <a:close/>
                    <a:moveTo>
                      <a:pt x="97" y="618"/>
                    </a:moveTo>
                    <a:lnTo>
                      <a:pt x="94" y="618"/>
                    </a:lnTo>
                    <a:lnTo>
                      <a:pt x="94" y="621"/>
                    </a:lnTo>
                    <a:lnTo>
                      <a:pt x="94" y="1421"/>
                    </a:lnTo>
                    <a:lnTo>
                      <a:pt x="97" y="1421"/>
                    </a:lnTo>
                    <a:lnTo>
                      <a:pt x="97" y="618"/>
                    </a:lnTo>
                    <a:close/>
                    <a:moveTo>
                      <a:pt x="5251" y="611"/>
                    </a:moveTo>
                    <a:lnTo>
                      <a:pt x="5251" y="611"/>
                    </a:lnTo>
                    <a:lnTo>
                      <a:pt x="5251" y="614"/>
                    </a:lnTo>
                    <a:lnTo>
                      <a:pt x="5251" y="699"/>
                    </a:lnTo>
                    <a:lnTo>
                      <a:pt x="5251" y="699"/>
                    </a:lnTo>
                    <a:lnTo>
                      <a:pt x="5251" y="611"/>
                    </a:lnTo>
                    <a:close/>
                    <a:moveTo>
                      <a:pt x="3282" y="583"/>
                    </a:moveTo>
                    <a:lnTo>
                      <a:pt x="3279" y="583"/>
                    </a:lnTo>
                    <a:lnTo>
                      <a:pt x="3279" y="583"/>
                    </a:lnTo>
                    <a:lnTo>
                      <a:pt x="3279" y="585"/>
                    </a:lnTo>
                    <a:lnTo>
                      <a:pt x="3279" y="625"/>
                    </a:lnTo>
                    <a:lnTo>
                      <a:pt x="3282" y="625"/>
                    </a:lnTo>
                    <a:lnTo>
                      <a:pt x="3282" y="583"/>
                    </a:lnTo>
                    <a:close/>
                    <a:moveTo>
                      <a:pt x="300" y="550"/>
                    </a:moveTo>
                    <a:lnTo>
                      <a:pt x="300" y="550"/>
                    </a:lnTo>
                    <a:lnTo>
                      <a:pt x="300" y="550"/>
                    </a:lnTo>
                    <a:lnTo>
                      <a:pt x="300" y="585"/>
                    </a:lnTo>
                    <a:lnTo>
                      <a:pt x="300" y="585"/>
                    </a:lnTo>
                    <a:lnTo>
                      <a:pt x="300" y="550"/>
                    </a:lnTo>
                    <a:close/>
                    <a:moveTo>
                      <a:pt x="7025" y="509"/>
                    </a:moveTo>
                    <a:lnTo>
                      <a:pt x="7022" y="509"/>
                    </a:lnTo>
                    <a:lnTo>
                      <a:pt x="7022" y="512"/>
                    </a:lnTo>
                    <a:lnTo>
                      <a:pt x="7022" y="1660"/>
                    </a:lnTo>
                    <a:lnTo>
                      <a:pt x="7025" y="1660"/>
                    </a:lnTo>
                    <a:lnTo>
                      <a:pt x="7025" y="509"/>
                    </a:lnTo>
                    <a:close/>
                    <a:moveTo>
                      <a:pt x="4192" y="505"/>
                    </a:moveTo>
                    <a:lnTo>
                      <a:pt x="4192" y="505"/>
                    </a:lnTo>
                    <a:lnTo>
                      <a:pt x="4190" y="507"/>
                    </a:lnTo>
                    <a:lnTo>
                      <a:pt x="4149" y="564"/>
                    </a:lnTo>
                    <a:lnTo>
                      <a:pt x="4149" y="564"/>
                    </a:lnTo>
                    <a:lnTo>
                      <a:pt x="4192" y="505"/>
                    </a:lnTo>
                    <a:close/>
                    <a:moveTo>
                      <a:pt x="3298" y="502"/>
                    </a:moveTo>
                    <a:lnTo>
                      <a:pt x="3298" y="502"/>
                    </a:lnTo>
                    <a:lnTo>
                      <a:pt x="3298" y="502"/>
                    </a:lnTo>
                    <a:lnTo>
                      <a:pt x="3298" y="505"/>
                    </a:lnTo>
                    <a:lnTo>
                      <a:pt x="3298" y="566"/>
                    </a:lnTo>
                    <a:lnTo>
                      <a:pt x="3298" y="566"/>
                    </a:lnTo>
                    <a:lnTo>
                      <a:pt x="3298" y="564"/>
                    </a:lnTo>
                    <a:lnTo>
                      <a:pt x="3298" y="564"/>
                    </a:lnTo>
                    <a:lnTo>
                      <a:pt x="3298" y="502"/>
                    </a:lnTo>
                    <a:close/>
                    <a:moveTo>
                      <a:pt x="4036" y="455"/>
                    </a:moveTo>
                    <a:lnTo>
                      <a:pt x="4034" y="455"/>
                    </a:lnTo>
                    <a:lnTo>
                      <a:pt x="4034" y="455"/>
                    </a:lnTo>
                    <a:lnTo>
                      <a:pt x="4034" y="457"/>
                    </a:lnTo>
                    <a:lnTo>
                      <a:pt x="4034" y="493"/>
                    </a:lnTo>
                    <a:lnTo>
                      <a:pt x="3951" y="644"/>
                    </a:lnTo>
                    <a:lnTo>
                      <a:pt x="3951" y="895"/>
                    </a:lnTo>
                    <a:lnTo>
                      <a:pt x="3953" y="895"/>
                    </a:lnTo>
                    <a:lnTo>
                      <a:pt x="3953" y="642"/>
                    </a:lnTo>
                    <a:lnTo>
                      <a:pt x="4036" y="491"/>
                    </a:lnTo>
                    <a:lnTo>
                      <a:pt x="4036" y="455"/>
                    </a:lnTo>
                    <a:close/>
                    <a:moveTo>
                      <a:pt x="3327" y="436"/>
                    </a:moveTo>
                    <a:lnTo>
                      <a:pt x="3327" y="436"/>
                    </a:lnTo>
                    <a:lnTo>
                      <a:pt x="3327" y="436"/>
                    </a:lnTo>
                    <a:lnTo>
                      <a:pt x="3327" y="474"/>
                    </a:lnTo>
                    <a:lnTo>
                      <a:pt x="3327" y="474"/>
                    </a:lnTo>
                    <a:lnTo>
                      <a:pt x="3327" y="474"/>
                    </a:lnTo>
                    <a:lnTo>
                      <a:pt x="3327" y="474"/>
                    </a:lnTo>
                    <a:lnTo>
                      <a:pt x="3327" y="436"/>
                    </a:lnTo>
                    <a:close/>
                    <a:moveTo>
                      <a:pt x="4041" y="391"/>
                    </a:moveTo>
                    <a:lnTo>
                      <a:pt x="4041" y="391"/>
                    </a:lnTo>
                    <a:lnTo>
                      <a:pt x="4038" y="391"/>
                    </a:lnTo>
                    <a:lnTo>
                      <a:pt x="4038" y="393"/>
                    </a:lnTo>
                    <a:lnTo>
                      <a:pt x="4038" y="450"/>
                    </a:lnTo>
                    <a:lnTo>
                      <a:pt x="4041" y="450"/>
                    </a:lnTo>
                    <a:lnTo>
                      <a:pt x="4041" y="448"/>
                    </a:lnTo>
                    <a:lnTo>
                      <a:pt x="4041" y="448"/>
                    </a:lnTo>
                    <a:lnTo>
                      <a:pt x="4041" y="391"/>
                    </a:lnTo>
                    <a:close/>
                    <a:moveTo>
                      <a:pt x="1809" y="370"/>
                    </a:moveTo>
                    <a:lnTo>
                      <a:pt x="1806" y="370"/>
                    </a:lnTo>
                    <a:lnTo>
                      <a:pt x="1806" y="372"/>
                    </a:lnTo>
                    <a:lnTo>
                      <a:pt x="1806" y="1099"/>
                    </a:lnTo>
                    <a:lnTo>
                      <a:pt x="1809" y="1099"/>
                    </a:lnTo>
                    <a:lnTo>
                      <a:pt x="1809" y="370"/>
                    </a:lnTo>
                    <a:close/>
                    <a:moveTo>
                      <a:pt x="1936" y="334"/>
                    </a:moveTo>
                    <a:lnTo>
                      <a:pt x="1936" y="334"/>
                    </a:lnTo>
                    <a:lnTo>
                      <a:pt x="1936" y="337"/>
                    </a:lnTo>
                    <a:lnTo>
                      <a:pt x="1936" y="337"/>
                    </a:lnTo>
                    <a:lnTo>
                      <a:pt x="1936" y="334"/>
                    </a:lnTo>
                    <a:close/>
                    <a:moveTo>
                      <a:pt x="4050" y="330"/>
                    </a:moveTo>
                    <a:lnTo>
                      <a:pt x="4048" y="330"/>
                    </a:lnTo>
                    <a:lnTo>
                      <a:pt x="4048" y="330"/>
                    </a:lnTo>
                    <a:lnTo>
                      <a:pt x="4048" y="384"/>
                    </a:lnTo>
                    <a:lnTo>
                      <a:pt x="4048" y="384"/>
                    </a:lnTo>
                    <a:lnTo>
                      <a:pt x="4048" y="384"/>
                    </a:lnTo>
                    <a:lnTo>
                      <a:pt x="4050" y="384"/>
                    </a:lnTo>
                    <a:lnTo>
                      <a:pt x="4050" y="330"/>
                    </a:lnTo>
                    <a:close/>
                    <a:moveTo>
                      <a:pt x="2028" y="294"/>
                    </a:moveTo>
                    <a:lnTo>
                      <a:pt x="2026" y="294"/>
                    </a:lnTo>
                    <a:lnTo>
                      <a:pt x="2026" y="296"/>
                    </a:lnTo>
                    <a:lnTo>
                      <a:pt x="2026" y="301"/>
                    </a:lnTo>
                    <a:lnTo>
                      <a:pt x="2028" y="301"/>
                    </a:lnTo>
                    <a:lnTo>
                      <a:pt x="2028" y="294"/>
                    </a:lnTo>
                    <a:close/>
                    <a:moveTo>
                      <a:pt x="4703" y="232"/>
                    </a:moveTo>
                    <a:lnTo>
                      <a:pt x="4700" y="232"/>
                    </a:lnTo>
                    <a:lnTo>
                      <a:pt x="4700" y="235"/>
                    </a:lnTo>
                    <a:lnTo>
                      <a:pt x="4639" y="460"/>
                    </a:lnTo>
                    <a:lnTo>
                      <a:pt x="4641" y="457"/>
                    </a:lnTo>
                    <a:lnTo>
                      <a:pt x="4703" y="232"/>
                    </a:lnTo>
                    <a:close/>
                    <a:moveTo>
                      <a:pt x="4802" y="173"/>
                    </a:moveTo>
                    <a:lnTo>
                      <a:pt x="4802" y="173"/>
                    </a:lnTo>
                    <a:lnTo>
                      <a:pt x="4800" y="173"/>
                    </a:lnTo>
                    <a:lnTo>
                      <a:pt x="4800" y="176"/>
                    </a:lnTo>
                    <a:lnTo>
                      <a:pt x="4800" y="199"/>
                    </a:lnTo>
                    <a:lnTo>
                      <a:pt x="4802" y="199"/>
                    </a:lnTo>
                    <a:lnTo>
                      <a:pt x="4802" y="173"/>
                    </a:lnTo>
                    <a:close/>
                    <a:moveTo>
                      <a:pt x="4852" y="0"/>
                    </a:moveTo>
                    <a:lnTo>
                      <a:pt x="4849" y="0"/>
                    </a:lnTo>
                    <a:lnTo>
                      <a:pt x="4849" y="3"/>
                    </a:lnTo>
                    <a:lnTo>
                      <a:pt x="4849" y="140"/>
                    </a:lnTo>
                    <a:lnTo>
                      <a:pt x="4852" y="140"/>
                    </a:lnTo>
                    <a:lnTo>
                      <a:pt x="4852" y="0"/>
                    </a:lnTo>
                    <a:close/>
                    <a:moveTo>
                      <a:pt x="4908" y="0"/>
                    </a:moveTo>
                    <a:lnTo>
                      <a:pt x="4908" y="0"/>
                    </a:lnTo>
                    <a:lnTo>
                      <a:pt x="4908" y="3"/>
                    </a:lnTo>
                    <a:lnTo>
                      <a:pt x="4908" y="140"/>
                    </a:lnTo>
                    <a:lnTo>
                      <a:pt x="4908" y="140"/>
                    </a:lnTo>
                    <a:lnTo>
                      <a:pt x="4908" y="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4" name="Freeform 109"/>
              <p:cNvSpPr>
                <a:spLocks noEditPoints="1"/>
              </p:cNvSpPr>
              <p:nvPr/>
            </p:nvSpPr>
            <p:spPr bwMode="auto">
              <a:xfrm>
                <a:off x="14" y="1693"/>
                <a:ext cx="7025" cy="1660"/>
              </a:xfrm>
              <a:custGeom>
                <a:avLst/>
                <a:gdLst>
                  <a:gd name="T0" fmla="*/ 0 w 7025"/>
                  <a:gd name="T1" fmla="*/ 1501 h 1660"/>
                  <a:gd name="T2" fmla="*/ 5663 w 7025"/>
                  <a:gd name="T3" fmla="*/ 1416 h 1660"/>
                  <a:gd name="T4" fmla="*/ 3707 w 7025"/>
                  <a:gd name="T5" fmla="*/ 1224 h 1660"/>
                  <a:gd name="T6" fmla="*/ 5831 w 7025"/>
                  <a:gd name="T7" fmla="*/ 1210 h 1660"/>
                  <a:gd name="T8" fmla="*/ 5831 w 7025"/>
                  <a:gd name="T9" fmla="*/ 1293 h 1660"/>
                  <a:gd name="T10" fmla="*/ 1662 w 7025"/>
                  <a:gd name="T11" fmla="*/ 1161 h 1660"/>
                  <a:gd name="T12" fmla="*/ 1686 w 7025"/>
                  <a:gd name="T13" fmla="*/ 1132 h 1660"/>
                  <a:gd name="T14" fmla="*/ 1688 w 7025"/>
                  <a:gd name="T15" fmla="*/ 1135 h 1660"/>
                  <a:gd name="T16" fmla="*/ 5854 w 7025"/>
                  <a:gd name="T17" fmla="*/ 1187 h 1660"/>
                  <a:gd name="T18" fmla="*/ 6322 w 7025"/>
                  <a:gd name="T19" fmla="*/ 1130 h 1660"/>
                  <a:gd name="T20" fmla="*/ 6322 w 7025"/>
                  <a:gd name="T21" fmla="*/ 1177 h 1660"/>
                  <a:gd name="T22" fmla="*/ 1444 w 7025"/>
                  <a:gd name="T23" fmla="*/ 1130 h 1660"/>
                  <a:gd name="T24" fmla="*/ 1461 w 7025"/>
                  <a:gd name="T25" fmla="*/ 1085 h 1660"/>
                  <a:gd name="T26" fmla="*/ 1463 w 7025"/>
                  <a:gd name="T27" fmla="*/ 1108 h 1660"/>
                  <a:gd name="T28" fmla="*/ 2858 w 7025"/>
                  <a:gd name="T29" fmla="*/ 1066 h 1660"/>
                  <a:gd name="T30" fmla="*/ 5930 w 7025"/>
                  <a:gd name="T31" fmla="*/ 1042 h 1660"/>
                  <a:gd name="T32" fmla="*/ 5930 w 7025"/>
                  <a:gd name="T33" fmla="*/ 1042 h 1660"/>
                  <a:gd name="T34" fmla="*/ 2875 w 7025"/>
                  <a:gd name="T35" fmla="*/ 1047 h 1660"/>
                  <a:gd name="T36" fmla="*/ 3769 w 7025"/>
                  <a:gd name="T37" fmla="*/ 995 h 1660"/>
                  <a:gd name="T38" fmla="*/ 5949 w 7025"/>
                  <a:gd name="T39" fmla="*/ 990 h 1660"/>
                  <a:gd name="T40" fmla="*/ 5946 w 7025"/>
                  <a:gd name="T41" fmla="*/ 1023 h 1660"/>
                  <a:gd name="T42" fmla="*/ 6337 w 7025"/>
                  <a:gd name="T43" fmla="*/ 938 h 1660"/>
                  <a:gd name="T44" fmla="*/ 6339 w 7025"/>
                  <a:gd name="T45" fmla="*/ 1111 h 1660"/>
                  <a:gd name="T46" fmla="*/ 3842 w 7025"/>
                  <a:gd name="T47" fmla="*/ 962 h 1660"/>
                  <a:gd name="T48" fmla="*/ 6382 w 7025"/>
                  <a:gd name="T49" fmla="*/ 895 h 1660"/>
                  <a:gd name="T50" fmla="*/ 6389 w 7025"/>
                  <a:gd name="T51" fmla="*/ 879 h 1660"/>
                  <a:gd name="T52" fmla="*/ 6386 w 7025"/>
                  <a:gd name="T53" fmla="*/ 893 h 1660"/>
                  <a:gd name="T54" fmla="*/ 6396 w 7025"/>
                  <a:gd name="T55" fmla="*/ 850 h 1660"/>
                  <a:gd name="T56" fmla="*/ 6396 w 7025"/>
                  <a:gd name="T57" fmla="*/ 872 h 1660"/>
                  <a:gd name="T58" fmla="*/ 801 w 7025"/>
                  <a:gd name="T59" fmla="*/ 1037 h 1660"/>
                  <a:gd name="T60" fmla="*/ 3097 w 7025"/>
                  <a:gd name="T61" fmla="*/ 765 h 1660"/>
                  <a:gd name="T62" fmla="*/ 1007 w 7025"/>
                  <a:gd name="T63" fmla="*/ 753 h 1660"/>
                  <a:gd name="T64" fmla="*/ 1007 w 7025"/>
                  <a:gd name="T65" fmla="*/ 753 h 1660"/>
                  <a:gd name="T66" fmla="*/ 5131 w 7025"/>
                  <a:gd name="T67" fmla="*/ 940 h 1660"/>
                  <a:gd name="T68" fmla="*/ 3135 w 7025"/>
                  <a:gd name="T69" fmla="*/ 730 h 1660"/>
                  <a:gd name="T70" fmla="*/ 94 w 7025"/>
                  <a:gd name="T71" fmla="*/ 621 h 1660"/>
                  <a:gd name="T72" fmla="*/ 5251 w 7025"/>
                  <a:gd name="T73" fmla="*/ 611 h 1660"/>
                  <a:gd name="T74" fmla="*/ 3282 w 7025"/>
                  <a:gd name="T75" fmla="*/ 583 h 1660"/>
                  <a:gd name="T76" fmla="*/ 3282 w 7025"/>
                  <a:gd name="T77" fmla="*/ 625 h 1660"/>
                  <a:gd name="T78" fmla="*/ 300 w 7025"/>
                  <a:gd name="T79" fmla="*/ 585 h 1660"/>
                  <a:gd name="T80" fmla="*/ 7022 w 7025"/>
                  <a:gd name="T81" fmla="*/ 512 h 1660"/>
                  <a:gd name="T82" fmla="*/ 4192 w 7025"/>
                  <a:gd name="T83" fmla="*/ 505 h 1660"/>
                  <a:gd name="T84" fmla="*/ 3298 w 7025"/>
                  <a:gd name="T85" fmla="*/ 502 h 1660"/>
                  <a:gd name="T86" fmla="*/ 3298 w 7025"/>
                  <a:gd name="T87" fmla="*/ 566 h 1660"/>
                  <a:gd name="T88" fmla="*/ 4034 w 7025"/>
                  <a:gd name="T89" fmla="*/ 455 h 1660"/>
                  <a:gd name="T90" fmla="*/ 3951 w 7025"/>
                  <a:gd name="T91" fmla="*/ 895 h 1660"/>
                  <a:gd name="T92" fmla="*/ 3327 w 7025"/>
                  <a:gd name="T93" fmla="*/ 436 h 1660"/>
                  <a:gd name="T94" fmla="*/ 3327 w 7025"/>
                  <a:gd name="T95" fmla="*/ 474 h 1660"/>
                  <a:gd name="T96" fmla="*/ 4038 w 7025"/>
                  <a:gd name="T97" fmla="*/ 391 h 1660"/>
                  <a:gd name="T98" fmla="*/ 4041 w 7025"/>
                  <a:gd name="T99" fmla="*/ 448 h 1660"/>
                  <a:gd name="T100" fmla="*/ 1806 w 7025"/>
                  <a:gd name="T101" fmla="*/ 1099 h 1660"/>
                  <a:gd name="T102" fmla="*/ 1936 w 7025"/>
                  <a:gd name="T103" fmla="*/ 337 h 1660"/>
                  <a:gd name="T104" fmla="*/ 4048 w 7025"/>
                  <a:gd name="T105" fmla="*/ 330 h 1660"/>
                  <a:gd name="T106" fmla="*/ 4050 w 7025"/>
                  <a:gd name="T107" fmla="*/ 330 h 1660"/>
                  <a:gd name="T108" fmla="*/ 2028 w 7025"/>
                  <a:gd name="T109" fmla="*/ 301 h 1660"/>
                  <a:gd name="T110" fmla="*/ 4639 w 7025"/>
                  <a:gd name="T111" fmla="*/ 460 h 1660"/>
                  <a:gd name="T112" fmla="*/ 4800 w 7025"/>
                  <a:gd name="T113" fmla="*/ 173 h 1660"/>
                  <a:gd name="T114" fmla="*/ 4852 w 7025"/>
                  <a:gd name="T115" fmla="*/ 0 h 1660"/>
                  <a:gd name="T116" fmla="*/ 4852 w 7025"/>
                  <a:gd name="T117" fmla="*/ 0 h 1660"/>
                  <a:gd name="T118" fmla="*/ 4908 w 7025"/>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0">
                    <a:moveTo>
                      <a:pt x="0" y="1454"/>
                    </a:moveTo>
                    <a:lnTo>
                      <a:pt x="0" y="1454"/>
                    </a:lnTo>
                    <a:lnTo>
                      <a:pt x="0" y="1457"/>
                    </a:lnTo>
                    <a:lnTo>
                      <a:pt x="0" y="1501"/>
                    </a:lnTo>
                    <a:lnTo>
                      <a:pt x="0" y="1501"/>
                    </a:lnTo>
                    <a:lnTo>
                      <a:pt x="0" y="1454"/>
                    </a:lnTo>
                    <a:moveTo>
                      <a:pt x="5665" y="1326"/>
                    </a:moveTo>
                    <a:lnTo>
                      <a:pt x="5663" y="1326"/>
                    </a:lnTo>
                    <a:lnTo>
                      <a:pt x="5663" y="1329"/>
                    </a:lnTo>
                    <a:lnTo>
                      <a:pt x="5663" y="1416"/>
                    </a:lnTo>
                    <a:lnTo>
                      <a:pt x="5665" y="1416"/>
                    </a:lnTo>
                    <a:lnTo>
                      <a:pt x="5665" y="1326"/>
                    </a:lnTo>
                    <a:moveTo>
                      <a:pt x="3710" y="1224"/>
                    </a:moveTo>
                    <a:lnTo>
                      <a:pt x="3707" y="1224"/>
                    </a:lnTo>
                    <a:lnTo>
                      <a:pt x="3707" y="1224"/>
                    </a:lnTo>
                    <a:lnTo>
                      <a:pt x="3707" y="1224"/>
                    </a:lnTo>
                    <a:lnTo>
                      <a:pt x="3707" y="1359"/>
                    </a:lnTo>
                    <a:lnTo>
                      <a:pt x="3710" y="1359"/>
                    </a:lnTo>
                    <a:lnTo>
                      <a:pt x="3710" y="1224"/>
                    </a:lnTo>
                    <a:moveTo>
                      <a:pt x="5831" y="1210"/>
                    </a:moveTo>
                    <a:lnTo>
                      <a:pt x="5828" y="1210"/>
                    </a:lnTo>
                    <a:lnTo>
                      <a:pt x="5828" y="1210"/>
                    </a:lnTo>
                    <a:lnTo>
                      <a:pt x="5828" y="1213"/>
                    </a:lnTo>
                    <a:lnTo>
                      <a:pt x="5828" y="1293"/>
                    </a:lnTo>
                    <a:lnTo>
                      <a:pt x="5831" y="1293"/>
                    </a:lnTo>
                    <a:lnTo>
                      <a:pt x="5831" y="1210"/>
                    </a:lnTo>
                    <a:moveTo>
                      <a:pt x="1664" y="1158"/>
                    </a:moveTo>
                    <a:lnTo>
                      <a:pt x="1664" y="1158"/>
                    </a:lnTo>
                    <a:lnTo>
                      <a:pt x="1662" y="1158"/>
                    </a:lnTo>
                    <a:lnTo>
                      <a:pt x="1662" y="1161"/>
                    </a:lnTo>
                    <a:lnTo>
                      <a:pt x="1662" y="1168"/>
                    </a:lnTo>
                    <a:lnTo>
                      <a:pt x="1664" y="1168"/>
                    </a:lnTo>
                    <a:lnTo>
                      <a:pt x="1664" y="1158"/>
                    </a:lnTo>
                    <a:moveTo>
                      <a:pt x="1688" y="1132"/>
                    </a:moveTo>
                    <a:lnTo>
                      <a:pt x="1686" y="1132"/>
                    </a:lnTo>
                    <a:lnTo>
                      <a:pt x="1686" y="1135"/>
                    </a:lnTo>
                    <a:lnTo>
                      <a:pt x="1686" y="1137"/>
                    </a:lnTo>
                    <a:lnTo>
                      <a:pt x="1688" y="1137"/>
                    </a:lnTo>
                    <a:lnTo>
                      <a:pt x="1688" y="1135"/>
                    </a:lnTo>
                    <a:lnTo>
                      <a:pt x="1688" y="1135"/>
                    </a:lnTo>
                    <a:lnTo>
                      <a:pt x="1688" y="1132"/>
                    </a:lnTo>
                    <a:moveTo>
                      <a:pt x="5854" y="1130"/>
                    </a:moveTo>
                    <a:lnTo>
                      <a:pt x="5854" y="1130"/>
                    </a:lnTo>
                    <a:lnTo>
                      <a:pt x="5854" y="1132"/>
                    </a:lnTo>
                    <a:lnTo>
                      <a:pt x="5854" y="1187"/>
                    </a:lnTo>
                    <a:lnTo>
                      <a:pt x="5854" y="1187"/>
                    </a:lnTo>
                    <a:lnTo>
                      <a:pt x="5854" y="1184"/>
                    </a:lnTo>
                    <a:lnTo>
                      <a:pt x="5854" y="1184"/>
                    </a:lnTo>
                    <a:lnTo>
                      <a:pt x="5854" y="1130"/>
                    </a:lnTo>
                    <a:moveTo>
                      <a:pt x="6322" y="1130"/>
                    </a:moveTo>
                    <a:lnTo>
                      <a:pt x="6320" y="1130"/>
                    </a:lnTo>
                    <a:lnTo>
                      <a:pt x="6320" y="1130"/>
                    </a:lnTo>
                    <a:lnTo>
                      <a:pt x="6320" y="1132"/>
                    </a:lnTo>
                    <a:lnTo>
                      <a:pt x="6320" y="1177"/>
                    </a:lnTo>
                    <a:lnTo>
                      <a:pt x="6322" y="1177"/>
                    </a:lnTo>
                    <a:lnTo>
                      <a:pt x="6322" y="1130"/>
                    </a:lnTo>
                    <a:moveTo>
                      <a:pt x="1447" y="1127"/>
                    </a:moveTo>
                    <a:lnTo>
                      <a:pt x="1444" y="1127"/>
                    </a:lnTo>
                    <a:lnTo>
                      <a:pt x="1444" y="1127"/>
                    </a:lnTo>
                    <a:lnTo>
                      <a:pt x="1444" y="1130"/>
                    </a:lnTo>
                    <a:lnTo>
                      <a:pt x="1444" y="1168"/>
                    </a:lnTo>
                    <a:lnTo>
                      <a:pt x="1447" y="1168"/>
                    </a:lnTo>
                    <a:lnTo>
                      <a:pt x="1447" y="1127"/>
                    </a:lnTo>
                    <a:moveTo>
                      <a:pt x="1463" y="1085"/>
                    </a:moveTo>
                    <a:lnTo>
                      <a:pt x="1461" y="1085"/>
                    </a:lnTo>
                    <a:lnTo>
                      <a:pt x="1461" y="1087"/>
                    </a:lnTo>
                    <a:lnTo>
                      <a:pt x="1461" y="1111"/>
                    </a:lnTo>
                    <a:lnTo>
                      <a:pt x="1463" y="1111"/>
                    </a:lnTo>
                    <a:lnTo>
                      <a:pt x="1463" y="1108"/>
                    </a:lnTo>
                    <a:lnTo>
                      <a:pt x="1463" y="1108"/>
                    </a:lnTo>
                    <a:lnTo>
                      <a:pt x="1463" y="1085"/>
                    </a:lnTo>
                    <a:moveTo>
                      <a:pt x="2858" y="1063"/>
                    </a:moveTo>
                    <a:lnTo>
                      <a:pt x="2858" y="1063"/>
                    </a:lnTo>
                    <a:lnTo>
                      <a:pt x="2858" y="1063"/>
                    </a:lnTo>
                    <a:lnTo>
                      <a:pt x="2858" y="1066"/>
                    </a:lnTo>
                    <a:lnTo>
                      <a:pt x="2858" y="1208"/>
                    </a:lnTo>
                    <a:lnTo>
                      <a:pt x="2858" y="1208"/>
                    </a:lnTo>
                    <a:lnTo>
                      <a:pt x="2858" y="1063"/>
                    </a:lnTo>
                    <a:moveTo>
                      <a:pt x="5930" y="1042"/>
                    </a:moveTo>
                    <a:lnTo>
                      <a:pt x="5930" y="1042"/>
                    </a:lnTo>
                    <a:lnTo>
                      <a:pt x="5928" y="1042"/>
                    </a:lnTo>
                    <a:lnTo>
                      <a:pt x="5928" y="1045"/>
                    </a:lnTo>
                    <a:lnTo>
                      <a:pt x="5928" y="1097"/>
                    </a:lnTo>
                    <a:lnTo>
                      <a:pt x="5930" y="1097"/>
                    </a:lnTo>
                    <a:lnTo>
                      <a:pt x="5930" y="1042"/>
                    </a:lnTo>
                    <a:moveTo>
                      <a:pt x="2877" y="1014"/>
                    </a:moveTo>
                    <a:lnTo>
                      <a:pt x="2875" y="1014"/>
                    </a:lnTo>
                    <a:lnTo>
                      <a:pt x="2875" y="1016"/>
                    </a:lnTo>
                    <a:lnTo>
                      <a:pt x="2875" y="1047"/>
                    </a:lnTo>
                    <a:lnTo>
                      <a:pt x="2875" y="1047"/>
                    </a:lnTo>
                    <a:lnTo>
                      <a:pt x="2875" y="1045"/>
                    </a:lnTo>
                    <a:lnTo>
                      <a:pt x="2877" y="1045"/>
                    </a:lnTo>
                    <a:lnTo>
                      <a:pt x="2877" y="1014"/>
                    </a:lnTo>
                    <a:moveTo>
                      <a:pt x="3769" y="995"/>
                    </a:moveTo>
                    <a:lnTo>
                      <a:pt x="3769" y="995"/>
                    </a:lnTo>
                    <a:lnTo>
                      <a:pt x="3769" y="997"/>
                    </a:lnTo>
                    <a:lnTo>
                      <a:pt x="3769" y="1191"/>
                    </a:lnTo>
                    <a:lnTo>
                      <a:pt x="3769" y="1191"/>
                    </a:lnTo>
                    <a:lnTo>
                      <a:pt x="3769" y="995"/>
                    </a:lnTo>
                    <a:moveTo>
                      <a:pt x="5949" y="990"/>
                    </a:moveTo>
                    <a:lnTo>
                      <a:pt x="5946" y="990"/>
                    </a:lnTo>
                    <a:lnTo>
                      <a:pt x="5946" y="992"/>
                    </a:lnTo>
                    <a:lnTo>
                      <a:pt x="5946" y="1026"/>
                    </a:lnTo>
                    <a:lnTo>
                      <a:pt x="5946" y="1026"/>
                    </a:lnTo>
                    <a:lnTo>
                      <a:pt x="5946" y="1023"/>
                    </a:lnTo>
                    <a:lnTo>
                      <a:pt x="5949" y="1023"/>
                    </a:lnTo>
                    <a:lnTo>
                      <a:pt x="5949" y="990"/>
                    </a:lnTo>
                    <a:moveTo>
                      <a:pt x="6339" y="938"/>
                    </a:moveTo>
                    <a:lnTo>
                      <a:pt x="6339" y="938"/>
                    </a:lnTo>
                    <a:lnTo>
                      <a:pt x="6337" y="938"/>
                    </a:lnTo>
                    <a:lnTo>
                      <a:pt x="6337" y="938"/>
                    </a:lnTo>
                    <a:lnTo>
                      <a:pt x="6337" y="1113"/>
                    </a:lnTo>
                    <a:lnTo>
                      <a:pt x="6339" y="1113"/>
                    </a:lnTo>
                    <a:lnTo>
                      <a:pt x="6339" y="1111"/>
                    </a:lnTo>
                    <a:lnTo>
                      <a:pt x="6339" y="1111"/>
                    </a:lnTo>
                    <a:lnTo>
                      <a:pt x="6339" y="938"/>
                    </a:lnTo>
                    <a:moveTo>
                      <a:pt x="3844" y="929"/>
                    </a:moveTo>
                    <a:lnTo>
                      <a:pt x="3842" y="929"/>
                    </a:lnTo>
                    <a:lnTo>
                      <a:pt x="3842" y="931"/>
                    </a:lnTo>
                    <a:lnTo>
                      <a:pt x="3842" y="962"/>
                    </a:lnTo>
                    <a:lnTo>
                      <a:pt x="3844" y="962"/>
                    </a:lnTo>
                    <a:lnTo>
                      <a:pt x="3844" y="929"/>
                    </a:lnTo>
                    <a:moveTo>
                      <a:pt x="6384" y="895"/>
                    </a:moveTo>
                    <a:lnTo>
                      <a:pt x="6384" y="895"/>
                    </a:lnTo>
                    <a:lnTo>
                      <a:pt x="6382" y="895"/>
                    </a:lnTo>
                    <a:lnTo>
                      <a:pt x="6382" y="898"/>
                    </a:lnTo>
                    <a:lnTo>
                      <a:pt x="6382" y="902"/>
                    </a:lnTo>
                    <a:lnTo>
                      <a:pt x="6382" y="902"/>
                    </a:lnTo>
                    <a:lnTo>
                      <a:pt x="6384" y="895"/>
                    </a:lnTo>
                    <a:moveTo>
                      <a:pt x="6389" y="879"/>
                    </a:moveTo>
                    <a:lnTo>
                      <a:pt x="6386" y="879"/>
                    </a:lnTo>
                    <a:lnTo>
                      <a:pt x="6386" y="879"/>
                    </a:lnTo>
                    <a:lnTo>
                      <a:pt x="6386" y="881"/>
                    </a:lnTo>
                    <a:lnTo>
                      <a:pt x="6386" y="893"/>
                    </a:lnTo>
                    <a:lnTo>
                      <a:pt x="6386" y="893"/>
                    </a:lnTo>
                    <a:lnTo>
                      <a:pt x="6389" y="891"/>
                    </a:lnTo>
                    <a:lnTo>
                      <a:pt x="6389" y="891"/>
                    </a:lnTo>
                    <a:lnTo>
                      <a:pt x="6389" y="879"/>
                    </a:lnTo>
                    <a:moveTo>
                      <a:pt x="6396" y="850"/>
                    </a:moveTo>
                    <a:lnTo>
                      <a:pt x="6396" y="850"/>
                    </a:lnTo>
                    <a:lnTo>
                      <a:pt x="6396" y="853"/>
                    </a:lnTo>
                    <a:lnTo>
                      <a:pt x="6396" y="872"/>
                    </a:lnTo>
                    <a:lnTo>
                      <a:pt x="6396" y="872"/>
                    </a:lnTo>
                    <a:lnTo>
                      <a:pt x="6396" y="872"/>
                    </a:lnTo>
                    <a:lnTo>
                      <a:pt x="6396" y="872"/>
                    </a:lnTo>
                    <a:lnTo>
                      <a:pt x="6396" y="850"/>
                    </a:lnTo>
                    <a:moveTo>
                      <a:pt x="804" y="829"/>
                    </a:moveTo>
                    <a:lnTo>
                      <a:pt x="801" y="829"/>
                    </a:lnTo>
                    <a:lnTo>
                      <a:pt x="801" y="831"/>
                    </a:lnTo>
                    <a:lnTo>
                      <a:pt x="801" y="1037"/>
                    </a:lnTo>
                    <a:lnTo>
                      <a:pt x="804" y="1037"/>
                    </a:lnTo>
                    <a:lnTo>
                      <a:pt x="804" y="829"/>
                    </a:lnTo>
                    <a:moveTo>
                      <a:pt x="3100" y="765"/>
                    </a:moveTo>
                    <a:lnTo>
                      <a:pt x="3100" y="765"/>
                    </a:lnTo>
                    <a:lnTo>
                      <a:pt x="3097" y="765"/>
                    </a:lnTo>
                    <a:lnTo>
                      <a:pt x="3097" y="765"/>
                    </a:lnTo>
                    <a:lnTo>
                      <a:pt x="3097" y="947"/>
                    </a:lnTo>
                    <a:lnTo>
                      <a:pt x="3100" y="947"/>
                    </a:lnTo>
                    <a:lnTo>
                      <a:pt x="3100" y="765"/>
                    </a:lnTo>
                    <a:moveTo>
                      <a:pt x="1007" y="753"/>
                    </a:moveTo>
                    <a:lnTo>
                      <a:pt x="1007" y="753"/>
                    </a:lnTo>
                    <a:lnTo>
                      <a:pt x="1007" y="756"/>
                    </a:lnTo>
                    <a:lnTo>
                      <a:pt x="1007" y="796"/>
                    </a:lnTo>
                    <a:lnTo>
                      <a:pt x="1007" y="796"/>
                    </a:lnTo>
                    <a:lnTo>
                      <a:pt x="1007" y="753"/>
                    </a:lnTo>
                    <a:moveTo>
                      <a:pt x="5131" y="734"/>
                    </a:moveTo>
                    <a:lnTo>
                      <a:pt x="5128" y="734"/>
                    </a:lnTo>
                    <a:lnTo>
                      <a:pt x="5128" y="734"/>
                    </a:lnTo>
                    <a:lnTo>
                      <a:pt x="5128" y="940"/>
                    </a:lnTo>
                    <a:lnTo>
                      <a:pt x="5131" y="940"/>
                    </a:lnTo>
                    <a:lnTo>
                      <a:pt x="5131" y="734"/>
                    </a:lnTo>
                    <a:moveTo>
                      <a:pt x="3137" y="659"/>
                    </a:moveTo>
                    <a:lnTo>
                      <a:pt x="3135" y="659"/>
                    </a:lnTo>
                    <a:lnTo>
                      <a:pt x="3135" y="661"/>
                    </a:lnTo>
                    <a:lnTo>
                      <a:pt x="3135" y="730"/>
                    </a:lnTo>
                    <a:lnTo>
                      <a:pt x="3137" y="730"/>
                    </a:lnTo>
                    <a:lnTo>
                      <a:pt x="3137" y="659"/>
                    </a:lnTo>
                    <a:moveTo>
                      <a:pt x="97" y="618"/>
                    </a:moveTo>
                    <a:lnTo>
                      <a:pt x="94" y="618"/>
                    </a:lnTo>
                    <a:lnTo>
                      <a:pt x="94" y="621"/>
                    </a:lnTo>
                    <a:lnTo>
                      <a:pt x="94" y="1421"/>
                    </a:lnTo>
                    <a:lnTo>
                      <a:pt x="97" y="1421"/>
                    </a:lnTo>
                    <a:lnTo>
                      <a:pt x="97" y="618"/>
                    </a:lnTo>
                    <a:moveTo>
                      <a:pt x="5251" y="611"/>
                    </a:moveTo>
                    <a:lnTo>
                      <a:pt x="5251" y="611"/>
                    </a:lnTo>
                    <a:lnTo>
                      <a:pt x="5251" y="614"/>
                    </a:lnTo>
                    <a:lnTo>
                      <a:pt x="5251" y="699"/>
                    </a:lnTo>
                    <a:lnTo>
                      <a:pt x="5251" y="699"/>
                    </a:lnTo>
                    <a:lnTo>
                      <a:pt x="5251" y="611"/>
                    </a:lnTo>
                    <a:moveTo>
                      <a:pt x="3282" y="583"/>
                    </a:moveTo>
                    <a:lnTo>
                      <a:pt x="3279" y="583"/>
                    </a:lnTo>
                    <a:lnTo>
                      <a:pt x="3279" y="583"/>
                    </a:lnTo>
                    <a:lnTo>
                      <a:pt x="3279" y="585"/>
                    </a:lnTo>
                    <a:lnTo>
                      <a:pt x="3279" y="625"/>
                    </a:lnTo>
                    <a:lnTo>
                      <a:pt x="3282" y="625"/>
                    </a:lnTo>
                    <a:lnTo>
                      <a:pt x="3282" y="583"/>
                    </a:lnTo>
                    <a:moveTo>
                      <a:pt x="300" y="550"/>
                    </a:moveTo>
                    <a:lnTo>
                      <a:pt x="300" y="550"/>
                    </a:lnTo>
                    <a:lnTo>
                      <a:pt x="300" y="550"/>
                    </a:lnTo>
                    <a:lnTo>
                      <a:pt x="300" y="585"/>
                    </a:lnTo>
                    <a:lnTo>
                      <a:pt x="300" y="585"/>
                    </a:lnTo>
                    <a:lnTo>
                      <a:pt x="300" y="550"/>
                    </a:lnTo>
                    <a:moveTo>
                      <a:pt x="7025" y="509"/>
                    </a:moveTo>
                    <a:lnTo>
                      <a:pt x="7022" y="509"/>
                    </a:lnTo>
                    <a:lnTo>
                      <a:pt x="7022" y="512"/>
                    </a:lnTo>
                    <a:lnTo>
                      <a:pt x="7022" y="1660"/>
                    </a:lnTo>
                    <a:lnTo>
                      <a:pt x="7025" y="1660"/>
                    </a:lnTo>
                    <a:lnTo>
                      <a:pt x="7025" y="509"/>
                    </a:lnTo>
                    <a:moveTo>
                      <a:pt x="4192" y="505"/>
                    </a:moveTo>
                    <a:lnTo>
                      <a:pt x="4192" y="505"/>
                    </a:lnTo>
                    <a:lnTo>
                      <a:pt x="4190" y="507"/>
                    </a:lnTo>
                    <a:lnTo>
                      <a:pt x="4149" y="564"/>
                    </a:lnTo>
                    <a:lnTo>
                      <a:pt x="4149" y="564"/>
                    </a:lnTo>
                    <a:lnTo>
                      <a:pt x="4192" y="505"/>
                    </a:lnTo>
                    <a:moveTo>
                      <a:pt x="3298" y="502"/>
                    </a:moveTo>
                    <a:lnTo>
                      <a:pt x="3298" y="502"/>
                    </a:lnTo>
                    <a:lnTo>
                      <a:pt x="3298" y="502"/>
                    </a:lnTo>
                    <a:lnTo>
                      <a:pt x="3298" y="505"/>
                    </a:lnTo>
                    <a:lnTo>
                      <a:pt x="3298" y="566"/>
                    </a:lnTo>
                    <a:lnTo>
                      <a:pt x="3298" y="566"/>
                    </a:lnTo>
                    <a:lnTo>
                      <a:pt x="3298" y="564"/>
                    </a:lnTo>
                    <a:lnTo>
                      <a:pt x="3298" y="564"/>
                    </a:lnTo>
                    <a:lnTo>
                      <a:pt x="3298" y="502"/>
                    </a:lnTo>
                    <a:moveTo>
                      <a:pt x="4036" y="455"/>
                    </a:moveTo>
                    <a:lnTo>
                      <a:pt x="4034" y="455"/>
                    </a:lnTo>
                    <a:lnTo>
                      <a:pt x="4034" y="455"/>
                    </a:lnTo>
                    <a:lnTo>
                      <a:pt x="4034" y="457"/>
                    </a:lnTo>
                    <a:lnTo>
                      <a:pt x="4034" y="493"/>
                    </a:lnTo>
                    <a:lnTo>
                      <a:pt x="3951" y="644"/>
                    </a:lnTo>
                    <a:lnTo>
                      <a:pt x="3951" y="895"/>
                    </a:lnTo>
                    <a:lnTo>
                      <a:pt x="3953" y="895"/>
                    </a:lnTo>
                    <a:lnTo>
                      <a:pt x="3953" y="642"/>
                    </a:lnTo>
                    <a:lnTo>
                      <a:pt x="4036" y="491"/>
                    </a:lnTo>
                    <a:lnTo>
                      <a:pt x="4036" y="455"/>
                    </a:lnTo>
                    <a:moveTo>
                      <a:pt x="3327" y="436"/>
                    </a:moveTo>
                    <a:lnTo>
                      <a:pt x="3327" y="436"/>
                    </a:lnTo>
                    <a:lnTo>
                      <a:pt x="3327" y="436"/>
                    </a:lnTo>
                    <a:lnTo>
                      <a:pt x="3327" y="474"/>
                    </a:lnTo>
                    <a:lnTo>
                      <a:pt x="3327" y="474"/>
                    </a:lnTo>
                    <a:lnTo>
                      <a:pt x="3327" y="474"/>
                    </a:lnTo>
                    <a:lnTo>
                      <a:pt x="3327" y="474"/>
                    </a:lnTo>
                    <a:lnTo>
                      <a:pt x="3327" y="436"/>
                    </a:lnTo>
                    <a:moveTo>
                      <a:pt x="4041" y="391"/>
                    </a:moveTo>
                    <a:lnTo>
                      <a:pt x="4041" y="391"/>
                    </a:lnTo>
                    <a:lnTo>
                      <a:pt x="4038" y="391"/>
                    </a:lnTo>
                    <a:lnTo>
                      <a:pt x="4038" y="393"/>
                    </a:lnTo>
                    <a:lnTo>
                      <a:pt x="4038" y="450"/>
                    </a:lnTo>
                    <a:lnTo>
                      <a:pt x="4041" y="450"/>
                    </a:lnTo>
                    <a:lnTo>
                      <a:pt x="4041" y="448"/>
                    </a:lnTo>
                    <a:lnTo>
                      <a:pt x="4041" y="448"/>
                    </a:lnTo>
                    <a:lnTo>
                      <a:pt x="4041" y="391"/>
                    </a:lnTo>
                    <a:moveTo>
                      <a:pt x="1809" y="370"/>
                    </a:moveTo>
                    <a:lnTo>
                      <a:pt x="1806" y="370"/>
                    </a:lnTo>
                    <a:lnTo>
                      <a:pt x="1806" y="372"/>
                    </a:lnTo>
                    <a:lnTo>
                      <a:pt x="1806" y="1099"/>
                    </a:lnTo>
                    <a:lnTo>
                      <a:pt x="1809" y="1099"/>
                    </a:lnTo>
                    <a:lnTo>
                      <a:pt x="1809" y="370"/>
                    </a:lnTo>
                    <a:moveTo>
                      <a:pt x="1936" y="334"/>
                    </a:moveTo>
                    <a:lnTo>
                      <a:pt x="1936" y="334"/>
                    </a:lnTo>
                    <a:lnTo>
                      <a:pt x="1936" y="337"/>
                    </a:lnTo>
                    <a:lnTo>
                      <a:pt x="1936" y="337"/>
                    </a:lnTo>
                    <a:lnTo>
                      <a:pt x="1936" y="334"/>
                    </a:lnTo>
                    <a:moveTo>
                      <a:pt x="4050" y="330"/>
                    </a:moveTo>
                    <a:lnTo>
                      <a:pt x="4048" y="330"/>
                    </a:lnTo>
                    <a:lnTo>
                      <a:pt x="4048" y="330"/>
                    </a:lnTo>
                    <a:lnTo>
                      <a:pt x="4048" y="384"/>
                    </a:lnTo>
                    <a:lnTo>
                      <a:pt x="4048" y="384"/>
                    </a:lnTo>
                    <a:lnTo>
                      <a:pt x="4048" y="384"/>
                    </a:lnTo>
                    <a:lnTo>
                      <a:pt x="4050" y="384"/>
                    </a:lnTo>
                    <a:lnTo>
                      <a:pt x="4050" y="330"/>
                    </a:lnTo>
                    <a:moveTo>
                      <a:pt x="2028" y="294"/>
                    </a:moveTo>
                    <a:lnTo>
                      <a:pt x="2026" y="294"/>
                    </a:lnTo>
                    <a:lnTo>
                      <a:pt x="2026" y="296"/>
                    </a:lnTo>
                    <a:lnTo>
                      <a:pt x="2026" y="301"/>
                    </a:lnTo>
                    <a:lnTo>
                      <a:pt x="2028" y="301"/>
                    </a:lnTo>
                    <a:lnTo>
                      <a:pt x="2028" y="294"/>
                    </a:lnTo>
                    <a:moveTo>
                      <a:pt x="4703" y="232"/>
                    </a:moveTo>
                    <a:lnTo>
                      <a:pt x="4700" y="232"/>
                    </a:lnTo>
                    <a:lnTo>
                      <a:pt x="4700" y="235"/>
                    </a:lnTo>
                    <a:lnTo>
                      <a:pt x="4639" y="460"/>
                    </a:lnTo>
                    <a:lnTo>
                      <a:pt x="4641" y="457"/>
                    </a:lnTo>
                    <a:lnTo>
                      <a:pt x="4703" y="232"/>
                    </a:lnTo>
                    <a:moveTo>
                      <a:pt x="4802" y="173"/>
                    </a:moveTo>
                    <a:lnTo>
                      <a:pt x="4802" y="173"/>
                    </a:lnTo>
                    <a:lnTo>
                      <a:pt x="4800" y="173"/>
                    </a:lnTo>
                    <a:lnTo>
                      <a:pt x="4800" y="176"/>
                    </a:lnTo>
                    <a:lnTo>
                      <a:pt x="4800" y="199"/>
                    </a:lnTo>
                    <a:lnTo>
                      <a:pt x="4802" y="199"/>
                    </a:lnTo>
                    <a:lnTo>
                      <a:pt x="4802" y="173"/>
                    </a:lnTo>
                    <a:moveTo>
                      <a:pt x="4852" y="0"/>
                    </a:moveTo>
                    <a:lnTo>
                      <a:pt x="4849" y="0"/>
                    </a:lnTo>
                    <a:lnTo>
                      <a:pt x="4849" y="3"/>
                    </a:lnTo>
                    <a:lnTo>
                      <a:pt x="4849" y="140"/>
                    </a:lnTo>
                    <a:lnTo>
                      <a:pt x="4852" y="140"/>
                    </a:lnTo>
                    <a:lnTo>
                      <a:pt x="4852" y="0"/>
                    </a:lnTo>
                    <a:moveTo>
                      <a:pt x="4908" y="0"/>
                    </a:moveTo>
                    <a:lnTo>
                      <a:pt x="4908" y="0"/>
                    </a:lnTo>
                    <a:lnTo>
                      <a:pt x="4908" y="3"/>
                    </a:lnTo>
                    <a:lnTo>
                      <a:pt x="4908" y="140"/>
                    </a:lnTo>
                    <a:lnTo>
                      <a:pt x="4908" y="140"/>
                    </a:lnTo>
                    <a:lnTo>
                      <a:pt x="49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5" name="Freeform 110"/>
              <p:cNvSpPr>
                <a:spLocks noEditPoints="1"/>
              </p:cNvSpPr>
              <p:nvPr/>
            </p:nvSpPr>
            <p:spPr bwMode="auto">
              <a:xfrm>
                <a:off x="14" y="1693"/>
                <a:ext cx="7027" cy="1660"/>
              </a:xfrm>
              <a:custGeom>
                <a:avLst/>
                <a:gdLst>
                  <a:gd name="T0" fmla="*/ 2 w 7027"/>
                  <a:gd name="T1" fmla="*/ 1501 h 1660"/>
                  <a:gd name="T2" fmla="*/ 5665 w 7027"/>
                  <a:gd name="T3" fmla="*/ 1416 h 1660"/>
                  <a:gd name="T4" fmla="*/ 3710 w 7027"/>
                  <a:gd name="T5" fmla="*/ 1222 h 1660"/>
                  <a:gd name="T6" fmla="*/ 5833 w 7027"/>
                  <a:gd name="T7" fmla="*/ 1208 h 1660"/>
                  <a:gd name="T8" fmla="*/ 5833 w 7027"/>
                  <a:gd name="T9" fmla="*/ 1293 h 1660"/>
                  <a:gd name="T10" fmla="*/ 1664 w 7027"/>
                  <a:gd name="T11" fmla="*/ 1158 h 1660"/>
                  <a:gd name="T12" fmla="*/ 1688 w 7027"/>
                  <a:gd name="T13" fmla="*/ 1132 h 1660"/>
                  <a:gd name="T14" fmla="*/ 1690 w 7027"/>
                  <a:gd name="T15" fmla="*/ 1132 h 1660"/>
                  <a:gd name="T16" fmla="*/ 5854 w 7027"/>
                  <a:gd name="T17" fmla="*/ 1184 h 1660"/>
                  <a:gd name="T18" fmla="*/ 6322 w 7027"/>
                  <a:gd name="T19" fmla="*/ 1127 h 1660"/>
                  <a:gd name="T20" fmla="*/ 6322 w 7027"/>
                  <a:gd name="T21" fmla="*/ 1177 h 1660"/>
                  <a:gd name="T22" fmla="*/ 1447 w 7027"/>
                  <a:gd name="T23" fmla="*/ 1127 h 1660"/>
                  <a:gd name="T24" fmla="*/ 1463 w 7027"/>
                  <a:gd name="T25" fmla="*/ 1082 h 1660"/>
                  <a:gd name="T26" fmla="*/ 1466 w 7027"/>
                  <a:gd name="T27" fmla="*/ 1106 h 1660"/>
                  <a:gd name="T28" fmla="*/ 2858 w 7027"/>
                  <a:gd name="T29" fmla="*/ 1063 h 1660"/>
                  <a:gd name="T30" fmla="*/ 5932 w 7027"/>
                  <a:gd name="T31" fmla="*/ 1040 h 1660"/>
                  <a:gd name="T32" fmla="*/ 5932 w 7027"/>
                  <a:gd name="T33" fmla="*/ 1040 h 1660"/>
                  <a:gd name="T34" fmla="*/ 2877 w 7027"/>
                  <a:gd name="T35" fmla="*/ 1045 h 1660"/>
                  <a:gd name="T36" fmla="*/ 3769 w 7027"/>
                  <a:gd name="T37" fmla="*/ 992 h 1660"/>
                  <a:gd name="T38" fmla="*/ 5949 w 7027"/>
                  <a:gd name="T39" fmla="*/ 990 h 1660"/>
                  <a:gd name="T40" fmla="*/ 5949 w 7027"/>
                  <a:gd name="T41" fmla="*/ 1023 h 1660"/>
                  <a:gd name="T42" fmla="*/ 6339 w 7027"/>
                  <a:gd name="T43" fmla="*/ 936 h 1660"/>
                  <a:gd name="T44" fmla="*/ 6341 w 7027"/>
                  <a:gd name="T45" fmla="*/ 1108 h 1660"/>
                  <a:gd name="T46" fmla="*/ 3844 w 7027"/>
                  <a:gd name="T47" fmla="*/ 962 h 1660"/>
                  <a:gd name="T48" fmla="*/ 6384 w 7027"/>
                  <a:gd name="T49" fmla="*/ 895 h 1660"/>
                  <a:gd name="T50" fmla="*/ 6391 w 7027"/>
                  <a:gd name="T51" fmla="*/ 879 h 1660"/>
                  <a:gd name="T52" fmla="*/ 6389 w 7027"/>
                  <a:gd name="T53" fmla="*/ 891 h 1660"/>
                  <a:gd name="T54" fmla="*/ 6396 w 7027"/>
                  <a:gd name="T55" fmla="*/ 850 h 1660"/>
                  <a:gd name="T56" fmla="*/ 6398 w 7027"/>
                  <a:gd name="T57" fmla="*/ 869 h 1660"/>
                  <a:gd name="T58" fmla="*/ 804 w 7027"/>
                  <a:gd name="T59" fmla="*/ 1037 h 1660"/>
                  <a:gd name="T60" fmla="*/ 3100 w 7027"/>
                  <a:gd name="T61" fmla="*/ 763 h 1660"/>
                  <a:gd name="T62" fmla="*/ 1009 w 7027"/>
                  <a:gd name="T63" fmla="*/ 753 h 1660"/>
                  <a:gd name="T64" fmla="*/ 1009 w 7027"/>
                  <a:gd name="T65" fmla="*/ 753 h 1660"/>
                  <a:gd name="T66" fmla="*/ 5133 w 7027"/>
                  <a:gd name="T67" fmla="*/ 940 h 1660"/>
                  <a:gd name="T68" fmla="*/ 3137 w 7027"/>
                  <a:gd name="T69" fmla="*/ 730 h 1660"/>
                  <a:gd name="T70" fmla="*/ 97 w 7027"/>
                  <a:gd name="T71" fmla="*/ 618 h 1660"/>
                  <a:gd name="T72" fmla="*/ 5251 w 7027"/>
                  <a:gd name="T73" fmla="*/ 609 h 1660"/>
                  <a:gd name="T74" fmla="*/ 3284 w 7027"/>
                  <a:gd name="T75" fmla="*/ 580 h 1660"/>
                  <a:gd name="T76" fmla="*/ 3284 w 7027"/>
                  <a:gd name="T77" fmla="*/ 625 h 1660"/>
                  <a:gd name="T78" fmla="*/ 300 w 7027"/>
                  <a:gd name="T79" fmla="*/ 585 h 1660"/>
                  <a:gd name="T80" fmla="*/ 7025 w 7027"/>
                  <a:gd name="T81" fmla="*/ 509 h 1660"/>
                  <a:gd name="T82" fmla="*/ 4194 w 7027"/>
                  <a:gd name="T83" fmla="*/ 502 h 1660"/>
                  <a:gd name="T84" fmla="*/ 3301 w 7027"/>
                  <a:gd name="T85" fmla="*/ 500 h 1660"/>
                  <a:gd name="T86" fmla="*/ 3301 w 7027"/>
                  <a:gd name="T87" fmla="*/ 564 h 1660"/>
                  <a:gd name="T88" fmla="*/ 4036 w 7027"/>
                  <a:gd name="T89" fmla="*/ 453 h 1660"/>
                  <a:gd name="T90" fmla="*/ 3953 w 7027"/>
                  <a:gd name="T91" fmla="*/ 895 h 1660"/>
                  <a:gd name="T92" fmla="*/ 3329 w 7027"/>
                  <a:gd name="T93" fmla="*/ 434 h 1660"/>
                  <a:gd name="T94" fmla="*/ 3329 w 7027"/>
                  <a:gd name="T95" fmla="*/ 472 h 1660"/>
                  <a:gd name="T96" fmla="*/ 4041 w 7027"/>
                  <a:gd name="T97" fmla="*/ 391 h 1660"/>
                  <a:gd name="T98" fmla="*/ 4043 w 7027"/>
                  <a:gd name="T99" fmla="*/ 446 h 1660"/>
                  <a:gd name="T100" fmla="*/ 1809 w 7027"/>
                  <a:gd name="T101" fmla="*/ 1099 h 1660"/>
                  <a:gd name="T102" fmla="*/ 1936 w 7027"/>
                  <a:gd name="T103" fmla="*/ 334 h 1660"/>
                  <a:gd name="T104" fmla="*/ 4050 w 7027"/>
                  <a:gd name="T105" fmla="*/ 327 h 1660"/>
                  <a:gd name="T106" fmla="*/ 4050 w 7027"/>
                  <a:gd name="T107" fmla="*/ 382 h 1660"/>
                  <a:gd name="T108" fmla="*/ 2028 w 7027"/>
                  <a:gd name="T109" fmla="*/ 301 h 1660"/>
                  <a:gd name="T110" fmla="*/ 4703 w 7027"/>
                  <a:gd name="T111" fmla="*/ 232 h 1660"/>
                  <a:gd name="T112" fmla="*/ 4804 w 7027"/>
                  <a:gd name="T113" fmla="*/ 171 h 1660"/>
                  <a:gd name="T114" fmla="*/ 4804 w 7027"/>
                  <a:gd name="T115" fmla="*/ 171 h 1660"/>
                  <a:gd name="T116" fmla="*/ 4854 w 7027"/>
                  <a:gd name="T117" fmla="*/ 140 h 1660"/>
                  <a:gd name="T118" fmla="*/ 4908 w 7027"/>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0">
                    <a:moveTo>
                      <a:pt x="2" y="1452"/>
                    </a:moveTo>
                    <a:lnTo>
                      <a:pt x="0" y="1452"/>
                    </a:lnTo>
                    <a:lnTo>
                      <a:pt x="0" y="1454"/>
                    </a:lnTo>
                    <a:lnTo>
                      <a:pt x="0" y="1501"/>
                    </a:lnTo>
                    <a:lnTo>
                      <a:pt x="2" y="1501"/>
                    </a:lnTo>
                    <a:lnTo>
                      <a:pt x="2" y="1452"/>
                    </a:lnTo>
                    <a:close/>
                    <a:moveTo>
                      <a:pt x="5667" y="1326"/>
                    </a:moveTo>
                    <a:lnTo>
                      <a:pt x="5665" y="1326"/>
                    </a:lnTo>
                    <a:lnTo>
                      <a:pt x="5665" y="1326"/>
                    </a:lnTo>
                    <a:lnTo>
                      <a:pt x="5665" y="1416"/>
                    </a:lnTo>
                    <a:lnTo>
                      <a:pt x="5667" y="1416"/>
                    </a:lnTo>
                    <a:lnTo>
                      <a:pt x="5667" y="1326"/>
                    </a:lnTo>
                    <a:close/>
                    <a:moveTo>
                      <a:pt x="3712" y="1222"/>
                    </a:moveTo>
                    <a:lnTo>
                      <a:pt x="3710" y="1222"/>
                    </a:lnTo>
                    <a:lnTo>
                      <a:pt x="3710" y="1222"/>
                    </a:lnTo>
                    <a:lnTo>
                      <a:pt x="3710" y="1224"/>
                    </a:lnTo>
                    <a:lnTo>
                      <a:pt x="3710" y="1359"/>
                    </a:lnTo>
                    <a:lnTo>
                      <a:pt x="3712" y="1359"/>
                    </a:lnTo>
                    <a:lnTo>
                      <a:pt x="3712" y="1222"/>
                    </a:lnTo>
                    <a:close/>
                    <a:moveTo>
                      <a:pt x="5833" y="1208"/>
                    </a:moveTo>
                    <a:lnTo>
                      <a:pt x="5831" y="1208"/>
                    </a:lnTo>
                    <a:lnTo>
                      <a:pt x="5831" y="1208"/>
                    </a:lnTo>
                    <a:lnTo>
                      <a:pt x="5831" y="1210"/>
                    </a:lnTo>
                    <a:lnTo>
                      <a:pt x="5831" y="1293"/>
                    </a:lnTo>
                    <a:lnTo>
                      <a:pt x="5833" y="1293"/>
                    </a:lnTo>
                    <a:lnTo>
                      <a:pt x="5833" y="1208"/>
                    </a:lnTo>
                    <a:close/>
                    <a:moveTo>
                      <a:pt x="1667" y="1156"/>
                    </a:moveTo>
                    <a:lnTo>
                      <a:pt x="1664" y="1156"/>
                    </a:lnTo>
                    <a:lnTo>
                      <a:pt x="1664" y="1156"/>
                    </a:lnTo>
                    <a:lnTo>
                      <a:pt x="1664" y="1158"/>
                    </a:lnTo>
                    <a:lnTo>
                      <a:pt x="1664" y="1168"/>
                    </a:lnTo>
                    <a:lnTo>
                      <a:pt x="1667" y="1168"/>
                    </a:lnTo>
                    <a:lnTo>
                      <a:pt x="1667" y="1156"/>
                    </a:lnTo>
                    <a:close/>
                    <a:moveTo>
                      <a:pt x="1690" y="1132"/>
                    </a:moveTo>
                    <a:lnTo>
                      <a:pt x="1688" y="1132"/>
                    </a:lnTo>
                    <a:lnTo>
                      <a:pt x="1688" y="1132"/>
                    </a:lnTo>
                    <a:lnTo>
                      <a:pt x="1688" y="1135"/>
                    </a:lnTo>
                    <a:lnTo>
                      <a:pt x="1688" y="1135"/>
                    </a:lnTo>
                    <a:lnTo>
                      <a:pt x="1688" y="1132"/>
                    </a:lnTo>
                    <a:lnTo>
                      <a:pt x="1690" y="1132"/>
                    </a:lnTo>
                    <a:lnTo>
                      <a:pt x="1690" y="1132"/>
                    </a:lnTo>
                    <a:close/>
                    <a:moveTo>
                      <a:pt x="5857" y="1127"/>
                    </a:moveTo>
                    <a:lnTo>
                      <a:pt x="5854" y="1127"/>
                    </a:lnTo>
                    <a:lnTo>
                      <a:pt x="5854" y="1130"/>
                    </a:lnTo>
                    <a:lnTo>
                      <a:pt x="5854" y="1184"/>
                    </a:lnTo>
                    <a:lnTo>
                      <a:pt x="5857" y="1184"/>
                    </a:lnTo>
                    <a:lnTo>
                      <a:pt x="5857" y="1182"/>
                    </a:lnTo>
                    <a:lnTo>
                      <a:pt x="5857" y="1182"/>
                    </a:lnTo>
                    <a:lnTo>
                      <a:pt x="5857" y="1127"/>
                    </a:lnTo>
                    <a:close/>
                    <a:moveTo>
                      <a:pt x="6322" y="1127"/>
                    </a:moveTo>
                    <a:lnTo>
                      <a:pt x="6322" y="1127"/>
                    </a:lnTo>
                    <a:lnTo>
                      <a:pt x="6322" y="1127"/>
                    </a:lnTo>
                    <a:lnTo>
                      <a:pt x="6322" y="1130"/>
                    </a:lnTo>
                    <a:lnTo>
                      <a:pt x="6322" y="1177"/>
                    </a:lnTo>
                    <a:lnTo>
                      <a:pt x="6322" y="1177"/>
                    </a:lnTo>
                    <a:lnTo>
                      <a:pt x="6322" y="1127"/>
                    </a:lnTo>
                    <a:close/>
                    <a:moveTo>
                      <a:pt x="1447" y="1125"/>
                    </a:moveTo>
                    <a:lnTo>
                      <a:pt x="1447" y="1125"/>
                    </a:lnTo>
                    <a:lnTo>
                      <a:pt x="1447" y="1125"/>
                    </a:lnTo>
                    <a:lnTo>
                      <a:pt x="1447" y="1127"/>
                    </a:lnTo>
                    <a:lnTo>
                      <a:pt x="1447" y="1168"/>
                    </a:lnTo>
                    <a:lnTo>
                      <a:pt x="1447" y="1168"/>
                    </a:lnTo>
                    <a:lnTo>
                      <a:pt x="1447" y="1125"/>
                    </a:lnTo>
                    <a:close/>
                    <a:moveTo>
                      <a:pt x="1466" y="1082"/>
                    </a:moveTo>
                    <a:lnTo>
                      <a:pt x="1463" y="1082"/>
                    </a:lnTo>
                    <a:lnTo>
                      <a:pt x="1463" y="1085"/>
                    </a:lnTo>
                    <a:lnTo>
                      <a:pt x="1463" y="1108"/>
                    </a:lnTo>
                    <a:lnTo>
                      <a:pt x="1463" y="1108"/>
                    </a:lnTo>
                    <a:lnTo>
                      <a:pt x="1463" y="1106"/>
                    </a:lnTo>
                    <a:lnTo>
                      <a:pt x="1466" y="1106"/>
                    </a:lnTo>
                    <a:lnTo>
                      <a:pt x="1466" y="1082"/>
                    </a:lnTo>
                    <a:close/>
                    <a:moveTo>
                      <a:pt x="2861" y="1061"/>
                    </a:moveTo>
                    <a:lnTo>
                      <a:pt x="2861" y="1061"/>
                    </a:lnTo>
                    <a:lnTo>
                      <a:pt x="2858" y="1061"/>
                    </a:lnTo>
                    <a:lnTo>
                      <a:pt x="2858" y="1063"/>
                    </a:lnTo>
                    <a:lnTo>
                      <a:pt x="2858" y="1208"/>
                    </a:lnTo>
                    <a:lnTo>
                      <a:pt x="2861" y="1208"/>
                    </a:lnTo>
                    <a:lnTo>
                      <a:pt x="2861" y="1061"/>
                    </a:lnTo>
                    <a:close/>
                    <a:moveTo>
                      <a:pt x="5932" y="1040"/>
                    </a:moveTo>
                    <a:lnTo>
                      <a:pt x="5932" y="1040"/>
                    </a:lnTo>
                    <a:lnTo>
                      <a:pt x="5930" y="1040"/>
                    </a:lnTo>
                    <a:lnTo>
                      <a:pt x="5930" y="1042"/>
                    </a:lnTo>
                    <a:lnTo>
                      <a:pt x="5930" y="1097"/>
                    </a:lnTo>
                    <a:lnTo>
                      <a:pt x="5932" y="1097"/>
                    </a:lnTo>
                    <a:lnTo>
                      <a:pt x="5932" y="1040"/>
                    </a:lnTo>
                    <a:close/>
                    <a:moveTo>
                      <a:pt x="2877" y="1011"/>
                    </a:moveTo>
                    <a:lnTo>
                      <a:pt x="2877" y="1011"/>
                    </a:lnTo>
                    <a:lnTo>
                      <a:pt x="2877" y="1014"/>
                    </a:lnTo>
                    <a:lnTo>
                      <a:pt x="2877" y="1045"/>
                    </a:lnTo>
                    <a:lnTo>
                      <a:pt x="2877" y="1045"/>
                    </a:lnTo>
                    <a:lnTo>
                      <a:pt x="2877" y="1045"/>
                    </a:lnTo>
                    <a:lnTo>
                      <a:pt x="2877" y="1045"/>
                    </a:lnTo>
                    <a:lnTo>
                      <a:pt x="2877" y="1011"/>
                    </a:lnTo>
                    <a:close/>
                    <a:moveTo>
                      <a:pt x="3771" y="992"/>
                    </a:moveTo>
                    <a:lnTo>
                      <a:pt x="3769" y="992"/>
                    </a:lnTo>
                    <a:lnTo>
                      <a:pt x="3769" y="995"/>
                    </a:lnTo>
                    <a:lnTo>
                      <a:pt x="3769" y="1191"/>
                    </a:lnTo>
                    <a:lnTo>
                      <a:pt x="3771" y="1191"/>
                    </a:lnTo>
                    <a:lnTo>
                      <a:pt x="3771" y="992"/>
                    </a:lnTo>
                    <a:close/>
                    <a:moveTo>
                      <a:pt x="5949" y="990"/>
                    </a:moveTo>
                    <a:lnTo>
                      <a:pt x="5949" y="990"/>
                    </a:lnTo>
                    <a:lnTo>
                      <a:pt x="5949" y="990"/>
                    </a:lnTo>
                    <a:lnTo>
                      <a:pt x="5949" y="1023"/>
                    </a:lnTo>
                    <a:lnTo>
                      <a:pt x="5949" y="1023"/>
                    </a:lnTo>
                    <a:lnTo>
                      <a:pt x="5949" y="1023"/>
                    </a:lnTo>
                    <a:lnTo>
                      <a:pt x="5949" y="1023"/>
                    </a:lnTo>
                    <a:lnTo>
                      <a:pt x="5949" y="990"/>
                    </a:lnTo>
                    <a:close/>
                    <a:moveTo>
                      <a:pt x="6341" y="936"/>
                    </a:moveTo>
                    <a:lnTo>
                      <a:pt x="6341" y="936"/>
                    </a:lnTo>
                    <a:lnTo>
                      <a:pt x="6339" y="936"/>
                    </a:lnTo>
                    <a:lnTo>
                      <a:pt x="6339" y="938"/>
                    </a:lnTo>
                    <a:lnTo>
                      <a:pt x="6339" y="1111"/>
                    </a:lnTo>
                    <a:lnTo>
                      <a:pt x="6341" y="1111"/>
                    </a:lnTo>
                    <a:lnTo>
                      <a:pt x="6341" y="1108"/>
                    </a:lnTo>
                    <a:lnTo>
                      <a:pt x="6341" y="1108"/>
                    </a:lnTo>
                    <a:lnTo>
                      <a:pt x="6341" y="936"/>
                    </a:lnTo>
                    <a:close/>
                    <a:moveTo>
                      <a:pt x="3847" y="929"/>
                    </a:moveTo>
                    <a:lnTo>
                      <a:pt x="3844" y="929"/>
                    </a:lnTo>
                    <a:lnTo>
                      <a:pt x="3844" y="929"/>
                    </a:lnTo>
                    <a:lnTo>
                      <a:pt x="3844" y="962"/>
                    </a:lnTo>
                    <a:lnTo>
                      <a:pt x="3847" y="962"/>
                    </a:lnTo>
                    <a:lnTo>
                      <a:pt x="3847" y="929"/>
                    </a:lnTo>
                    <a:close/>
                    <a:moveTo>
                      <a:pt x="6386" y="895"/>
                    </a:moveTo>
                    <a:lnTo>
                      <a:pt x="6384" y="895"/>
                    </a:lnTo>
                    <a:lnTo>
                      <a:pt x="6384" y="895"/>
                    </a:lnTo>
                    <a:lnTo>
                      <a:pt x="6384" y="895"/>
                    </a:lnTo>
                    <a:lnTo>
                      <a:pt x="6382" y="902"/>
                    </a:lnTo>
                    <a:lnTo>
                      <a:pt x="6384" y="902"/>
                    </a:lnTo>
                    <a:lnTo>
                      <a:pt x="6386" y="895"/>
                    </a:lnTo>
                    <a:close/>
                    <a:moveTo>
                      <a:pt x="6391" y="879"/>
                    </a:moveTo>
                    <a:lnTo>
                      <a:pt x="6389" y="879"/>
                    </a:lnTo>
                    <a:lnTo>
                      <a:pt x="6389" y="879"/>
                    </a:lnTo>
                    <a:lnTo>
                      <a:pt x="6389" y="879"/>
                    </a:lnTo>
                    <a:lnTo>
                      <a:pt x="6389" y="891"/>
                    </a:lnTo>
                    <a:lnTo>
                      <a:pt x="6389" y="891"/>
                    </a:lnTo>
                    <a:lnTo>
                      <a:pt x="6389" y="888"/>
                    </a:lnTo>
                    <a:lnTo>
                      <a:pt x="6391" y="888"/>
                    </a:lnTo>
                    <a:lnTo>
                      <a:pt x="6391" y="879"/>
                    </a:lnTo>
                    <a:close/>
                    <a:moveTo>
                      <a:pt x="6398" y="850"/>
                    </a:moveTo>
                    <a:lnTo>
                      <a:pt x="6396" y="850"/>
                    </a:lnTo>
                    <a:lnTo>
                      <a:pt x="6396" y="850"/>
                    </a:lnTo>
                    <a:lnTo>
                      <a:pt x="6396" y="872"/>
                    </a:lnTo>
                    <a:lnTo>
                      <a:pt x="6398" y="872"/>
                    </a:lnTo>
                    <a:lnTo>
                      <a:pt x="6398" y="869"/>
                    </a:lnTo>
                    <a:lnTo>
                      <a:pt x="6398" y="869"/>
                    </a:lnTo>
                    <a:lnTo>
                      <a:pt x="6398" y="850"/>
                    </a:lnTo>
                    <a:close/>
                    <a:moveTo>
                      <a:pt x="806" y="827"/>
                    </a:moveTo>
                    <a:lnTo>
                      <a:pt x="804" y="827"/>
                    </a:lnTo>
                    <a:lnTo>
                      <a:pt x="804" y="829"/>
                    </a:lnTo>
                    <a:lnTo>
                      <a:pt x="804" y="1037"/>
                    </a:lnTo>
                    <a:lnTo>
                      <a:pt x="806" y="1037"/>
                    </a:lnTo>
                    <a:lnTo>
                      <a:pt x="806" y="827"/>
                    </a:lnTo>
                    <a:close/>
                    <a:moveTo>
                      <a:pt x="3102" y="763"/>
                    </a:moveTo>
                    <a:lnTo>
                      <a:pt x="3100" y="763"/>
                    </a:lnTo>
                    <a:lnTo>
                      <a:pt x="3100" y="763"/>
                    </a:lnTo>
                    <a:lnTo>
                      <a:pt x="3100" y="765"/>
                    </a:lnTo>
                    <a:lnTo>
                      <a:pt x="3100" y="947"/>
                    </a:lnTo>
                    <a:lnTo>
                      <a:pt x="3102" y="947"/>
                    </a:lnTo>
                    <a:lnTo>
                      <a:pt x="3102" y="763"/>
                    </a:lnTo>
                    <a:close/>
                    <a:moveTo>
                      <a:pt x="1009" y="753"/>
                    </a:moveTo>
                    <a:lnTo>
                      <a:pt x="1007" y="753"/>
                    </a:lnTo>
                    <a:lnTo>
                      <a:pt x="1007" y="753"/>
                    </a:lnTo>
                    <a:lnTo>
                      <a:pt x="1007" y="796"/>
                    </a:lnTo>
                    <a:lnTo>
                      <a:pt x="1009" y="796"/>
                    </a:lnTo>
                    <a:lnTo>
                      <a:pt x="1009" y="753"/>
                    </a:lnTo>
                    <a:close/>
                    <a:moveTo>
                      <a:pt x="5133" y="732"/>
                    </a:moveTo>
                    <a:lnTo>
                      <a:pt x="5131" y="732"/>
                    </a:lnTo>
                    <a:lnTo>
                      <a:pt x="5131" y="734"/>
                    </a:lnTo>
                    <a:lnTo>
                      <a:pt x="5131" y="940"/>
                    </a:lnTo>
                    <a:lnTo>
                      <a:pt x="5133" y="940"/>
                    </a:lnTo>
                    <a:lnTo>
                      <a:pt x="5133" y="732"/>
                    </a:lnTo>
                    <a:close/>
                    <a:moveTo>
                      <a:pt x="3140" y="656"/>
                    </a:moveTo>
                    <a:lnTo>
                      <a:pt x="3137" y="656"/>
                    </a:lnTo>
                    <a:lnTo>
                      <a:pt x="3137" y="659"/>
                    </a:lnTo>
                    <a:lnTo>
                      <a:pt x="3137" y="730"/>
                    </a:lnTo>
                    <a:lnTo>
                      <a:pt x="3140" y="730"/>
                    </a:lnTo>
                    <a:lnTo>
                      <a:pt x="3140" y="656"/>
                    </a:lnTo>
                    <a:close/>
                    <a:moveTo>
                      <a:pt x="97" y="616"/>
                    </a:moveTo>
                    <a:lnTo>
                      <a:pt x="97" y="616"/>
                    </a:lnTo>
                    <a:lnTo>
                      <a:pt x="97" y="618"/>
                    </a:lnTo>
                    <a:lnTo>
                      <a:pt x="97" y="1421"/>
                    </a:lnTo>
                    <a:lnTo>
                      <a:pt x="97" y="1421"/>
                    </a:lnTo>
                    <a:lnTo>
                      <a:pt x="97" y="616"/>
                    </a:lnTo>
                    <a:close/>
                    <a:moveTo>
                      <a:pt x="5254" y="609"/>
                    </a:moveTo>
                    <a:lnTo>
                      <a:pt x="5251" y="609"/>
                    </a:lnTo>
                    <a:lnTo>
                      <a:pt x="5251" y="611"/>
                    </a:lnTo>
                    <a:lnTo>
                      <a:pt x="5251" y="699"/>
                    </a:lnTo>
                    <a:lnTo>
                      <a:pt x="5254" y="699"/>
                    </a:lnTo>
                    <a:lnTo>
                      <a:pt x="5254" y="609"/>
                    </a:lnTo>
                    <a:close/>
                    <a:moveTo>
                      <a:pt x="3284" y="580"/>
                    </a:moveTo>
                    <a:lnTo>
                      <a:pt x="3282" y="580"/>
                    </a:lnTo>
                    <a:lnTo>
                      <a:pt x="3282" y="580"/>
                    </a:lnTo>
                    <a:lnTo>
                      <a:pt x="3282" y="583"/>
                    </a:lnTo>
                    <a:lnTo>
                      <a:pt x="3282" y="625"/>
                    </a:lnTo>
                    <a:lnTo>
                      <a:pt x="3284" y="625"/>
                    </a:lnTo>
                    <a:lnTo>
                      <a:pt x="3284" y="580"/>
                    </a:lnTo>
                    <a:close/>
                    <a:moveTo>
                      <a:pt x="302" y="547"/>
                    </a:moveTo>
                    <a:lnTo>
                      <a:pt x="300" y="547"/>
                    </a:lnTo>
                    <a:lnTo>
                      <a:pt x="300" y="550"/>
                    </a:lnTo>
                    <a:lnTo>
                      <a:pt x="300" y="585"/>
                    </a:lnTo>
                    <a:lnTo>
                      <a:pt x="302" y="585"/>
                    </a:lnTo>
                    <a:lnTo>
                      <a:pt x="302" y="547"/>
                    </a:lnTo>
                    <a:close/>
                    <a:moveTo>
                      <a:pt x="7027" y="509"/>
                    </a:moveTo>
                    <a:lnTo>
                      <a:pt x="7025" y="509"/>
                    </a:lnTo>
                    <a:lnTo>
                      <a:pt x="7025" y="509"/>
                    </a:lnTo>
                    <a:lnTo>
                      <a:pt x="7025" y="1660"/>
                    </a:lnTo>
                    <a:lnTo>
                      <a:pt x="7027" y="1660"/>
                    </a:lnTo>
                    <a:lnTo>
                      <a:pt x="7027" y="509"/>
                    </a:lnTo>
                    <a:close/>
                    <a:moveTo>
                      <a:pt x="4194" y="502"/>
                    </a:moveTo>
                    <a:lnTo>
                      <a:pt x="4194" y="502"/>
                    </a:lnTo>
                    <a:lnTo>
                      <a:pt x="4192" y="505"/>
                    </a:lnTo>
                    <a:lnTo>
                      <a:pt x="4149" y="564"/>
                    </a:lnTo>
                    <a:lnTo>
                      <a:pt x="4149" y="564"/>
                    </a:lnTo>
                    <a:lnTo>
                      <a:pt x="4194" y="502"/>
                    </a:lnTo>
                    <a:close/>
                    <a:moveTo>
                      <a:pt x="3301" y="500"/>
                    </a:moveTo>
                    <a:lnTo>
                      <a:pt x="3301" y="500"/>
                    </a:lnTo>
                    <a:lnTo>
                      <a:pt x="3298" y="500"/>
                    </a:lnTo>
                    <a:lnTo>
                      <a:pt x="3298" y="502"/>
                    </a:lnTo>
                    <a:lnTo>
                      <a:pt x="3298" y="564"/>
                    </a:lnTo>
                    <a:lnTo>
                      <a:pt x="3301" y="564"/>
                    </a:lnTo>
                    <a:lnTo>
                      <a:pt x="3301" y="564"/>
                    </a:lnTo>
                    <a:lnTo>
                      <a:pt x="3301" y="564"/>
                    </a:lnTo>
                    <a:lnTo>
                      <a:pt x="3301" y="500"/>
                    </a:lnTo>
                    <a:close/>
                    <a:moveTo>
                      <a:pt x="4038" y="453"/>
                    </a:moveTo>
                    <a:lnTo>
                      <a:pt x="4036" y="453"/>
                    </a:lnTo>
                    <a:lnTo>
                      <a:pt x="4036" y="453"/>
                    </a:lnTo>
                    <a:lnTo>
                      <a:pt x="4036" y="455"/>
                    </a:lnTo>
                    <a:lnTo>
                      <a:pt x="4036" y="491"/>
                    </a:lnTo>
                    <a:lnTo>
                      <a:pt x="3953" y="642"/>
                    </a:lnTo>
                    <a:lnTo>
                      <a:pt x="3953" y="895"/>
                    </a:lnTo>
                    <a:lnTo>
                      <a:pt x="3956" y="895"/>
                    </a:lnTo>
                    <a:lnTo>
                      <a:pt x="3956" y="642"/>
                    </a:lnTo>
                    <a:lnTo>
                      <a:pt x="4038" y="488"/>
                    </a:lnTo>
                    <a:lnTo>
                      <a:pt x="4038" y="453"/>
                    </a:lnTo>
                    <a:close/>
                    <a:moveTo>
                      <a:pt x="3329" y="434"/>
                    </a:moveTo>
                    <a:lnTo>
                      <a:pt x="3327" y="434"/>
                    </a:lnTo>
                    <a:lnTo>
                      <a:pt x="3327" y="436"/>
                    </a:lnTo>
                    <a:lnTo>
                      <a:pt x="3327" y="474"/>
                    </a:lnTo>
                    <a:lnTo>
                      <a:pt x="3329" y="474"/>
                    </a:lnTo>
                    <a:lnTo>
                      <a:pt x="3329" y="472"/>
                    </a:lnTo>
                    <a:lnTo>
                      <a:pt x="3329" y="472"/>
                    </a:lnTo>
                    <a:lnTo>
                      <a:pt x="3329" y="434"/>
                    </a:lnTo>
                    <a:close/>
                    <a:moveTo>
                      <a:pt x="4043" y="391"/>
                    </a:moveTo>
                    <a:lnTo>
                      <a:pt x="4041" y="391"/>
                    </a:lnTo>
                    <a:lnTo>
                      <a:pt x="4041" y="391"/>
                    </a:lnTo>
                    <a:lnTo>
                      <a:pt x="4041" y="391"/>
                    </a:lnTo>
                    <a:lnTo>
                      <a:pt x="4041" y="448"/>
                    </a:lnTo>
                    <a:lnTo>
                      <a:pt x="4043" y="448"/>
                    </a:lnTo>
                    <a:lnTo>
                      <a:pt x="4043" y="446"/>
                    </a:lnTo>
                    <a:lnTo>
                      <a:pt x="4043" y="446"/>
                    </a:lnTo>
                    <a:lnTo>
                      <a:pt x="4043" y="391"/>
                    </a:lnTo>
                    <a:close/>
                    <a:moveTo>
                      <a:pt x="1811" y="367"/>
                    </a:moveTo>
                    <a:lnTo>
                      <a:pt x="1809" y="367"/>
                    </a:lnTo>
                    <a:lnTo>
                      <a:pt x="1809" y="370"/>
                    </a:lnTo>
                    <a:lnTo>
                      <a:pt x="1809" y="1099"/>
                    </a:lnTo>
                    <a:lnTo>
                      <a:pt x="1811" y="1099"/>
                    </a:lnTo>
                    <a:lnTo>
                      <a:pt x="1811" y="367"/>
                    </a:lnTo>
                    <a:close/>
                    <a:moveTo>
                      <a:pt x="1939" y="334"/>
                    </a:moveTo>
                    <a:lnTo>
                      <a:pt x="1936" y="334"/>
                    </a:lnTo>
                    <a:lnTo>
                      <a:pt x="1936" y="334"/>
                    </a:lnTo>
                    <a:lnTo>
                      <a:pt x="1936" y="337"/>
                    </a:lnTo>
                    <a:lnTo>
                      <a:pt x="1939" y="337"/>
                    </a:lnTo>
                    <a:lnTo>
                      <a:pt x="1939" y="334"/>
                    </a:lnTo>
                    <a:close/>
                    <a:moveTo>
                      <a:pt x="4050" y="327"/>
                    </a:moveTo>
                    <a:lnTo>
                      <a:pt x="4050" y="327"/>
                    </a:lnTo>
                    <a:lnTo>
                      <a:pt x="4050" y="330"/>
                    </a:lnTo>
                    <a:lnTo>
                      <a:pt x="4050" y="384"/>
                    </a:lnTo>
                    <a:lnTo>
                      <a:pt x="4050" y="384"/>
                    </a:lnTo>
                    <a:lnTo>
                      <a:pt x="4050" y="382"/>
                    </a:lnTo>
                    <a:lnTo>
                      <a:pt x="4050" y="382"/>
                    </a:lnTo>
                    <a:lnTo>
                      <a:pt x="4050" y="327"/>
                    </a:lnTo>
                    <a:close/>
                    <a:moveTo>
                      <a:pt x="2028" y="294"/>
                    </a:moveTo>
                    <a:lnTo>
                      <a:pt x="2028" y="294"/>
                    </a:lnTo>
                    <a:lnTo>
                      <a:pt x="2028" y="294"/>
                    </a:lnTo>
                    <a:lnTo>
                      <a:pt x="2028" y="301"/>
                    </a:lnTo>
                    <a:lnTo>
                      <a:pt x="2028" y="301"/>
                    </a:lnTo>
                    <a:lnTo>
                      <a:pt x="2028" y="294"/>
                    </a:lnTo>
                    <a:close/>
                    <a:moveTo>
                      <a:pt x="4705" y="232"/>
                    </a:moveTo>
                    <a:lnTo>
                      <a:pt x="4703" y="232"/>
                    </a:lnTo>
                    <a:lnTo>
                      <a:pt x="4703" y="232"/>
                    </a:lnTo>
                    <a:lnTo>
                      <a:pt x="4641" y="457"/>
                    </a:lnTo>
                    <a:lnTo>
                      <a:pt x="4644" y="457"/>
                    </a:lnTo>
                    <a:lnTo>
                      <a:pt x="4705" y="232"/>
                    </a:lnTo>
                    <a:close/>
                    <a:moveTo>
                      <a:pt x="4804" y="171"/>
                    </a:moveTo>
                    <a:lnTo>
                      <a:pt x="4804" y="171"/>
                    </a:lnTo>
                    <a:lnTo>
                      <a:pt x="4802" y="171"/>
                    </a:lnTo>
                    <a:lnTo>
                      <a:pt x="4802" y="173"/>
                    </a:lnTo>
                    <a:lnTo>
                      <a:pt x="4802" y="199"/>
                    </a:lnTo>
                    <a:lnTo>
                      <a:pt x="4804" y="199"/>
                    </a:lnTo>
                    <a:lnTo>
                      <a:pt x="4804" y="171"/>
                    </a:lnTo>
                    <a:close/>
                    <a:moveTo>
                      <a:pt x="4854" y="0"/>
                    </a:moveTo>
                    <a:lnTo>
                      <a:pt x="4852" y="0"/>
                    </a:lnTo>
                    <a:lnTo>
                      <a:pt x="4852" y="0"/>
                    </a:lnTo>
                    <a:lnTo>
                      <a:pt x="4852" y="140"/>
                    </a:lnTo>
                    <a:lnTo>
                      <a:pt x="4854" y="140"/>
                    </a:lnTo>
                    <a:lnTo>
                      <a:pt x="4854" y="0"/>
                    </a:lnTo>
                    <a:close/>
                    <a:moveTo>
                      <a:pt x="4911" y="0"/>
                    </a:moveTo>
                    <a:lnTo>
                      <a:pt x="4908" y="0"/>
                    </a:lnTo>
                    <a:lnTo>
                      <a:pt x="4908" y="0"/>
                    </a:lnTo>
                    <a:lnTo>
                      <a:pt x="4908" y="140"/>
                    </a:lnTo>
                    <a:lnTo>
                      <a:pt x="4911" y="140"/>
                    </a:lnTo>
                    <a:lnTo>
                      <a:pt x="4911" y="0"/>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6" name="Freeform 111"/>
              <p:cNvSpPr>
                <a:spLocks noEditPoints="1"/>
              </p:cNvSpPr>
              <p:nvPr/>
            </p:nvSpPr>
            <p:spPr bwMode="auto">
              <a:xfrm>
                <a:off x="14" y="1693"/>
                <a:ext cx="7027" cy="1660"/>
              </a:xfrm>
              <a:custGeom>
                <a:avLst/>
                <a:gdLst>
                  <a:gd name="T0" fmla="*/ 2 w 7027"/>
                  <a:gd name="T1" fmla="*/ 1501 h 1660"/>
                  <a:gd name="T2" fmla="*/ 5665 w 7027"/>
                  <a:gd name="T3" fmla="*/ 1416 h 1660"/>
                  <a:gd name="T4" fmla="*/ 3710 w 7027"/>
                  <a:gd name="T5" fmla="*/ 1222 h 1660"/>
                  <a:gd name="T6" fmla="*/ 5833 w 7027"/>
                  <a:gd name="T7" fmla="*/ 1208 h 1660"/>
                  <a:gd name="T8" fmla="*/ 5833 w 7027"/>
                  <a:gd name="T9" fmla="*/ 1293 h 1660"/>
                  <a:gd name="T10" fmla="*/ 1664 w 7027"/>
                  <a:gd name="T11" fmla="*/ 1158 h 1660"/>
                  <a:gd name="T12" fmla="*/ 1688 w 7027"/>
                  <a:gd name="T13" fmla="*/ 1132 h 1660"/>
                  <a:gd name="T14" fmla="*/ 1690 w 7027"/>
                  <a:gd name="T15" fmla="*/ 1132 h 1660"/>
                  <a:gd name="T16" fmla="*/ 5854 w 7027"/>
                  <a:gd name="T17" fmla="*/ 1184 h 1660"/>
                  <a:gd name="T18" fmla="*/ 6322 w 7027"/>
                  <a:gd name="T19" fmla="*/ 1127 h 1660"/>
                  <a:gd name="T20" fmla="*/ 6322 w 7027"/>
                  <a:gd name="T21" fmla="*/ 1177 h 1660"/>
                  <a:gd name="T22" fmla="*/ 1447 w 7027"/>
                  <a:gd name="T23" fmla="*/ 1127 h 1660"/>
                  <a:gd name="T24" fmla="*/ 1463 w 7027"/>
                  <a:gd name="T25" fmla="*/ 1082 h 1660"/>
                  <a:gd name="T26" fmla="*/ 1466 w 7027"/>
                  <a:gd name="T27" fmla="*/ 1106 h 1660"/>
                  <a:gd name="T28" fmla="*/ 2858 w 7027"/>
                  <a:gd name="T29" fmla="*/ 1063 h 1660"/>
                  <a:gd name="T30" fmla="*/ 5932 w 7027"/>
                  <a:gd name="T31" fmla="*/ 1040 h 1660"/>
                  <a:gd name="T32" fmla="*/ 5932 w 7027"/>
                  <a:gd name="T33" fmla="*/ 1040 h 1660"/>
                  <a:gd name="T34" fmla="*/ 2877 w 7027"/>
                  <a:gd name="T35" fmla="*/ 1045 h 1660"/>
                  <a:gd name="T36" fmla="*/ 3769 w 7027"/>
                  <a:gd name="T37" fmla="*/ 992 h 1660"/>
                  <a:gd name="T38" fmla="*/ 5949 w 7027"/>
                  <a:gd name="T39" fmla="*/ 990 h 1660"/>
                  <a:gd name="T40" fmla="*/ 5949 w 7027"/>
                  <a:gd name="T41" fmla="*/ 1023 h 1660"/>
                  <a:gd name="T42" fmla="*/ 6339 w 7027"/>
                  <a:gd name="T43" fmla="*/ 936 h 1660"/>
                  <a:gd name="T44" fmla="*/ 6341 w 7027"/>
                  <a:gd name="T45" fmla="*/ 1108 h 1660"/>
                  <a:gd name="T46" fmla="*/ 3844 w 7027"/>
                  <a:gd name="T47" fmla="*/ 962 h 1660"/>
                  <a:gd name="T48" fmla="*/ 6384 w 7027"/>
                  <a:gd name="T49" fmla="*/ 895 h 1660"/>
                  <a:gd name="T50" fmla="*/ 6391 w 7027"/>
                  <a:gd name="T51" fmla="*/ 879 h 1660"/>
                  <a:gd name="T52" fmla="*/ 6389 w 7027"/>
                  <a:gd name="T53" fmla="*/ 891 h 1660"/>
                  <a:gd name="T54" fmla="*/ 6396 w 7027"/>
                  <a:gd name="T55" fmla="*/ 850 h 1660"/>
                  <a:gd name="T56" fmla="*/ 6398 w 7027"/>
                  <a:gd name="T57" fmla="*/ 869 h 1660"/>
                  <a:gd name="T58" fmla="*/ 804 w 7027"/>
                  <a:gd name="T59" fmla="*/ 1037 h 1660"/>
                  <a:gd name="T60" fmla="*/ 3100 w 7027"/>
                  <a:gd name="T61" fmla="*/ 763 h 1660"/>
                  <a:gd name="T62" fmla="*/ 1009 w 7027"/>
                  <a:gd name="T63" fmla="*/ 753 h 1660"/>
                  <a:gd name="T64" fmla="*/ 1009 w 7027"/>
                  <a:gd name="T65" fmla="*/ 753 h 1660"/>
                  <a:gd name="T66" fmla="*/ 5133 w 7027"/>
                  <a:gd name="T67" fmla="*/ 940 h 1660"/>
                  <a:gd name="T68" fmla="*/ 3137 w 7027"/>
                  <a:gd name="T69" fmla="*/ 730 h 1660"/>
                  <a:gd name="T70" fmla="*/ 97 w 7027"/>
                  <a:gd name="T71" fmla="*/ 618 h 1660"/>
                  <a:gd name="T72" fmla="*/ 5251 w 7027"/>
                  <a:gd name="T73" fmla="*/ 609 h 1660"/>
                  <a:gd name="T74" fmla="*/ 3284 w 7027"/>
                  <a:gd name="T75" fmla="*/ 580 h 1660"/>
                  <a:gd name="T76" fmla="*/ 3284 w 7027"/>
                  <a:gd name="T77" fmla="*/ 625 h 1660"/>
                  <a:gd name="T78" fmla="*/ 300 w 7027"/>
                  <a:gd name="T79" fmla="*/ 585 h 1660"/>
                  <a:gd name="T80" fmla="*/ 7025 w 7027"/>
                  <a:gd name="T81" fmla="*/ 509 h 1660"/>
                  <a:gd name="T82" fmla="*/ 4194 w 7027"/>
                  <a:gd name="T83" fmla="*/ 502 h 1660"/>
                  <a:gd name="T84" fmla="*/ 3301 w 7027"/>
                  <a:gd name="T85" fmla="*/ 500 h 1660"/>
                  <a:gd name="T86" fmla="*/ 3301 w 7027"/>
                  <a:gd name="T87" fmla="*/ 564 h 1660"/>
                  <a:gd name="T88" fmla="*/ 4036 w 7027"/>
                  <a:gd name="T89" fmla="*/ 453 h 1660"/>
                  <a:gd name="T90" fmla="*/ 3953 w 7027"/>
                  <a:gd name="T91" fmla="*/ 895 h 1660"/>
                  <a:gd name="T92" fmla="*/ 3329 w 7027"/>
                  <a:gd name="T93" fmla="*/ 434 h 1660"/>
                  <a:gd name="T94" fmla="*/ 3329 w 7027"/>
                  <a:gd name="T95" fmla="*/ 472 h 1660"/>
                  <a:gd name="T96" fmla="*/ 4041 w 7027"/>
                  <a:gd name="T97" fmla="*/ 391 h 1660"/>
                  <a:gd name="T98" fmla="*/ 4043 w 7027"/>
                  <a:gd name="T99" fmla="*/ 446 h 1660"/>
                  <a:gd name="T100" fmla="*/ 1809 w 7027"/>
                  <a:gd name="T101" fmla="*/ 1099 h 1660"/>
                  <a:gd name="T102" fmla="*/ 1936 w 7027"/>
                  <a:gd name="T103" fmla="*/ 334 h 1660"/>
                  <a:gd name="T104" fmla="*/ 4050 w 7027"/>
                  <a:gd name="T105" fmla="*/ 327 h 1660"/>
                  <a:gd name="T106" fmla="*/ 4050 w 7027"/>
                  <a:gd name="T107" fmla="*/ 382 h 1660"/>
                  <a:gd name="T108" fmla="*/ 2028 w 7027"/>
                  <a:gd name="T109" fmla="*/ 301 h 1660"/>
                  <a:gd name="T110" fmla="*/ 4703 w 7027"/>
                  <a:gd name="T111" fmla="*/ 232 h 1660"/>
                  <a:gd name="T112" fmla="*/ 4804 w 7027"/>
                  <a:gd name="T113" fmla="*/ 171 h 1660"/>
                  <a:gd name="T114" fmla="*/ 4804 w 7027"/>
                  <a:gd name="T115" fmla="*/ 171 h 1660"/>
                  <a:gd name="T116" fmla="*/ 4854 w 7027"/>
                  <a:gd name="T117" fmla="*/ 140 h 1660"/>
                  <a:gd name="T118" fmla="*/ 4908 w 7027"/>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0">
                    <a:moveTo>
                      <a:pt x="2" y="1452"/>
                    </a:moveTo>
                    <a:lnTo>
                      <a:pt x="0" y="1452"/>
                    </a:lnTo>
                    <a:lnTo>
                      <a:pt x="0" y="1454"/>
                    </a:lnTo>
                    <a:lnTo>
                      <a:pt x="0" y="1501"/>
                    </a:lnTo>
                    <a:lnTo>
                      <a:pt x="2" y="1501"/>
                    </a:lnTo>
                    <a:lnTo>
                      <a:pt x="2" y="1452"/>
                    </a:lnTo>
                    <a:moveTo>
                      <a:pt x="5667" y="1326"/>
                    </a:moveTo>
                    <a:lnTo>
                      <a:pt x="5665" y="1326"/>
                    </a:lnTo>
                    <a:lnTo>
                      <a:pt x="5665" y="1326"/>
                    </a:lnTo>
                    <a:lnTo>
                      <a:pt x="5665" y="1416"/>
                    </a:lnTo>
                    <a:lnTo>
                      <a:pt x="5667" y="1416"/>
                    </a:lnTo>
                    <a:lnTo>
                      <a:pt x="5667" y="1326"/>
                    </a:lnTo>
                    <a:moveTo>
                      <a:pt x="3712" y="1222"/>
                    </a:moveTo>
                    <a:lnTo>
                      <a:pt x="3710" y="1222"/>
                    </a:lnTo>
                    <a:lnTo>
                      <a:pt x="3710" y="1222"/>
                    </a:lnTo>
                    <a:lnTo>
                      <a:pt x="3710" y="1224"/>
                    </a:lnTo>
                    <a:lnTo>
                      <a:pt x="3710" y="1359"/>
                    </a:lnTo>
                    <a:lnTo>
                      <a:pt x="3712" y="1359"/>
                    </a:lnTo>
                    <a:lnTo>
                      <a:pt x="3712" y="1222"/>
                    </a:lnTo>
                    <a:moveTo>
                      <a:pt x="5833" y="1208"/>
                    </a:moveTo>
                    <a:lnTo>
                      <a:pt x="5831" y="1208"/>
                    </a:lnTo>
                    <a:lnTo>
                      <a:pt x="5831" y="1208"/>
                    </a:lnTo>
                    <a:lnTo>
                      <a:pt x="5831" y="1210"/>
                    </a:lnTo>
                    <a:lnTo>
                      <a:pt x="5831" y="1293"/>
                    </a:lnTo>
                    <a:lnTo>
                      <a:pt x="5833" y="1293"/>
                    </a:lnTo>
                    <a:lnTo>
                      <a:pt x="5833" y="1208"/>
                    </a:lnTo>
                    <a:moveTo>
                      <a:pt x="1667" y="1156"/>
                    </a:moveTo>
                    <a:lnTo>
                      <a:pt x="1664" y="1156"/>
                    </a:lnTo>
                    <a:lnTo>
                      <a:pt x="1664" y="1156"/>
                    </a:lnTo>
                    <a:lnTo>
                      <a:pt x="1664" y="1158"/>
                    </a:lnTo>
                    <a:lnTo>
                      <a:pt x="1664" y="1168"/>
                    </a:lnTo>
                    <a:lnTo>
                      <a:pt x="1667" y="1168"/>
                    </a:lnTo>
                    <a:lnTo>
                      <a:pt x="1667" y="1156"/>
                    </a:lnTo>
                    <a:moveTo>
                      <a:pt x="1690" y="1132"/>
                    </a:moveTo>
                    <a:lnTo>
                      <a:pt x="1688" y="1132"/>
                    </a:lnTo>
                    <a:lnTo>
                      <a:pt x="1688" y="1132"/>
                    </a:lnTo>
                    <a:lnTo>
                      <a:pt x="1688" y="1135"/>
                    </a:lnTo>
                    <a:lnTo>
                      <a:pt x="1688" y="1135"/>
                    </a:lnTo>
                    <a:lnTo>
                      <a:pt x="1688" y="1132"/>
                    </a:lnTo>
                    <a:lnTo>
                      <a:pt x="1690" y="1132"/>
                    </a:lnTo>
                    <a:lnTo>
                      <a:pt x="1690" y="1132"/>
                    </a:lnTo>
                    <a:moveTo>
                      <a:pt x="5857" y="1127"/>
                    </a:moveTo>
                    <a:lnTo>
                      <a:pt x="5854" y="1127"/>
                    </a:lnTo>
                    <a:lnTo>
                      <a:pt x="5854" y="1130"/>
                    </a:lnTo>
                    <a:lnTo>
                      <a:pt x="5854" y="1184"/>
                    </a:lnTo>
                    <a:lnTo>
                      <a:pt x="5857" y="1184"/>
                    </a:lnTo>
                    <a:lnTo>
                      <a:pt x="5857" y="1182"/>
                    </a:lnTo>
                    <a:lnTo>
                      <a:pt x="5857" y="1182"/>
                    </a:lnTo>
                    <a:lnTo>
                      <a:pt x="5857" y="1127"/>
                    </a:lnTo>
                    <a:moveTo>
                      <a:pt x="6322" y="1127"/>
                    </a:moveTo>
                    <a:lnTo>
                      <a:pt x="6322" y="1127"/>
                    </a:lnTo>
                    <a:lnTo>
                      <a:pt x="6322" y="1127"/>
                    </a:lnTo>
                    <a:lnTo>
                      <a:pt x="6322" y="1130"/>
                    </a:lnTo>
                    <a:lnTo>
                      <a:pt x="6322" y="1177"/>
                    </a:lnTo>
                    <a:lnTo>
                      <a:pt x="6322" y="1177"/>
                    </a:lnTo>
                    <a:lnTo>
                      <a:pt x="6322" y="1127"/>
                    </a:lnTo>
                    <a:moveTo>
                      <a:pt x="1447" y="1125"/>
                    </a:moveTo>
                    <a:lnTo>
                      <a:pt x="1447" y="1125"/>
                    </a:lnTo>
                    <a:lnTo>
                      <a:pt x="1447" y="1125"/>
                    </a:lnTo>
                    <a:lnTo>
                      <a:pt x="1447" y="1127"/>
                    </a:lnTo>
                    <a:lnTo>
                      <a:pt x="1447" y="1168"/>
                    </a:lnTo>
                    <a:lnTo>
                      <a:pt x="1447" y="1168"/>
                    </a:lnTo>
                    <a:lnTo>
                      <a:pt x="1447" y="1125"/>
                    </a:lnTo>
                    <a:moveTo>
                      <a:pt x="1466" y="1082"/>
                    </a:moveTo>
                    <a:lnTo>
                      <a:pt x="1463" y="1082"/>
                    </a:lnTo>
                    <a:lnTo>
                      <a:pt x="1463" y="1085"/>
                    </a:lnTo>
                    <a:lnTo>
                      <a:pt x="1463" y="1108"/>
                    </a:lnTo>
                    <a:lnTo>
                      <a:pt x="1463" y="1108"/>
                    </a:lnTo>
                    <a:lnTo>
                      <a:pt x="1463" y="1106"/>
                    </a:lnTo>
                    <a:lnTo>
                      <a:pt x="1466" y="1106"/>
                    </a:lnTo>
                    <a:lnTo>
                      <a:pt x="1466" y="1082"/>
                    </a:lnTo>
                    <a:moveTo>
                      <a:pt x="2861" y="1061"/>
                    </a:moveTo>
                    <a:lnTo>
                      <a:pt x="2861" y="1061"/>
                    </a:lnTo>
                    <a:lnTo>
                      <a:pt x="2858" y="1061"/>
                    </a:lnTo>
                    <a:lnTo>
                      <a:pt x="2858" y="1063"/>
                    </a:lnTo>
                    <a:lnTo>
                      <a:pt x="2858" y="1208"/>
                    </a:lnTo>
                    <a:lnTo>
                      <a:pt x="2861" y="1208"/>
                    </a:lnTo>
                    <a:lnTo>
                      <a:pt x="2861" y="1061"/>
                    </a:lnTo>
                    <a:moveTo>
                      <a:pt x="5932" y="1040"/>
                    </a:moveTo>
                    <a:lnTo>
                      <a:pt x="5932" y="1040"/>
                    </a:lnTo>
                    <a:lnTo>
                      <a:pt x="5930" y="1040"/>
                    </a:lnTo>
                    <a:lnTo>
                      <a:pt x="5930" y="1042"/>
                    </a:lnTo>
                    <a:lnTo>
                      <a:pt x="5930" y="1097"/>
                    </a:lnTo>
                    <a:lnTo>
                      <a:pt x="5932" y="1097"/>
                    </a:lnTo>
                    <a:lnTo>
                      <a:pt x="5932" y="1040"/>
                    </a:lnTo>
                    <a:moveTo>
                      <a:pt x="2877" y="1011"/>
                    </a:moveTo>
                    <a:lnTo>
                      <a:pt x="2877" y="1011"/>
                    </a:lnTo>
                    <a:lnTo>
                      <a:pt x="2877" y="1014"/>
                    </a:lnTo>
                    <a:lnTo>
                      <a:pt x="2877" y="1045"/>
                    </a:lnTo>
                    <a:lnTo>
                      <a:pt x="2877" y="1045"/>
                    </a:lnTo>
                    <a:lnTo>
                      <a:pt x="2877" y="1045"/>
                    </a:lnTo>
                    <a:lnTo>
                      <a:pt x="2877" y="1045"/>
                    </a:lnTo>
                    <a:lnTo>
                      <a:pt x="2877" y="1011"/>
                    </a:lnTo>
                    <a:moveTo>
                      <a:pt x="3771" y="992"/>
                    </a:moveTo>
                    <a:lnTo>
                      <a:pt x="3769" y="992"/>
                    </a:lnTo>
                    <a:lnTo>
                      <a:pt x="3769" y="995"/>
                    </a:lnTo>
                    <a:lnTo>
                      <a:pt x="3769" y="1191"/>
                    </a:lnTo>
                    <a:lnTo>
                      <a:pt x="3771" y="1191"/>
                    </a:lnTo>
                    <a:lnTo>
                      <a:pt x="3771" y="992"/>
                    </a:lnTo>
                    <a:moveTo>
                      <a:pt x="5949" y="990"/>
                    </a:moveTo>
                    <a:lnTo>
                      <a:pt x="5949" y="990"/>
                    </a:lnTo>
                    <a:lnTo>
                      <a:pt x="5949" y="990"/>
                    </a:lnTo>
                    <a:lnTo>
                      <a:pt x="5949" y="1023"/>
                    </a:lnTo>
                    <a:lnTo>
                      <a:pt x="5949" y="1023"/>
                    </a:lnTo>
                    <a:lnTo>
                      <a:pt x="5949" y="1023"/>
                    </a:lnTo>
                    <a:lnTo>
                      <a:pt x="5949" y="1023"/>
                    </a:lnTo>
                    <a:lnTo>
                      <a:pt x="5949" y="990"/>
                    </a:lnTo>
                    <a:moveTo>
                      <a:pt x="6341" y="936"/>
                    </a:moveTo>
                    <a:lnTo>
                      <a:pt x="6341" y="936"/>
                    </a:lnTo>
                    <a:lnTo>
                      <a:pt x="6339" y="936"/>
                    </a:lnTo>
                    <a:lnTo>
                      <a:pt x="6339" y="938"/>
                    </a:lnTo>
                    <a:lnTo>
                      <a:pt x="6339" y="1111"/>
                    </a:lnTo>
                    <a:lnTo>
                      <a:pt x="6341" y="1111"/>
                    </a:lnTo>
                    <a:lnTo>
                      <a:pt x="6341" y="1108"/>
                    </a:lnTo>
                    <a:lnTo>
                      <a:pt x="6341" y="1108"/>
                    </a:lnTo>
                    <a:lnTo>
                      <a:pt x="6341" y="936"/>
                    </a:lnTo>
                    <a:moveTo>
                      <a:pt x="3847" y="929"/>
                    </a:moveTo>
                    <a:lnTo>
                      <a:pt x="3844" y="929"/>
                    </a:lnTo>
                    <a:lnTo>
                      <a:pt x="3844" y="929"/>
                    </a:lnTo>
                    <a:lnTo>
                      <a:pt x="3844" y="962"/>
                    </a:lnTo>
                    <a:lnTo>
                      <a:pt x="3847" y="962"/>
                    </a:lnTo>
                    <a:lnTo>
                      <a:pt x="3847" y="929"/>
                    </a:lnTo>
                    <a:moveTo>
                      <a:pt x="6386" y="895"/>
                    </a:moveTo>
                    <a:lnTo>
                      <a:pt x="6384" y="895"/>
                    </a:lnTo>
                    <a:lnTo>
                      <a:pt x="6384" y="895"/>
                    </a:lnTo>
                    <a:lnTo>
                      <a:pt x="6384" y="895"/>
                    </a:lnTo>
                    <a:lnTo>
                      <a:pt x="6382" y="902"/>
                    </a:lnTo>
                    <a:lnTo>
                      <a:pt x="6384" y="902"/>
                    </a:lnTo>
                    <a:lnTo>
                      <a:pt x="6386" y="895"/>
                    </a:lnTo>
                    <a:moveTo>
                      <a:pt x="6391" y="879"/>
                    </a:moveTo>
                    <a:lnTo>
                      <a:pt x="6389" y="879"/>
                    </a:lnTo>
                    <a:lnTo>
                      <a:pt x="6389" y="879"/>
                    </a:lnTo>
                    <a:lnTo>
                      <a:pt x="6389" y="879"/>
                    </a:lnTo>
                    <a:lnTo>
                      <a:pt x="6389" y="891"/>
                    </a:lnTo>
                    <a:lnTo>
                      <a:pt x="6389" y="891"/>
                    </a:lnTo>
                    <a:lnTo>
                      <a:pt x="6389" y="888"/>
                    </a:lnTo>
                    <a:lnTo>
                      <a:pt x="6391" y="888"/>
                    </a:lnTo>
                    <a:lnTo>
                      <a:pt x="6391" y="879"/>
                    </a:lnTo>
                    <a:moveTo>
                      <a:pt x="6398" y="850"/>
                    </a:moveTo>
                    <a:lnTo>
                      <a:pt x="6396" y="850"/>
                    </a:lnTo>
                    <a:lnTo>
                      <a:pt x="6396" y="850"/>
                    </a:lnTo>
                    <a:lnTo>
                      <a:pt x="6396" y="872"/>
                    </a:lnTo>
                    <a:lnTo>
                      <a:pt x="6398" y="872"/>
                    </a:lnTo>
                    <a:lnTo>
                      <a:pt x="6398" y="869"/>
                    </a:lnTo>
                    <a:lnTo>
                      <a:pt x="6398" y="869"/>
                    </a:lnTo>
                    <a:lnTo>
                      <a:pt x="6398" y="850"/>
                    </a:lnTo>
                    <a:moveTo>
                      <a:pt x="806" y="827"/>
                    </a:moveTo>
                    <a:lnTo>
                      <a:pt x="804" y="827"/>
                    </a:lnTo>
                    <a:lnTo>
                      <a:pt x="804" y="829"/>
                    </a:lnTo>
                    <a:lnTo>
                      <a:pt x="804" y="1037"/>
                    </a:lnTo>
                    <a:lnTo>
                      <a:pt x="806" y="1037"/>
                    </a:lnTo>
                    <a:lnTo>
                      <a:pt x="806" y="827"/>
                    </a:lnTo>
                    <a:moveTo>
                      <a:pt x="3102" y="763"/>
                    </a:moveTo>
                    <a:lnTo>
                      <a:pt x="3100" y="763"/>
                    </a:lnTo>
                    <a:lnTo>
                      <a:pt x="3100" y="763"/>
                    </a:lnTo>
                    <a:lnTo>
                      <a:pt x="3100" y="765"/>
                    </a:lnTo>
                    <a:lnTo>
                      <a:pt x="3100" y="947"/>
                    </a:lnTo>
                    <a:lnTo>
                      <a:pt x="3102" y="947"/>
                    </a:lnTo>
                    <a:lnTo>
                      <a:pt x="3102" y="763"/>
                    </a:lnTo>
                    <a:moveTo>
                      <a:pt x="1009" y="753"/>
                    </a:moveTo>
                    <a:lnTo>
                      <a:pt x="1007" y="753"/>
                    </a:lnTo>
                    <a:lnTo>
                      <a:pt x="1007" y="753"/>
                    </a:lnTo>
                    <a:lnTo>
                      <a:pt x="1007" y="796"/>
                    </a:lnTo>
                    <a:lnTo>
                      <a:pt x="1009" y="796"/>
                    </a:lnTo>
                    <a:lnTo>
                      <a:pt x="1009" y="753"/>
                    </a:lnTo>
                    <a:moveTo>
                      <a:pt x="5133" y="732"/>
                    </a:moveTo>
                    <a:lnTo>
                      <a:pt x="5131" y="732"/>
                    </a:lnTo>
                    <a:lnTo>
                      <a:pt x="5131" y="734"/>
                    </a:lnTo>
                    <a:lnTo>
                      <a:pt x="5131" y="940"/>
                    </a:lnTo>
                    <a:lnTo>
                      <a:pt x="5133" y="940"/>
                    </a:lnTo>
                    <a:lnTo>
                      <a:pt x="5133" y="732"/>
                    </a:lnTo>
                    <a:moveTo>
                      <a:pt x="3140" y="656"/>
                    </a:moveTo>
                    <a:lnTo>
                      <a:pt x="3137" y="656"/>
                    </a:lnTo>
                    <a:lnTo>
                      <a:pt x="3137" y="659"/>
                    </a:lnTo>
                    <a:lnTo>
                      <a:pt x="3137" y="730"/>
                    </a:lnTo>
                    <a:lnTo>
                      <a:pt x="3140" y="730"/>
                    </a:lnTo>
                    <a:lnTo>
                      <a:pt x="3140" y="656"/>
                    </a:lnTo>
                    <a:moveTo>
                      <a:pt x="97" y="616"/>
                    </a:moveTo>
                    <a:lnTo>
                      <a:pt x="97" y="616"/>
                    </a:lnTo>
                    <a:lnTo>
                      <a:pt x="97" y="618"/>
                    </a:lnTo>
                    <a:lnTo>
                      <a:pt x="97" y="1421"/>
                    </a:lnTo>
                    <a:lnTo>
                      <a:pt x="97" y="1421"/>
                    </a:lnTo>
                    <a:lnTo>
                      <a:pt x="97" y="616"/>
                    </a:lnTo>
                    <a:moveTo>
                      <a:pt x="5254" y="609"/>
                    </a:moveTo>
                    <a:lnTo>
                      <a:pt x="5251" y="609"/>
                    </a:lnTo>
                    <a:lnTo>
                      <a:pt x="5251" y="611"/>
                    </a:lnTo>
                    <a:lnTo>
                      <a:pt x="5251" y="699"/>
                    </a:lnTo>
                    <a:lnTo>
                      <a:pt x="5254" y="699"/>
                    </a:lnTo>
                    <a:lnTo>
                      <a:pt x="5254" y="609"/>
                    </a:lnTo>
                    <a:moveTo>
                      <a:pt x="3284" y="580"/>
                    </a:moveTo>
                    <a:lnTo>
                      <a:pt x="3282" y="580"/>
                    </a:lnTo>
                    <a:lnTo>
                      <a:pt x="3282" y="580"/>
                    </a:lnTo>
                    <a:lnTo>
                      <a:pt x="3282" y="583"/>
                    </a:lnTo>
                    <a:lnTo>
                      <a:pt x="3282" y="625"/>
                    </a:lnTo>
                    <a:lnTo>
                      <a:pt x="3284" y="625"/>
                    </a:lnTo>
                    <a:lnTo>
                      <a:pt x="3284" y="580"/>
                    </a:lnTo>
                    <a:moveTo>
                      <a:pt x="302" y="547"/>
                    </a:moveTo>
                    <a:lnTo>
                      <a:pt x="300" y="547"/>
                    </a:lnTo>
                    <a:lnTo>
                      <a:pt x="300" y="550"/>
                    </a:lnTo>
                    <a:lnTo>
                      <a:pt x="300" y="585"/>
                    </a:lnTo>
                    <a:lnTo>
                      <a:pt x="302" y="585"/>
                    </a:lnTo>
                    <a:lnTo>
                      <a:pt x="302" y="547"/>
                    </a:lnTo>
                    <a:moveTo>
                      <a:pt x="7027" y="509"/>
                    </a:moveTo>
                    <a:lnTo>
                      <a:pt x="7025" y="509"/>
                    </a:lnTo>
                    <a:lnTo>
                      <a:pt x="7025" y="509"/>
                    </a:lnTo>
                    <a:lnTo>
                      <a:pt x="7025" y="1660"/>
                    </a:lnTo>
                    <a:lnTo>
                      <a:pt x="7027" y="1660"/>
                    </a:lnTo>
                    <a:lnTo>
                      <a:pt x="7027" y="509"/>
                    </a:lnTo>
                    <a:moveTo>
                      <a:pt x="4194" y="502"/>
                    </a:moveTo>
                    <a:lnTo>
                      <a:pt x="4194" y="502"/>
                    </a:lnTo>
                    <a:lnTo>
                      <a:pt x="4192" y="505"/>
                    </a:lnTo>
                    <a:lnTo>
                      <a:pt x="4149" y="564"/>
                    </a:lnTo>
                    <a:lnTo>
                      <a:pt x="4149" y="564"/>
                    </a:lnTo>
                    <a:lnTo>
                      <a:pt x="4194" y="502"/>
                    </a:lnTo>
                    <a:moveTo>
                      <a:pt x="3301" y="500"/>
                    </a:moveTo>
                    <a:lnTo>
                      <a:pt x="3301" y="500"/>
                    </a:lnTo>
                    <a:lnTo>
                      <a:pt x="3298" y="500"/>
                    </a:lnTo>
                    <a:lnTo>
                      <a:pt x="3298" y="502"/>
                    </a:lnTo>
                    <a:lnTo>
                      <a:pt x="3298" y="564"/>
                    </a:lnTo>
                    <a:lnTo>
                      <a:pt x="3301" y="564"/>
                    </a:lnTo>
                    <a:lnTo>
                      <a:pt x="3301" y="564"/>
                    </a:lnTo>
                    <a:lnTo>
                      <a:pt x="3301" y="564"/>
                    </a:lnTo>
                    <a:lnTo>
                      <a:pt x="3301" y="500"/>
                    </a:lnTo>
                    <a:moveTo>
                      <a:pt x="4038" y="453"/>
                    </a:moveTo>
                    <a:lnTo>
                      <a:pt x="4036" y="453"/>
                    </a:lnTo>
                    <a:lnTo>
                      <a:pt x="4036" y="453"/>
                    </a:lnTo>
                    <a:lnTo>
                      <a:pt x="4036" y="455"/>
                    </a:lnTo>
                    <a:lnTo>
                      <a:pt x="4036" y="491"/>
                    </a:lnTo>
                    <a:lnTo>
                      <a:pt x="3953" y="642"/>
                    </a:lnTo>
                    <a:lnTo>
                      <a:pt x="3953" y="895"/>
                    </a:lnTo>
                    <a:lnTo>
                      <a:pt x="3956" y="895"/>
                    </a:lnTo>
                    <a:lnTo>
                      <a:pt x="3956" y="642"/>
                    </a:lnTo>
                    <a:lnTo>
                      <a:pt x="4038" y="488"/>
                    </a:lnTo>
                    <a:lnTo>
                      <a:pt x="4038" y="453"/>
                    </a:lnTo>
                    <a:moveTo>
                      <a:pt x="3329" y="434"/>
                    </a:moveTo>
                    <a:lnTo>
                      <a:pt x="3327" y="434"/>
                    </a:lnTo>
                    <a:lnTo>
                      <a:pt x="3327" y="436"/>
                    </a:lnTo>
                    <a:lnTo>
                      <a:pt x="3327" y="474"/>
                    </a:lnTo>
                    <a:lnTo>
                      <a:pt x="3329" y="474"/>
                    </a:lnTo>
                    <a:lnTo>
                      <a:pt x="3329" y="472"/>
                    </a:lnTo>
                    <a:lnTo>
                      <a:pt x="3329" y="472"/>
                    </a:lnTo>
                    <a:lnTo>
                      <a:pt x="3329" y="434"/>
                    </a:lnTo>
                    <a:moveTo>
                      <a:pt x="4043" y="391"/>
                    </a:moveTo>
                    <a:lnTo>
                      <a:pt x="4041" y="391"/>
                    </a:lnTo>
                    <a:lnTo>
                      <a:pt x="4041" y="391"/>
                    </a:lnTo>
                    <a:lnTo>
                      <a:pt x="4041" y="391"/>
                    </a:lnTo>
                    <a:lnTo>
                      <a:pt x="4041" y="448"/>
                    </a:lnTo>
                    <a:lnTo>
                      <a:pt x="4043" y="448"/>
                    </a:lnTo>
                    <a:lnTo>
                      <a:pt x="4043" y="446"/>
                    </a:lnTo>
                    <a:lnTo>
                      <a:pt x="4043" y="446"/>
                    </a:lnTo>
                    <a:lnTo>
                      <a:pt x="4043" y="391"/>
                    </a:lnTo>
                    <a:moveTo>
                      <a:pt x="1811" y="367"/>
                    </a:moveTo>
                    <a:lnTo>
                      <a:pt x="1809" y="367"/>
                    </a:lnTo>
                    <a:lnTo>
                      <a:pt x="1809" y="370"/>
                    </a:lnTo>
                    <a:lnTo>
                      <a:pt x="1809" y="1099"/>
                    </a:lnTo>
                    <a:lnTo>
                      <a:pt x="1811" y="1099"/>
                    </a:lnTo>
                    <a:lnTo>
                      <a:pt x="1811" y="367"/>
                    </a:lnTo>
                    <a:moveTo>
                      <a:pt x="1939" y="334"/>
                    </a:moveTo>
                    <a:lnTo>
                      <a:pt x="1936" y="334"/>
                    </a:lnTo>
                    <a:lnTo>
                      <a:pt x="1936" y="334"/>
                    </a:lnTo>
                    <a:lnTo>
                      <a:pt x="1936" y="337"/>
                    </a:lnTo>
                    <a:lnTo>
                      <a:pt x="1939" y="337"/>
                    </a:lnTo>
                    <a:lnTo>
                      <a:pt x="1939" y="334"/>
                    </a:lnTo>
                    <a:moveTo>
                      <a:pt x="4050" y="327"/>
                    </a:moveTo>
                    <a:lnTo>
                      <a:pt x="4050" y="327"/>
                    </a:lnTo>
                    <a:lnTo>
                      <a:pt x="4050" y="330"/>
                    </a:lnTo>
                    <a:lnTo>
                      <a:pt x="4050" y="384"/>
                    </a:lnTo>
                    <a:lnTo>
                      <a:pt x="4050" y="384"/>
                    </a:lnTo>
                    <a:lnTo>
                      <a:pt x="4050" y="382"/>
                    </a:lnTo>
                    <a:lnTo>
                      <a:pt x="4050" y="382"/>
                    </a:lnTo>
                    <a:lnTo>
                      <a:pt x="4050" y="327"/>
                    </a:lnTo>
                    <a:moveTo>
                      <a:pt x="2028" y="294"/>
                    </a:moveTo>
                    <a:lnTo>
                      <a:pt x="2028" y="294"/>
                    </a:lnTo>
                    <a:lnTo>
                      <a:pt x="2028" y="294"/>
                    </a:lnTo>
                    <a:lnTo>
                      <a:pt x="2028" y="301"/>
                    </a:lnTo>
                    <a:lnTo>
                      <a:pt x="2028" y="301"/>
                    </a:lnTo>
                    <a:lnTo>
                      <a:pt x="2028" y="294"/>
                    </a:lnTo>
                    <a:moveTo>
                      <a:pt x="4705" y="232"/>
                    </a:moveTo>
                    <a:lnTo>
                      <a:pt x="4703" y="232"/>
                    </a:lnTo>
                    <a:lnTo>
                      <a:pt x="4703" y="232"/>
                    </a:lnTo>
                    <a:lnTo>
                      <a:pt x="4641" y="457"/>
                    </a:lnTo>
                    <a:lnTo>
                      <a:pt x="4644" y="457"/>
                    </a:lnTo>
                    <a:lnTo>
                      <a:pt x="4705" y="232"/>
                    </a:lnTo>
                    <a:moveTo>
                      <a:pt x="4804" y="171"/>
                    </a:moveTo>
                    <a:lnTo>
                      <a:pt x="4804" y="171"/>
                    </a:lnTo>
                    <a:lnTo>
                      <a:pt x="4802" y="171"/>
                    </a:lnTo>
                    <a:lnTo>
                      <a:pt x="4802" y="173"/>
                    </a:lnTo>
                    <a:lnTo>
                      <a:pt x="4802" y="199"/>
                    </a:lnTo>
                    <a:lnTo>
                      <a:pt x="4804" y="199"/>
                    </a:lnTo>
                    <a:lnTo>
                      <a:pt x="4804" y="171"/>
                    </a:lnTo>
                    <a:moveTo>
                      <a:pt x="4854" y="0"/>
                    </a:moveTo>
                    <a:lnTo>
                      <a:pt x="4852" y="0"/>
                    </a:lnTo>
                    <a:lnTo>
                      <a:pt x="4852" y="0"/>
                    </a:lnTo>
                    <a:lnTo>
                      <a:pt x="4852" y="140"/>
                    </a:lnTo>
                    <a:lnTo>
                      <a:pt x="4854" y="140"/>
                    </a:lnTo>
                    <a:lnTo>
                      <a:pt x="4854" y="0"/>
                    </a:lnTo>
                    <a:moveTo>
                      <a:pt x="4911" y="0"/>
                    </a:moveTo>
                    <a:lnTo>
                      <a:pt x="4908" y="0"/>
                    </a:lnTo>
                    <a:lnTo>
                      <a:pt x="4908" y="0"/>
                    </a:lnTo>
                    <a:lnTo>
                      <a:pt x="4908" y="140"/>
                    </a:lnTo>
                    <a:lnTo>
                      <a:pt x="4911" y="140"/>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7" name="Freeform 112"/>
              <p:cNvSpPr>
                <a:spLocks noEditPoints="1"/>
              </p:cNvSpPr>
              <p:nvPr/>
            </p:nvSpPr>
            <p:spPr bwMode="auto">
              <a:xfrm>
                <a:off x="16" y="1691"/>
                <a:ext cx="7027" cy="1662"/>
              </a:xfrm>
              <a:custGeom>
                <a:avLst/>
                <a:gdLst>
                  <a:gd name="T0" fmla="*/ 2 w 7027"/>
                  <a:gd name="T1" fmla="*/ 1503 h 1662"/>
                  <a:gd name="T2" fmla="*/ 5665 w 7027"/>
                  <a:gd name="T3" fmla="*/ 1418 h 1662"/>
                  <a:gd name="T4" fmla="*/ 3710 w 7027"/>
                  <a:gd name="T5" fmla="*/ 1222 h 1662"/>
                  <a:gd name="T6" fmla="*/ 5831 w 7027"/>
                  <a:gd name="T7" fmla="*/ 1208 h 1662"/>
                  <a:gd name="T8" fmla="*/ 5831 w 7027"/>
                  <a:gd name="T9" fmla="*/ 1295 h 1662"/>
                  <a:gd name="T10" fmla="*/ 1665 w 7027"/>
                  <a:gd name="T11" fmla="*/ 1158 h 1662"/>
                  <a:gd name="T12" fmla="*/ 1688 w 7027"/>
                  <a:gd name="T13" fmla="*/ 1132 h 1662"/>
                  <a:gd name="T14" fmla="*/ 1688 w 7027"/>
                  <a:gd name="T15" fmla="*/ 1132 h 1662"/>
                  <a:gd name="T16" fmla="*/ 5855 w 7027"/>
                  <a:gd name="T17" fmla="*/ 1184 h 1662"/>
                  <a:gd name="T18" fmla="*/ 6323 w 7027"/>
                  <a:gd name="T19" fmla="*/ 1127 h 1662"/>
                  <a:gd name="T20" fmla="*/ 6323 w 7027"/>
                  <a:gd name="T21" fmla="*/ 1179 h 1662"/>
                  <a:gd name="T22" fmla="*/ 1445 w 7027"/>
                  <a:gd name="T23" fmla="*/ 1127 h 1662"/>
                  <a:gd name="T24" fmla="*/ 1464 w 7027"/>
                  <a:gd name="T25" fmla="*/ 1084 h 1662"/>
                  <a:gd name="T26" fmla="*/ 1464 w 7027"/>
                  <a:gd name="T27" fmla="*/ 1106 h 1662"/>
                  <a:gd name="T28" fmla="*/ 2859 w 7027"/>
                  <a:gd name="T29" fmla="*/ 1063 h 1662"/>
                  <a:gd name="T30" fmla="*/ 5930 w 7027"/>
                  <a:gd name="T31" fmla="*/ 1042 h 1662"/>
                  <a:gd name="T32" fmla="*/ 5933 w 7027"/>
                  <a:gd name="T33" fmla="*/ 1042 h 1662"/>
                  <a:gd name="T34" fmla="*/ 2878 w 7027"/>
                  <a:gd name="T35" fmla="*/ 1047 h 1662"/>
                  <a:gd name="T36" fmla="*/ 3769 w 7027"/>
                  <a:gd name="T37" fmla="*/ 992 h 1662"/>
                  <a:gd name="T38" fmla="*/ 5949 w 7027"/>
                  <a:gd name="T39" fmla="*/ 990 h 1662"/>
                  <a:gd name="T40" fmla="*/ 5949 w 7027"/>
                  <a:gd name="T41" fmla="*/ 1023 h 1662"/>
                  <a:gd name="T42" fmla="*/ 6339 w 7027"/>
                  <a:gd name="T43" fmla="*/ 935 h 1662"/>
                  <a:gd name="T44" fmla="*/ 6342 w 7027"/>
                  <a:gd name="T45" fmla="*/ 1108 h 1662"/>
                  <a:gd name="T46" fmla="*/ 3845 w 7027"/>
                  <a:gd name="T47" fmla="*/ 964 h 1662"/>
                  <a:gd name="T48" fmla="*/ 6384 w 7027"/>
                  <a:gd name="T49" fmla="*/ 895 h 1662"/>
                  <a:gd name="T50" fmla="*/ 6391 w 7027"/>
                  <a:gd name="T51" fmla="*/ 878 h 1662"/>
                  <a:gd name="T52" fmla="*/ 6389 w 7027"/>
                  <a:gd name="T53" fmla="*/ 890 h 1662"/>
                  <a:gd name="T54" fmla="*/ 6396 w 7027"/>
                  <a:gd name="T55" fmla="*/ 850 h 1662"/>
                  <a:gd name="T56" fmla="*/ 6398 w 7027"/>
                  <a:gd name="T57" fmla="*/ 869 h 1662"/>
                  <a:gd name="T58" fmla="*/ 804 w 7027"/>
                  <a:gd name="T59" fmla="*/ 1039 h 1662"/>
                  <a:gd name="T60" fmla="*/ 3100 w 7027"/>
                  <a:gd name="T61" fmla="*/ 762 h 1662"/>
                  <a:gd name="T62" fmla="*/ 1010 w 7027"/>
                  <a:gd name="T63" fmla="*/ 753 h 1662"/>
                  <a:gd name="T64" fmla="*/ 1010 w 7027"/>
                  <a:gd name="T65" fmla="*/ 753 h 1662"/>
                  <a:gd name="T66" fmla="*/ 5133 w 7027"/>
                  <a:gd name="T67" fmla="*/ 942 h 1662"/>
                  <a:gd name="T68" fmla="*/ 3138 w 7027"/>
                  <a:gd name="T69" fmla="*/ 732 h 1662"/>
                  <a:gd name="T70" fmla="*/ 95 w 7027"/>
                  <a:gd name="T71" fmla="*/ 618 h 1662"/>
                  <a:gd name="T72" fmla="*/ 5252 w 7027"/>
                  <a:gd name="T73" fmla="*/ 609 h 1662"/>
                  <a:gd name="T74" fmla="*/ 3284 w 7027"/>
                  <a:gd name="T75" fmla="*/ 582 h 1662"/>
                  <a:gd name="T76" fmla="*/ 3284 w 7027"/>
                  <a:gd name="T77" fmla="*/ 627 h 1662"/>
                  <a:gd name="T78" fmla="*/ 300 w 7027"/>
                  <a:gd name="T79" fmla="*/ 587 h 1662"/>
                  <a:gd name="T80" fmla="*/ 7025 w 7027"/>
                  <a:gd name="T81" fmla="*/ 511 h 1662"/>
                  <a:gd name="T82" fmla="*/ 4195 w 7027"/>
                  <a:gd name="T83" fmla="*/ 502 h 1662"/>
                  <a:gd name="T84" fmla="*/ 3301 w 7027"/>
                  <a:gd name="T85" fmla="*/ 500 h 1662"/>
                  <a:gd name="T86" fmla="*/ 3301 w 7027"/>
                  <a:gd name="T87" fmla="*/ 566 h 1662"/>
                  <a:gd name="T88" fmla="*/ 4036 w 7027"/>
                  <a:gd name="T89" fmla="*/ 455 h 1662"/>
                  <a:gd name="T90" fmla="*/ 3954 w 7027"/>
                  <a:gd name="T91" fmla="*/ 897 h 1662"/>
                  <a:gd name="T92" fmla="*/ 3329 w 7027"/>
                  <a:gd name="T93" fmla="*/ 433 h 1662"/>
                  <a:gd name="T94" fmla="*/ 3329 w 7027"/>
                  <a:gd name="T95" fmla="*/ 471 h 1662"/>
                  <a:gd name="T96" fmla="*/ 4041 w 7027"/>
                  <a:gd name="T97" fmla="*/ 391 h 1662"/>
                  <a:gd name="T98" fmla="*/ 4043 w 7027"/>
                  <a:gd name="T99" fmla="*/ 448 h 1662"/>
                  <a:gd name="T100" fmla="*/ 1809 w 7027"/>
                  <a:gd name="T101" fmla="*/ 1101 h 1662"/>
                  <a:gd name="T102" fmla="*/ 1937 w 7027"/>
                  <a:gd name="T103" fmla="*/ 336 h 1662"/>
                  <a:gd name="T104" fmla="*/ 4048 w 7027"/>
                  <a:gd name="T105" fmla="*/ 327 h 1662"/>
                  <a:gd name="T106" fmla="*/ 4051 w 7027"/>
                  <a:gd name="T107" fmla="*/ 381 h 1662"/>
                  <a:gd name="T108" fmla="*/ 2026 w 7027"/>
                  <a:gd name="T109" fmla="*/ 303 h 1662"/>
                  <a:gd name="T110" fmla="*/ 4703 w 7027"/>
                  <a:gd name="T111" fmla="*/ 234 h 1662"/>
                  <a:gd name="T112" fmla="*/ 4802 w 7027"/>
                  <a:gd name="T113" fmla="*/ 173 h 1662"/>
                  <a:gd name="T114" fmla="*/ 4805 w 7027"/>
                  <a:gd name="T115" fmla="*/ 173 h 1662"/>
                  <a:gd name="T116" fmla="*/ 4854 w 7027"/>
                  <a:gd name="T117" fmla="*/ 142 h 1662"/>
                  <a:gd name="T118" fmla="*/ 4909 w 7027"/>
                  <a:gd name="T119" fmla="*/ 142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2">
                    <a:moveTo>
                      <a:pt x="2" y="1454"/>
                    </a:moveTo>
                    <a:lnTo>
                      <a:pt x="0" y="1454"/>
                    </a:lnTo>
                    <a:lnTo>
                      <a:pt x="0" y="1454"/>
                    </a:lnTo>
                    <a:lnTo>
                      <a:pt x="0" y="1503"/>
                    </a:lnTo>
                    <a:lnTo>
                      <a:pt x="2" y="1503"/>
                    </a:lnTo>
                    <a:lnTo>
                      <a:pt x="2" y="1454"/>
                    </a:lnTo>
                    <a:close/>
                    <a:moveTo>
                      <a:pt x="5665" y="1326"/>
                    </a:moveTo>
                    <a:lnTo>
                      <a:pt x="5665" y="1326"/>
                    </a:lnTo>
                    <a:lnTo>
                      <a:pt x="5665" y="1328"/>
                    </a:lnTo>
                    <a:lnTo>
                      <a:pt x="5665" y="1418"/>
                    </a:lnTo>
                    <a:lnTo>
                      <a:pt x="5665" y="1418"/>
                    </a:lnTo>
                    <a:lnTo>
                      <a:pt x="5665" y="1326"/>
                    </a:lnTo>
                    <a:close/>
                    <a:moveTo>
                      <a:pt x="3712" y="1222"/>
                    </a:moveTo>
                    <a:lnTo>
                      <a:pt x="3710" y="1222"/>
                    </a:lnTo>
                    <a:lnTo>
                      <a:pt x="3710" y="1222"/>
                    </a:lnTo>
                    <a:lnTo>
                      <a:pt x="3710" y="1224"/>
                    </a:lnTo>
                    <a:lnTo>
                      <a:pt x="3710" y="1361"/>
                    </a:lnTo>
                    <a:lnTo>
                      <a:pt x="3712" y="1361"/>
                    </a:lnTo>
                    <a:lnTo>
                      <a:pt x="3712" y="1222"/>
                    </a:lnTo>
                    <a:close/>
                    <a:moveTo>
                      <a:pt x="5831" y="1208"/>
                    </a:moveTo>
                    <a:lnTo>
                      <a:pt x="5831" y="1208"/>
                    </a:lnTo>
                    <a:lnTo>
                      <a:pt x="5831" y="1208"/>
                    </a:lnTo>
                    <a:lnTo>
                      <a:pt x="5831" y="1210"/>
                    </a:lnTo>
                    <a:lnTo>
                      <a:pt x="5831" y="1295"/>
                    </a:lnTo>
                    <a:lnTo>
                      <a:pt x="5831" y="1295"/>
                    </a:lnTo>
                    <a:lnTo>
                      <a:pt x="5831" y="1208"/>
                    </a:lnTo>
                    <a:close/>
                    <a:moveTo>
                      <a:pt x="1667" y="1155"/>
                    </a:moveTo>
                    <a:lnTo>
                      <a:pt x="1665" y="1155"/>
                    </a:lnTo>
                    <a:lnTo>
                      <a:pt x="1665" y="1155"/>
                    </a:lnTo>
                    <a:lnTo>
                      <a:pt x="1665" y="1158"/>
                    </a:lnTo>
                    <a:lnTo>
                      <a:pt x="1665" y="1170"/>
                    </a:lnTo>
                    <a:lnTo>
                      <a:pt x="1667" y="1170"/>
                    </a:lnTo>
                    <a:lnTo>
                      <a:pt x="1667" y="1155"/>
                    </a:lnTo>
                    <a:close/>
                    <a:moveTo>
                      <a:pt x="1688" y="1132"/>
                    </a:moveTo>
                    <a:lnTo>
                      <a:pt x="1688" y="1132"/>
                    </a:lnTo>
                    <a:lnTo>
                      <a:pt x="1688" y="1134"/>
                    </a:lnTo>
                    <a:lnTo>
                      <a:pt x="1688" y="1134"/>
                    </a:lnTo>
                    <a:lnTo>
                      <a:pt x="1688" y="1134"/>
                    </a:lnTo>
                    <a:lnTo>
                      <a:pt x="1688" y="1132"/>
                    </a:lnTo>
                    <a:lnTo>
                      <a:pt x="1688" y="1132"/>
                    </a:lnTo>
                    <a:lnTo>
                      <a:pt x="1688" y="1132"/>
                    </a:lnTo>
                    <a:close/>
                    <a:moveTo>
                      <a:pt x="5857" y="1127"/>
                    </a:moveTo>
                    <a:lnTo>
                      <a:pt x="5855" y="1127"/>
                    </a:lnTo>
                    <a:lnTo>
                      <a:pt x="5855" y="1129"/>
                    </a:lnTo>
                    <a:lnTo>
                      <a:pt x="5855" y="1184"/>
                    </a:lnTo>
                    <a:lnTo>
                      <a:pt x="5857" y="1184"/>
                    </a:lnTo>
                    <a:lnTo>
                      <a:pt x="5857" y="1181"/>
                    </a:lnTo>
                    <a:lnTo>
                      <a:pt x="5857" y="1181"/>
                    </a:lnTo>
                    <a:lnTo>
                      <a:pt x="5857" y="1127"/>
                    </a:lnTo>
                    <a:close/>
                    <a:moveTo>
                      <a:pt x="6323" y="1127"/>
                    </a:moveTo>
                    <a:lnTo>
                      <a:pt x="6323" y="1127"/>
                    </a:lnTo>
                    <a:lnTo>
                      <a:pt x="6320" y="1127"/>
                    </a:lnTo>
                    <a:lnTo>
                      <a:pt x="6320" y="1129"/>
                    </a:lnTo>
                    <a:lnTo>
                      <a:pt x="6320" y="1179"/>
                    </a:lnTo>
                    <a:lnTo>
                      <a:pt x="6323" y="1179"/>
                    </a:lnTo>
                    <a:lnTo>
                      <a:pt x="6323" y="1127"/>
                    </a:lnTo>
                    <a:close/>
                    <a:moveTo>
                      <a:pt x="1447" y="1125"/>
                    </a:moveTo>
                    <a:lnTo>
                      <a:pt x="1445" y="1125"/>
                    </a:lnTo>
                    <a:lnTo>
                      <a:pt x="1445" y="1125"/>
                    </a:lnTo>
                    <a:lnTo>
                      <a:pt x="1445" y="1127"/>
                    </a:lnTo>
                    <a:lnTo>
                      <a:pt x="1445" y="1170"/>
                    </a:lnTo>
                    <a:lnTo>
                      <a:pt x="1447" y="1170"/>
                    </a:lnTo>
                    <a:lnTo>
                      <a:pt x="1447" y="1125"/>
                    </a:lnTo>
                    <a:close/>
                    <a:moveTo>
                      <a:pt x="1464" y="1084"/>
                    </a:moveTo>
                    <a:lnTo>
                      <a:pt x="1464" y="1084"/>
                    </a:lnTo>
                    <a:lnTo>
                      <a:pt x="1464" y="1084"/>
                    </a:lnTo>
                    <a:lnTo>
                      <a:pt x="1464" y="1108"/>
                    </a:lnTo>
                    <a:lnTo>
                      <a:pt x="1464" y="1108"/>
                    </a:lnTo>
                    <a:lnTo>
                      <a:pt x="1464" y="1106"/>
                    </a:lnTo>
                    <a:lnTo>
                      <a:pt x="1464" y="1106"/>
                    </a:lnTo>
                    <a:lnTo>
                      <a:pt x="1464" y="1084"/>
                    </a:lnTo>
                    <a:close/>
                    <a:moveTo>
                      <a:pt x="2861" y="1063"/>
                    </a:moveTo>
                    <a:lnTo>
                      <a:pt x="2859" y="1063"/>
                    </a:lnTo>
                    <a:lnTo>
                      <a:pt x="2859" y="1063"/>
                    </a:lnTo>
                    <a:lnTo>
                      <a:pt x="2859" y="1063"/>
                    </a:lnTo>
                    <a:lnTo>
                      <a:pt x="2859" y="1210"/>
                    </a:lnTo>
                    <a:lnTo>
                      <a:pt x="2861" y="1210"/>
                    </a:lnTo>
                    <a:lnTo>
                      <a:pt x="2861" y="1063"/>
                    </a:lnTo>
                    <a:close/>
                    <a:moveTo>
                      <a:pt x="5933" y="1042"/>
                    </a:moveTo>
                    <a:lnTo>
                      <a:pt x="5930" y="1042"/>
                    </a:lnTo>
                    <a:lnTo>
                      <a:pt x="5930" y="1042"/>
                    </a:lnTo>
                    <a:lnTo>
                      <a:pt x="5930" y="1042"/>
                    </a:lnTo>
                    <a:lnTo>
                      <a:pt x="5930" y="1099"/>
                    </a:lnTo>
                    <a:lnTo>
                      <a:pt x="5933" y="1099"/>
                    </a:lnTo>
                    <a:lnTo>
                      <a:pt x="5933" y="1042"/>
                    </a:lnTo>
                    <a:close/>
                    <a:moveTo>
                      <a:pt x="2878" y="1011"/>
                    </a:moveTo>
                    <a:lnTo>
                      <a:pt x="2875" y="1013"/>
                    </a:lnTo>
                    <a:lnTo>
                      <a:pt x="2875" y="1013"/>
                    </a:lnTo>
                    <a:lnTo>
                      <a:pt x="2875" y="1047"/>
                    </a:lnTo>
                    <a:lnTo>
                      <a:pt x="2878" y="1047"/>
                    </a:lnTo>
                    <a:lnTo>
                      <a:pt x="2878" y="1044"/>
                    </a:lnTo>
                    <a:lnTo>
                      <a:pt x="2878" y="1044"/>
                    </a:lnTo>
                    <a:lnTo>
                      <a:pt x="2878" y="1011"/>
                    </a:lnTo>
                    <a:close/>
                    <a:moveTo>
                      <a:pt x="3771" y="992"/>
                    </a:moveTo>
                    <a:lnTo>
                      <a:pt x="3769" y="992"/>
                    </a:lnTo>
                    <a:lnTo>
                      <a:pt x="3769" y="994"/>
                    </a:lnTo>
                    <a:lnTo>
                      <a:pt x="3769" y="1193"/>
                    </a:lnTo>
                    <a:lnTo>
                      <a:pt x="3771" y="1193"/>
                    </a:lnTo>
                    <a:lnTo>
                      <a:pt x="3771" y="992"/>
                    </a:lnTo>
                    <a:close/>
                    <a:moveTo>
                      <a:pt x="5949" y="990"/>
                    </a:moveTo>
                    <a:lnTo>
                      <a:pt x="5947" y="990"/>
                    </a:lnTo>
                    <a:lnTo>
                      <a:pt x="5947" y="992"/>
                    </a:lnTo>
                    <a:lnTo>
                      <a:pt x="5947" y="1025"/>
                    </a:lnTo>
                    <a:lnTo>
                      <a:pt x="5949" y="1025"/>
                    </a:lnTo>
                    <a:lnTo>
                      <a:pt x="5949" y="1023"/>
                    </a:lnTo>
                    <a:lnTo>
                      <a:pt x="5949" y="1023"/>
                    </a:lnTo>
                    <a:lnTo>
                      <a:pt x="5949" y="990"/>
                    </a:lnTo>
                    <a:close/>
                    <a:moveTo>
                      <a:pt x="6342" y="935"/>
                    </a:moveTo>
                    <a:lnTo>
                      <a:pt x="6339" y="935"/>
                    </a:lnTo>
                    <a:lnTo>
                      <a:pt x="6339" y="935"/>
                    </a:lnTo>
                    <a:lnTo>
                      <a:pt x="6339" y="938"/>
                    </a:lnTo>
                    <a:lnTo>
                      <a:pt x="6339" y="1110"/>
                    </a:lnTo>
                    <a:lnTo>
                      <a:pt x="6339" y="1110"/>
                    </a:lnTo>
                    <a:lnTo>
                      <a:pt x="6339" y="1108"/>
                    </a:lnTo>
                    <a:lnTo>
                      <a:pt x="6342" y="1108"/>
                    </a:lnTo>
                    <a:lnTo>
                      <a:pt x="6342" y="935"/>
                    </a:lnTo>
                    <a:close/>
                    <a:moveTo>
                      <a:pt x="3847" y="928"/>
                    </a:moveTo>
                    <a:lnTo>
                      <a:pt x="3845" y="928"/>
                    </a:lnTo>
                    <a:lnTo>
                      <a:pt x="3845" y="931"/>
                    </a:lnTo>
                    <a:lnTo>
                      <a:pt x="3845" y="964"/>
                    </a:lnTo>
                    <a:lnTo>
                      <a:pt x="3847" y="964"/>
                    </a:lnTo>
                    <a:lnTo>
                      <a:pt x="3847" y="928"/>
                    </a:lnTo>
                    <a:close/>
                    <a:moveTo>
                      <a:pt x="6384" y="895"/>
                    </a:moveTo>
                    <a:lnTo>
                      <a:pt x="6384" y="895"/>
                    </a:lnTo>
                    <a:lnTo>
                      <a:pt x="6384" y="895"/>
                    </a:lnTo>
                    <a:lnTo>
                      <a:pt x="6384" y="897"/>
                    </a:lnTo>
                    <a:lnTo>
                      <a:pt x="6382" y="904"/>
                    </a:lnTo>
                    <a:lnTo>
                      <a:pt x="6382" y="904"/>
                    </a:lnTo>
                    <a:lnTo>
                      <a:pt x="6384" y="895"/>
                    </a:lnTo>
                    <a:close/>
                    <a:moveTo>
                      <a:pt x="6391" y="878"/>
                    </a:moveTo>
                    <a:lnTo>
                      <a:pt x="6389" y="878"/>
                    </a:lnTo>
                    <a:lnTo>
                      <a:pt x="6389" y="878"/>
                    </a:lnTo>
                    <a:lnTo>
                      <a:pt x="6389" y="881"/>
                    </a:lnTo>
                    <a:lnTo>
                      <a:pt x="6389" y="890"/>
                    </a:lnTo>
                    <a:lnTo>
                      <a:pt x="6389" y="890"/>
                    </a:lnTo>
                    <a:lnTo>
                      <a:pt x="6389" y="888"/>
                    </a:lnTo>
                    <a:lnTo>
                      <a:pt x="6391" y="888"/>
                    </a:lnTo>
                    <a:lnTo>
                      <a:pt x="6391" y="878"/>
                    </a:lnTo>
                    <a:close/>
                    <a:moveTo>
                      <a:pt x="6398" y="850"/>
                    </a:moveTo>
                    <a:lnTo>
                      <a:pt x="6396" y="850"/>
                    </a:lnTo>
                    <a:lnTo>
                      <a:pt x="6396" y="852"/>
                    </a:lnTo>
                    <a:lnTo>
                      <a:pt x="6396" y="871"/>
                    </a:lnTo>
                    <a:lnTo>
                      <a:pt x="6398" y="871"/>
                    </a:lnTo>
                    <a:lnTo>
                      <a:pt x="6398" y="869"/>
                    </a:lnTo>
                    <a:lnTo>
                      <a:pt x="6398" y="869"/>
                    </a:lnTo>
                    <a:lnTo>
                      <a:pt x="6398" y="850"/>
                    </a:lnTo>
                    <a:close/>
                    <a:moveTo>
                      <a:pt x="806" y="826"/>
                    </a:moveTo>
                    <a:lnTo>
                      <a:pt x="804" y="826"/>
                    </a:lnTo>
                    <a:lnTo>
                      <a:pt x="804" y="829"/>
                    </a:lnTo>
                    <a:lnTo>
                      <a:pt x="804" y="1039"/>
                    </a:lnTo>
                    <a:lnTo>
                      <a:pt x="806" y="1039"/>
                    </a:lnTo>
                    <a:lnTo>
                      <a:pt x="806" y="826"/>
                    </a:lnTo>
                    <a:close/>
                    <a:moveTo>
                      <a:pt x="3100" y="762"/>
                    </a:moveTo>
                    <a:lnTo>
                      <a:pt x="3100" y="762"/>
                    </a:lnTo>
                    <a:lnTo>
                      <a:pt x="3100" y="762"/>
                    </a:lnTo>
                    <a:lnTo>
                      <a:pt x="3100" y="765"/>
                    </a:lnTo>
                    <a:lnTo>
                      <a:pt x="3100" y="949"/>
                    </a:lnTo>
                    <a:lnTo>
                      <a:pt x="3100" y="949"/>
                    </a:lnTo>
                    <a:lnTo>
                      <a:pt x="3100" y="762"/>
                    </a:lnTo>
                    <a:close/>
                    <a:moveTo>
                      <a:pt x="1010" y="753"/>
                    </a:moveTo>
                    <a:lnTo>
                      <a:pt x="1007" y="753"/>
                    </a:lnTo>
                    <a:lnTo>
                      <a:pt x="1007" y="755"/>
                    </a:lnTo>
                    <a:lnTo>
                      <a:pt x="1007" y="798"/>
                    </a:lnTo>
                    <a:lnTo>
                      <a:pt x="1010" y="798"/>
                    </a:lnTo>
                    <a:lnTo>
                      <a:pt x="1010" y="753"/>
                    </a:lnTo>
                    <a:close/>
                    <a:moveTo>
                      <a:pt x="5133" y="732"/>
                    </a:moveTo>
                    <a:lnTo>
                      <a:pt x="5131" y="732"/>
                    </a:lnTo>
                    <a:lnTo>
                      <a:pt x="5131" y="734"/>
                    </a:lnTo>
                    <a:lnTo>
                      <a:pt x="5131" y="942"/>
                    </a:lnTo>
                    <a:lnTo>
                      <a:pt x="5133" y="942"/>
                    </a:lnTo>
                    <a:lnTo>
                      <a:pt x="5133" y="732"/>
                    </a:lnTo>
                    <a:close/>
                    <a:moveTo>
                      <a:pt x="3140" y="656"/>
                    </a:moveTo>
                    <a:lnTo>
                      <a:pt x="3138" y="656"/>
                    </a:lnTo>
                    <a:lnTo>
                      <a:pt x="3138" y="658"/>
                    </a:lnTo>
                    <a:lnTo>
                      <a:pt x="3138" y="732"/>
                    </a:lnTo>
                    <a:lnTo>
                      <a:pt x="3140" y="732"/>
                    </a:lnTo>
                    <a:lnTo>
                      <a:pt x="3140" y="656"/>
                    </a:lnTo>
                    <a:close/>
                    <a:moveTo>
                      <a:pt x="97" y="616"/>
                    </a:moveTo>
                    <a:lnTo>
                      <a:pt x="95" y="616"/>
                    </a:lnTo>
                    <a:lnTo>
                      <a:pt x="95" y="618"/>
                    </a:lnTo>
                    <a:lnTo>
                      <a:pt x="95" y="1423"/>
                    </a:lnTo>
                    <a:lnTo>
                      <a:pt x="97" y="1423"/>
                    </a:lnTo>
                    <a:lnTo>
                      <a:pt x="97" y="616"/>
                    </a:lnTo>
                    <a:close/>
                    <a:moveTo>
                      <a:pt x="5254" y="609"/>
                    </a:moveTo>
                    <a:lnTo>
                      <a:pt x="5252" y="609"/>
                    </a:lnTo>
                    <a:lnTo>
                      <a:pt x="5252" y="611"/>
                    </a:lnTo>
                    <a:lnTo>
                      <a:pt x="5252" y="701"/>
                    </a:lnTo>
                    <a:lnTo>
                      <a:pt x="5254" y="701"/>
                    </a:lnTo>
                    <a:lnTo>
                      <a:pt x="5254" y="609"/>
                    </a:lnTo>
                    <a:close/>
                    <a:moveTo>
                      <a:pt x="3284" y="582"/>
                    </a:moveTo>
                    <a:lnTo>
                      <a:pt x="3282" y="582"/>
                    </a:lnTo>
                    <a:lnTo>
                      <a:pt x="3282" y="582"/>
                    </a:lnTo>
                    <a:lnTo>
                      <a:pt x="3282" y="582"/>
                    </a:lnTo>
                    <a:lnTo>
                      <a:pt x="3282" y="627"/>
                    </a:lnTo>
                    <a:lnTo>
                      <a:pt x="3284" y="627"/>
                    </a:lnTo>
                    <a:lnTo>
                      <a:pt x="3284" y="582"/>
                    </a:lnTo>
                    <a:close/>
                    <a:moveTo>
                      <a:pt x="303" y="547"/>
                    </a:moveTo>
                    <a:lnTo>
                      <a:pt x="300" y="547"/>
                    </a:lnTo>
                    <a:lnTo>
                      <a:pt x="300" y="549"/>
                    </a:lnTo>
                    <a:lnTo>
                      <a:pt x="300" y="587"/>
                    </a:lnTo>
                    <a:lnTo>
                      <a:pt x="303" y="587"/>
                    </a:lnTo>
                    <a:lnTo>
                      <a:pt x="303" y="547"/>
                    </a:lnTo>
                    <a:close/>
                    <a:moveTo>
                      <a:pt x="7027" y="509"/>
                    </a:moveTo>
                    <a:lnTo>
                      <a:pt x="7025" y="509"/>
                    </a:lnTo>
                    <a:lnTo>
                      <a:pt x="7025" y="511"/>
                    </a:lnTo>
                    <a:lnTo>
                      <a:pt x="7025" y="1662"/>
                    </a:lnTo>
                    <a:lnTo>
                      <a:pt x="7027" y="1662"/>
                    </a:lnTo>
                    <a:lnTo>
                      <a:pt x="7027" y="509"/>
                    </a:lnTo>
                    <a:close/>
                    <a:moveTo>
                      <a:pt x="4195" y="502"/>
                    </a:moveTo>
                    <a:lnTo>
                      <a:pt x="4195" y="502"/>
                    </a:lnTo>
                    <a:lnTo>
                      <a:pt x="4192" y="504"/>
                    </a:lnTo>
                    <a:lnTo>
                      <a:pt x="4147" y="566"/>
                    </a:lnTo>
                    <a:lnTo>
                      <a:pt x="4147" y="566"/>
                    </a:lnTo>
                    <a:lnTo>
                      <a:pt x="4195" y="502"/>
                    </a:lnTo>
                    <a:close/>
                    <a:moveTo>
                      <a:pt x="3301" y="500"/>
                    </a:moveTo>
                    <a:lnTo>
                      <a:pt x="3301" y="500"/>
                    </a:lnTo>
                    <a:lnTo>
                      <a:pt x="3299" y="500"/>
                    </a:lnTo>
                    <a:lnTo>
                      <a:pt x="3299" y="502"/>
                    </a:lnTo>
                    <a:lnTo>
                      <a:pt x="3299" y="566"/>
                    </a:lnTo>
                    <a:lnTo>
                      <a:pt x="3301" y="566"/>
                    </a:lnTo>
                    <a:lnTo>
                      <a:pt x="3301" y="564"/>
                    </a:lnTo>
                    <a:lnTo>
                      <a:pt x="3301" y="564"/>
                    </a:lnTo>
                    <a:lnTo>
                      <a:pt x="3301" y="500"/>
                    </a:lnTo>
                    <a:close/>
                    <a:moveTo>
                      <a:pt x="4036" y="455"/>
                    </a:moveTo>
                    <a:lnTo>
                      <a:pt x="4036" y="455"/>
                    </a:lnTo>
                    <a:lnTo>
                      <a:pt x="4036" y="455"/>
                    </a:lnTo>
                    <a:lnTo>
                      <a:pt x="4036" y="455"/>
                    </a:lnTo>
                    <a:lnTo>
                      <a:pt x="4036" y="490"/>
                    </a:lnTo>
                    <a:lnTo>
                      <a:pt x="3954" y="644"/>
                    </a:lnTo>
                    <a:lnTo>
                      <a:pt x="3954" y="897"/>
                    </a:lnTo>
                    <a:lnTo>
                      <a:pt x="3956" y="897"/>
                    </a:lnTo>
                    <a:lnTo>
                      <a:pt x="3956" y="642"/>
                    </a:lnTo>
                    <a:lnTo>
                      <a:pt x="4036" y="488"/>
                    </a:lnTo>
                    <a:lnTo>
                      <a:pt x="4036" y="455"/>
                    </a:lnTo>
                    <a:close/>
                    <a:moveTo>
                      <a:pt x="3329" y="433"/>
                    </a:moveTo>
                    <a:lnTo>
                      <a:pt x="3327" y="433"/>
                    </a:lnTo>
                    <a:lnTo>
                      <a:pt x="3327" y="436"/>
                    </a:lnTo>
                    <a:lnTo>
                      <a:pt x="3327" y="474"/>
                    </a:lnTo>
                    <a:lnTo>
                      <a:pt x="3329" y="474"/>
                    </a:lnTo>
                    <a:lnTo>
                      <a:pt x="3329" y="471"/>
                    </a:lnTo>
                    <a:lnTo>
                      <a:pt x="3329" y="471"/>
                    </a:lnTo>
                    <a:lnTo>
                      <a:pt x="3329" y="433"/>
                    </a:lnTo>
                    <a:close/>
                    <a:moveTo>
                      <a:pt x="4043" y="391"/>
                    </a:moveTo>
                    <a:lnTo>
                      <a:pt x="4041" y="391"/>
                    </a:lnTo>
                    <a:lnTo>
                      <a:pt x="4041" y="391"/>
                    </a:lnTo>
                    <a:lnTo>
                      <a:pt x="4041" y="393"/>
                    </a:lnTo>
                    <a:lnTo>
                      <a:pt x="4041" y="448"/>
                    </a:lnTo>
                    <a:lnTo>
                      <a:pt x="4043" y="448"/>
                    </a:lnTo>
                    <a:lnTo>
                      <a:pt x="4043" y="448"/>
                    </a:lnTo>
                    <a:lnTo>
                      <a:pt x="4043" y="448"/>
                    </a:lnTo>
                    <a:lnTo>
                      <a:pt x="4043" y="391"/>
                    </a:lnTo>
                    <a:close/>
                    <a:moveTo>
                      <a:pt x="1811" y="367"/>
                    </a:moveTo>
                    <a:lnTo>
                      <a:pt x="1809" y="367"/>
                    </a:lnTo>
                    <a:lnTo>
                      <a:pt x="1809" y="369"/>
                    </a:lnTo>
                    <a:lnTo>
                      <a:pt x="1809" y="1101"/>
                    </a:lnTo>
                    <a:lnTo>
                      <a:pt x="1811" y="1101"/>
                    </a:lnTo>
                    <a:lnTo>
                      <a:pt x="1811" y="367"/>
                    </a:lnTo>
                    <a:close/>
                    <a:moveTo>
                      <a:pt x="1939" y="334"/>
                    </a:moveTo>
                    <a:lnTo>
                      <a:pt x="1937" y="334"/>
                    </a:lnTo>
                    <a:lnTo>
                      <a:pt x="1937" y="336"/>
                    </a:lnTo>
                    <a:lnTo>
                      <a:pt x="1937" y="339"/>
                    </a:lnTo>
                    <a:lnTo>
                      <a:pt x="1939" y="339"/>
                    </a:lnTo>
                    <a:lnTo>
                      <a:pt x="1939" y="334"/>
                    </a:lnTo>
                    <a:close/>
                    <a:moveTo>
                      <a:pt x="4051" y="327"/>
                    </a:moveTo>
                    <a:lnTo>
                      <a:pt x="4048" y="327"/>
                    </a:lnTo>
                    <a:lnTo>
                      <a:pt x="4048" y="329"/>
                    </a:lnTo>
                    <a:lnTo>
                      <a:pt x="4048" y="384"/>
                    </a:lnTo>
                    <a:lnTo>
                      <a:pt x="4051" y="384"/>
                    </a:lnTo>
                    <a:lnTo>
                      <a:pt x="4051" y="381"/>
                    </a:lnTo>
                    <a:lnTo>
                      <a:pt x="4051" y="381"/>
                    </a:lnTo>
                    <a:lnTo>
                      <a:pt x="4051" y="327"/>
                    </a:lnTo>
                    <a:close/>
                    <a:moveTo>
                      <a:pt x="2029" y="294"/>
                    </a:moveTo>
                    <a:lnTo>
                      <a:pt x="2026" y="294"/>
                    </a:lnTo>
                    <a:lnTo>
                      <a:pt x="2026" y="296"/>
                    </a:lnTo>
                    <a:lnTo>
                      <a:pt x="2026" y="303"/>
                    </a:lnTo>
                    <a:lnTo>
                      <a:pt x="2029" y="303"/>
                    </a:lnTo>
                    <a:lnTo>
                      <a:pt x="2029" y="294"/>
                    </a:lnTo>
                    <a:close/>
                    <a:moveTo>
                      <a:pt x="4703" y="232"/>
                    </a:moveTo>
                    <a:lnTo>
                      <a:pt x="4703" y="232"/>
                    </a:lnTo>
                    <a:lnTo>
                      <a:pt x="4703" y="234"/>
                    </a:lnTo>
                    <a:lnTo>
                      <a:pt x="4642" y="459"/>
                    </a:lnTo>
                    <a:lnTo>
                      <a:pt x="4642" y="459"/>
                    </a:lnTo>
                    <a:lnTo>
                      <a:pt x="4703" y="232"/>
                    </a:lnTo>
                    <a:close/>
                    <a:moveTo>
                      <a:pt x="4805" y="173"/>
                    </a:moveTo>
                    <a:lnTo>
                      <a:pt x="4802" y="173"/>
                    </a:lnTo>
                    <a:lnTo>
                      <a:pt x="4802" y="173"/>
                    </a:lnTo>
                    <a:lnTo>
                      <a:pt x="4802" y="173"/>
                    </a:lnTo>
                    <a:lnTo>
                      <a:pt x="4802" y="201"/>
                    </a:lnTo>
                    <a:lnTo>
                      <a:pt x="4805" y="201"/>
                    </a:lnTo>
                    <a:lnTo>
                      <a:pt x="4805" y="173"/>
                    </a:lnTo>
                    <a:close/>
                    <a:moveTo>
                      <a:pt x="4854" y="0"/>
                    </a:moveTo>
                    <a:lnTo>
                      <a:pt x="4852" y="0"/>
                    </a:lnTo>
                    <a:lnTo>
                      <a:pt x="4852" y="2"/>
                    </a:lnTo>
                    <a:lnTo>
                      <a:pt x="4852" y="142"/>
                    </a:lnTo>
                    <a:lnTo>
                      <a:pt x="4854" y="142"/>
                    </a:lnTo>
                    <a:lnTo>
                      <a:pt x="4854" y="0"/>
                    </a:lnTo>
                    <a:close/>
                    <a:moveTo>
                      <a:pt x="4911" y="0"/>
                    </a:moveTo>
                    <a:lnTo>
                      <a:pt x="4909" y="0"/>
                    </a:lnTo>
                    <a:lnTo>
                      <a:pt x="4909" y="2"/>
                    </a:lnTo>
                    <a:lnTo>
                      <a:pt x="4909" y="142"/>
                    </a:lnTo>
                    <a:lnTo>
                      <a:pt x="4911" y="142"/>
                    </a:lnTo>
                    <a:lnTo>
                      <a:pt x="4911" y="0"/>
                    </a:lnTo>
                    <a:close/>
                  </a:path>
                </a:pathLst>
              </a:custGeom>
              <a:solidFill>
                <a:srgbClr val="CEC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8" name="Freeform 113"/>
              <p:cNvSpPr>
                <a:spLocks noEditPoints="1"/>
              </p:cNvSpPr>
              <p:nvPr/>
            </p:nvSpPr>
            <p:spPr bwMode="auto">
              <a:xfrm>
                <a:off x="16" y="1691"/>
                <a:ext cx="7027" cy="1662"/>
              </a:xfrm>
              <a:custGeom>
                <a:avLst/>
                <a:gdLst>
                  <a:gd name="T0" fmla="*/ 2 w 7027"/>
                  <a:gd name="T1" fmla="*/ 1503 h 1662"/>
                  <a:gd name="T2" fmla="*/ 5665 w 7027"/>
                  <a:gd name="T3" fmla="*/ 1418 h 1662"/>
                  <a:gd name="T4" fmla="*/ 3710 w 7027"/>
                  <a:gd name="T5" fmla="*/ 1222 h 1662"/>
                  <a:gd name="T6" fmla="*/ 5831 w 7027"/>
                  <a:gd name="T7" fmla="*/ 1208 h 1662"/>
                  <a:gd name="T8" fmla="*/ 5831 w 7027"/>
                  <a:gd name="T9" fmla="*/ 1295 h 1662"/>
                  <a:gd name="T10" fmla="*/ 1665 w 7027"/>
                  <a:gd name="T11" fmla="*/ 1158 h 1662"/>
                  <a:gd name="T12" fmla="*/ 1688 w 7027"/>
                  <a:gd name="T13" fmla="*/ 1132 h 1662"/>
                  <a:gd name="T14" fmla="*/ 1688 w 7027"/>
                  <a:gd name="T15" fmla="*/ 1132 h 1662"/>
                  <a:gd name="T16" fmla="*/ 5855 w 7027"/>
                  <a:gd name="T17" fmla="*/ 1184 h 1662"/>
                  <a:gd name="T18" fmla="*/ 6323 w 7027"/>
                  <a:gd name="T19" fmla="*/ 1127 h 1662"/>
                  <a:gd name="T20" fmla="*/ 6323 w 7027"/>
                  <a:gd name="T21" fmla="*/ 1179 h 1662"/>
                  <a:gd name="T22" fmla="*/ 1445 w 7027"/>
                  <a:gd name="T23" fmla="*/ 1127 h 1662"/>
                  <a:gd name="T24" fmla="*/ 1464 w 7027"/>
                  <a:gd name="T25" fmla="*/ 1084 h 1662"/>
                  <a:gd name="T26" fmla="*/ 1464 w 7027"/>
                  <a:gd name="T27" fmla="*/ 1106 h 1662"/>
                  <a:gd name="T28" fmla="*/ 2859 w 7027"/>
                  <a:gd name="T29" fmla="*/ 1063 h 1662"/>
                  <a:gd name="T30" fmla="*/ 5930 w 7027"/>
                  <a:gd name="T31" fmla="*/ 1042 h 1662"/>
                  <a:gd name="T32" fmla="*/ 5933 w 7027"/>
                  <a:gd name="T33" fmla="*/ 1042 h 1662"/>
                  <a:gd name="T34" fmla="*/ 2878 w 7027"/>
                  <a:gd name="T35" fmla="*/ 1047 h 1662"/>
                  <a:gd name="T36" fmla="*/ 3769 w 7027"/>
                  <a:gd name="T37" fmla="*/ 992 h 1662"/>
                  <a:gd name="T38" fmla="*/ 5949 w 7027"/>
                  <a:gd name="T39" fmla="*/ 990 h 1662"/>
                  <a:gd name="T40" fmla="*/ 5949 w 7027"/>
                  <a:gd name="T41" fmla="*/ 1023 h 1662"/>
                  <a:gd name="T42" fmla="*/ 6339 w 7027"/>
                  <a:gd name="T43" fmla="*/ 935 h 1662"/>
                  <a:gd name="T44" fmla="*/ 6342 w 7027"/>
                  <a:gd name="T45" fmla="*/ 1108 h 1662"/>
                  <a:gd name="T46" fmla="*/ 3845 w 7027"/>
                  <a:gd name="T47" fmla="*/ 964 h 1662"/>
                  <a:gd name="T48" fmla="*/ 6384 w 7027"/>
                  <a:gd name="T49" fmla="*/ 895 h 1662"/>
                  <a:gd name="T50" fmla="*/ 6391 w 7027"/>
                  <a:gd name="T51" fmla="*/ 878 h 1662"/>
                  <a:gd name="T52" fmla="*/ 6389 w 7027"/>
                  <a:gd name="T53" fmla="*/ 890 h 1662"/>
                  <a:gd name="T54" fmla="*/ 6396 w 7027"/>
                  <a:gd name="T55" fmla="*/ 850 h 1662"/>
                  <a:gd name="T56" fmla="*/ 6398 w 7027"/>
                  <a:gd name="T57" fmla="*/ 869 h 1662"/>
                  <a:gd name="T58" fmla="*/ 804 w 7027"/>
                  <a:gd name="T59" fmla="*/ 1039 h 1662"/>
                  <a:gd name="T60" fmla="*/ 3100 w 7027"/>
                  <a:gd name="T61" fmla="*/ 762 h 1662"/>
                  <a:gd name="T62" fmla="*/ 1010 w 7027"/>
                  <a:gd name="T63" fmla="*/ 753 h 1662"/>
                  <a:gd name="T64" fmla="*/ 1010 w 7027"/>
                  <a:gd name="T65" fmla="*/ 753 h 1662"/>
                  <a:gd name="T66" fmla="*/ 5133 w 7027"/>
                  <a:gd name="T67" fmla="*/ 942 h 1662"/>
                  <a:gd name="T68" fmla="*/ 3138 w 7027"/>
                  <a:gd name="T69" fmla="*/ 732 h 1662"/>
                  <a:gd name="T70" fmla="*/ 95 w 7027"/>
                  <a:gd name="T71" fmla="*/ 618 h 1662"/>
                  <a:gd name="T72" fmla="*/ 5252 w 7027"/>
                  <a:gd name="T73" fmla="*/ 609 h 1662"/>
                  <a:gd name="T74" fmla="*/ 3284 w 7027"/>
                  <a:gd name="T75" fmla="*/ 582 h 1662"/>
                  <a:gd name="T76" fmla="*/ 3284 w 7027"/>
                  <a:gd name="T77" fmla="*/ 627 h 1662"/>
                  <a:gd name="T78" fmla="*/ 300 w 7027"/>
                  <a:gd name="T79" fmla="*/ 587 h 1662"/>
                  <a:gd name="T80" fmla="*/ 7025 w 7027"/>
                  <a:gd name="T81" fmla="*/ 511 h 1662"/>
                  <a:gd name="T82" fmla="*/ 4195 w 7027"/>
                  <a:gd name="T83" fmla="*/ 502 h 1662"/>
                  <a:gd name="T84" fmla="*/ 3301 w 7027"/>
                  <a:gd name="T85" fmla="*/ 500 h 1662"/>
                  <a:gd name="T86" fmla="*/ 3301 w 7027"/>
                  <a:gd name="T87" fmla="*/ 566 h 1662"/>
                  <a:gd name="T88" fmla="*/ 4036 w 7027"/>
                  <a:gd name="T89" fmla="*/ 455 h 1662"/>
                  <a:gd name="T90" fmla="*/ 3954 w 7027"/>
                  <a:gd name="T91" fmla="*/ 897 h 1662"/>
                  <a:gd name="T92" fmla="*/ 3329 w 7027"/>
                  <a:gd name="T93" fmla="*/ 433 h 1662"/>
                  <a:gd name="T94" fmla="*/ 3329 w 7027"/>
                  <a:gd name="T95" fmla="*/ 471 h 1662"/>
                  <a:gd name="T96" fmla="*/ 4041 w 7027"/>
                  <a:gd name="T97" fmla="*/ 391 h 1662"/>
                  <a:gd name="T98" fmla="*/ 4043 w 7027"/>
                  <a:gd name="T99" fmla="*/ 448 h 1662"/>
                  <a:gd name="T100" fmla="*/ 1809 w 7027"/>
                  <a:gd name="T101" fmla="*/ 1101 h 1662"/>
                  <a:gd name="T102" fmla="*/ 1937 w 7027"/>
                  <a:gd name="T103" fmla="*/ 336 h 1662"/>
                  <a:gd name="T104" fmla="*/ 4048 w 7027"/>
                  <a:gd name="T105" fmla="*/ 327 h 1662"/>
                  <a:gd name="T106" fmla="*/ 4051 w 7027"/>
                  <a:gd name="T107" fmla="*/ 381 h 1662"/>
                  <a:gd name="T108" fmla="*/ 2026 w 7027"/>
                  <a:gd name="T109" fmla="*/ 303 h 1662"/>
                  <a:gd name="T110" fmla="*/ 4703 w 7027"/>
                  <a:gd name="T111" fmla="*/ 234 h 1662"/>
                  <a:gd name="T112" fmla="*/ 4802 w 7027"/>
                  <a:gd name="T113" fmla="*/ 173 h 1662"/>
                  <a:gd name="T114" fmla="*/ 4805 w 7027"/>
                  <a:gd name="T115" fmla="*/ 173 h 1662"/>
                  <a:gd name="T116" fmla="*/ 4854 w 7027"/>
                  <a:gd name="T117" fmla="*/ 142 h 1662"/>
                  <a:gd name="T118" fmla="*/ 4909 w 7027"/>
                  <a:gd name="T119" fmla="*/ 142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2">
                    <a:moveTo>
                      <a:pt x="2" y="1454"/>
                    </a:moveTo>
                    <a:lnTo>
                      <a:pt x="0" y="1454"/>
                    </a:lnTo>
                    <a:lnTo>
                      <a:pt x="0" y="1454"/>
                    </a:lnTo>
                    <a:lnTo>
                      <a:pt x="0" y="1503"/>
                    </a:lnTo>
                    <a:lnTo>
                      <a:pt x="2" y="1503"/>
                    </a:lnTo>
                    <a:lnTo>
                      <a:pt x="2" y="1454"/>
                    </a:lnTo>
                    <a:moveTo>
                      <a:pt x="5665" y="1326"/>
                    </a:moveTo>
                    <a:lnTo>
                      <a:pt x="5665" y="1326"/>
                    </a:lnTo>
                    <a:lnTo>
                      <a:pt x="5665" y="1328"/>
                    </a:lnTo>
                    <a:lnTo>
                      <a:pt x="5665" y="1418"/>
                    </a:lnTo>
                    <a:lnTo>
                      <a:pt x="5665" y="1418"/>
                    </a:lnTo>
                    <a:lnTo>
                      <a:pt x="5665" y="1326"/>
                    </a:lnTo>
                    <a:moveTo>
                      <a:pt x="3712" y="1222"/>
                    </a:moveTo>
                    <a:lnTo>
                      <a:pt x="3710" y="1222"/>
                    </a:lnTo>
                    <a:lnTo>
                      <a:pt x="3710" y="1222"/>
                    </a:lnTo>
                    <a:lnTo>
                      <a:pt x="3710" y="1224"/>
                    </a:lnTo>
                    <a:lnTo>
                      <a:pt x="3710" y="1361"/>
                    </a:lnTo>
                    <a:lnTo>
                      <a:pt x="3712" y="1361"/>
                    </a:lnTo>
                    <a:lnTo>
                      <a:pt x="3712" y="1222"/>
                    </a:lnTo>
                    <a:moveTo>
                      <a:pt x="5831" y="1208"/>
                    </a:moveTo>
                    <a:lnTo>
                      <a:pt x="5831" y="1208"/>
                    </a:lnTo>
                    <a:lnTo>
                      <a:pt x="5831" y="1208"/>
                    </a:lnTo>
                    <a:lnTo>
                      <a:pt x="5831" y="1210"/>
                    </a:lnTo>
                    <a:lnTo>
                      <a:pt x="5831" y="1295"/>
                    </a:lnTo>
                    <a:lnTo>
                      <a:pt x="5831" y="1295"/>
                    </a:lnTo>
                    <a:lnTo>
                      <a:pt x="5831" y="1208"/>
                    </a:lnTo>
                    <a:moveTo>
                      <a:pt x="1667" y="1155"/>
                    </a:moveTo>
                    <a:lnTo>
                      <a:pt x="1665" y="1155"/>
                    </a:lnTo>
                    <a:lnTo>
                      <a:pt x="1665" y="1155"/>
                    </a:lnTo>
                    <a:lnTo>
                      <a:pt x="1665" y="1158"/>
                    </a:lnTo>
                    <a:lnTo>
                      <a:pt x="1665" y="1170"/>
                    </a:lnTo>
                    <a:lnTo>
                      <a:pt x="1667" y="1170"/>
                    </a:lnTo>
                    <a:lnTo>
                      <a:pt x="1667" y="1155"/>
                    </a:lnTo>
                    <a:moveTo>
                      <a:pt x="1688" y="1132"/>
                    </a:moveTo>
                    <a:lnTo>
                      <a:pt x="1688" y="1132"/>
                    </a:lnTo>
                    <a:lnTo>
                      <a:pt x="1688" y="1134"/>
                    </a:lnTo>
                    <a:lnTo>
                      <a:pt x="1688" y="1134"/>
                    </a:lnTo>
                    <a:lnTo>
                      <a:pt x="1688" y="1134"/>
                    </a:lnTo>
                    <a:lnTo>
                      <a:pt x="1688" y="1132"/>
                    </a:lnTo>
                    <a:lnTo>
                      <a:pt x="1688" y="1132"/>
                    </a:lnTo>
                    <a:lnTo>
                      <a:pt x="1688" y="1132"/>
                    </a:lnTo>
                    <a:moveTo>
                      <a:pt x="5857" y="1127"/>
                    </a:moveTo>
                    <a:lnTo>
                      <a:pt x="5855" y="1127"/>
                    </a:lnTo>
                    <a:lnTo>
                      <a:pt x="5855" y="1129"/>
                    </a:lnTo>
                    <a:lnTo>
                      <a:pt x="5855" y="1184"/>
                    </a:lnTo>
                    <a:lnTo>
                      <a:pt x="5857" y="1184"/>
                    </a:lnTo>
                    <a:lnTo>
                      <a:pt x="5857" y="1181"/>
                    </a:lnTo>
                    <a:lnTo>
                      <a:pt x="5857" y="1181"/>
                    </a:lnTo>
                    <a:lnTo>
                      <a:pt x="5857" y="1127"/>
                    </a:lnTo>
                    <a:moveTo>
                      <a:pt x="6323" y="1127"/>
                    </a:moveTo>
                    <a:lnTo>
                      <a:pt x="6323" y="1127"/>
                    </a:lnTo>
                    <a:lnTo>
                      <a:pt x="6320" y="1127"/>
                    </a:lnTo>
                    <a:lnTo>
                      <a:pt x="6320" y="1129"/>
                    </a:lnTo>
                    <a:lnTo>
                      <a:pt x="6320" y="1179"/>
                    </a:lnTo>
                    <a:lnTo>
                      <a:pt x="6323" y="1179"/>
                    </a:lnTo>
                    <a:lnTo>
                      <a:pt x="6323" y="1127"/>
                    </a:lnTo>
                    <a:moveTo>
                      <a:pt x="1447" y="1125"/>
                    </a:moveTo>
                    <a:lnTo>
                      <a:pt x="1445" y="1125"/>
                    </a:lnTo>
                    <a:lnTo>
                      <a:pt x="1445" y="1125"/>
                    </a:lnTo>
                    <a:lnTo>
                      <a:pt x="1445" y="1127"/>
                    </a:lnTo>
                    <a:lnTo>
                      <a:pt x="1445" y="1170"/>
                    </a:lnTo>
                    <a:lnTo>
                      <a:pt x="1447" y="1170"/>
                    </a:lnTo>
                    <a:lnTo>
                      <a:pt x="1447" y="1125"/>
                    </a:lnTo>
                    <a:moveTo>
                      <a:pt x="1464" y="1084"/>
                    </a:moveTo>
                    <a:lnTo>
                      <a:pt x="1464" y="1084"/>
                    </a:lnTo>
                    <a:lnTo>
                      <a:pt x="1464" y="1084"/>
                    </a:lnTo>
                    <a:lnTo>
                      <a:pt x="1464" y="1108"/>
                    </a:lnTo>
                    <a:lnTo>
                      <a:pt x="1464" y="1108"/>
                    </a:lnTo>
                    <a:lnTo>
                      <a:pt x="1464" y="1106"/>
                    </a:lnTo>
                    <a:lnTo>
                      <a:pt x="1464" y="1106"/>
                    </a:lnTo>
                    <a:lnTo>
                      <a:pt x="1464" y="1084"/>
                    </a:lnTo>
                    <a:moveTo>
                      <a:pt x="2861" y="1063"/>
                    </a:moveTo>
                    <a:lnTo>
                      <a:pt x="2859" y="1063"/>
                    </a:lnTo>
                    <a:lnTo>
                      <a:pt x="2859" y="1063"/>
                    </a:lnTo>
                    <a:lnTo>
                      <a:pt x="2859" y="1063"/>
                    </a:lnTo>
                    <a:lnTo>
                      <a:pt x="2859" y="1210"/>
                    </a:lnTo>
                    <a:lnTo>
                      <a:pt x="2861" y="1210"/>
                    </a:lnTo>
                    <a:lnTo>
                      <a:pt x="2861" y="1063"/>
                    </a:lnTo>
                    <a:moveTo>
                      <a:pt x="5933" y="1042"/>
                    </a:moveTo>
                    <a:lnTo>
                      <a:pt x="5930" y="1042"/>
                    </a:lnTo>
                    <a:lnTo>
                      <a:pt x="5930" y="1042"/>
                    </a:lnTo>
                    <a:lnTo>
                      <a:pt x="5930" y="1042"/>
                    </a:lnTo>
                    <a:lnTo>
                      <a:pt x="5930" y="1099"/>
                    </a:lnTo>
                    <a:lnTo>
                      <a:pt x="5933" y="1099"/>
                    </a:lnTo>
                    <a:lnTo>
                      <a:pt x="5933" y="1042"/>
                    </a:lnTo>
                    <a:moveTo>
                      <a:pt x="2878" y="1011"/>
                    </a:moveTo>
                    <a:lnTo>
                      <a:pt x="2875" y="1013"/>
                    </a:lnTo>
                    <a:lnTo>
                      <a:pt x="2875" y="1013"/>
                    </a:lnTo>
                    <a:lnTo>
                      <a:pt x="2875" y="1047"/>
                    </a:lnTo>
                    <a:lnTo>
                      <a:pt x="2878" y="1047"/>
                    </a:lnTo>
                    <a:lnTo>
                      <a:pt x="2878" y="1044"/>
                    </a:lnTo>
                    <a:lnTo>
                      <a:pt x="2878" y="1044"/>
                    </a:lnTo>
                    <a:lnTo>
                      <a:pt x="2878" y="1011"/>
                    </a:lnTo>
                    <a:moveTo>
                      <a:pt x="3771" y="992"/>
                    </a:moveTo>
                    <a:lnTo>
                      <a:pt x="3769" y="992"/>
                    </a:lnTo>
                    <a:lnTo>
                      <a:pt x="3769" y="994"/>
                    </a:lnTo>
                    <a:lnTo>
                      <a:pt x="3769" y="1193"/>
                    </a:lnTo>
                    <a:lnTo>
                      <a:pt x="3771" y="1193"/>
                    </a:lnTo>
                    <a:lnTo>
                      <a:pt x="3771" y="992"/>
                    </a:lnTo>
                    <a:moveTo>
                      <a:pt x="5949" y="990"/>
                    </a:moveTo>
                    <a:lnTo>
                      <a:pt x="5947" y="990"/>
                    </a:lnTo>
                    <a:lnTo>
                      <a:pt x="5947" y="992"/>
                    </a:lnTo>
                    <a:lnTo>
                      <a:pt x="5947" y="1025"/>
                    </a:lnTo>
                    <a:lnTo>
                      <a:pt x="5949" y="1025"/>
                    </a:lnTo>
                    <a:lnTo>
                      <a:pt x="5949" y="1023"/>
                    </a:lnTo>
                    <a:lnTo>
                      <a:pt x="5949" y="1023"/>
                    </a:lnTo>
                    <a:lnTo>
                      <a:pt x="5949" y="990"/>
                    </a:lnTo>
                    <a:moveTo>
                      <a:pt x="6342" y="935"/>
                    </a:moveTo>
                    <a:lnTo>
                      <a:pt x="6339" y="935"/>
                    </a:lnTo>
                    <a:lnTo>
                      <a:pt x="6339" y="935"/>
                    </a:lnTo>
                    <a:lnTo>
                      <a:pt x="6339" y="938"/>
                    </a:lnTo>
                    <a:lnTo>
                      <a:pt x="6339" y="1110"/>
                    </a:lnTo>
                    <a:lnTo>
                      <a:pt x="6339" y="1110"/>
                    </a:lnTo>
                    <a:lnTo>
                      <a:pt x="6339" y="1108"/>
                    </a:lnTo>
                    <a:lnTo>
                      <a:pt x="6342" y="1108"/>
                    </a:lnTo>
                    <a:lnTo>
                      <a:pt x="6342" y="935"/>
                    </a:lnTo>
                    <a:moveTo>
                      <a:pt x="3847" y="928"/>
                    </a:moveTo>
                    <a:lnTo>
                      <a:pt x="3845" y="928"/>
                    </a:lnTo>
                    <a:lnTo>
                      <a:pt x="3845" y="931"/>
                    </a:lnTo>
                    <a:lnTo>
                      <a:pt x="3845" y="964"/>
                    </a:lnTo>
                    <a:lnTo>
                      <a:pt x="3847" y="964"/>
                    </a:lnTo>
                    <a:lnTo>
                      <a:pt x="3847" y="928"/>
                    </a:lnTo>
                    <a:moveTo>
                      <a:pt x="6384" y="895"/>
                    </a:moveTo>
                    <a:lnTo>
                      <a:pt x="6384" y="895"/>
                    </a:lnTo>
                    <a:lnTo>
                      <a:pt x="6384" y="895"/>
                    </a:lnTo>
                    <a:lnTo>
                      <a:pt x="6384" y="897"/>
                    </a:lnTo>
                    <a:lnTo>
                      <a:pt x="6382" y="904"/>
                    </a:lnTo>
                    <a:lnTo>
                      <a:pt x="6382" y="904"/>
                    </a:lnTo>
                    <a:lnTo>
                      <a:pt x="6384" y="895"/>
                    </a:lnTo>
                    <a:moveTo>
                      <a:pt x="6391" y="878"/>
                    </a:moveTo>
                    <a:lnTo>
                      <a:pt x="6389" y="878"/>
                    </a:lnTo>
                    <a:lnTo>
                      <a:pt x="6389" y="878"/>
                    </a:lnTo>
                    <a:lnTo>
                      <a:pt x="6389" y="881"/>
                    </a:lnTo>
                    <a:lnTo>
                      <a:pt x="6389" y="890"/>
                    </a:lnTo>
                    <a:lnTo>
                      <a:pt x="6389" y="890"/>
                    </a:lnTo>
                    <a:lnTo>
                      <a:pt x="6389" y="888"/>
                    </a:lnTo>
                    <a:lnTo>
                      <a:pt x="6391" y="888"/>
                    </a:lnTo>
                    <a:lnTo>
                      <a:pt x="6391" y="878"/>
                    </a:lnTo>
                    <a:moveTo>
                      <a:pt x="6398" y="850"/>
                    </a:moveTo>
                    <a:lnTo>
                      <a:pt x="6396" y="850"/>
                    </a:lnTo>
                    <a:lnTo>
                      <a:pt x="6396" y="852"/>
                    </a:lnTo>
                    <a:lnTo>
                      <a:pt x="6396" y="871"/>
                    </a:lnTo>
                    <a:lnTo>
                      <a:pt x="6398" y="871"/>
                    </a:lnTo>
                    <a:lnTo>
                      <a:pt x="6398" y="869"/>
                    </a:lnTo>
                    <a:lnTo>
                      <a:pt x="6398" y="869"/>
                    </a:lnTo>
                    <a:lnTo>
                      <a:pt x="6398" y="850"/>
                    </a:lnTo>
                    <a:moveTo>
                      <a:pt x="806" y="826"/>
                    </a:moveTo>
                    <a:lnTo>
                      <a:pt x="804" y="826"/>
                    </a:lnTo>
                    <a:lnTo>
                      <a:pt x="804" y="829"/>
                    </a:lnTo>
                    <a:lnTo>
                      <a:pt x="804" y="1039"/>
                    </a:lnTo>
                    <a:lnTo>
                      <a:pt x="806" y="1039"/>
                    </a:lnTo>
                    <a:lnTo>
                      <a:pt x="806" y="826"/>
                    </a:lnTo>
                    <a:moveTo>
                      <a:pt x="3100" y="762"/>
                    </a:moveTo>
                    <a:lnTo>
                      <a:pt x="3100" y="762"/>
                    </a:lnTo>
                    <a:lnTo>
                      <a:pt x="3100" y="762"/>
                    </a:lnTo>
                    <a:lnTo>
                      <a:pt x="3100" y="765"/>
                    </a:lnTo>
                    <a:lnTo>
                      <a:pt x="3100" y="949"/>
                    </a:lnTo>
                    <a:lnTo>
                      <a:pt x="3100" y="949"/>
                    </a:lnTo>
                    <a:lnTo>
                      <a:pt x="3100" y="762"/>
                    </a:lnTo>
                    <a:moveTo>
                      <a:pt x="1010" y="753"/>
                    </a:moveTo>
                    <a:lnTo>
                      <a:pt x="1007" y="753"/>
                    </a:lnTo>
                    <a:lnTo>
                      <a:pt x="1007" y="755"/>
                    </a:lnTo>
                    <a:lnTo>
                      <a:pt x="1007" y="798"/>
                    </a:lnTo>
                    <a:lnTo>
                      <a:pt x="1010" y="798"/>
                    </a:lnTo>
                    <a:lnTo>
                      <a:pt x="1010" y="753"/>
                    </a:lnTo>
                    <a:moveTo>
                      <a:pt x="5133" y="732"/>
                    </a:moveTo>
                    <a:lnTo>
                      <a:pt x="5131" y="732"/>
                    </a:lnTo>
                    <a:lnTo>
                      <a:pt x="5131" y="734"/>
                    </a:lnTo>
                    <a:lnTo>
                      <a:pt x="5131" y="942"/>
                    </a:lnTo>
                    <a:lnTo>
                      <a:pt x="5133" y="942"/>
                    </a:lnTo>
                    <a:lnTo>
                      <a:pt x="5133" y="732"/>
                    </a:lnTo>
                    <a:moveTo>
                      <a:pt x="3140" y="656"/>
                    </a:moveTo>
                    <a:lnTo>
                      <a:pt x="3138" y="656"/>
                    </a:lnTo>
                    <a:lnTo>
                      <a:pt x="3138" y="658"/>
                    </a:lnTo>
                    <a:lnTo>
                      <a:pt x="3138" y="732"/>
                    </a:lnTo>
                    <a:lnTo>
                      <a:pt x="3140" y="732"/>
                    </a:lnTo>
                    <a:lnTo>
                      <a:pt x="3140" y="656"/>
                    </a:lnTo>
                    <a:moveTo>
                      <a:pt x="97" y="616"/>
                    </a:moveTo>
                    <a:lnTo>
                      <a:pt x="95" y="616"/>
                    </a:lnTo>
                    <a:lnTo>
                      <a:pt x="95" y="618"/>
                    </a:lnTo>
                    <a:lnTo>
                      <a:pt x="95" y="1423"/>
                    </a:lnTo>
                    <a:lnTo>
                      <a:pt x="97" y="1423"/>
                    </a:lnTo>
                    <a:lnTo>
                      <a:pt x="97" y="616"/>
                    </a:lnTo>
                    <a:moveTo>
                      <a:pt x="5254" y="609"/>
                    </a:moveTo>
                    <a:lnTo>
                      <a:pt x="5252" y="609"/>
                    </a:lnTo>
                    <a:lnTo>
                      <a:pt x="5252" y="611"/>
                    </a:lnTo>
                    <a:lnTo>
                      <a:pt x="5252" y="701"/>
                    </a:lnTo>
                    <a:lnTo>
                      <a:pt x="5254" y="701"/>
                    </a:lnTo>
                    <a:lnTo>
                      <a:pt x="5254" y="609"/>
                    </a:lnTo>
                    <a:moveTo>
                      <a:pt x="3284" y="582"/>
                    </a:moveTo>
                    <a:lnTo>
                      <a:pt x="3282" y="582"/>
                    </a:lnTo>
                    <a:lnTo>
                      <a:pt x="3282" y="582"/>
                    </a:lnTo>
                    <a:lnTo>
                      <a:pt x="3282" y="582"/>
                    </a:lnTo>
                    <a:lnTo>
                      <a:pt x="3282" y="627"/>
                    </a:lnTo>
                    <a:lnTo>
                      <a:pt x="3284" y="627"/>
                    </a:lnTo>
                    <a:lnTo>
                      <a:pt x="3284" y="582"/>
                    </a:lnTo>
                    <a:moveTo>
                      <a:pt x="303" y="547"/>
                    </a:moveTo>
                    <a:lnTo>
                      <a:pt x="300" y="547"/>
                    </a:lnTo>
                    <a:lnTo>
                      <a:pt x="300" y="549"/>
                    </a:lnTo>
                    <a:lnTo>
                      <a:pt x="300" y="587"/>
                    </a:lnTo>
                    <a:lnTo>
                      <a:pt x="303" y="587"/>
                    </a:lnTo>
                    <a:lnTo>
                      <a:pt x="303" y="547"/>
                    </a:lnTo>
                    <a:moveTo>
                      <a:pt x="7027" y="509"/>
                    </a:moveTo>
                    <a:lnTo>
                      <a:pt x="7025" y="509"/>
                    </a:lnTo>
                    <a:lnTo>
                      <a:pt x="7025" y="511"/>
                    </a:lnTo>
                    <a:lnTo>
                      <a:pt x="7025" y="1662"/>
                    </a:lnTo>
                    <a:lnTo>
                      <a:pt x="7027" y="1662"/>
                    </a:lnTo>
                    <a:lnTo>
                      <a:pt x="7027" y="509"/>
                    </a:lnTo>
                    <a:moveTo>
                      <a:pt x="4195" y="502"/>
                    </a:moveTo>
                    <a:lnTo>
                      <a:pt x="4195" y="502"/>
                    </a:lnTo>
                    <a:lnTo>
                      <a:pt x="4192" y="504"/>
                    </a:lnTo>
                    <a:lnTo>
                      <a:pt x="4147" y="566"/>
                    </a:lnTo>
                    <a:lnTo>
                      <a:pt x="4147" y="566"/>
                    </a:lnTo>
                    <a:lnTo>
                      <a:pt x="4195" y="502"/>
                    </a:lnTo>
                    <a:moveTo>
                      <a:pt x="3301" y="500"/>
                    </a:moveTo>
                    <a:lnTo>
                      <a:pt x="3301" y="500"/>
                    </a:lnTo>
                    <a:lnTo>
                      <a:pt x="3299" y="500"/>
                    </a:lnTo>
                    <a:lnTo>
                      <a:pt x="3299" y="502"/>
                    </a:lnTo>
                    <a:lnTo>
                      <a:pt x="3299" y="566"/>
                    </a:lnTo>
                    <a:lnTo>
                      <a:pt x="3301" y="566"/>
                    </a:lnTo>
                    <a:lnTo>
                      <a:pt x="3301" y="564"/>
                    </a:lnTo>
                    <a:lnTo>
                      <a:pt x="3301" y="564"/>
                    </a:lnTo>
                    <a:lnTo>
                      <a:pt x="3301" y="500"/>
                    </a:lnTo>
                    <a:moveTo>
                      <a:pt x="4036" y="455"/>
                    </a:moveTo>
                    <a:lnTo>
                      <a:pt x="4036" y="455"/>
                    </a:lnTo>
                    <a:lnTo>
                      <a:pt x="4036" y="455"/>
                    </a:lnTo>
                    <a:lnTo>
                      <a:pt x="4036" y="455"/>
                    </a:lnTo>
                    <a:lnTo>
                      <a:pt x="4036" y="490"/>
                    </a:lnTo>
                    <a:lnTo>
                      <a:pt x="3954" y="644"/>
                    </a:lnTo>
                    <a:lnTo>
                      <a:pt x="3954" y="897"/>
                    </a:lnTo>
                    <a:lnTo>
                      <a:pt x="3956" y="897"/>
                    </a:lnTo>
                    <a:lnTo>
                      <a:pt x="3956" y="642"/>
                    </a:lnTo>
                    <a:lnTo>
                      <a:pt x="4036" y="488"/>
                    </a:lnTo>
                    <a:lnTo>
                      <a:pt x="4036" y="455"/>
                    </a:lnTo>
                    <a:moveTo>
                      <a:pt x="3329" y="433"/>
                    </a:moveTo>
                    <a:lnTo>
                      <a:pt x="3327" y="433"/>
                    </a:lnTo>
                    <a:lnTo>
                      <a:pt x="3327" y="436"/>
                    </a:lnTo>
                    <a:lnTo>
                      <a:pt x="3327" y="474"/>
                    </a:lnTo>
                    <a:lnTo>
                      <a:pt x="3329" y="474"/>
                    </a:lnTo>
                    <a:lnTo>
                      <a:pt x="3329" y="471"/>
                    </a:lnTo>
                    <a:lnTo>
                      <a:pt x="3329" y="471"/>
                    </a:lnTo>
                    <a:lnTo>
                      <a:pt x="3329" y="433"/>
                    </a:lnTo>
                    <a:moveTo>
                      <a:pt x="4043" y="391"/>
                    </a:moveTo>
                    <a:lnTo>
                      <a:pt x="4041" y="391"/>
                    </a:lnTo>
                    <a:lnTo>
                      <a:pt x="4041" y="391"/>
                    </a:lnTo>
                    <a:lnTo>
                      <a:pt x="4041" y="393"/>
                    </a:lnTo>
                    <a:lnTo>
                      <a:pt x="4041" y="448"/>
                    </a:lnTo>
                    <a:lnTo>
                      <a:pt x="4043" y="448"/>
                    </a:lnTo>
                    <a:lnTo>
                      <a:pt x="4043" y="448"/>
                    </a:lnTo>
                    <a:lnTo>
                      <a:pt x="4043" y="448"/>
                    </a:lnTo>
                    <a:lnTo>
                      <a:pt x="4043" y="391"/>
                    </a:lnTo>
                    <a:moveTo>
                      <a:pt x="1811" y="367"/>
                    </a:moveTo>
                    <a:lnTo>
                      <a:pt x="1809" y="367"/>
                    </a:lnTo>
                    <a:lnTo>
                      <a:pt x="1809" y="369"/>
                    </a:lnTo>
                    <a:lnTo>
                      <a:pt x="1809" y="1101"/>
                    </a:lnTo>
                    <a:lnTo>
                      <a:pt x="1811" y="1101"/>
                    </a:lnTo>
                    <a:lnTo>
                      <a:pt x="1811" y="367"/>
                    </a:lnTo>
                    <a:moveTo>
                      <a:pt x="1939" y="334"/>
                    </a:moveTo>
                    <a:lnTo>
                      <a:pt x="1937" y="334"/>
                    </a:lnTo>
                    <a:lnTo>
                      <a:pt x="1937" y="336"/>
                    </a:lnTo>
                    <a:lnTo>
                      <a:pt x="1937" y="339"/>
                    </a:lnTo>
                    <a:lnTo>
                      <a:pt x="1939" y="339"/>
                    </a:lnTo>
                    <a:lnTo>
                      <a:pt x="1939" y="334"/>
                    </a:lnTo>
                    <a:moveTo>
                      <a:pt x="4051" y="327"/>
                    </a:moveTo>
                    <a:lnTo>
                      <a:pt x="4048" y="327"/>
                    </a:lnTo>
                    <a:lnTo>
                      <a:pt x="4048" y="329"/>
                    </a:lnTo>
                    <a:lnTo>
                      <a:pt x="4048" y="384"/>
                    </a:lnTo>
                    <a:lnTo>
                      <a:pt x="4051" y="384"/>
                    </a:lnTo>
                    <a:lnTo>
                      <a:pt x="4051" y="381"/>
                    </a:lnTo>
                    <a:lnTo>
                      <a:pt x="4051" y="381"/>
                    </a:lnTo>
                    <a:lnTo>
                      <a:pt x="4051" y="327"/>
                    </a:lnTo>
                    <a:moveTo>
                      <a:pt x="2029" y="294"/>
                    </a:moveTo>
                    <a:lnTo>
                      <a:pt x="2026" y="294"/>
                    </a:lnTo>
                    <a:lnTo>
                      <a:pt x="2026" y="296"/>
                    </a:lnTo>
                    <a:lnTo>
                      <a:pt x="2026" y="303"/>
                    </a:lnTo>
                    <a:lnTo>
                      <a:pt x="2029" y="303"/>
                    </a:lnTo>
                    <a:lnTo>
                      <a:pt x="2029" y="294"/>
                    </a:lnTo>
                    <a:moveTo>
                      <a:pt x="4703" y="232"/>
                    </a:moveTo>
                    <a:lnTo>
                      <a:pt x="4703" y="232"/>
                    </a:lnTo>
                    <a:lnTo>
                      <a:pt x="4703" y="234"/>
                    </a:lnTo>
                    <a:lnTo>
                      <a:pt x="4642" y="459"/>
                    </a:lnTo>
                    <a:lnTo>
                      <a:pt x="4642" y="459"/>
                    </a:lnTo>
                    <a:lnTo>
                      <a:pt x="4703" y="232"/>
                    </a:lnTo>
                    <a:moveTo>
                      <a:pt x="4805" y="173"/>
                    </a:moveTo>
                    <a:lnTo>
                      <a:pt x="4802" y="173"/>
                    </a:lnTo>
                    <a:lnTo>
                      <a:pt x="4802" y="173"/>
                    </a:lnTo>
                    <a:lnTo>
                      <a:pt x="4802" y="173"/>
                    </a:lnTo>
                    <a:lnTo>
                      <a:pt x="4802" y="201"/>
                    </a:lnTo>
                    <a:lnTo>
                      <a:pt x="4805" y="201"/>
                    </a:lnTo>
                    <a:lnTo>
                      <a:pt x="4805" y="173"/>
                    </a:lnTo>
                    <a:moveTo>
                      <a:pt x="4854" y="0"/>
                    </a:moveTo>
                    <a:lnTo>
                      <a:pt x="4852" y="0"/>
                    </a:lnTo>
                    <a:lnTo>
                      <a:pt x="4852" y="2"/>
                    </a:lnTo>
                    <a:lnTo>
                      <a:pt x="4852" y="142"/>
                    </a:lnTo>
                    <a:lnTo>
                      <a:pt x="4854" y="142"/>
                    </a:lnTo>
                    <a:lnTo>
                      <a:pt x="4854" y="0"/>
                    </a:lnTo>
                    <a:moveTo>
                      <a:pt x="4911" y="0"/>
                    </a:moveTo>
                    <a:lnTo>
                      <a:pt x="4909" y="0"/>
                    </a:lnTo>
                    <a:lnTo>
                      <a:pt x="4909" y="2"/>
                    </a:lnTo>
                    <a:lnTo>
                      <a:pt x="4909" y="142"/>
                    </a:lnTo>
                    <a:lnTo>
                      <a:pt x="4911" y="142"/>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99" name="Freeform 114"/>
              <p:cNvSpPr>
                <a:spLocks noEditPoints="1"/>
              </p:cNvSpPr>
              <p:nvPr/>
            </p:nvSpPr>
            <p:spPr bwMode="auto">
              <a:xfrm>
                <a:off x="18" y="1689"/>
                <a:ext cx="7025" cy="1664"/>
              </a:xfrm>
              <a:custGeom>
                <a:avLst/>
                <a:gdLst>
                  <a:gd name="T0" fmla="*/ 3 w 7025"/>
                  <a:gd name="T1" fmla="*/ 1505 h 1664"/>
                  <a:gd name="T2" fmla="*/ 5663 w 7025"/>
                  <a:gd name="T3" fmla="*/ 1420 h 1664"/>
                  <a:gd name="T4" fmla="*/ 3710 w 7025"/>
                  <a:gd name="T5" fmla="*/ 1221 h 1664"/>
                  <a:gd name="T6" fmla="*/ 5831 w 7025"/>
                  <a:gd name="T7" fmla="*/ 1210 h 1664"/>
                  <a:gd name="T8" fmla="*/ 5831 w 7025"/>
                  <a:gd name="T9" fmla="*/ 1297 h 1664"/>
                  <a:gd name="T10" fmla="*/ 1665 w 7025"/>
                  <a:gd name="T11" fmla="*/ 1157 h 1664"/>
                  <a:gd name="T12" fmla="*/ 1686 w 7025"/>
                  <a:gd name="T13" fmla="*/ 1131 h 1664"/>
                  <a:gd name="T14" fmla="*/ 1689 w 7025"/>
                  <a:gd name="T15" fmla="*/ 1131 h 1664"/>
                  <a:gd name="T16" fmla="*/ 5855 w 7025"/>
                  <a:gd name="T17" fmla="*/ 1183 h 1664"/>
                  <a:gd name="T18" fmla="*/ 6323 w 7025"/>
                  <a:gd name="T19" fmla="*/ 1127 h 1664"/>
                  <a:gd name="T20" fmla="*/ 6323 w 7025"/>
                  <a:gd name="T21" fmla="*/ 1181 h 1664"/>
                  <a:gd name="T22" fmla="*/ 1445 w 7025"/>
                  <a:gd name="T23" fmla="*/ 1124 h 1664"/>
                  <a:gd name="T24" fmla="*/ 1448 w 7025"/>
                  <a:gd name="T25" fmla="*/ 1124 h 1664"/>
                  <a:gd name="T26" fmla="*/ 1464 w 7025"/>
                  <a:gd name="T27" fmla="*/ 1108 h 1664"/>
                  <a:gd name="T28" fmla="*/ 2859 w 7025"/>
                  <a:gd name="T29" fmla="*/ 1063 h 1664"/>
                  <a:gd name="T30" fmla="*/ 2862 w 7025"/>
                  <a:gd name="T31" fmla="*/ 1063 h 1664"/>
                  <a:gd name="T32" fmla="*/ 5931 w 7025"/>
                  <a:gd name="T33" fmla="*/ 1101 h 1664"/>
                  <a:gd name="T34" fmla="*/ 2876 w 7025"/>
                  <a:gd name="T35" fmla="*/ 1013 h 1664"/>
                  <a:gd name="T36" fmla="*/ 2878 w 7025"/>
                  <a:gd name="T37" fmla="*/ 1011 h 1664"/>
                  <a:gd name="T38" fmla="*/ 3772 w 7025"/>
                  <a:gd name="T39" fmla="*/ 1195 h 1664"/>
                  <a:gd name="T40" fmla="*/ 5947 w 7025"/>
                  <a:gd name="T41" fmla="*/ 1025 h 1664"/>
                  <a:gd name="T42" fmla="*/ 6340 w 7025"/>
                  <a:gd name="T43" fmla="*/ 935 h 1664"/>
                  <a:gd name="T44" fmla="*/ 6340 w 7025"/>
                  <a:gd name="T45" fmla="*/ 1110 h 1664"/>
                  <a:gd name="T46" fmla="*/ 3845 w 7025"/>
                  <a:gd name="T47" fmla="*/ 928 h 1664"/>
                  <a:gd name="T48" fmla="*/ 6385 w 7025"/>
                  <a:gd name="T49" fmla="*/ 895 h 1664"/>
                  <a:gd name="T50" fmla="*/ 6382 w 7025"/>
                  <a:gd name="T51" fmla="*/ 906 h 1664"/>
                  <a:gd name="T52" fmla="*/ 6389 w 7025"/>
                  <a:gd name="T53" fmla="*/ 880 h 1664"/>
                  <a:gd name="T54" fmla="*/ 6389 w 7025"/>
                  <a:gd name="T55" fmla="*/ 878 h 1664"/>
                  <a:gd name="T56" fmla="*/ 6396 w 7025"/>
                  <a:gd name="T57" fmla="*/ 871 h 1664"/>
                  <a:gd name="T58" fmla="*/ 804 w 7025"/>
                  <a:gd name="T59" fmla="*/ 826 h 1664"/>
                  <a:gd name="T60" fmla="*/ 3100 w 7025"/>
                  <a:gd name="T61" fmla="*/ 762 h 1664"/>
                  <a:gd name="T62" fmla="*/ 3100 w 7025"/>
                  <a:gd name="T63" fmla="*/ 951 h 1664"/>
                  <a:gd name="T64" fmla="*/ 1008 w 7025"/>
                  <a:gd name="T65" fmla="*/ 800 h 1664"/>
                  <a:gd name="T66" fmla="*/ 5131 w 7025"/>
                  <a:gd name="T67" fmla="*/ 734 h 1664"/>
                  <a:gd name="T68" fmla="*/ 3138 w 7025"/>
                  <a:gd name="T69" fmla="*/ 656 h 1664"/>
                  <a:gd name="T70" fmla="*/ 97 w 7025"/>
                  <a:gd name="T71" fmla="*/ 615 h 1664"/>
                  <a:gd name="T72" fmla="*/ 97 w 7025"/>
                  <a:gd name="T73" fmla="*/ 615 h 1664"/>
                  <a:gd name="T74" fmla="*/ 5254 w 7025"/>
                  <a:gd name="T75" fmla="*/ 703 h 1664"/>
                  <a:gd name="T76" fmla="*/ 3282 w 7025"/>
                  <a:gd name="T77" fmla="*/ 584 h 1664"/>
                  <a:gd name="T78" fmla="*/ 301 w 7025"/>
                  <a:gd name="T79" fmla="*/ 547 h 1664"/>
                  <a:gd name="T80" fmla="*/ 7025 w 7025"/>
                  <a:gd name="T81" fmla="*/ 509 h 1664"/>
                  <a:gd name="T82" fmla="*/ 7025 w 7025"/>
                  <a:gd name="T83" fmla="*/ 509 h 1664"/>
                  <a:gd name="T84" fmla="*/ 4145 w 7025"/>
                  <a:gd name="T85" fmla="*/ 568 h 1664"/>
                  <a:gd name="T86" fmla="*/ 3299 w 7025"/>
                  <a:gd name="T87" fmla="*/ 502 h 1664"/>
                  <a:gd name="T88" fmla="*/ 3301 w 7025"/>
                  <a:gd name="T89" fmla="*/ 502 h 1664"/>
                  <a:gd name="T90" fmla="*/ 4034 w 7025"/>
                  <a:gd name="T91" fmla="*/ 490 h 1664"/>
                  <a:gd name="T92" fmla="*/ 4037 w 7025"/>
                  <a:gd name="T93" fmla="*/ 490 h 1664"/>
                  <a:gd name="T94" fmla="*/ 3327 w 7025"/>
                  <a:gd name="T95" fmla="*/ 473 h 1664"/>
                  <a:gd name="T96" fmla="*/ 4041 w 7025"/>
                  <a:gd name="T97" fmla="*/ 390 h 1664"/>
                  <a:gd name="T98" fmla="*/ 4044 w 7025"/>
                  <a:gd name="T99" fmla="*/ 447 h 1664"/>
                  <a:gd name="T100" fmla="*/ 1809 w 7025"/>
                  <a:gd name="T101" fmla="*/ 1103 h 1664"/>
                  <a:gd name="T102" fmla="*/ 1937 w 7025"/>
                  <a:gd name="T103" fmla="*/ 336 h 1664"/>
                  <a:gd name="T104" fmla="*/ 4049 w 7025"/>
                  <a:gd name="T105" fmla="*/ 326 h 1664"/>
                  <a:gd name="T106" fmla="*/ 4051 w 7025"/>
                  <a:gd name="T107" fmla="*/ 381 h 1664"/>
                  <a:gd name="T108" fmla="*/ 2027 w 7025"/>
                  <a:gd name="T109" fmla="*/ 305 h 1664"/>
                  <a:gd name="T110" fmla="*/ 4701 w 7025"/>
                  <a:gd name="T111" fmla="*/ 234 h 1664"/>
                  <a:gd name="T112" fmla="*/ 4803 w 7025"/>
                  <a:gd name="T113" fmla="*/ 173 h 1664"/>
                  <a:gd name="T114" fmla="*/ 4805 w 7025"/>
                  <a:gd name="T115" fmla="*/ 173 h 1664"/>
                  <a:gd name="T116" fmla="*/ 4852 w 7025"/>
                  <a:gd name="T117" fmla="*/ 144 h 1664"/>
                  <a:gd name="T118" fmla="*/ 4909 w 7025"/>
                  <a:gd name="T119" fmla="*/ 144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4">
                    <a:moveTo>
                      <a:pt x="3" y="1453"/>
                    </a:moveTo>
                    <a:lnTo>
                      <a:pt x="0" y="1453"/>
                    </a:lnTo>
                    <a:lnTo>
                      <a:pt x="0" y="1456"/>
                    </a:lnTo>
                    <a:lnTo>
                      <a:pt x="0" y="1505"/>
                    </a:lnTo>
                    <a:lnTo>
                      <a:pt x="3" y="1505"/>
                    </a:lnTo>
                    <a:lnTo>
                      <a:pt x="3" y="1453"/>
                    </a:lnTo>
                    <a:close/>
                    <a:moveTo>
                      <a:pt x="5666" y="1326"/>
                    </a:moveTo>
                    <a:lnTo>
                      <a:pt x="5663" y="1326"/>
                    </a:lnTo>
                    <a:lnTo>
                      <a:pt x="5663" y="1328"/>
                    </a:lnTo>
                    <a:lnTo>
                      <a:pt x="5663" y="1420"/>
                    </a:lnTo>
                    <a:lnTo>
                      <a:pt x="5666" y="1420"/>
                    </a:lnTo>
                    <a:lnTo>
                      <a:pt x="5666" y="1326"/>
                    </a:lnTo>
                    <a:close/>
                    <a:moveTo>
                      <a:pt x="3710" y="1221"/>
                    </a:moveTo>
                    <a:lnTo>
                      <a:pt x="3710" y="1221"/>
                    </a:lnTo>
                    <a:lnTo>
                      <a:pt x="3710" y="1221"/>
                    </a:lnTo>
                    <a:lnTo>
                      <a:pt x="3710" y="1224"/>
                    </a:lnTo>
                    <a:lnTo>
                      <a:pt x="3710" y="1363"/>
                    </a:lnTo>
                    <a:lnTo>
                      <a:pt x="3710" y="1363"/>
                    </a:lnTo>
                    <a:lnTo>
                      <a:pt x="3710" y="1221"/>
                    </a:lnTo>
                    <a:close/>
                    <a:moveTo>
                      <a:pt x="5831" y="1210"/>
                    </a:moveTo>
                    <a:lnTo>
                      <a:pt x="5831" y="1210"/>
                    </a:lnTo>
                    <a:lnTo>
                      <a:pt x="5829" y="1210"/>
                    </a:lnTo>
                    <a:lnTo>
                      <a:pt x="5829" y="1210"/>
                    </a:lnTo>
                    <a:lnTo>
                      <a:pt x="5829" y="1297"/>
                    </a:lnTo>
                    <a:lnTo>
                      <a:pt x="5831" y="1297"/>
                    </a:lnTo>
                    <a:lnTo>
                      <a:pt x="5831" y="1210"/>
                    </a:lnTo>
                    <a:close/>
                    <a:moveTo>
                      <a:pt x="1665" y="1157"/>
                    </a:moveTo>
                    <a:lnTo>
                      <a:pt x="1665" y="1157"/>
                    </a:lnTo>
                    <a:lnTo>
                      <a:pt x="1665" y="1157"/>
                    </a:lnTo>
                    <a:lnTo>
                      <a:pt x="1665" y="1157"/>
                    </a:lnTo>
                    <a:lnTo>
                      <a:pt x="1665" y="1172"/>
                    </a:lnTo>
                    <a:lnTo>
                      <a:pt x="1665" y="1172"/>
                    </a:lnTo>
                    <a:lnTo>
                      <a:pt x="1665" y="1157"/>
                    </a:lnTo>
                    <a:close/>
                    <a:moveTo>
                      <a:pt x="1689" y="1131"/>
                    </a:moveTo>
                    <a:lnTo>
                      <a:pt x="1686" y="1131"/>
                    </a:lnTo>
                    <a:lnTo>
                      <a:pt x="1686" y="1134"/>
                    </a:lnTo>
                    <a:lnTo>
                      <a:pt x="1686" y="1134"/>
                    </a:lnTo>
                    <a:lnTo>
                      <a:pt x="1689" y="1134"/>
                    </a:lnTo>
                    <a:lnTo>
                      <a:pt x="1689" y="1131"/>
                    </a:lnTo>
                    <a:lnTo>
                      <a:pt x="1689" y="1131"/>
                    </a:lnTo>
                    <a:lnTo>
                      <a:pt x="1689" y="1131"/>
                    </a:lnTo>
                    <a:close/>
                    <a:moveTo>
                      <a:pt x="5857" y="1127"/>
                    </a:moveTo>
                    <a:lnTo>
                      <a:pt x="5855" y="1127"/>
                    </a:lnTo>
                    <a:lnTo>
                      <a:pt x="5855" y="1129"/>
                    </a:lnTo>
                    <a:lnTo>
                      <a:pt x="5855" y="1183"/>
                    </a:lnTo>
                    <a:lnTo>
                      <a:pt x="5855" y="1183"/>
                    </a:lnTo>
                    <a:lnTo>
                      <a:pt x="5855" y="1183"/>
                    </a:lnTo>
                    <a:lnTo>
                      <a:pt x="5857" y="1183"/>
                    </a:lnTo>
                    <a:lnTo>
                      <a:pt x="5857" y="1127"/>
                    </a:lnTo>
                    <a:close/>
                    <a:moveTo>
                      <a:pt x="6323" y="1127"/>
                    </a:moveTo>
                    <a:lnTo>
                      <a:pt x="6321" y="1127"/>
                    </a:lnTo>
                    <a:lnTo>
                      <a:pt x="6321" y="1127"/>
                    </a:lnTo>
                    <a:lnTo>
                      <a:pt x="6321" y="1129"/>
                    </a:lnTo>
                    <a:lnTo>
                      <a:pt x="6321" y="1181"/>
                    </a:lnTo>
                    <a:lnTo>
                      <a:pt x="6323" y="1181"/>
                    </a:lnTo>
                    <a:lnTo>
                      <a:pt x="6323" y="1335"/>
                    </a:lnTo>
                    <a:lnTo>
                      <a:pt x="6323" y="1335"/>
                    </a:lnTo>
                    <a:lnTo>
                      <a:pt x="6323" y="1127"/>
                    </a:lnTo>
                    <a:close/>
                    <a:moveTo>
                      <a:pt x="1448" y="1124"/>
                    </a:moveTo>
                    <a:lnTo>
                      <a:pt x="1445" y="1124"/>
                    </a:lnTo>
                    <a:lnTo>
                      <a:pt x="1445" y="1124"/>
                    </a:lnTo>
                    <a:lnTo>
                      <a:pt x="1445" y="1127"/>
                    </a:lnTo>
                    <a:lnTo>
                      <a:pt x="1445" y="1172"/>
                    </a:lnTo>
                    <a:lnTo>
                      <a:pt x="1448" y="1172"/>
                    </a:lnTo>
                    <a:lnTo>
                      <a:pt x="1448" y="1124"/>
                    </a:lnTo>
                    <a:close/>
                    <a:moveTo>
                      <a:pt x="1464" y="1084"/>
                    </a:moveTo>
                    <a:lnTo>
                      <a:pt x="1462" y="1084"/>
                    </a:lnTo>
                    <a:lnTo>
                      <a:pt x="1462" y="1086"/>
                    </a:lnTo>
                    <a:lnTo>
                      <a:pt x="1462" y="1108"/>
                    </a:lnTo>
                    <a:lnTo>
                      <a:pt x="1464" y="1108"/>
                    </a:lnTo>
                    <a:lnTo>
                      <a:pt x="1464" y="1108"/>
                    </a:lnTo>
                    <a:lnTo>
                      <a:pt x="1464" y="1108"/>
                    </a:lnTo>
                    <a:lnTo>
                      <a:pt x="1464" y="1084"/>
                    </a:lnTo>
                    <a:close/>
                    <a:moveTo>
                      <a:pt x="2862" y="1063"/>
                    </a:moveTo>
                    <a:lnTo>
                      <a:pt x="2859" y="1063"/>
                    </a:lnTo>
                    <a:lnTo>
                      <a:pt x="2859" y="1063"/>
                    </a:lnTo>
                    <a:lnTo>
                      <a:pt x="2859" y="1065"/>
                    </a:lnTo>
                    <a:lnTo>
                      <a:pt x="2859" y="1212"/>
                    </a:lnTo>
                    <a:lnTo>
                      <a:pt x="2862" y="1212"/>
                    </a:lnTo>
                    <a:lnTo>
                      <a:pt x="2862" y="1063"/>
                    </a:lnTo>
                    <a:close/>
                    <a:moveTo>
                      <a:pt x="5931" y="1041"/>
                    </a:moveTo>
                    <a:lnTo>
                      <a:pt x="5931" y="1041"/>
                    </a:lnTo>
                    <a:lnTo>
                      <a:pt x="5931" y="1041"/>
                    </a:lnTo>
                    <a:lnTo>
                      <a:pt x="5931" y="1044"/>
                    </a:lnTo>
                    <a:lnTo>
                      <a:pt x="5931" y="1101"/>
                    </a:lnTo>
                    <a:lnTo>
                      <a:pt x="5931" y="1101"/>
                    </a:lnTo>
                    <a:lnTo>
                      <a:pt x="5931" y="1041"/>
                    </a:lnTo>
                    <a:close/>
                    <a:moveTo>
                      <a:pt x="2878" y="1011"/>
                    </a:moveTo>
                    <a:lnTo>
                      <a:pt x="2876" y="1013"/>
                    </a:lnTo>
                    <a:lnTo>
                      <a:pt x="2876" y="1013"/>
                    </a:lnTo>
                    <a:lnTo>
                      <a:pt x="2876" y="1046"/>
                    </a:lnTo>
                    <a:lnTo>
                      <a:pt x="2878" y="1046"/>
                    </a:lnTo>
                    <a:lnTo>
                      <a:pt x="2878" y="1044"/>
                    </a:lnTo>
                    <a:lnTo>
                      <a:pt x="2878" y="1044"/>
                    </a:lnTo>
                    <a:lnTo>
                      <a:pt x="2878" y="1011"/>
                    </a:lnTo>
                    <a:close/>
                    <a:moveTo>
                      <a:pt x="3772" y="994"/>
                    </a:moveTo>
                    <a:lnTo>
                      <a:pt x="3769" y="994"/>
                    </a:lnTo>
                    <a:lnTo>
                      <a:pt x="3769" y="994"/>
                    </a:lnTo>
                    <a:lnTo>
                      <a:pt x="3769" y="1195"/>
                    </a:lnTo>
                    <a:lnTo>
                      <a:pt x="3772" y="1195"/>
                    </a:lnTo>
                    <a:lnTo>
                      <a:pt x="3772" y="994"/>
                    </a:lnTo>
                    <a:close/>
                    <a:moveTo>
                      <a:pt x="5950" y="989"/>
                    </a:moveTo>
                    <a:lnTo>
                      <a:pt x="5947" y="989"/>
                    </a:lnTo>
                    <a:lnTo>
                      <a:pt x="5947" y="992"/>
                    </a:lnTo>
                    <a:lnTo>
                      <a:pt x="5947" y="1025"/>
                    </a:lnTo>
                    <a:lnTo>
                      <a:pt x="5947" y="1025"/>
                    </a:lnTo>
                    <a:lnTo>
                      <a:pt x="5947" y="1022"/>
                    </a:lnTo>
                    <a:lnTo>
                      <a:pt x="5950" y="1022"/>
                    </a:lnTo>
                    <a:lnTo>
                      <a:pt x="5950" y="989"/>
                    </a:lnTo>
                    <a:close/>
                    <a:moveTo>
                      <a:pt x="6340" y="935"/>
                    </a:moveTo>
                    <a:lnTo>
                      <a:pt x="6340" y="935"/>
                    </a:lnTo>
                    <a:lnTo>
                      <a:pt x="6340" y="935"/>
                    </a:lnTo>
                    <a:lnTo>
                      <a:pt x="6340" y="937"/>
                    </a:lnTo>
                    <a:lnTo>
                      <a:pt x="6340" y="1110"/>
                    </a:lnTo>
                    <a:lnTo>
                      <a:pt x="6340" y="1110"/>
                    </a:lnTo>
                    <a:lnTo>
                      <a:pt x="6340" y="1110"/>
                    </a:lnTo>
                    <a:lnTo>
                      <a:pt x="6340" y="1110"/>
                    </a:lnTo>
                    <a:lnTo>
                      <a:pt x="6340" y="935"/>
                    </a:lnTo>
                    <a:close/>
                    <a:moveTo>
                      <a:pt x="3845" y="928"/>
                    </a:moveTo>
                    <a:lnTo>
                      <a:pt x="3845" y="928"/>
                    </a:lnTo>
                    <a:lnTo>
                      <a:pt x="3845" y="930"/>
                    </a:lnTo>
                    <a:lnTo>
                      <a:pt x="3845" y="966"/>
                    </a:lnTo>
                    <a:lnTo>
                      <a:pt x="3845" y="966"/>
                    </a:lnTo>
                    <a:lnTo>
                      <a:pt x="3845" y="928"/>
                    </a:lnTo>
                    <a:close/>
                    <a:moveTo>
                      <a:pt x="6385" y="895"/>
                    </a:moveTo>
                    <a:lnTo>
                      <a:pt x="6385" y="895"/>
                    </a:lnTo>
                    <a:lnTo>
                      <a:pt x="6385" y="895"/>
                    </a:lnTo>
                    <a:lnTo>
                      <a:pt x="6382" y="897"/>
                    </a:lnTo>
                    <a:lnTo>
                      <a:pt x="6380" y="906"/>
                    </a:lnTo>
                    <a:lnTo>
                      <a:pt x="6382" y="906"/>
                    </a:lnTo>
                    <a:lnTo>
                      <a:pt x="6385" y="895"/>
                    </a:lnTo>
                    <a:close/>
                    <a:moveTo>
                      <a:pt x="6389" y="878"/>
                    </a:moveTo>
                    <a:lnTo>
                      <a:pt x="6389" y="878"/>
                    </a:lnTo>
                    <a:lnTo>
                      <a:pt x="6389" y="878"/>
                    </a:lnTo>
                    <a:lnTo>
                      <a:pt x="6389" y="880"/>
                    </a:lnTo>
                    <a:lnTo>
                      <a:pt x="6389" y="890"/>
                    </a:lnTo>
                    <a:lnTo>
                      <a:pt x="6389" y="890"/>
                    </a:lnTo>
                    <a:lnTo>
                      <a:pt x="6389" y="890"/>
                    </a:lnTo>
                    <a:lnTo>
                      <a:pt x="6389" y="890"/>
                    </a:lnTo>
                    <a:lnTo>
                      <a:pt x="6389" y="878"/>
                    </a:lnTo>
                    <a:close/>
                    <a:moveTo>
                      <a:pt x="6399" y="850"/>
                    </a:moveTo>
                    <a:lnTo>
                      <a:pt x="6396" y="850"/>
                    </a:lnTo>
                    <a:lnTo>
                      <a:pt x="6396" y="852"/>
                    </a:lnTo>
                    <a:lnTo>
                      <a:pt x="6396" y="871"/>
                    </a:lnTo>
                    <a:lnTo>
                      <a:pt x="6396" y="871"/>
                    </a:lnTo>
                    <a:lnTo>
                      <a:pt x="6396" y="869"/>
                    </a:lnTo>
                    <a:lnTo>
                      <a:pt x="6399" y="869"/>
                    </a:lnTo>
                    <a:lnTo>
                      <a:pt x="6399" y="850"/>
                    </a:lnTo>
                    <a:close/>
                    <a:moveTo>
                      <a:pt x="807" y="826"/>
                    </a:moveTo>
                    <a:lnTo>
                      <a:pt x="804" y="826"/>
                    </a:lnTo>
                    <a:lnTo>
                      <a:pt x="804" y="828"/>
                    </a:lnTo>
                    <a:lnTo>
                      <a:pt x="804" y="1041"/>
                    </a:lnTo>
                    <a:lnTo>
                      <a:pt x="807" y="1041"/>
                    </a:lnTo>
                    <a:lnTo>
                      <a:pt x="807" y="826"/>
                    </a:lnTo>
                    <a:close/>
                    <a:moveTo>
                      <a:pt x="3100" y="762"/>
                    </a:moveTo>
                    <a:lnTo>
                      <a:pt x="3100" y="762"/>
                    </a:lnTo>
                    <a:lnTo>
                      <a:pt x="3098" y="762"/>
                    </a:lnTo>
                    <a:lnTo>
                      <a:pt x="3098" y="764"/>
                    </a:lnTo>
                    <a:lnTo>
                      <a:pt x="3098" y="951"/>
                    </a:lnTo>
                    <a:lnTo>
                      <a:pt x="3100" y="951"/>
                    </a:lnTo>
                    <a:lnTo>
                      <a:pt x="3100" y="762"/>
                    </a:lnTo>
                    <a:close/>
                    <a:moveTo>
                      <a:pt x="1010" y="753"/>
                    </a:moveTo>
                    <a:lnTo>
                      <a:pt x="1008" y="753"/>
                    </a:lnTo>
                    <a:lnTo>
                      <a:pt x="1008" y="755"/>
                    </a:lnTo>
                    <a:lnTo>
                      <a:pt x="1008" y="800"/>
                    </a:lnTo>
                    <a:lnTo>
                      <a:pt x="1010" y="800"/>
                    </a:lnTo>
                    <a:lnTo>
                      <a:pt x="1010" y="753"/>
                    </a:lnTo>
                    <a:close/>
                    <a:moveTo>
                      <a:pt x="5131" y="731"/>
                    </a:moveTo>
                    <a:lnTo>
                      <a:pt x="5131" y="731"/>
                    </a:lnTo>
                    <a:lnTo>
                      <a:pt x="5131" y="734"/>
                    </a:lnTo>
                    <a:lnTo>
                      <a:pt x="5131" y="944"/>
                    </a:lnTo>
                    <a:lnTo>
                      <a:pt x="5131" y="944"/>
                    </a:lnTo>
                    <a:lnTo>
                      <a:pt x="5131" y="731"/>
                    </a:lnTo>
                    <a:close/>
                    <a:moveTo>
                      <a:pt x="3138" y="656"/>
                    </a:moveTo>
                    <a:lnTo>
                      <a:pt x="3138" y="656"/>
                    </a:lnTo>
                    <a:lnTo>
                      <a:pt x="3138" y="658"/>
                    </a:lnTo>
                    <a:lnTo>
                      <a:pt x="3138" y="734"/>
                    </a:lnTo>
                    <a:lnTo>
                      <a:pt x="3138" y="734"/>
                    </a:lnTo>
                    <a:lnTo>
                      <a:pt x="3138" y="656"/>
                    </a:lnTo>
                    <a:close/>
                    <a:moveTo>
                      <a:pt x="97" y="615"/>
                    </a:moveTo>
                    <a:lnTo>
                      <a:pt x="95" y="615"/>
                    </a:lnTo>
                    <a:lnTo>
                      <a:pt x="95" y="618"/>
                    </a:lnTo>
                    <a:lnTo>
                      <a:pt x="95" y="1425"/>
                    </a:lnTo>
                    <a:lnTo>
                      <a:pt x="97" y="1425"/>
                    </a:lnTo>
                    <a:lnTo>
                      <a:pt x="97" y="615"/>
                    </a:lnTo>
                    <a:close/>
                    <a:moveTo>
                      <a:pt x="5254" y="608"/>
                    </a:moveTo>
                    <a:lnTo>
                      <a:pt x="5252" y="608"/>
                    </a:lnTo>
                    <a:lnTo>
                      <a:pt x="5252" y="611"/>
                    </a:lnTo>
                    <a:lnTo>
                      <a:pt x="5252" y="703"/>
                    </a:lnTo>
                    <a:lnTo>
                      <a:pt x="5254" y="703"/>
                    </a:lnTo>
                    <a:lnTo>
                      <a:pt x="5254" y="608"/>
                    </a:lnTo>
                    <a:close/>
                    <a:moveTo>
                      <a:pt x="3282" y="582"/>
                    </a:moveTo>
                    <a:lnTo>
                      <a:pt x="3282" y="582"/>
                    </a:lnTo>
                    <a:lnTo>
                      <a:pt x="3282" y="582"/>
                    </a:lnTo>
                    <a:lnTo>
                      <a:pt x="3282" y="584"/>
                    </a:lnTo>
                    <a:lnTo>
                      <a:pt x="3282" y="629"/>
                    </a:lnTo>
                    <a:lnTo>
                      <a:pt x="3282" y="629"/>
                    </a:lnTo>
                    <a:lnTo>
                      <a:pt x="3282" y="582"/>
                    </a:lnTo>
                    <a:close/>
                    <a:moveTo>
                      <a:pt x="303" y="547"/>
                    </a:moveTo>
                    <a:lnTo>
                      <a:pt x="301" y="547"/>
                    </a:lnTo>
                    <a:lnTo>
                      <a:pt x="301" y="549"/>
                    </a:lnTo>
                    <a:lnTo>
                      <a:pt x="301" y="589"/>
                    </a:lnTo>
                    <a:lnTo>
                      <a:pt x="303" y="589"/>
                    </a:lnTo>
                    <a:lnTo>
                      <a:pt x="303" y="547"/>
                    </a:lnTo>
                    <a:close/>
                    <a:moveTo>
                      <a:pt x="7025" y="509"/>
                    </a:moveTo>
                    <a:lnTo>
                      <a:pt x="7025" y="509"/>
                    </a:lnTo>
                    <a:lnTo>
                      <a:pt x="7025" y="511"/>
                    </a:lnTo>
                    <a:lnTo>
                      <a:pt x="7025" y="1664"/>
                    </a:lnTo>
                    <a:lnTo>
                      <a:pt x="7025" y="1664"/>
                    </a:lnTo>
                    <a:lnTo>
                      <a:pt x="7025" y="509"/>
                    </a:lnTo>
                    <a:close/>
                    <a:moveTo>
                      <a:pt x="4195" y="504"/>
                    </a:moveTo>
                    <a:lnTo>
                      <a:pt x="4193" y="504"/>
                    </a:lnTo>
                    <a:lnTo>
                      <a:pt x="4193" y="504"/>
                    </a:lnTo>
                    <a:lnTo>
                      <a:pt x="4145" y="568"/>
                    </a:lnTo>
                    <a:lnTo>
                      <a:pt x="4145" y="568"/>
                    </a:lnTo>
                    <a:lnTo>
                      <a:pt x="4195" y="504"/>
                    </a:lnTo>
                    <a:close/>
                    <a:moveTo>
                      <a:pt x="3301" y="502"/>
                    </a:moveTo>
                    <a:lnTo>
                      <a:pt x="3299" y="502"/>
                    </a:lnTo>
                    <a:lnTo>
                      <a:pt x="3299" y="502"/>
                    </a:lnTo>
                    <a:lnTo>
                      <a:pt x="3299" y="502"/>
                    </a:lnTo>
                    <a:lnTo>
                      <a:pt x="3299" y="566"/>
                    </a:lnTo>
                    <a:lnTo>
                      <a:pt x="3299" y="566"/>
                    </a:lnTo>
                    <a:lnTo>
                      <a:pt x="3299" y="563"/>
                    </a:lnTo>
                    <a:lnTo>
                      <a:pt x="3301" y="563"/>
                    </a:lnTo>
                    <a:lnTo>
                      <a:pt x="3301" y="502"/>
                    </a:lnTo>
                    <a:close/>
                    <a:moveTo>
                      <a:pt x="4037" y="454"/>
                    </a:moveTo>
                    <a:lnTo>
                      <a:pt x="4034" y="454"/>
                    </a:lnTo>
                    <a:lnTo>
                      <a:pt x="4034" y="454"/>
                    </a:lnTo>
                    <a:lnTo>
                      <a:pt x="4034" y="457"/>
                    </a:lnTo>
                    <a:lnTo>
                      <a:pt x="4034" y="490"/>
                    </a:lnTo>
                    <a:lnTo>
                      <a:pt x="3954" y="644"/>
                    </a:lnTo>
                    <a:lnTo>
                      <a:pt x="3954" y="899"/>
                    </a:lnTo>
                    <a:lnTo>
                      <a:pt x="3956" y="899"/>
                    </a:lnTo>
                    <a:lnTo>
                      <a:pt x="3956" y="641"/>
                    </a:lnTo>
                    <a:lnTo>
                      <a:pt x="4037" y="490"/>
                    </a:lnTo>
                    <a:lnTo>
                      <a:pt x="4037" y="454"/>
                    </a:lnTo>
                    <a:close/>
                    <a:moveTo>
                      <a:pt x="3330" y="433"/>
                    </a:moveTo>
                    <a:lnTo>
                      <a:pt x="3327" y="433"/>
                    </a:lnTo>
                    <a:lnTo>
                      <a:pt x="3327" y="435"/>
                    </a:lnTo>
                    <a:lnTo>
                      <a:pt x="3327" y="473"/>
                    </a:lnTo>
                    <a:lnTo>
                      <a:pt x="3330" y="473"/>
                    </a:lnTo>
                    <a:lnTo>
                      <a:pt x="3330" y="433"/>
                    </a:lnTo>
                    <a:close/>
                    <a:moveTo>
                      <a:pt x="4044" y="390"/>
                    </a:moveTo>
                    <a:lnTo>
                      <a:pt x="4041" y="390"/>
                    </a:lnTo>
                    <a:lnTo>
                      <a:pt x="4041" y="390"/>
                    </a:lnTo>
                    <a:lnTo>
                      <a:pt x="4041" y="393"/>
                    </a:lnTo>
                    <a:lnTo>
                      <a:pt x="4041" y="450"/>
                    </a:lnTo>
                    <a:lnTo>
                      <a:pt x="4044" y="450"/>
                    </a:lnTo>
                    <a:lnTo>
                      <a:pt x="4044" y="447"/>
                    </a:lnTo>
                    <a:lnTo>
                      <a:pt x="4044" y="447"/>
                    </a:lnTo>
                    <a:lnTo>
                      <a:pt x="4044" y="390"/>
                    </a:lnTo>
                    <a:close/>
                    <a:moveTo>
                      <a:pt x="1809" y="369"/>
                    </a:moveTo>
                    <a:lnTo>
                      <a:pt x="1809" y="369"/>
                    </a:lnTo>
                    <a:lnTo>
                      <a:pt x="1809" y="369"/>
                    </a:lnTo>
                    <a:lnTo>
                      <a:pt x="1809" y="1103"/>
                    </a:lnTo>
                    <a:lnTo>
                      <a:pt x="1809" y="1103"/>
                    </a:lnTo>
                    <a:lnTo>
                      <a:pt x="1809" y="369"/>
                    </a:lnTo>
                    <a:close/>
                    <a:moveTo>
                      <a:pt x="1939" y="334"/>
                    </a:moveTo>
                    <a:lnTo>
                      <a:pt x="1937" y="334"/>
                    </a:lnTo>
                    <a:lnTo>
                      <a:pt x="1937" y="336"/>
                    </a:lnTo>
                    <a:lnTo>
                      <a:pt x="1937" y="341"/>
                    </a:lnTo>
                    <a:lnTo>
                      <a:pt x="1939" y="341"/>
                    </a:lnTo>
                    <a:lnTo>
                      <a:pt x="1939" y="334"/>
                    </a:lnTo>
                    <a:close/>
                    <a:moveTo>
                      <a:pt x="4051" y="326"/>
                    </a:moveTo>
                    <a:lnTo>
                      <a:pt x="4049" y="326"/>
                    </a:lnTo>
                    <a:lnTo>
                      <a:pt x="4049" y="329"/>
                    </a:lnTo>
                    <a:lnTo>
                      <a:pt x="4049" y="383"/>
                    </a:lnTo>
                    <a:lnTo>
                      <a:pt x="4051" y="383"/>
                    </a:lnTo>
                    <a:lnTo>
                      <a:pt x="4051" y="381"/>
                    </a:lnTo>
                    <a:lnTo>
                      <a:pt x="4051" y="381"/>
                    </a:lnTo>
                    <a:lnTo>
                      <a:pt x="4051" y="326"/>
                    </a:lnTo>
                    <a:close/>
                    <a:moveTo>
                      <a:pt x="2029" y="293"/>
                    </a:moveTo>
                    <a:lnTo>
                      <a:pt x="2027" y="293"/>
                    </a:lnTo>
                    <a:lnTo>
                      <a:pt x="2027" y="296"/>
                    </a:lnTo>
                    <a:lnTo>
                      <a:pt x="2027" y="305"/>
                    </a:lnTo>
                    <a:lnTo>
                      <a:pt x="2029" y="305"/>
                    </a:lnTo>
                    <a:lnTo>
                      <a:pt x="2029" y="293"/>
                    </a:lnTo>
                    <a:close/>
                    <a:moveTo>
                      <a:pt x="4703" y="232"/>
                    </a:moveTo>
                    <a:lnTo>
                      <a:pt x="4703" y="232"/>
                    </a:lnTo>
                    <a:lnTo>
                      <a:pt x="4701" y="234"/>
                    </a:lnTo>
                    <a:lnTo>
                      <a:pt x="4640" y="461"/>
                    </a:lnTo>
                    <a:lnTo>
                      <a:pt x="4642" y="459"/>
                    </a:lnTo>
                    <a:lnTo>
                      <a:pt x="4703" y="232"/>
                    </a:lnTo>
                    <a:close/>
                    <a:moveTo>
                      <a:pt x="4805" y="173"/>
                    </a:moveTo>
                    <a:lnTo>
                      <a:pt x="4803" y="173"/>
                    </a:lnTo>
                    <a:lnTo>
                      <a:pt x="4803" y="173"/>
                    </a:lnTo>
                    <a:lnTo>
                      <a:pt x="4803" y="175"/>
                    </a:lnTo>
                    <a:lnTo>
                      <a:pt x="4803" y="203"/>
                    </a:lnTo>
                    <a:lnTo>
                      <a:pt x="4805" y="203"/>
                    </a:lnTo>
                    <a:lnTo>
                      <a:pt x="4805" y="173"/>
                    </a:lnTo>
                    <a:close/>
                    <a:moveTo>
                      <a:pt x="4852" y="0"/>
                    </a:moveTo>
                    <a:lnTo>
                      <a:pt x="4852" y="0"/>
                    </a:lnTo>
                    <a:lnTo>
                      <a:pt x="4852" y="2"/>
                    </a:lnTo>
                    <a:lnTo>
                      <a:pt x="4852" y="144"/>
                    </a:lnTo>
                    <a:lnTo>
                      <a:pt x="4852" y="144"/>
                    </a:lnTo>
                    <a:lnTo>
                      <a:pt x="4852" y="0"/>
                    </a:lnTo>
                    <a:close/>
                    <a:moveTo>
                      <a:pt x="4912" y="0"/>
                    </a:moveTo>
                    <a:lnTo>
                      <a:pt x="4909" y="0"/>
                    </a:lnTo>
                    <a:lnTo>
                      <a:pt x="4909" y="2"/>
                    </a:lnTo>
                    <a:lnTo>
                      <a:pt x="4909" y="144"/>
                    </a:lnTo>
                    <a:lnTo>
                      <a:pt x="4912" y="144"/>
                    </a:lnTo>
                    <a:lnTo>
                      <a:pt x="491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0" name="Freeform 115"/>
              <p:cNvSpPr>
                <a:spLocks noEditPoints="1"/>
              </p:cNvSpPr>
              <p:nvPr/>
            </p:nvSpPr>
            <p:spPr bwMode="auto">
              <a:xfrm>
                <a:off x="18" y="1689"/>
                <a:ext cx="7025" cy="1664"/>
              </a:xfrm>
              <a:custGeom>
                <a:avLst/>
                <a:gdLst>
                  <a:gd name="T0" fmla="*/ 3 w 7025"/>
                  <a:gd name="T1" fmla="*/ 1505 h 1664"/>
                  <a:gd name="T2" fmla="*/ 5663 w 7025"/>
                  <a:gd name="T3" fmla="*/ 1420 h 1664"/>
                  <a:gd name="T4" fmla="*/ 3710 w 7025"/>
                  <a:gd name="T5" fmla="*/ 1221 h 1664"/>
                  <a:gd name="T6" fmla="*/ 5831 w 7025"/>
                  <a:gd name="T7" fmla="*/ 1210 h 1664"/>
                  <a:gd name="T8" fmla="*/ 5831 w 7025"/>
                  <a:gd name="T9" fmla="*/ 1297 h 1664"/>
                  <a:gd name="T10" fmla="*/ 1665 w 7025"/>
                  <a:gd name="T11" fmla="*/ 1157 h 1664"/>
                  <a:gd name="T12" fmla="*/ 1686 w 7025"/>
                  <a:gd name="T13" fmla="*/ 1131 h 1664"/>
                  <a:gd name="T14" fmla="*/ 1689 w 7025"/>
                  <a:gd name="T15" fmla="*/ 1131 h 1664"/>
                  <a:gd name="T16" fmla="*/ 5855 w 7025"/>
                  <a:gd name="T17" fmla="*/ 1183 h 1664"/>
                  <a:gd name="T18" fmla="*/ 6323 w 7025"/>
                  <a:gd name="T19" fmla="*/ 1127 h 1664"/>
                  <a:gd name="T20" fmla="*/ 6323 w 7025"/>
                  <a:gd name="T21" fmla="*/ 1181 h 1664"/>
                  <a:gd name="T22" fmla="*/ 1445 w 7025"/>
                  <a:gd name="T23" fmla="*/ 1124 h 1664"/>
                  <a:gd name="T24" fmla="*/ 1448 w 7025"/>
                  <a:gd name="T25" fmla="*/ 1124 h 1664"/>
                  <a:gd name="T26" fmla="*/ 1464 w 7025"/>
                  <a:gd name="T27" fmla="*/ 1108 h 1664"/>
                  <a:gd name="T28" fmla="*/ 2859 w 7025"/>
                  <a:gd name="T29" fmla="*/ 1063 h 1664"/>
                  <a:gd name="T30" fmla="*/ 2862 w 7025"/>
                  <a:gd name="T31" fmla="*/ 1063 h 1664"/>
                  <a:gd name="T32" fmla="*/ 5931 w 7025"/>
                  <a:gd name="T33" fmla="*/ 1101 h 1664"/>
                  <a:gd name="T34" fmla="*/ 2876 w 7025"/>
                  <a:gd name="T35" fmla="*/ 1013 h 1664"/>
                  <a:gd name="T36" fmla="*/ 2878 w 7025"/>
                  <a:gd name="T37" fmla="*/ 1011 h 1664"/>
                  <a:gd name="T38" fmla="*/ 3772 w 7025"/>
                  <a:gd name="T39" fmla="*/ 1195 h 1664"/>
                  <a:gd name="T40" fmla="*/ 5947 w 7025"/>
                  <a:gd name="T41" fmla="*/ 1025 h 1664"/>
                  <a:gd name="T42" fmla="*/ 6340 w 7025"/>
                  <a:gd name="T43" fmla="*/ 935 h 1664"/>
                  <a:gd name="T44" fmla="*/ 6340 w 7025"/>
                  <a:gd name="T45" fmla="*/ 1110 h 1664"/>
                  <a:gd name="T46" fmla="*/ 3845 w 7025"/>
                  <a:gd name="T47" fmla="*/ 928 h 1664"/>
                  <a:gd name="T48" fmla="*/ 6385 w 7025"/>
                  <a:gd name="T49" fmla="*/ 895 h 1664"/>
                  <a:gd name="T50" fmla="*/ 6382 w 7025"/>
                  <a:gd name="T51" fmla="*/ 906 h 1664"/>
                  <a:gd name="T52" fmla="*/ 6389 w 7025"/>
                  <a:gd name="T53" fmla="*/ 880 h 1664"/>
                  <a:gd name="T54" fmla="*/ 6389 w 7025"/>
                  <a:gd name="T55" fmla="*/ 878 h 1664"/>
                  <a:gd name="T56" fmla="*/ 6396 w 7025"/>
                  <a:gd name="T57" fmla="*/ 871 h 1664"/>
                  <a:gd name="T58" fmla="*/ 804 w 7025"/>
                  <a:gd name="T59" fmla="*/ 826 h 1664"/>
                  <a:gd name="T60" fmla="*/ 3100 w 7025"/>
                  <a:gd name="T61" fmla="*/ 762 h 1664"/>
                  <a:gd name="T62" fmla="*/ 3100 w 7025"/>
                  <a:gd name="T63" fmla="*/ 951 h 1664"/>
                  <a:gd name="T64" fmla="*/ 1008 w 7025"/>
                  <a:gd name="T65" fmla="*/ 800 h 1664"/>
                  <a:gd name="T66" fmla="*/ 5131 w 7025"/>
                  <a:gd name="T67" fmla="*/ 734 h 1664"/>
                  <a:gd name="T68" fmla="*/ 3138 w 7025"/>
                  <a:gd name="T69" fmla="*/ 656 h 1664"/>
                  <a:gd name="T70" fmla="*/ 97 w 7025"/>
                  <a:gd name="T71" fmla="*/ 615 h 1664"/>
                  <a:gd name="T72" fmla="*/ 97 w 7025"/>
                  <a:gd name="T73" fmla="*/ 615 h 1664"/>
                  <a:gd name="T74" fmla="*/ 5254 w 7025"/>
                  <a:gd name="T75" fmla="*/ 703 h 1664"/>
                  <a:gd name="T76" fmla="*/ 3282 w 7025"/>
                  <a:gd name="T77" fmla="*/ 584 h 1664"/>
                  <a:gd name="T78" fmla="*/ 301 w 7025"/>
                  <a:gd name="T79" fmla="*/ 547 h 1664"/>
                  <a:gd name="T80" fmla="*/ 7025 w 7025"/>
                  <a:gd name="T81" fmla="*/ 509 h 1664"/>
                  <a:gd name="T82" fmla="*/ 7025 w 7025"/>
                  <a:gd name="T83" fmla="*/ 509 h 1664"/>
                  <a:gd name="T84" fmla="*/ 4145 w 7025"/>
                  <a:gd name="T85" fmla="*/ 568 h 1664"/>
                  <a:gd name="T86" fmla="*/ 3299 w 7025"/>
                  <a:gd name="T87" fmla="*/ 502 h 1664"/>
                  <a:gd name="T88" fmla="*/ 3301 w 7025"/>
                  <a:gd name="T89" fmla="*/ 502 h 1664"/>
                  <a:gd name="T90" fmla="*/ 4034 w 7025"/>
                  <a:gd name="T91" fmla="*/ 490 h 1664"/>
                  <a:gd name="T92" fmla="*/ 4037 w 7025"/>
                  <a:gd name="T93" fmla="*/ 490 h 1664"/>
                  <a:gd name="T94" fmla="*/ 3327 w 7025"/>
                  <a:gd name="T95" fmla="*/ 473 h 1664"/>
                  <a:gd name="T96" fmla="*/ 4041 w 7025"/>
                  <a:gd name="T97" fmla="*/ 390 h 1664"/>
                  <a:gd name="T98" fmla="*/ 4044 w 7025"/>
                  <a:gd name="T99" fmla="*/ 447 h 1664"/>
                  <a:gd name="T100" fmla="*/ 1809 w 7025"/>
                  <a:gd name="T101" fmla="*/ 1103 h 1664"/>
                  <a:gd name="T102" fmla="*/ 1937 w 7025"/>
                  <a:gd name="T103" fmla="*/ 336 h 1664"/>
                  <a:gd name="T104" fmla="*/ 4049 w 7025"/>
                  <a:gd name="T105" fmla="*/ 326 h 1664"/>
                  <a:gd name="T106" fmla="*/ 4051 w 7025"/>
                  <a:gd name="T107" fmla="*/ 381 h 1664"/>
                  <a:gd name="T108" fmla="*/ 2027 w 7025"/>
                  <a:gd name="T109" fmla="*/ 305 h 1664"/>
                  <a:gd name="T110" fmla="*/ 4701 w 7025"/>
                  <a:gd name="T111" fmla="*/ 234 h 1664"/>
                  <a:gd name="T112" fmla="*/ 4803 w 7025"/>
                  <a:gd name="T113" fmla="*/ 173 h 1664"/>
                  <a:gd name="T114" fmla="*/ 4805 w 7025"/>
                  <a:gd name="T115" fmla="*/ 173 h 1664"/>
                  <a:gd name="T116" fmla="*/ 4852 w 7025"/>
                  <a:gd name="T117" fmla="*/ 144 h 1664"/>
                  <a:gd name="T118" fmla="*/ 4909 w 7025"/>
                  <a:gd name="T119" fmla="*/ 144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4">
                    <a:moveTo>
                      <a:pt x="3" y="1453"/>
                    </a:moveTo>
                    <a:lnTo>
                      <a:pt x="0" y="1453"/>
                    </a:lnTo>
                    <a:lnTo>
                      <a:pt x="0" y="1456"/>
                    </a:lnTo>
                    <a:lnTo>
                      <a:pt x="0" y="1505"/>
                    </a:lnTo>
                    <a:lnTo>
                      <a:pt x="3" y="1505"/>
                    </a:lnTo>
                    <a:lnTo>
                      <a:pt x="3" y="1453"/>
                    </a:lnTo>
                    <a:moveTo>
                      <a:pt x="5666" y="1326"/>
                    </a:moveTo>
                    <a:lnTo>
                      <a:pt x="5663" y="1326"/>
                    </a:lnTo>
                    <a:lnTo>
                      <a:pt x="5663" y="1328"/>
                    </a:lnTo>
                    <a:lnTo>
                      <a:pt x="5663" y="1420"/>
                    </a:lnTo>
                    <a:lnTo>
                      <a:pt x="5666" y="1420"/>
                    </a:lnTo>
                    <a:lnTo>
                      <a:pt x="5666" y="1326"/>
                    </a:lnTo>
                    <a:moveTo>
                      <a:pt x="3710" y="1221"/>
                    </a:moveTo>
                    <a:lnTo>
                      <a:pt x="3710" y="1221"/>
                    </a:lnTo>
                    <a:lnTo>
                      <a:pt x="3710" y="1221"/>
                    </a:lnTo>
                    <a:lnTo>
                      <a:pt x="3710" y="1224"/>
                    </a:lnTo>
                    <a:lnTo>
                      <a:pt x="3710" y="1363"/>
                    </a:lnTo>
                    <a:lnTo>
                      <a:pt x="3710" y="1363"/>
                    </a:lnTo>
                    <a:lnTo>
                      <a:pt x="3710" y="1221"/>
                    </a:lnTo>
                    <a:moveTo>
                      <a:pt x="5831" y="1210"/>
                    </a:moveTo>
                    <a:lnTo>
                      <a:pt x="5831" y="1210"/>
                    </a:lnTo>
                    <a:lnTo>
                      <a:pt x="5829" y="1210"/>
                    </a:lnTo>
                    <a:lnTo>
                      <a:pt x="5829" y="1210"/>
                    </a:lnTo>
                    <a:lnTo>
                      <a:pt x="5829" y="1297"/>
                    </a:lnTo>
                    <a:lnTo>
                      <a:pt x="5831" y="1297"/>
                    </a:lnTo>
                    <a:lnTo>
                      <a:pt x="5831" y="1210"/>
                    </a:lnTo>
                    <a:moveTo>
                      <a:pt x="1665" y="1157"/>
                    </a:moveTo>
                    <a:lnTo>
                      <a:pt x="1665" y="1157"/>
                    </a:lnTo>
                    <a:lnTo>
                      <a:pt x="1665" y="1157"/>
                    </a:lnTo>
                    <a:lnTo>
                      <a:pt x="1665" y="1157"/>
                    </a:lnTo>
                    <a:lnTo>
                      <a:pt x="1665" y="1172"/>
                    </a:lnTo>
                    <a:lnTo>
                      <a:pt x="1665" y="1172"/>
                    </a:lnTo>
                    <a:lnTo>
                      <a:pt x="1665" y="1157"/>
                    </a:lnTo>
                    <a:moveTo>
                      <a:pt x="1689" y="1131"/>
                    </a:moveTo>
                    <a:lnTo>
                      <a:pt x="1686" y="1131"/>
                    </a:lnTo>
                    <a:lnTo>
                      <a:pt x="1686" y="1134"/>
                    </a:lnTo>
                    <a:lnTo>
                      <a:pt x="1686" y="1134"/>
                    </a:lnTo>
                    <a:lnTo>
                      <a:pt x="1689" y="1134"/>
                    </a:lnTo>
                    <a:lnTo>
                      <a:pt x="1689" y="1131"/>
                    </a:lnTo>
                    <a:lnTo>
                      <a:pt x="1689" y="1131"/>
                    </a:lnTo>
                    <a:lnTo>
                      <a:pt x="1689" y="1131"/>
                    </a:lnTo>
                    <a:moveTo>
                      <a:pt x="5857" y="1127"/>
                    </a:moveTo>
                    <a:lnTo>
                      <a:pt x="5855" y="1127"/>
                    </a:lnTo>
                    <a:lnTo>
                      <a:pt x="5855" y="1129"/>
                    </a:lnTo>
                    <a:lnTo>
                      <a:pt x="5855" y="1183"/>
                    </a:lnTo>
                    <a:lnTo>
                      <a:pt x="5855" y="1183"/>
                    </a:lnTo>
                    <a:lnTo>
                      <a:pt x="5855" y="1183"/>
                    </a:lnTo>
                    <a:lnTo>
                      <a:pt x="5857" y="1183"/>
                    </a:lnTo>
                    <a:lnTo>
                      <a:pt x="5857" y="1127"/>
                    </a:lnTo>
                    <a:moveTo>
                      <a:pt x="6323" y="1127"/>
                    </a:moveTo>
                    <a:lnTo>
                      <a:pt x="6321" y="1127"/>
                    </a:lnTo>
                    <a:lnTo>
                      <a:pt x="6321" y="1127"/>
                    </a:lnTo>
                    <a:lnTo>
                      <a:pt x="6321" y="1129"/>
                    </a:lnTo>
                    <a:lnTo>
                      <a:pt x="6321" y="1181"/>
                    </a:lnTo>
                    <a:lnTo>
                      <a:pt x="6323" y="1181"/>
                    </a:lnTo>
                    <a:lnTo>
                      <a:pt x="6323" y="1335"/>
                    </a:lnTo>
                    <a:lnTo>
                      <a:pt x="6323" y="1335"/>
                    </a:lnTo>
                    <a:lnTo>
                      <a:pt x="6323" y="1127"/>
                    </a:lnTo>
                    <a:moveTo>
                      <a:pt x="1448" y="1124"/>
                    </a:moveTo>
                    <a:lnTo>
                      <a:pt x="1445" y="1124"/>
                    </a:lnTo>
                    <a:lnTo>
                      <a:pt x="1445" y="1124"/>
                    </a:lnTo>
                    <a:lnTo>
                      <a:pt x="1445" y="1127"/>
                    </a:lnTo>
                    <a:lnTo>
                      <a:pt x="1445" y="1172"/>
                    </a:lnTo>
                    <a:lnTo>
                      <a:pt x="1448" y="1172"/>
                    </a:lnTo>
                    <a:lnTo>
                      <a:pt x="1448" y="1124"/>
                    </a:lnTo>
                    <a:moveTo>
                      <a:pt x="1464" y="1084"/>
                    </a:moveTo>
                    <a:lnTo>
                      <a:pt x="1462" y="1084"/>
                    </a:lnTo>
                    <a:lnTo>
                      <a:pt x="1462" y="1086"/>
                    </a:lnTo>
                    <a:lnTo>
                      <a:pt x="1462" y="1108"/>
                    </a:lnTo>
                    <a:lnTo>
                      <a:pt x="1464" y="1108"/>
                    </a:lnTo>
                    <a:lnTo>
                      <a:pt x="1464" y="1108"/>
                    </a:lnTo>
                    <a:lnTo>
                      <a:pt x="1464" y="1108"/>
                    </a:lnTo>
                    <a:lnTo>
                      <a:pt x="1464" y="1084"/>
                    </a:lnTo>
                    <a:moveTo>
                      <a:pt x="2862" y="1063"/>
                    </a:moveTo>
                    <a:lnTo>
                      <a:pt x="2859" y="1063"/>
                    </a:lnTo>
                    <a:lnTo>
                      <a:pt x="2859" y="1063"/>
                    </a:lnTo>
                    <a:lnTo>
                      <a:pt x="2859" y="1065"/>
                    </a:lnTo>
                    <a:lnTo>
                      <a:pt x="2859" y="1212"/>
                    </a:lnTo>
                    <a:lnTo>
                      <a:pt x="2862" y="1212"/>
                    </a:lnTo>
                    <a:lnTo>
                      <a:pt x="2862" y="1063"/>
                    </a:lnTo>
                    <a:moveTo>
                      <a:pt x="5931" y="1041"/>
                    </a:moveTo>
                    <a:lnTo>
                      <a:pt x="5931" y="1041"/>
                    </a:lnTo>
                    <a:lnTo>
                      <a:pt x="5931" y="1041"/>
                    </a:lnTo>
                    <a:lnTo>
                      <a:pt x="5931" y="1044"/>
                    </a:lnTo>
                    <a:lnTo>
                      <a:pt x="5931" y="1101"/>
                    </a:lnTo>
                    <a:lnTo>
                      <a:pt x="5931" y="1101"/>
                    </a:lnTo>
                    <a:lnTo>
                      <a:pt x="5931" y="1041"/>
                    </a:lnTo>
                    <a:moveTo>
                      <a:pt x="2878" y="1011"/>
                    </a:moveTo>
                    <a:lnTo>
                      <a:pt x="2876" y="1013"/>
                    </a:lnTo>
                    <a:lnTo>
                      <a:pt x="2876" y="1013"/>
                    </a:lnTo>
                    <a:lnTo>
                      <a:pt x="2876" y="1046"/>
                    </a:lnTo>
                    <a:lnTo>
                      <a:pt x="2878" y="1046"/>
                    </a:lnTo>
                    <a:lnTo>
                      <a:pt x="2878" y="1044"/>
                    </a:lnTo>
                    <a:lnTo>
                      <a:pt x="2878" y="1044"/>
                    </a:lnTo>
                    <a:lnTo>
                      <a:pt x="2878" y="1011"/>
                    </a:lnTo>
                    <a:moveTo>
                      <a:pt x="3772" y="994"/>
                    </a:moveTo>
                    <a:lnTo>
                      <a:pt x="3769" y="994"/>
                    </a:lnTo>
                    <a:lnTo>
                      <a:pt x="3769" y="994"/>
                    </a:lnTo>
                    <a:lnTo>
                      <a:pt x="3769" y="1195"/>
                    </a:lnTo>
                    <a:lnTo>
                      <a:pt x="3772" y="1195"/>
                    </a:lnTo>
                    <a:lnTo>
                      <a:pt x="3772" y="994"/>
                    </a:lnTo>
                    <a:moveTo>
                      <a:pt x="5950" y="989"/>
                    </a:moveTo>
                    <a:lnTo>
                      <a:pt x="5947" y="989"/>
                    </a:lnTo>
                    <a:lnTo>
                      <a:pt x="5947" y="992"/>
                    </a:lnTo>
                    <a:lnTo>
                      <a:pt x="5947" y="1025"/>
                    </a:lnTo>
                    <a:lnTo>
                      <a:pt x="5947" y="1025"/>
                    </a:lnTo>
                    <a:lnTo>
                      <a:pt x="5947" y="1022"/>
                    </a:lnTo>
                    <a:lnTo>
                      <a:pt x="5950" y="1022"/>
                    </a:lnTo>
                    <a:lnTo>
                      <a:pt x="5950" y="989"/>
                    </a:lnTo>
                    <a:moveTo>
                      <a:pt x="6340" y="935"/>
                    </a:moveTo>
                    <a:lnTo>
                      <a:pt x="6340" y="935"/>
                    </a:lnTo>
                    <a:lnTo>
                      <a:pt x="6340" y="935"/>
                    </a:lnTo>
                    <a:lnTo>
                      <a:pt x="6340" y="937"/>
                    </a:lnTo>
                    <a:lnTo>
                      <a:pt x="6340" y="1110"/>
                    </a:lnTo>
                    <a:lnTo>
                      <a:pt x="6340" y="1110"/>
                    </a:lnTo>
                    <a:lnTo>
                      <a:pt x="6340" y="1110"/>
                    </a:lnTo>
                    <a:lnTo>
                      <a:pt x="6340" y="1110"/>
                    </a:lnTo>
                    <a:lnTo>
                      <a:pt x="6340" y="935"/>
                    </a:lnTo>
                    <a:moveTo>
                      <a:pt x="3845" y="928"/>
                    </a:moveTo>
                    <a:lnTo>
                      <a:pt x="3845" y="928"/>
                    </a:lnTo>
                    <a:lnTo>
                      <a:pt x="3845" y="930"/>
                    </a:lnTo>
                    <a:lnTo>
                      <a:pt x="3845" y="966"/>
                    </a:lnTo>
                    <a:lnTo>
                      <a:pt x="3845" y="966"/>
                    </a:lnTo>
                    <a:lnTo>
                      <a:pt x="3845" y="928"/>
                    </a:lnTo>
                    <a:moveTo>
                      <a:pt x="6385" y="895"/>
                    </a:moveTo>
                    <a:lnTo>
                      <a:pt x="6385" y="895"/>
                    </a:lnTo>
                    <a:lnTo>
                      <a:pt x="6385" y="895"/>
                    </a:lnTo>
                    <a:lnTo>
                      <a:pt x="6382" y="897"/>
                    </a:lnTo>
                    <a:lnTo>
                      <a:pt x="6380" y="906"/>
                    </a:lnTo>
                    <a:lnTo>
                      <a:pt x="6382" y="906"/>
                    </a:lnTo>
                    <a:lnTo>
                      <a:pt x="6385" y="895"/>
                    </a:lnTo>
                    <a:moveTo>
                      <a:pt x="6389" y="878"/>
                    </a:moveTo>
                    <a:lnTo>
                      <a:pt x="6389" y="878"/>
                    </a:lnTo>
                    <a:lnTo>
                      <a:pt x="6389" y="878"/>
                    </a:lnTo>
                    <a:lnTo>
                      <a:pt x="6389" y="880"/>
                    </a:lnTo>
                    <a:lnTo>
                      <a:pt x="6389" y="890"/>
                    </a:lnTo>
                    <a:lnTo>
                      <a:pt x="6389" y="890"/>
                    </a:lnTo>
                    <a:lnTo>
                      <a:pt x="6389" y="890"/>
                    </a:lnTo>
                    <a:lnTo>
                      <a:pt x="6389" y="890"/>
                    </a:lnTo>
                    <a:lnTo>
                      <a:pt x="6389" y="878"/>
                    </a:lnTo>
                    <a:moveTo>
                      <a:pt x="6399" y="850"/>
                    </a:moveTo>
                    <a:lnTo>
                      <a:pt x="6396" y="850"/>
                    </a:lnTo>
                    <a:lnTo>
                      <a:pt x="6396" y="852"/>
                    </a:lnTo>
                    <a:lnTo>
                      <a:pt x="6396" y="871"/>
                    </a:lnTo>
                    <a:lnTo>
                      <a:pt x="6396" y="871"/>
                    </a:lnTo>
                    <a:lnTo>
                      <a:pt x="6396" y="869"/>
                    </a:lnTo>
                    <a:lnTo>
                      <a:pt x="6399" y="869"/>
                    </a:lnTo>
                    <a:lnTo>
                      <a:pt x="6399" y="850"/>
                    </a:lnTo>
                    <a:moveTo>
                      <a:pt x="807" y="826"/>
                    </a:moveTo>
                    <a:lnTo>
                      <a:pt x="804" y="826"/>
                    </a:lnTo>
                    <a:lnTo>
                      <a:pt x="804" y="828"/>
                    </a:lnTo>
                    <a:lnTo>
                      <a:pt x="804" y="1041"/>
                    </a:lnTo>
                    <a:lnTo>
                      <a:pt x="807" y="1041"/>
                    </a:lnTo>
                    <a:lnTo>
                      <a:pt x="807" y="826"/>
                    </a:lnTo>
                    <a:moveTo>
                      <a:pt x="3100" y="762"/>
                    </a:moveTo>
                    <a:lnTo>
                      <a:pt x="3100" y="762"/>
                    </a:lnTo>
                    <a:lnTo>
                      <a:pt x="3098" y="762"/>
                    </a:lnTo>
                    <a:lnTo>
                      <a:pt x="3098" y="764"/>
                    </a:lnTo>
                    <a:lnTo>
                      <a:pt x="3098" y="951"/>
                    </a:lnTo>
                    <a:lnTo>
                      <a:pt x="3100" y="951"/>
                    </a:lnTo>
                    <a:lnTo>
                      <a:pt x="3100" y="762"/>
                    </a:lnTo>
                    <a:moveTo>
                      <a:pt x="1010" y="753"/>
                    </a:moveTo>
                    <a:lnTo>
                      <a:pt x="1008" y="753"/>
                    </a:lnTo>
                    <a:lnTo>
                      <a:pt x="1008" y="755"/>
                    </a:lnTo>
                    <a:lnTo>
                      <a:pt x="1008" y="800"/>
                    </a:lnTo>
                    <a:lnTo>
                      <a:pt x="1010" y="800"/>
                    </a:lnTo>
                    <a:lnTo>
                      <a:pt x="1010" y="753"/>
                    </a:lnTo>
                    <a:moveTo>
                      <a:pt x="5131" y="731"/>
                    </a:moveTo>
                    <a:lnTo>
                      <a:pt x="5131" y="731"/>
                    </a:lnTo>
                    <a:lnTo>
                      <a:pt x="5131" y="734"/>
                    </a:lnTo>
                    <a:lnTo>
                      <a:pt x="5131" y="944"/>
                    </a:lnTo>
                    <a:lnTo>
                      <a:pt x="5131" y="944"/>
                    </a:lnTo>
                    <a:lnTo>
                      <a:pt x="5131" y="731"/>
                    </a:lnTo>
                    <a:moveTo>
                      <a:pt x="3138" y="656"/>
                    </a:moveTo>
                    <a:lnTo>
                      <a:pt x="3138" y="656"/>
                    </a:lnTo>
                    <a:lnTo>
                      <a:pt x="3138" y="658"/>
                    </a:lnTo>
                    <a:lnTo>
                      <a:pt x="3138" y="734"/>
                    </a:lnTo>
                    <a:lnTo>
                      <a:pt x="3138" y="734"/>
                    </a:lnTo>
                    <a:lnTo>
                      <a:pt x="3138" y="656"/>
                    </a:lnTo>
                    <a:moveTo>
                      <a:pt x="97" y="615"/>
                    </a:moveTo>
                    <a:lnTo>
                      <a:pt x="95" y="615"/>
                    </a:lnTo>
                    <a:lnTo>
                      <a:pt x="95" y="618"/>
                    </a:lnTo>
                    <a:lnTo>
                      <a:pt x="95" y="1425"/>
                    </a:lnTo>
                    <a:lnTo>
                      <a:pt x="97" y="1425"/>
                    </a:lnTo>
                    <a:lnTo>
                      <a:pt x="97" y="615"/>
                    </a:lnTo>
                    <a:moveTo>
                      <a:pt x="5254" y="608"/>
                    </a:moveTo>
                    <a:lnTo>
                      <a:pt x="5252" y="608"/>
                    </a:lnTo>
                    <a:lnTo>
                      <a:pt x="5252" y="611"/>
                    </a:lnTo>
                    <a:lnTo>
                      <a:pt x="5252" y="703"/>
                    </a:lnTo>
                    <a:lnTo>
                      <a:pt x="5254" y="703"/>
                    </a:lnTo>
                    <a:lnTo>
                      <a:pt x="5254" y="608"/>
                    </a:lnTo>
                    <a:moveTo>
                      <a:pt x="3282" y="582"/>
                    </a:moveTo>
                    <a:lnTo>
                      <a:pt x="3282" y="582"/>
                    </a:lnTo>
                    <a:lnTo>
                      <a:pt x="3282" y="582"/>
                    </a:lnTo>
                    <a:lnTo>
                      <a:pt x="3282" y="584"/>
                    </a:lnTo>
                    <a:lnTo>
                      <a:pt x="3282" y="629"/>
                    </a:lnTo>
                    <a:lnTo>
                      <a:pt x="3282" y="629"/>
                    </a:lnTo>
                    <a:lnTo>
                      <a:pt x="3282" y="582"/>
                    </a:lnTo>
                    <a:moveTo>
                      <a:pt x="303" y="547"/>
                    </a:moveTo>
                    <a:lnTo>
                      <a:pt x="301" y="547"/>
                    </a:lnTo>
                    <a:lnTo>
                      <a:pt x="301" y="549"/>
                    </a:lnTo>
                    <a:lnTo>
                      <a:pt x="301" y="589"/>
                    </a:lnTo>
                    <a:lnTo>
                      <a:pt x="303" y="589"/>
                    </a:lnTo>
                    <a:lnTo>
                      <a:pt x="303" y="547"/>
                    </a:lnTo>
                    <a:moveTo>
                      <a:pt x="7025" y="509"/>
                    </a:moveTo>
                    <a:lnTo>
                      <a:pt x="7025" y="509"/>
                    </a:lnTo>
                    <a:lnTo>
                      <a:pt x="7025" y="511"/>
                    </a:lnTo>
                    <a:lnTo>
                      <a:pt x="7025" y="1664"/>
                    </a:lnTo>
                    <a:lnTo>
                      <a:pt x="7025" y="1664"/>
                    </a:lnTo>
                    <a:lnTo>
                      <a:pt x="7025" y="509"/>
                    </a:lnTo>
                    <a:moveTo>
                      <a:pt x="4195" y="504"/>
                    </a:moveTo>
                    <a:lnTo>
                      <a:pt x="4193" y="504"/>
                    </a:lnTo>
                    <a:lnTo>
                      <a:pt x="4193" y="504"/>
                    </a:lnTo>
                    <a:lnTo>
                      <a:pt x="4145" y="568"/>
                    </a:lnTo>
                    <a:lnTo>
                      <a:pt x="4145" y="568"/>
                    </a:lnTo>
                    <a:lnTo>
                      <a:pt x="4195" y="504"/>
                    </a:lnTo>
                    <a:moveTo>
                      <a:pt x="3301" y="502"/>
                    </a:moveTo>
                    <a:lnTo>
                      <a:pt x="3299" y="502"/>
                    </a:lnTo>
                    <a:lnTo>
                      <a:pt x="3299" y="502"/>
                    </a:lnTo>
                    <a:lnTo>
                      <a:pt x="3299" y="502"/>
                    </a:lnTo>
                    <a:lnTo>
                      <a:pt x="3299" y="566"/>
                    </a:lnTo>
                    <a:lnTo>
                      <a:pt x="3299" y="566"/>
                    </a:lnTo>
                    <a:lnTo>
                      <a:pt x="3299" y="563"/>
                    </a:lnTo>
                    <a:lnTo>
                      <a:pt x="3301" y="563"/>
                    </a:lnTo>
                    <a:lnTo>
                      <a:pt x="3301" y="502"/>
                    </a:lnTo>
                    <a:moveTo>
                      <a:pt x="4037" y="454"/>
                    </a:moveTo>
                    <a:lnTo>
                      <a:pt x="4034" y="454"/>
                    </a:lnTo>
                    <a:lnTo>
                      <a:pt x="4034" y="454"/>
                    </a:lnTo>
                    <a:lnTo>
                      <a:pt x="4034" y="457"/>
                    </a:lnTo>
                    <a:lnTo>
                      <a:pt x="4034" y="490"/>
                    </a:lnTo>
                    <a:lnTo>
                      <a:pt x="3954" y="644"/>
                    </a:lnTo>
                    <a:lnTo>
                      <a:pt x="3954" y="899"/>
                    </a:lnTo>
                    <a:lnTo>
                      <a:pt x="3956" y="899"/>
                    </a:lnTo>
                    <a:lnTo>
                      <a:pt x="3956" y="641"/>
                    </a:lnTo>
                    <a:lnTo>
                      <a:pt x="4037" y="490"/>
                    </a:lnTo>
                    <a:lnTo>
                      <a:pt x="4037" y="454"/>
                    </a:lnTo>
                    <a:moveTo>
                      <a:pt x="3330" y="433"/>
                    </a:moveTo>
                    <a:lnTo>
                      <a:pt x="3327" y="433"/>
                    </a:lnTo>
                    <a:lnTo>
                      <a:pt x="3327" y="435"/>
                    </a:lnTo>
                    <a:lnTo>
                      <a:pt x="3327" y="473"/>
                    </a:lnTo>
                    <a:lnTo>
                      <a:pt x="3330" y="473"/>
                    </a:lnTo>
                    <a:lnTo>
                      <a:pt x="3330" y="433"/>
                    </a:lnTo>
                    <a:moveTo>
                      <a:pt x="4044" y="390"/>
                    </a:moveTo>
                    <a:lnTo>
                      <a:pt x="4041" y="390"/>
                    </a:lnTo>
                    <a:lnTo>
                      <a:pt x="4041" y="390"/>
                    </a:lnTo>
                    <a:lnTo>
                      <a:pt x="4041" y="393"/>
                    </a:lnTo>
                    <a:lnTo>
                      <a:pt x="4041" y="450"/>
                    </a:lnTo>
                    <a:lnTo>
                      <a:pt x="4044" y="450"/>
                    </a:lnTo>
                    <a:lnTo>
                      <a:pt x="4044" y="447"/>
                    </a:lnTo>
                    <a:lnTo>
                      <a:pt x="4044" y="447"/>
                    </a:lnTo>
                    <a:lnTo>
                      <a:pt x="4044" y="390"/>
                    </a:lnTo>
                    <a:moveTo>
                      <a:pt x="1809" y="369"/>
                    </a:moveTo>
                    <a:lnTo>
                      <a:pt x="1809" y="369"/>
                    </a:lnTo>
                    <a:lnTo>
                      <a:pt x="1809" y="369"/>
                    </a:lnTo>
                    <a:lnTo>
                      <a:pt x="1809" y="1103"/>
                    </a:lnTo>
                    <a:lnTo>
                      <a:pt x="1809" y="1103"/>
                    </a:lnTo>
                    <a:lnTo>
                      <a:pt x="1809" y="369"/>
                    </a:lnTo>
                    <a:moveTo>
                      <a:pt x="1939" y="334"/>
                    </a:moveTo>
                    <a:lnTo>
                      <a:pt x="1937" y="334"/>
                    </a:lnTo>
                    <a:lnTo>
                      <a:pt x="1937" y="336"/>
                    </a:lnTo>
                    <a:lnTo>
                      <a:pt x="1937" y="341"/>
                    </a:lnTo>
                    <a:lnTo>
                      <a:pt x="1939" y="341"/>
                    </a:lnTo>
                    <a:lnTo>
                      <a:pt x="1939" y="334"/>
                    </a:lnTo>
                    <a:moveTo>
                      <a:pt x="4051" y="326"/>
                    </a:moveTo>
                    <a:lnTo>
                      <a:pt x="4049" y="326"/>
                    </a:lnTo>
                    <a:lnTo>
                      <a:pt x="4049" y="329"/>
                    </a:lnTo>
                    <a:lnTo>
                      <a:pt x="4049" y="383"/>
                    </a:lnTo>
                    <a:lnTo>
                      <a:pt x="4051" y="383"/>
                    </a:lnTo>
                    <a:lnTo>
                      <a:pt x="4051" y="381"/>
                    </a:lnTo>
                    <a:lnTo>
                      <a:pt x="4051" y="381"/>
                    </a:lnTo>
                    <a:lnTo>
                      <a:pt x="4051" y="326"/>
                    </a:lnTo>
                    <a:moveTo>
                      <a:pt x="2029" y="293"/>
                    </a:moveTo>
                    <a:lnTo>
                      <a:pt x="2027" y="293"/>
                    </a:lnTo>
                    <a:lnTo>
                      <a:pt x="2027" y="296"/>
                    </a:lnTo>
                    <a:lnTo>
                      <a:pt x="2027" y="305"/>
                    </a:lnTo>
                    <a:lnTo>
                      <a:pt x="2029" y="305"/>
                    </a:lnTo>
                    <a:lnTo>
                      <a:pt x="2029" y="293"/>
                    </a:lnTo>
                    <a:moveTo>
                      <a:pt x="4703" y="232"/>
                    </a:moveTo>
                    <a:lnTo>
                      <a:pt x="4703" y="232"/>
                    </a:lnTo>
                    <a:lnTo>
                      <a:pt x="4701" y="234"/>
                    </a:lnTo>
                    <a:lnTo>
                      <a:pt x="4640" y="461"/>
                    </a:lnTo>
                    <a:lnTo>
                      <a:pt x="4642" y="459"/>
                    </a:lnTo>
                    <a:lnTo>
                      <a:pt x="4703" y="232"/>
                    </a:lnTo>
                    <a:moveTo>
                      <a:pt x="4805" y="173"/>
                    </a:moveTo>
                    <a:lnTo>
                      <a:pt x="4803" y="173"/>
                    </a:lnTo>
                    <a:lnTo>
                      <a:pt x="4803" y="173"/>
                    </a:lnTo>
                    <a:lnTo>
                      <a:pt x="4803" y="175"/>
                    </a:lnTo>
                    <a:lnTo>
                      <a:pt x="4803" y="203"/>
                    </a:lnTo>
                    <a:lnTo>
                      <a:pt x="4805" y="203"/>
                    </a:lnTo>
                    <a:lnTo>
                      <a:pt x="4805" y="173"/>
                    </a:lnTo>
                    <a:moveTo>
                      <a:pt x="4852" y="0"/>
                    </a:moveTo>
                    <a:lnTo>
                      <a:pt x="4852" y="0"/>
                    </a:lnTo>
                    <a:lnTo>
                      <a:pt x="4852" y="2"/>
                    </a:lnTo>
                    <a:lnTo>
                      <a:pt x="4852" y="144"/>
                    </a:lnTo>
                    <a:lnTo>
                      <a:pt x="4852" y="144"/>
                    </a:lnTo>
                    <a:lnTo>
                      <a:pt x="4852" y="0"/>
                    </a:lnTo>
                    <a:moveTo>
                      <a:pt x="4912" y="0"/>
                    </a:moveTo>
                    <a:lnTo>
                      <a:pt x="4909" y="0"/>
                    </a:lnTo>
                    <a:lnTo>
                      <a:pt x="4909" y="2"/>
                    </a:lnTo>
                    <a:lnTo>
                      <a:pt x="4909" y="144"/>
                    </a:lnTo>
                    <a:lnTo>
                      <a:pt x="4912" y="144"/>
                    </a:lnTo>
                    <a:lnTo>
                      <a:pt x="4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1" name="Freeform 116"/>
              <p:cNvSpPr>
                <a:spLocks noEditPoints="1"/>
              </p:cNvSpPr>
              <p:nvPr/>
            </p:nvSpPr>
            <p:spPr bwMode="auto">
              <a:xfrm>
                <a:off x="21" y="1686"/>
                <a:ext cx="7025" cy="1667"/>
              </a:xfrm>
              <a:custGeom>
                <a:avLst/>
                <a:gdLst>
                  <a:gd name="T0" fmla="*/ 2 w 7025"/>
                  <a:gd name="T1" fmla="*/ 1508 h 1667"/>
                  <a:gd name="T2" fmla="*/ 5663 w 7025"/>
                  <a:gd name="T3" fmla="*/ 1423 h 1667"/>
                  <a:gd name="T4" fmla="*/ 3707 w 7025"/>
                  <a:gd name="T5" fmla="*/ 1222 h 1667"/>
                  <a:gd name="T6" fmla="*/ 5831 w 7025"/>
                  <a:gd name="T7" fmla="*/ 1210 h 1667"/>
                  <a:gd name="T8" fmla="*/ 5831 w 7025"/>
                  <a:gd name="T9" fmla="*/ 1300 h 1667"/>
                  <a:gd name="T10" fmla="*/ 1662 w 7025"/>
                  <a:gd name="T11" fmla="*/ 1160 h 1667"/>
                  <a:gd name="T12" fmla="*/ 1686 w 7025"/>
                  <a:gd name="T13" fmla="*/ 1132 h 1667"/>
                  <a:gd name="T14" fmla="*/ 1688 w 7025"/>
                  <a:gd name="T15" fmla="*/ 1134 h 1667"/>
                  <a:gd name="T16" fmla="*/ 5854 w 7025"/>
                  <a:gd name="T17" fmla="*/ 1186 h 1667"/>
                  <a:gd name="T18" fmla="*/ 6323 w 7025"/>
                  <a:gd name="T19" fmla="*/ 1130 h 1667"/>
                  <a:gd name="T20" fmla="*/ 6323 w 7025"/>
                  <a:gd name="T21" fmla="*/ 1338 h 1667"/>
                  <a:gd name="T22" fmla="*/ 1445 w 7025"/>
                  <a:gd name="T23" fmla="*/ 1127 h 1667"/>
                  <a:gd name="T24" fmla="*/ 1461 w 7025"/>
                  <a:gd name="T25" fmla="*/ 1085 h 1667"/>
                  <a:gd name="T26" fmla="*/ 1463 w 7025"/>
                  <a:gd name="T27" fmla="*/ 1108 h 1667"/>
                  <a:gd name="T28" fmla="*/ 2859 w 7025"/>
                  <a:gd name="T29" fmla="*/ 1066 h 1667"/>
                  <a:gd name="T30" fmla="*/ 5930 w 7025"/>
                  <a:gd name="T31" fmla="*/ 1042 h 1667"/>
                  <a:gd name="T32" fmla="*/ 5930 w 7025"/>
                  <a:gd name="T33" fmla="*/ 1042 h 1667"/>
                  <a:gd name="T34" fmla="*/ 2877 w 7025"/>
                  <a:gd name="T35" fmla="*/ 1047 h 1667"/>
                  <a:gd name="T36" fmla="*/ 3769 w 7025"/>
                  <a:gd name="T37" fmla="*/ 995 h 1667"/>
                  <a:gd name="T38" fmla="*/ 5949 w 7025"/>
                  <a:gd name="T39" fmla="*/ 990 h 1667"/>
                  <a:gd name="T40" fmla="*/ 5947 w 7025"/>
                  <a:gd name="T41" fmla="*/ 1023 h 1667"/>
                  <a:gd name="T42" fmla="*/ 6337 w 7025"/>
                  <a:gd name="T43" fmla="*/ 936 h 1667"/>
                  <a:gd name="T44" fmla="*/ 6339 w 7025"/>
                  <a:gd name="T45" fmla="*/ 1111 h 1667"/>
                  <a:gd name="T46" fmla="*/ 3842 w 7025"/>
                  <a:gd name="T47" fmla="*/ 969 h 1667"/>
                  <a:gd name="T48" fmla="*/ 6382 w 7025"/>
                  <a:gd name="T49" fmla="*/ 895 h 1667"/>
                  <a:gd name="T50" fmla="*/ 6389 w 7025"/>
                  <a:gd name="T51" fmla="*/ 879 h 1667"/>
                  <a:gd name="T52" fmla="*/ 6389 w 7025"/>
                  <a:gd name="T53" fmla="*/ 893 h 1667"/>
                  <a:gd name="T54" fmla="*/ 6396 w 7025"/>
                  <a:gd name="T55" fmla="*/ 850 h 1667"/>
                  <a:gd name="T56" fmla="*/ 6396 w 7025"/>
                  <a:gd name="T57" fmla="*/ 869 h 1667"/>
                  <a:gd name="T58" fmla="*/ 804 w 7025"/>
                  <a:gd name="T59" fmla="*/ 1044 h 1667"/>
                  <a:gd name="T60" fmla="*/ 3097 w 7025"/>
                  <a:gd name="T61" fmla="*/ 763 h 1667"/>
                  <a:gd name="T62" fmla="*/ 1009 w 7025"/>
                  <a:gd name="T63" fmla="*/ 753 h 1667"/>
                  <a:gd name="T64" fmla="*/ 1009 w 7025"/>
                  <a:gd name="T65" fmla="*/ 753 h 1667"/>
                  <a:gd name="T66" fmla="*/ 5131 w 7025"/>
                  <a:gd name="T67" fmla="*/ 947 h 1667"/>
                  <a:gd name="T68" fmla="*/ 3135 w 7025"/>
                  <a:gd name="T69" fmla="*/ 737 h 1667"/>
                  <a:gd name="T70" fmla="*/ 94 w 7025"/>
                  <a:gd name="T71" fmla="*/ 618 h 1667"/>
                  <a:gd name="T72" fmla="*/ 5251 w 7025"/>
                  <a:gd name="T73" fmla="*/ 611 h 1667"/>
                  <a:gd name="T74" fmla="*/ 3282 w 7025"/>
                  <a:gd name="T75" fmla="*/ 583 h 1667"/>
                  <a:gd name="T76" fmla="*/ 3282 w 7025"/>
                  <a:gd name="T77" fmla="*/ 632 h 1667"/>
                  <a:gd name="T78" fmla="*/ 300 w 7025"/>
                  <a:gd name="T79" fmla="*/ 592 h 1667"/>
                  <a:gd name="T80" fmla="*/ 7022 w 7025"/>
                  <a:gd name="T81" fmla="*/ 512 h 1667"/>
                  <a:gd name="T82" fmla="*/ 4192 w 7025"/>
                  <a:gd name="T83" fmla="*/ 505 h 1667"/>
                  <a:gd name="T84" fmla="*/ 3298 w 7025"/>
                  <a:gd name="T85" fmla="*/ 502 h 1667"/>
                  <a:gd name="T86" fmla="*/ 3298 w 7025"/>
                  <a:gd name="T87" fmla="*/ 566 h 1667"/>
                  <a:gd name="T88" fmla="*/ 4034 w 7025"/>
                  <a:gd name="T89" fmla="*/ 455 h 1667"/>
                  <a:gd name="T90" fmla="*/ 3953 w 7025"/>
                  <a:gd name="T91" fmla="*/ 902 h 1667"/>
                  <a:gd name="T92" fmla="*/ 3329 w 7025"/>
                  <a:gd name="T93" fmla="*/ 436 h 1667"/>
                  <a:gd name="T94" fmla="*/ 3329 w 7025"/>
                  <a:gd name="T95" fmla="*/ 436 h 1667"/>
                  <a:gd name="T96" fmla="*/ 4041 w 7025"/>
                  <a:gd name="T97" fmla="*/ 450 h 1667"/>
                  <a:gd name="T98" fmla="*/ 1809 w 7025"/>
                  <a:gd name="T99" fmla="*/ 370 h 1667"/>
                  <a:gd name="T100" fmla="*/ 1809 w 7025"/>
                  <a:gd name="T101" fmla="*/ 370 h 1667"/>
                  <a:gd name="T102" fmla="*/ 1939 w 7025"/>
                  <a:gd name="T103" fmla="*/ 344 h 1667"/>
                  <a:gd name="T104" fmla="*/ 4048 w 7025"/>
                  <a:gd name="T105" fmla="*/ 384 h 1667"/>
                  <a:gd name="T106" fmla="*/ 2029 w 7025"/>
                  <a:gd name="T107" fmla="*/ 294 h 1667"/>
                  <a:gd name="T108" fmla="*/ 2029 w 7025"/>
                  <a:gd name="T109" fmla="*/ 294 h 1667"/>
                  <a:gd name="T110" fmla="*/ 4641 w 7025"/>
                  <a:gd name="T111" fmla="*/ 462 h 1667"/>
                  <a:gd name="T112" fmla="*/ 4802 w 7025"/>
                  <a:gd name="T113" fmla="*/ 176 h 1667"/>
                  <a:gd name="T114" fmla="*/ 4849 w 7025"/>
                  <a:gd name="T115" fmla="*/ 0 h 1667"/>
                  <a:gd name="T116" fmla="*/ 4909 w 7025"/>
                  <a:gd name="T117" fmla="*/ 0 h 1667"/>
                  <a:gd name="T118" fmla="*/ 4909 w 7025"/>
                  <a:gd name="T119"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7">
                    <a:moveTo>
                      <a:pt x="2" y="1454"/>
                    </a:moveTo>
                    <a:lnTo>
                      <a:pt x="0" y="1454"/>
                    </a:lnTo>
                    <a:lnTo>
                      <a:pt x="0" y="1456"/>
                    </a:lnTo>
                    <a:lnTo>
                      <a:pt x="0" y="1508"/>
                    </a:lnTo>
                    <a:lnTo>
                      <a:pt x="2" y="1508"/>
                    </a:lnTo>
                    <a:lnTo>
                      <a:pt x="2" y="1454"/>
                    </a:lnTo>
                    <a:close/>
                    <a:moveTo>
                      <a:pt x="5665" y="1326"/>
                    </a:moveTo>
                    <a:lnTo>
                      <a:pt x="5663" y="1326"/>
                    </a:lnTo>
                    <a:lnTo>
                      <a:pt x="5663" y="1329"/>
                    </a:lnTo>
                    <a:lnTo>
                      <a:pt x="5663" y="1423"/>
                    </a:lnTo>
                    <a:lnTo>
                      <a:pt x="5665" y="1423"/>
                    </a:lnTo>
                    <a:lnTo>
                      <a:pt x="5665" y="1326"/>
                    </a:lnTo>
                    <a:close/>
                    <a:moveTo>
                      <a:pt x="3710" y="1222"/>
                    </a:moveTo>
                    <a:lnTo>
                      <a:pt x="3710" y="1222"/>
                    </a:lnTo>
                    <a:lnTo>
                      <a:pt x="3707" y="1222"/>
                    </a:lnTo>
                    <a:lnTo>
                      <a:pt x="3707" y="1224"/>
                    </a:lnTo>
                    <a:lnTo>
                      <a:pt x="3707" y="1366"/>
                    </a:lnTo>
                    <a:lnTo>
                      <a:pt x="3710" y="1366"/>
                    </a:lnTo>
                    <a:lnTo>
                      <a:pt x="3710" y="1222"/>
                    </a:lnTo>
                    <a:close/>
                    <a:moveTo>
                      <a:pt x="5831" y="1210"/>
                    </a:moveTo>
                    <a:lnTo>
                      <a:pt x="5828" y="1210"/>
                    </a:lnTo>
                    <a:lnTo>
                      <a:pt x="5828" y="1210"/>
                    </a:lnTo>
                    <a:lnTo>
                      <a:pt x="5828" y="1213"/>
                    </a:lnTo>
                    <a:lnTo>
                      <a:pt x="5828" y="1300"/>
                    </a:lnTo>
                    <a:lnTo>
                      <a:pt x="5831" y="1300"/>
                    </a:lnTo>
                    <a:lnTo>
                      <a:pt x="5831" y="1210"/>
                    </a:lnTo>
                    <a:close/>
                    <a:moveTo>
                      <a:pt x="1664" y="1158"/>
                    </a:moveTo>
                    <a:lnTo>
                      <a:pt x="1664" y="1158"/>
                    </a:lnTo>
                    <a:lnTo>
                      <a:pt x="1662" y="1158"/>
                    </a:lnTo>
                    <a:lnTo>
                      <a:pt x="1662" y="1160"/>
                    </a:lnTo>
                    <a:lnTo>
                      <a:pt x="1662" y="1175"/>
                    </a:lnTo>
                    <a:lnTo>
                      <a:pt x="1664" y="1175"/>
                    </a:lnTo>
                    <a:lnTo>
                      <a:pt x="1664" y="1158"/>
                    </a:lnTo>
                    <a:close/>
                    <a:moveTo>
                      <a:pt x="1688" y="1132"/>
                    </a:moveTo>
                    <a:lnTo>
                      <a:pt x="1686" y="1132"/>
                    </a:lnTo>
                    <a:lnTo>
                      <a:pt x="1686" y="1134"/>
                    </a:lnTo>
                    <a:lnTo>
                      <a:pt x="1686" y="1134"/>
                    </a:lnTo>
                    <a:lnTo>
                      <a:pt x="1688" y="1134"/>
                    </a:lnTo>
                    <a:lnTo>
                      <a:pt x="1688" y="1134"/>
                    </a:lnTo>
                    <a:lnTo>
                      <a:pt x="1688" y="1134"/>
                    </a:lnTo>
                    <a:lnTo>
                      <a:pt x="1688" y="1132"/>
                    </a:lnTo>
                    <a:close/>
                    <a:moveTo>
                      <a:pt x="5854" y="1130"/>
                    </a:moveTo>
                    <a:lnTo>
                      <a:pt x="5854" y="1130"/>
                    </a:lnTo>
                    <a:lnTo>
                      <a:pt x="5854" y="1130"/>
                    </a:lnTo>
                    <a:lnTo>
                      <a:pt x="5854" y="1186"/>
                    </a:lnTo>
                    <a:lnTo>
                      <a:pt x="5854" y="1186"/>
                    </a:lnTo>
                    <a:lnTo>
                      <a:pt x="5854" y="1184"/>
                    </a:lnTo>
                    <a:lnTo>
                      <a:pt x="5854" y="1184"/>
                    </a:lnTo>
                    <a:lnTo>
                      <a:pt x="5854" y="1130"/>
                    </a:lnTo>
                    <a:close/>
                    <a:moveTo>
                      <a:pt x="6323" y="1130"/>
                    </a:moveTo>
                    <a:lnTo>
                      <a:pt x="6320" y="1130"/>
                    </a:lnTo>
                    <a:lnTo>
                      <a:pt x="6320" y="1130"/>
                    </a:lnTo>
                    <a:lnTo>
                      <a:pt x="6320" y="1130"/>
                    </a:lnTo>
                    <a:lnTo>
                      <a:pt x="6320" y="1338"/>
                    </a:lnTo>
                    <a:lnTo>
                      <a:pt x="6323" y="1338"/>
                    </a:lnTo>
                    <a:lnTo>
                      <a:pt x="6323" y="1130"/>
                    </a:lnTo>
                    <a:close/>
                    <a:moveTo>
                      <a:pt x="1447" y="1127"/>
                    </a:moveTo>
                    <a:lnTo>
                      <a:pt x="1445" y="1127"/>
                    </a:lnTo>
                    <a:lnTo>
                      <a:pt x="1445" y="1127"/>
                    </a:lnTo>
                    <a:lnTo>
                      <a:pt x="1445" y="1127"/>
                    </a:lnTo>
                    <a:lnTo>
                      <a:pt x="1445" y="1175"/>
                    </a:lnTo>
                    <a:lnTo>
                      <a:pt x="1447" y="1175"/>
                    </a:lnTo>
                    <a:lnTo>
                      <a:pt x="1447" y="1127"/>
                    </a:lnTo>
                    <a:close/>
                    <a:moveTo>
                      <a:pt x="1463" y="1085"/>
                    </a:moveTo>
                    <a:lnTo>
                      <a:pt x="1461" y="1085"/>
                    </a:lnTo>
                    <a:lnTo>
                      <a:pt x="1461" y="1087"/>
                    </a:lnTo>
                    <a:lnTo>
                      <a:pt x="1461" y="1111"/>
                    </a:lnTo>
                    <a:lnTo>
                      <a:pt x="1463" y="1111"/>
                    </a:lnTo>
                    <a:lnTo>
                      <a:pt x="1463" y="1108"/>
                    </a:lnTo>
                    <a:lnTo>
                      <a:pt x="1463" y="1108"/>
                    </a:lnTo>
                    <a:lnTo>
                      <a:pt x="1463" y="1085"/>
                    </a:lnTo>
                    <a:close/>
                    <a:moveTo>
                      <a:pt x="2859" y="1063"/>
                    </a:moveTo>
                    <a:lnTo>
                      <a:pt x="2859" y="1063"/>
                    </a:lnTo>
                    <a:lnTo>
                      <a:pt x="2859" y="1063"/>
                    </a:lnTo>
                    <a:lnTo>
                      <a:pt x="2859" y="1066"/>
                    </a:lnTo>
                    <a:lnTo>
                      <a:pt x="2859" y="1215"/>
                    </a:lnTo>
                    <a:lnTo>
                      <a:pt x="2859" y="1215"/>
                    </a:lnTo>
                    <a:lnTo>
                      <a:pt x="2859" y="1063"/>
                    </a:lnTo>
                    <a:close/>
                    <a:moveTo>
                      <a:pt x="5930" y="1042"/>
                    </a:moveTo>
                    <a:lnTo>
                      <a:pt x="5930" y="1042"/>
                    </a:lnTo>
                    <a:lnTo>
                      <a:pt x="5928" y="1042"/>
                    </a:lnTo>
                    <a:lnTo>
                      <a:pt x="5928" y="1044"/>
                    </a:lnTo>
                    <a:lnTo>
                      <a:pt x="5928" y="1104"/>
                    </a:lnTo>
                    <a:lnTo>
                      <a:pt x="5930" y="1104"/>
                    </a:lnTo>
                    <a:lnTo>
                      <a:pt x="5930" y="1042"/>
                    </a:lnTo>
                    <a:close/>
                    <a:moveTo>
                      <a:pt x="2877" y="1014"/>
                    </a:moveTo>
                    <a:lnTo>
                      <a:pt x="2875" y="1014"/>
                    </a:lnTo>
                    <a:lnTo>
                      <a:pt x="2875" y="1014"/>
                    </a:lnTo>
                    <a:lnTo>
                      <a:pt x="2875" y="1047"/>
                    </a:lnTo>
                    <a:lnTo>
                      <a:pt x="2877" y="1047"/>
                    </a:lnTo>
                    <a:lnTo>
                      <a:pt x="2877" y="1044"/>
                    </a:lnTo>
                    <a:lnTo>
                      <a:pt x="2877" y="1044"/>
                    </a:lnTo>
                    <a:lnTo>
                      <a:pt x="2877" y="1014"/>
                    </a:lnTo>
                    <a:close/>
                    <a:moveTo>
                      <a:pt x="3769" y="995"/>
                    </a:moveTo>
                    <a:lnTo>
                      <a:pt x="3769" y="995"/>
                    </a:lnTo>
                    <a:lnTo>
                      <a:pt x="3769" y="997"/>
                    </a:lnTo>
                    <a:lnTo>
                      <a:pt x="3769" y="1198"/>
                    </a:lnTo>
                    <a:lnTo>
                      <a:pt x="3769" y="1198"/>
                    </a:lnTo>
                    <a:lnTo>
                      <a:pt x="3769" y="995"/>
                    </a:lnTo>
                    <a:close/>
                    <a:moveTo>
                      <a:pt x="5949" y="990"/>
                    </a:moveTo>
                    <a:lnTo>
                      <a:pt x="5947" y="990"/>
                    </a:lnTo>
                    <a:lnTo>
                      <a:pt x="5947" y="992"/>
                    </a:lnTo>
                    <a:lnTo>
                      <a:pt x="5947" y="1025"/>
                    </a:lnTo>
                    <a:lnTo>
                      <a:pt x="5947" y="1025"/>
                    </a:lnTo>
                    <a:lnTo>
                      <a:pt x="5947" y="1023"/>
                    </a:lnTo>
                    <a:lnTo>
                      <a:pt x="5949" y="1023"/>
                    </a:lnTo>
                    <a:lnTo>
                      <a:pt x="5949" y="990"/>
                    </a:lnTo>
                    <a:close/>
                    <a:moveTo>
                      <a:pt x="6339" y="936"/>
                    </a:moveTo>
                    <a:lnTo>
                      <a:pt x="6339" y="936"/>
                    </a:lnTo>
                    <a:lnTo>
                      <a:pt x="6337" y="936"/>
                    </a:lnTo>
                    <a:lnTo>
                      <a:pt x="6337" y="938"/>
                    </a:lnTo>
                    <a:lnTo>
                      <a:pt x="6337" y="1113"/>
                    </a:lnTo>
                    <a:lnTo>
                      <a:pt x="6339" y="1113"/>
                    </a:lnTo>
                    <a:lnTo>
                      <a:pt x="6339" y="1111"/>
                    </a:lnTo>
                    <a:lnTo>
                      <a:pt x="6339" y="1111"/>
                    </a:lnTo>
                    <a:lnTo>
                      <a:pt x="6339" y="936"/>
                    </a:lnTo>
                    <a:close/>
                    <a:moveTo>
                      <a:pt x="3845" y="928"/>
                    </a:moveTo>
                    <a:lnTo>
                      <a:pt x="3842" y="928"/>
                    </a:lnTo>
                    <a:lnTo>
                      <a:pt x="3842" y="931"/>
                    </a:lnTo>
                    <a:lnTo>
                      <a:pt x="3842" y="969"/>
                    </a:lnTo>
                    <a:lnTo>
                      <a:pt x="3845" y="969"/>
                    </a:lnTo>
                    <a:lnTo>
                      <a:pt x="3845" y="928"/>
                    </a:lnTo>
                    <a:close/>
                    <a:moveTo>
                      <a:pt x="6384" y="895"/>
                    </a:moveTo>
                    <a:lnTo>
                      <a:pt x="6384" y="895"/>
                    </a:lnTo>
                    <a:lnTo>
                      <a:pt x="6382" y="895"/>
                    </a:lnTo>
                    <a:lnTo>
                      <a:pt x="6382" y="898"/>
                    </a:lnTo>
                    <a:lnTo>
                      <a:pt x="6379" y="909"/>
                    </a:lnTo>
                    <a:lnTo>
                      <a:pt x="6382" y="909"/>
                    </a:lnTo>
                    <a:lnTo>
                      <a:pt x="6384" y="895"/>
                    </a:lnTo>
                    <a:close/>
                    <a:moveTo>
                      <a:pt x="6389" y="879"/>
                    </a:moveTo>
                    <a:lnTo>
                      <a:pt x="6389" y="879"/>
                    </a:lnTo>
                    <a:lnTo>
                      <a:pt x="6386" y="879"/>
                    </a:lnTo>
                    <a:lnTo>
                      <a:pt x="6386" y="881"/>
                    </a:lnTo>
                    <a:lnTo>
                      <a:pt x="6386" y="893"/>
                    </a:lnTo>
                    <a:lnTo>
                      <a:pt x="6389" y="893"/>
                    </a:lnTo>
                    <a:lnTo>
                      <a:pt x="6389" y="891"/>
                    </a:lnTo>
                    <a:lnTo>
                      <a:pt x="6389" y="891"/>
                    </a:lnTo>
                    <a:lnTo>
                      <a:pt x="6389" y="879"/>
                    </a:lnTo>
                    <a:close/>
                    <a:moveTo>
                      <a:pt x="6396" y="850"/>
                    </a:moveTo>
                    <a:lnTo>
                      <a:pt x="6396" y="850"/>
                    </a:lnTo>
                    <a:lnTo>
                      <a:pt x="6396" y="853"/>
                    </a:lnTo>
                    <a:lnTo>
                      <a:pt x="6396" y="872"/>
                    </a:lnTo>
                    <a:lnTo>
                      <a:pt x="6396" y="872"/>
                    </a:lnTo>
                    <a:lnTo>
                      <a:pt x="6396" y="869"/>
                    </a:lnTo>
                    <a:lnTo>
                      <a:pt x="6396" y="869"/>
                    </a:lnTo>
                    <a:lnTo>
                      <a:pt x="6396" y="850"/>
                    </a:lnTo>
                    <a:close/>
                    <a:moveTo>
                      <a:pt x="804" y="829"/>
                    </a:moveTo>
                    <a:lnTo>
                      <a:pt x="804" y="829"/>
                    </a:lnTo>
                    <a:lnTo>
                      <a:pt x="804" y="829"/>
                    </a:lnTo>
                    <a:lnTo>
                      <a:pt x="804" y="1044"/>
                    </a:lnTo>
                    <a:lnTo>
                      <a:pt x="804" y="1044"/>
                    </a:lnTo>
                    <a:lnTo>
                      <a:pt x="804" y="829"/>
                    </a:lnTo>
                    <a:close/>
                    <a:moveTo>
                      <a:pt x="3100" y="763"/>
                    </a:moveTo>
                    <a:lnTo>
                      <a:pt x="3100" y="763"/>
                    </a:lnTo>
                    <a:lnTo>
                      <a:pt x="3097" y="763"/>
                    </a:lnTo>
                    <a:lnTo>
                      <a:pt x="3097" y="765"/>
                    </a:lnTo>
                    <a:lnTo>
                      <a:pt x="3097" y="954"/>
                    </a:lnTo>
                    <a:lnTo>
                      <a:pt x="3100" y="954"/>
                    </a:lnTo>
                    <a:lnTo>
                      <a:pt x="3100" y="763"/>
                    </a:lnTo>
                    <a:close/>
                    <a:moveTo>
                      <a:pt x="1009" y="753"/>
                    </a:moveTo>
                    <a:lnTo>
                      <a:pt x="1007" y="753"/>
                    </a:lnTo>
                    <a:lnTo>
                      <a:pt x="1007" y="756"/>
                    </a:lnTo>
                    <a:lnTo>
                      <a:pt x="1007" y="803"/>
                    </a:lnTo>
                    <a:lnTo>
                      <a:pt x="1009" y="803"/>
                    </a:lnTo>
                    <a:lnTo>
                      <a:pt x="1009" y="753"/>
                    </a:lnTo>
                    <a:close/>
                    <a:moveTo>
                      <a:pt x="5131" y="732"/>
                    </a:moveTo>
                    <a:lnTo>
                      <a:pt x="5128" y="732"/>
                    </a:lnTo>
                    <a:lnTo>
                      <a:pt x="5128" y="734"/>
                    </a:lnTo>
                    <a:lnTo>
                      <a:pt x="5128" y="947"/>
                    </a:lnTo>
                    <a:lnTo>
                      <a:pt x="5131" y="947"/>
                    </a:lnTo>
                    <a:lnTo>
                      <a:pt x="5131" y="732"/>
                    </a:lnTo>
                    <a:close/>
                    <a:moveTo>
                      <a:pt x="3138" y="659"/>
                    </a:moveTo>
                    <a:lnTo>
                      <a:pt x="3135" y="659"/>
                    </a:lnTo>
                    <a:lnTo>
                      <a:pt x="3135" y="659"/>
                    </a:lnTo>
                    <a:lnTo>
                      <a:pt x="3135" y="737"/>
                    </a:lnTo>
                    <a:lnTo>
                      <a:pt x="3138" y="737"/>
                    </a:lnTo>
                    <a:lnTo>
                      <a:pt x="3138" y="659"/>
                    </a:lnTo>
                    <a:close/>
                    <a:moveTo>
                      <a:pt x="97" y="618"/>
                    </a:moveTo>
                    <a:lnTo>
                      <a:pt x="94" y="618"/>
                    </a:lnTo>
                    <a:lnTo>
                      <a:pt x="94" y="618"/>
                    </a:lnTo>
                    <a:lnTo>
                      <a:pt x="94" y="1428"/>
                    </a:lnTo>
                    <a:lnTo>
                      <a:pt x="97" y="1428"/>
                    </a:lnTo>
                    <a:lnTo>
                      <a:pt x="97" y="618"/>
                    </a:lnTo>
                    <a:close/>
                    <a:moveTo>
                      <a:pt x="5251" y="611"/>
                    </a:moveTo>
                    <a:lnTo>
                      <a:pt x="5251" y="611"/>
                    </a:lnTo>
                    <a:lnTo>
                      <a:pt x="5251" y="611"/>
                    </a:lnTo>
                    <a:lnTo>
                      <a:pt x="5251" y="706"/>
                    </a:lnTo>
                    <a:lnTo>
                      <a:pt x="5251" y="706"/>
                    </a:lnTo>
                    <a:lnTo>
                      <a:pt x="5251" y="611"/>
                    </a:lnTo>
                    <a:close/>
                    <a:moveTo>
                      <a:pt x="3282" y="583"/>
                    </a:moveTo>
                    <a:lnTo>
                      <a:pt x="3282" y="583"/>
                    </a:lnTo>
                    <a:lnTo>
                      <a:pt x="3279" y="583"/>
                    </a:lnTo>
                    <a:lnTo>
                      <a:pt x="3279" y="585"/>
                    </a:lnTo>
                    <a:lnTo>
                      <a:pt x="3279" y="632"/>
                    </a:lnTo>
                    <a:lnTo>
                      <a:pt x="3282" y="632"/>
                    </a:lnTo>
                    <a:lnTo>
                      <a:pt x="3282" y="583"/>
                    </a:lnTo>
                    <a:close/>
                    <a:moveTo>
                      <a:pt x="302" y="547"/>
                    </a:moveTo>
                    <a:lnTo>
                      <a:pt x="300" y="547"/>
                    </a:lnTo>
                    <a:lnTo>
                      <a:pt x="300" y="550"/>
                    </a:lnTo>
                    <a:lnTo>
                      <a:pt x="300" y="592"/>
                    </a:lnTo>
                    <a:lnTo>
                      <a:pt x="302" y="592"/>
                    </a:lnTo>
                    <a:lnTo>
                      <a:pt x="302" y="547"/>
                    </a:lnTo>
                    <a:close/>
                    <a:moveTo>
                      <a:pt x="7025" y="509"/>
                    </a:moveTo>
                    <a:lnTo>
                      <a:pt x="7022" y="509"/>
                    </a:lnTo>
                    <a:lnTo>
                      <a:pt x="7022" y="512"/>
                    </a:lnTo>
                    <a:lnTo>
                      <a:pt x="7022" y="1667"/>
                    </a:lnTo>
                    <a:lnTo>
                      <a:pt x="7025" y="1667"/>
                    </a:lnTo>
                    <a:lnTo>
                      <a:pt x="7025" y="509"/>
                    </a:lnTo>
                    <a:close/>
                    <a:moveTo>
                      <a:pt x="4192" y="505"/>
                    </a:moveTo>
                    <a:lnTo>
                      <a:pt x="4192" y="505"/>
                    </a:lnTo>
                    <a:lnTo>
                      <a:pt x="4192" y="507"/>
                    </a:lnTo>
                    <a:lnTo>
                      <a:pt x="4142" y="571"/>
                    </a:lnTo>
                    <a:lnTo>
                      <a:pt x="4142" y="573"/>
                    </a:lnTo>
                    <a:lnTo>
                      <a:pt x="4192" y="505"/>
                    </a:lnTo>
                    <a:close/>
                    <a:moveTo>
                      <a:pt x="3298" y="502"/>
                    </a:moveTo>
                    <a:lnTo>
                      <a:pt x="3298" y="502"/>
                    </a:lnTo>
                    <a:lnTo>
                      <a:pt x="3298" y="502"/>
                    </a:lnTo>
                    <a:lnTo>
                      <a:pt x="3298" y="505"/>
                    </a:lnTo>
                    <a:lnTo>
                      <a:pt x="3298" y="566"/>
                    </a:lnTo>
                    <a:lnTo>
                      <a:pt x="3298" y="566"/>
                    </a:lnTo>
                    <a:lnTo>
                      <a:pt x="3298" y="564"/>
                    </a:lnTo>
                    <a:lnTo>
                      <a:pt x="3298" y="564"/>
                    </a:lnTo>
                    <a:lnTo>
                      <a:pt x="3298" y="502"/>
                    </a:lnTo>
                    <a:close/>
                    <a:moveTo>
                      <a:pt x="4036" y="455"/>
                    </a:moveTo>
                    <a:lnTo>
                      <a:pt x="4034" y="455"/>
                    </a:lnTo>
                    <a:lnTo>
                      <a:pt x="4034" y="455"/>
                    </a:lnTo>
                    <a:lnTo>
                      <a:pt x="4034" y="457"/>
                    </a:lnTo>
                    <a:lnTo>
                      <a:pt x="4034" y="493"/>
                    </a:lnTo>
                    <a:lnTo>
                      <a:pt x="3953" y="644"/>
                    </a:lnTo>
                    <a:lnTo>
                      <a:pt x="3953" y="902"/>
                    </a:lnTo>
                    <a:lnTo>
                      <a:pt x="3953" y="902"/>
                    </a:lnTo>
                    <a:lnTo>
                      <a:pt x="3953" y="642"/>
                    </a:lnTo>
                    <a:lnTo>
                      <a:pt x="4036" y="490"/>
                    </a:lnTo>
                    <a:lnTo>
                      <a:pt x="4036" y="455"/>
                    </a:lnTo>
                    <a:close/>
                    <a:moveTo>
                      <a:pt x="3329" y="436"/>
                    </a:moveTo>
                    <a:lnTo>
                      <a:pt x="3327" y="436"/>
                    </a:lnTo>
                    <a:lnTo>
                      <a:pt x="3327" y="436"/>
                    </a:lnTo>
                    <a:lnTo>
                      <a:pt x="3327" y="476"/>
                    </a:lnTo>
                    <a:lnTo>
                      <a:pt x="3329" y="476"/>
                    </a:lnTo>
                    <a:lnTo>
                      <a:pt x="3329" y="436"/>
                    </a:lnTo>
                    <a:close/>
                    <a:moveTo>
                      <a:pt x="4041" y="391"/>
                    </a:moveTo>
                    <a:lnTo>
                      <a:pt x="4041" y="391"/>
                    </a:lnTo>
                    <a:lnTo>
                      <a:pt x="4041" y="391"/>
                    </a:lnTo>
                    <a:lnTo>
                      <a:pt x="4041" y="393"/>
                    </a:lnTo>
                    <a:lnTo>
                      <a:pt x="4041" y="450"/>
                    </a:lnTo>
                    <a:lnTo>
                      <a:pt x="4041" y="450"/>
                    </a:lnTo>
                    <a:lnTo>
                      <a:pt x="4041" y="448"/>
                    </a:lnTo>
                    <a:lnTo>
                      <a:pt x="4041" y="448"/>
                    </a:lnTo>
                    <a:lnTo>
                      <a:pt x="4041" y="391"/>
                    </a:lnTo>
                    <a:close/>
                    <a:moveTo>
                      <a:pt x="1809" y="370"/>
                    </a:moveTo>
                    <a:lnTo>
                      <a:pt x="1806" y="370"/>
                    </a:lnTo>
                    <a:lnTo>
                      <a:pt x="1806" y="372"/>
                    </a:lnTo>
                    <a:lnTo>
                      <a:pt x="1806" y="1106"/>
                    </a:lnTo>
                    <a:lnTo>
                      <a:pt x="1809" y="1106"/>
                    </a:lnTo>
                    <a:lnTo>
                      <a:pt x="1809" y="370"/>
                    </a:lnTo>
                    <a:close/>
                    <a:moveTo>
                      <a:pt x="1939" y="334"/>
                    </a:moveTo>
                    <a:lnTo>
                      <a:pt x="1936" y="334"/>
                    </a:lnTo>
                    <a:lnTo>
                      <a:pt x="1936" y="337"/>
                    </a:lnTo>
                    <a:lnTo>
                      <a:pt x="1936" y="344"/>
                    </a:lnTo>
                    <a:lnTo>
                      <a:pt x="1939" y="344"/>
                    </a:lnTo>
                    <a:lnTo>
                      <a:pt x="1939" y="334"/>
                    </a:lnTo>
                    <a:close/>
                    <a:moveTo>
                      <a:pt x="4050" y="329"/>
                    </a:moveTo>
                    <a:lnTo>
                      <a:pt x="4048" y="329"/>
                    </a:lnTo>
                    <a:lnTo>
                      <a:pt x="4048" y="329"/>
                    </a:lnTo>
                    <a:lnTo>
                      <a:pt x="4048" y="384"/>
                    </a:lnTo>
                    <a:lnTo>
                      <a:pt x="4050" y="384"/>
                    </a:lnTo>
                    <a:lnTo>
                      <a:pt x="4050" y="382"/>
                    </a:lnTo>
                    <a:lnTo>
                      <a:pt x="4050" y="382"/>
                    </a:lnTo>
                    <a:lnTo>
                      <a:pt x="4050" y="329"/>
                    </a:lnTo>
                    <a:close/>
                    <a:moveTo>
                      <a:pt x="2029" y="294"/>
                    </a:moveTo>
                    <a:lnTo>
                      <a:pt x="2026" y="294"/>
                    </a:lnTo>
                    <a:lnTo>
                      <a:pt x="2026" y="296"/>
                    </a:lnTo>
                    <a:lnTo>
                      <a:pt x="2026" y="308"/>
                    </a:lnTo>
                    <a:lnTo>
                      <a:pt x="2029" y="308"/>
                    </a:lnTo>
                    <a:lnTo>
                      <a:pt x="2029" y="294"/>
                    </a:lnTo>
                    <a:close/>
                    <a:moveTo>
                      <a:pt x="4703" y="232"/>
                    </a:moveTo>
                    <a:lnTo>
                      <a:pt x="4700" y="232"/>
                    </a:lnTo>
                    <a:lnTo>
                      <a:pt x="4700" y="235"/>
                    </a:lnTo>
                    <a:lnTo>
                      <a:pt x="4639" y="462"/>
                    </a:lnTo>
                    <a:lnTo>
                      <a:pt x="4641" y="462"/>
                    </a:lnTo>
                    <a:lnTo>
                      <a:pt x="4703" y="232"/>
                    </a:lnTo>
                    <a:close/>
                    <a:moveTo>
                      <a:pt x="4802" y="173"/>
                    </a:moveTo>
                    <a:lnTo>
                      <a:pt x="4802" y="173"/>
                    </a:lnTo>
                    <a:lnTo>
                      <a:pt x="4802" y="173"/>
                    </a:lnTo>
                    <a:lnTo>
                      <a:pt x="4802" y="176"/>
                    </a:lnTo>
                    <a:lnTo>
                      <a:pt x="4802" y="206"/>
                    </a:lnTo>
                    <a:lnTo>
                      <a:pt x="4802" y="206"/>
                    </a:lnTo>
                    <a:lnTo>
                      <a:pt x="4802" y="173"/>
                    </a:lnTo>
                    <a:close/>
                    <a:moveTo>
                      <a:pt x="4852" y="0"/>
                    </a:moveTo>
                    <a:lnTo>
                      <a:pt x="4849" y="0"/>
                    </a:lnTo>
                    <a:lnTo>
                      <a:pt x="4849" y="3"/>
                    </a:lnTo>
                    <a:lnTo>
                      <a:pt x="4849" y="147"/>
                    </a:lnTo>
                    <a:lnTo>
                      <a:pt x="4852" y="147"/>
                    </a:lnTo>
                    <a:lnTo>
                      <a:pt x="4852" y="0"/>
                    </a:lnTo>
                    <a:close/>
                    <a:moveTo>
                      <a:pt x="4909" y="0"/>
                    </a:moveTo>
                    <a:lnTo>
                      <a:pt x="4909" y="0"/>
                    </a:lnTo>
                    <a:lnTo>
                      <a:pt x="4909" y="3"/>
                    </a:lnTo>
                    <a:lnTo>
                      <a:pt x="4909" y="147"/>
                    </a:lnTo>
                    <a:lnTo>
                      <a:pt x="4909" y="147"/>
                    </a:lnTo>
                    <a:lnTo>
                      <a:pt x="4909" y="0"/>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2" name="Freeform 117"/>
              <p:cNvSpPr>
                <a:spLocks noEditPoints="1"/>
              </p:cNvSpPr>
              <p:nvPr/>
            </p:nvSpPr>
            <p:spPr bwMode="auto">
              <a:xfrm>
                <a:off x="21" y="1686"/>
                <a:ext cx="7025" cy="1667"/>
              </a:xfrm>
              <a:custGeom>
                <a:avLst/>
                <a:gdLst>
                  <a:gd name="T0" fmla="*/ 2 w 7025"/>
                  <a:gd name="T1" fmla="*/ 1508 h 1667"/>
                  <a:gd name="T2" fmla="*/ 5663 w 7025"/>
                  <a:gd name="T3" fmla="*/ 1423 h 1667"/>
                  <a:gd name="T4" fmla="*/ 3707 w 7025"/>
                  <a:gd name="T5" fmla="*/ 1222 h 1667"/>
                  <a:gd name="T6" fmla="*/ 5831 w 7025"/>
                  <a:gd name="T7" fmla="*/ 1210 h 1667"/>
                  <a:gd name="T8" fmla="*/ 5831 w 7025"/>
                  <a:gd name="T9" fmla="*/ 1300 h 1667"/>
                  <a:gd name="T10" fmla="*/ 1662 w 7025"/>
                  <a:gd name="T11" fmla="*/ 1160 h 1667"/>
                  <a:gd name="T12" fmla="*/ 1686 w 7025"/>
                  <a:gd name="T13" fmla="*/ 1132 h 1667"/>
                  <a:gd name="T14" fmla="*/ 1688 w 7025"/>
                  <a:gd name="T15" fmla="*/ 1134 h 1667"/>
                  <a:gd name="T16" fmla="*/ 5854 w 7025"/>
                  <a:gd name="T17" fmla="*/ 1186 h 1667"/>
                  <a:gd name="T18" fmla="*/ 6323 w 7025"/>
                  <a:gd name="T19" fmla="*/ 1130 h 1667"/>
                  <a:gd name="T20" fmla="*/ 6323 w 7025"/>
                  <a:gd name="T21" fmla="*/ 1338 h 1667"/>
                  <a:gd name="T22" fmla="*/ 1445 w 7025"/>
                  <a:gd name="T23" fmla="*/ 1127 h 1667"/>
                  <a:gd name="T24" fmla="*/ 1461 w 7025"/>
                  <a:gd name="T25" fmla="*/ 1085 h 1667"/>
                  <a:gd name="T26" fmla="*/ 1463 w 7025"/>
                  <a:gd name="T27" fmla="*/ 1108 h 1667"/>
                  <a:gd name="T28" fmla="*/ 2859 w 7025"/>
                  <a:gd name="T29" fmla="*/ 1066 h 1667"/>
                  <a:gd name="T30" fmla="*/ 5930 w 7025"/>
                  <a:gd name="T31" fmla="*/ 1042 h 1667"/>
                  <a:gd name="T32" fmla="*/ 5930 w 7025"/>
                  <a:gd name="T33" fmla="*/ 1042 h 1667"/>
                  <a:gd name="T34" fmla="*/ 2877 w 7025"/>
                  <a:gd name="T35" fmla="*/ 1047 h 1667"/>
                  <a:gd name="T36" fmla="*/ 3769 w 7025"/>
                  <a:gd name="T37" fmla="*/ 995 h 1667"/>
                  <a:gd name="T38" fmla="*/ 5949 w 7025"/>
                  <a:gd name="T39" fmla="*/ 990 h 1667"/>
                  <a:gd name="T40" fmla="*/ 5947 w 7025"/>
                  <a:gd name="T41" fmla="*/ 1023 h 1667"/>
                  <a:gd name="T42" fmla="*/ 6337 w 7025"/>
                  <a:gd name="T43" fmla="*/ 936 h 1667"/>
                  <a:gd name="T44" fmla="*/ 6339 w 7025"/>
                  <a:gd name="T45" fmla="*/ 1111 h 1667"/>
                  <a:gd name="T46" fmla="*/ 3842 w 7025"/>
                  <a:gd name="T47" fmla="*/ 969 h 1667"/>
                  <a:gd name="T48" fmla="*/ 6382 w 7025"/>
                  <a:gd name="T49" fmla="*/ 895 h 1667"/>
                  <a:gd name="T50" fmla="*/ 6389 w 7025"/>
                  <a:gd name="T51" fmla="*/ 879 h 1667"/>
                  <a:gd name="T52" fmla="*/ 6389 w 7025"/>
                  <a:gd name="T53" fmla="*/ 893 h 1667"/>
                  <a:gd name="T54" fmla="*/ 6396 w 7025"/>
                  <a:gd name="T55" fmla="*/ 850 h 1667"/>
                  <a:gd name="T56" fmla="*/ 6396 w 7025"/>
                  <a:gd name="T57" fmla="*/ 869 h 1667"/>
                  <a:gd name="T58" fmla="*/ 804 w 7025"/>
                  <a:gd name="T59" fmla="*/ 1044 h 1667"/>
                  <a:gd name="T60" fmla="*/ 3097 w 7025"/>
                  <a:gd name="T61" fmla="*/ 763 h 1667"/>
                  <a:gd name="T62" fmla="*/ 1009 w 7025"/>
                  <a:gd name="T63" fmla="*/ 753 h 1667"/>
                  <a:gd name="T64" fmla="*/ 1009 w 7025"/>
                  <a:gd name="T65" fmla="*/ 753 h 1667"/>
                  <a:gd name="T66" fmla="*/ 5131 w 7025"/>
                  <a:gd name="T67" fmla="*/ 947 h 1667"/>
                  <a:gd name="T68" fmla="*/ 3135 w 7025"/>
                  <a:gd name="T69" fmla="*/ 737 h 1667"/>
                  <a:gd name="T70" fmla="*/ 94 w 7025"/>
                  <a:gd name="T71" fmla="*/ 618 h 1667"/>
                  <a:gd name="T72" fmla="*/ 5251 w 7025"/>
                  <a:gd name="T73" fmla="*/ 611 h 1667"/>
                  <a:gd name="T74" fmla="*/ 3282 w 7025"/>
                  <a:gd name="T75" fmla="*/ 583 h 1667"/>
                  <a:gd name="T76" fmla="*/ 3282 w 7025"/>
                  <a:gd name="T77" fmla="*/ 632 h 1667"/>
                  <a:gd name="T78" fmla="*/ 300 w 7025"/>
                  <a:gd name="T79" fmla="*/ 592 h 1667"/>
                  <a:gd name="T80" fmla="*/ 7022 w 7025"/>
                  <a:gd name="T81" fmla="*/ 512 h 1667"/>
                  <a:gd name="T82" fmla="*/ 4192 w 7025"/>
                  <a:gd name="T83" fmla="*/ 505 h 1667"/>
                  <a:gd name="T84" fmla="*/ 3298 w 7025"/>
                  <a:gd name="T85" fmla="*/ 502 h 1667"/>
                  <a:gd name="T86" fmla="*/ 3298 w 7025"/>
                  <a:gd name="T87" fmla="*/ 566 h 1667"/>
                  <a:gd name="T88" fmla="*/ 4034 w 7025"/>
                  <a:gd name="T89" fmla="*/ 455 h 1667"/>
                  <a:gd name="T90" fmla="*/ 3953 w 7025"/>
                  <a:gd name="T91" fmla="*/ 902 h 1667"/>
                  <a:gd name="T92" fmla="*/ 3329 w 7025"/>
                  <a:gd name="T93" fmla="*/ 436 h 1667"/>
                  <a:gd name="T94" fmla="*/ 3329 w 7025"/>
                  <a:gd name="T95" fmla="*/ 436 h 1667"/>
                  <a:gd name="T96" fmla="*/ 4041 w 7025"/>
                  <a:gd name="T97" fmla="*/ 450 h 1667"/>
                  <a:gd name="T98" fmla="*/ 1809 w 7025"/>
                  <a:gd name="T99" fmla="*/ 370 h 1667"/>
                  <a:gd name="T100" fmla="*/ 1809 w 7025"/>
                  <a:gd name="T101" fmla="*/ 370 h 1667"/>
                  <a:gd name="T102" fmla="*/ 1939 w 7025"/>
                  <a:gd name="T103" fmla="*/ 344 h 1667"/>
                  <a:gd name="T104" fmla="*/ 4048 w 7025"/>
                  <a:gd name="T105" fmla="*/ 384 h 1667"/>
                  <a:gd name="T106" fmla="*/ 2029 w 7025"/>
                  <a:gd name="T107" fmla="*/ 294 h 1667"/>
                  <a:gd name="T108" fmla="*/ 2029 w 7025"/>
                  <a:gd name="T109" fmla="*/ 294 h 1667"/>
                  <a:gd name="T110" fmla="*/ 4641 w 7025"/>
                  <a:gd name="T111" fmla="*/ 462 h 1667"/>
                  <a:gd name="T112" fmla="*/ 4802 w 7025"/>
                  <a:gd name="T113" fmla="*/ 176 h 1667"/>
                  <a:gd name="T114" fmla="*/ 4849 w 7025"/>
                  <a:gd name="T115" fmla="*/ 0 h 1667"/>
                  <a:gd name="T116" fmla="*/ 4909 w 7025"/>
                  <a:gd name="T117" fmla="*/ 0 h 1667"/>
                  <a:gd name="T118" fmla="*/ 4909 w 7025"/>
                  <a:gd name="T119"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7">
                    <a:moveTo>
                      <a:pt x="2" y="1454"/>
                    </a:moveTo>
                    <a:lnTo>
                      <a:pt x="0" y="1454"/>
                    </a:lnTo>
                    <a:lnTo>
                      <a:pt x="0" y="1456"/>
                    </a:lnTo>
                    <a:lnTo>
                      <a:pt x="0" y="1508"/>
                    </a:lnTo>
                    <a:lnTo>
                      <a:pt x="2" y="1508"/>
                    </a:lnTo>
                    <a:lnTo>
                      <a:pt x="2" y="1454"/>
                    </a:lnTo>
                    <a:moveTo>
                      <a:pt x="5665" y="1326"/>
                    </a:moveTo>
                    <a:lnTo>
                      <a:pt x="5663" y="1326"/>
                    </a:lnTo>
                    <a:lnTo>
                      <a:pt x="5663" y="1329"/>
                    </a:lnTo>
                    <a:lnTo>
                      <a:pt x="5663" y="1423"/>
                    </a:lnTo>
                    <a:lnTo>
                      <a:pt x="5665" y="1423"/>
                    </a:lnTo>
                    <a:lnTo>
                      <a:pt x="5665" y="1326"/>
                    </a:lnTo>
                    <a:moveTo>
                      <a:pt x="3710" y="1222"/>
                    </a:moveTo>
                    <a:lnTo>
                      <a:pt x="3710" y="1222"/>
                    </a:lnTo>
                    <a:lnTo>
                      <a:pt x="3707" y="1222"/>
                    </a:lnTo>
                    <a:lnTo>
                      <a:pt x="3707" y="1224"/>
                    </a:lnTo>
                    <a:lnTo>
                      <a:pt x="3707" y="1366"/>
                    </a:lnTo>
                    <a:lnTo>
                      <a:pt x="3710" y="1366"/>
                    </a:lnTo>
                    <a:lnTo>
                      <a:pt x="3710" y="1222"/>
                    </a:lnTo>
                    <a:moveTo>
                      <a:pt x="5831" y="1210"/>
                    </a:moveTo>
                    <a:lnTo>
                      <a:pt x="5828" y="1210"/>
                    </a:lnTo>
                    <a:lnTo>
                      <a:pt x="5828" y="1210"/>
                    </a:lnTo>
                    <a:lnTo>
                      <a:pt x="5828" y="1213"/>
                    </a:lnTo>
                    <a:lnTo>
                      <a:pt x="5828" y="1300"/>
                    </a:lnTo>
                    <a:lnTo>
                      <a:pt x="5831" y="1300"/>
                    </a:lnTo>
                    <a:lnTo>
                      <a:pt x="5831" y="1210"/>
                    </a:lnTo>
                    <a:moveTo>
                      <a:pt x="1664" y="1158"/>
                    </a:moveTo>
                    <a:lnTo>
                      <a:pt x="1664" y="1158"/>
                    </a:lnTo>
                    <a:lnTo>
                      <a:pt x="1662" y="1158"/>
                    </a:lnTo>
                    <a:lnTo>
                      <a:pt x="1662" y="1160"/>
                    </a:lnTo>
                    <a:lnTo>
                      <a:pt x="1662" y="1175"/>
                    </a:lnTo>
                    <a:lnTo>
                      <a:pt x="1664" y="1175"/>
                    </a:lnTo>
                    <a:lnTo>
                      <a:pt x="1664" y="1158"/>
                    </a:lnTo>
                    <a:moveTo>
                      <a:pt x="1688" y="1132"/>
                    </a:moveTo>
                    <a:lnTo>
                      <a:pt x="1686" y="1132"/>
                    </a:lnTo>
                    <a:lnTo>
                      <a:pt x="1686" y="1134"/>
                    </a:lnTo>
                    <a:lnTo>
                      <a:pt x="1686" y="1134"/>
                    </a:lnTo>
                    <a:lnTo>
                      <a:pt x="1688" y="1134"/>
                    </a:lnTo>
                    <a:lnTo>
                      <a:pt x="1688" y="1134"/>
                    </a:lnTo>
                    <a:lnTo>
                      <a:pt x="1688" y="1134"/>
                    </a:lnTo>
                    <a:lnTo>
                      <a:pt x="1688" y="1132"/>
                    </a:lnTo>
                    <a:moveTo>
                      <a:pt x="5854" y="1130"/>
                    </a:moveTo>
                    <a:lnTo>
                      <a:pt x="5854" y="1130"/>
                    </a:lnTo>
                    <a:lnTo>
                      <a:pt x="5854" y="1130"/>
                    </a:lnTo>
                    <a:lnTo>
                      <a:pt x="5854" y="1186"/>
                    </a:lnTo>
                    <a:lnTo>
                      <a:pt x="5854" y="1186"/>
                    </a:lnTo>
                    <a:lnTo>
                      <a:pt x="5854" y="1184"/>
                    </a:lnTo>
                    <a:lnTo>
                      <a:pt x="5854" y="1184"/>
                    </a:lnTo>
                    <a:lnTo>
                      <a:pt x="5854" y="1130"/>
                    </a:lnTo>
                    <a:moveTo>
                      <a:pt x="6323" y="1130"/>
                    </a:moveTo>
                    <a:lnTo>
                      <a:pt x="6320" y="1130"/>
                    </a:lnTo>
                    <a:lnTo>
                      <a:pt x="6320" y="1130"/>
                    </a:lnTo>
                    <a:lnTo>
                      <a:pt x="6320" y="1130"/>
                    </a:lnTo>
                    <a:lnTo>
                      <a:pt x="6320" y="1338"/>
                    </a:lnTo>
                    <a:lnTo>
                      <a:pt x="6323" y="1338"/>
                    </a:lnTo>
                    <a:lnTo>
                      <a:pt x="6323" y="1130"/>
                    </a:lnTo>
                    <a:moveTo>
                      <a:pt x="1447" y="1127"/>
                    </a:moveTo>
                    <a:lnTo>
                      <a:pt x="1445" y="1127"/>
                    </a:lnTo>
                    <a:lnTo>
                      <a:pt x="1445" y="1127"/>
                    </a:lnTo>
                    <a:lnTo>
                      <a:pt x="1445" y="1127"/>
                    </a:lnTo>
                    <a:lnTo>
                      <a:pt x="1445" y="1175"/>
                    </a:lnTo>
                    <a:lnTo>
                      <a:pt x="1447" y="1175"/>
                    </a:lnTo>
                    <a:lnTo>
                      <a:pt x="1447" y="1127"/>
                    </a:lnTo>
                    <a:moveTo>
                      <a:pt x="1463" y="1085"/>
                    </a:moveTo>
                    <a:lnTo>
                      <a:pt x="1461" y="1085"/>
                    </a:lnTo>
                    <a:lnTo>
                      <a:pt x="1461" y="1087"/>
                    </a:lnTo>
                    <a:lnTo>
                      <a:pt x="1461" y="1111"/>
                    </a:lnTo>
                    <a:lnTo>
                      <a:pt x="1463" y="1111"/>
                    </a:lnTo>
                    <a:lnTo>
                      <a:pt x="1463" y="1108"/>
                    </a:lnTo>
                    <a:lnTo>
                      <a:pt x="1463" y="1108"/>
                    </a:lnTo>
                    <a:lnTo>
                      <a:pt x="1463" y="1085"/>
                    </a:lnTo>
                    <a:moveTo>
                      <a:pt x="2859" y="1063"/>
                    </a:moveTo>
                    <a:lnTo>
                      <a:pt x="2859" y="1063"/>
                    </a:lnTo>
                    <a:lnTo>
                      <a:pt x="2859" y="1063"/>
                    </a:lnTo>
                    <a:lnTo>
                      <a:pt x="2859" y="1066"/>
                    </a:lnTo>
                    <a:lnTo>
                      <a:pt x="2859" y="1215"/>
                    </a:lnTo>
                    <a:lnTo>
                      <a:pt x="2859" y="1215"/>
                    </a:lnTo>
                    <a:lnTo>
                      <a:pt x="2859" y="1063"/>
                    </a:lnTo>
                    <a:moveTo>
                      <a:pt x="5930" y="1042"/>
                    </a:moveTo>
                    <a:lnTo>
                      <a:pt x="5930" y="1042"/>
                    </a:lnTo>
                    <a:lnTo>
                      <a:pt x="5928" y="1042"/>
                    </a:lnTo>
                    <a:lnTo>
                      <a:pt x="5928" y="1044"/>
                    </a:lnTo>
                    <a:lnTo>
                      <a:pt x="5928" y="1104"/>
                    </a:lnTo>
                    <a:lnTo>
                      <a:pt x="5930" y="1104"/>
                    </a:lnTo>
                    <a:lnTo>
                      <a:pt x="5930" y="1042"/>
                    </a:lnTo>
                    <a:moveTo>
                      <a:pt x="2877" y="1014"/>
                    </a:moveTo>
                    <a:lnTo>
                      <a:pt x="2875" y="1014"/>
                    </a:lnTo>
                    <a:lnTo>
                      <a:pt x="2875" y="1014"/>
                    </a:lnTo>
                    <a:lnTo>
                      <a:pt x="2875" y="1047"/>
                    </a:lnTo>
                    <a:lnTo>
                      <a:pt x="2877" y="1047"/>
                    </a:lnTo>
                    <a:lnTo>
                      <a:pt x="2877" y="1044"/>
                    </a:lnTo>
                    <a:lnTo>
                      <a:pt x="2877" y="1044"/>
                    </a:lnTo>
                    <a:lnTo>
                      <a:pt x="2877" y="1014"/>
                    </a:lnTo>
                    <a:moveTo>
                      <a:pt x="3769" y="995"/>
                    </a:moveTo>
                    <a:lnTo>
                      <a:pt x="3769" y="995"/>
                    </a:lnTo>
                    <a:lnTo>
                      <a:pt x="3769" y="997"/>
                    </a:lnTo>
                    <a:lnTo>
                      <a:pt x="3769" y="1198"/>
                    </a:lnTo>
                    <a:lnTo>
                      <a:pt x="3769" y="1198"/>
                    </a:lnTo>
                    <a:lnTo>
                      <a:pt x="3769" y="995"/>
                    </a:lnTo>
                    <a:moveTo>
                      <a:pt x="5949" y="990"/>
                    </a:moveTo>
                    <a:lnTo>
                      <a:pt x="5947" y="990"/>
                    </a:lnTo>
                    <a:lnTo>
                      <a:pt x="5947" y="992"/>
                    </a:lnTo>
                    <a:lnTo>
                      <a:pt x="5947" y="1025"/>
                    </a:lnTo>
                    <a:lnTo>
                      <a:pt x="5947" y="1025"/>
                    </a:lnTo>
                    <a:lnTo>
                      <a:pt x="5947" y="1023"/>
                    </a:lnTo>
                    <a:lnTo>
                      <a:pt x="5949" y="1023"/>
                    </a:lnTo>
                    <a:lnTo>
                      <a:pt x="5949" y="990"/>
                    </a:lnTo>
                    <a:moveTo>
                      <a:pt x="6339" y="936"/>
                    </a:moveTo>
                    <a:lnTo>
                      <a:pt x="6339" y="936"/>
                    </a:lnTo>
                    <a:lnTo>
                      <a:pt x="6337" y="936"/>
                    </a:lnTo>
                    <a:lnTo>
                      <a:pt x="6337" y="938"/>
                    </a:lnTo>
                    <a:lnTo>
                      <a:pt x="6337" y="1113"/>
                    </a:lnTo>
                    <a:lnTo>
                      <a:pt x="6339" y="1113"/>
                    </a:lnTo>
                    <a:lnTo>
                      <a:pt x="6339" y="1111"/>
                    </a:lnTo>
                    <a:lnTo>
                      <a:pt x="6339" y="1111"/>
                    </a:lnTo>
                    <a:lnTo>
                      <a:pt x="6339" y="936"/>
                    </a:lnTo>
                    <a:moveTo>
                      <a:pt x="3845" y="928"/>
                    </a:moveTo>
                    <a:lnTo>
                      <a:pt x="3842" y="928"/>
                    </a:lnTo>
                    <a:lnTo>
                      <a:pt x="3842" y="931"/>
                    </a:lnTo>
                    <a:lnTo>
                      <a:pt x="3842" y="969"/>
                    </a:lnTo>
                    <a:lnTo>
                      <a:pt x="3845" y="969"/>
                    </a:lnTo>
                    <a:lnTo>
                      <a:pt x="3845" y="928"/>
                    </a:lnTo>
                    <a:moveTo>
                      <a:pt x="6384" y="895"/>
                    </a:moveTo>
                    <a:lnTo>
                      <a:pt x="6384" y="895"/>
                    </a:lnTo>
                    <a:lnTo>
                      <a:pt x="6382" y="895"/>
                    </a:lnTo>
                    <a:lnTo>
                      <a:pt x="6382" y="898"/>
                    </a:lnTo>
                    <a:lnTo>
                      <a:pt x="6379" y="909"/>
                    </a:lnTo>
                    <a:lnTo>
                      <a:pt x="6382" y="909"/>
                    </a:lnTo>
                    <a:lnTo>
                      <a:pt x="6384" y="895"/>
                    </a:lnTo>
                    <a:moveTo>
                      <a:pt x="6389" y="879"/>
                    </a:moveTo>
                    <a:lnTo>
                      <a:pt x="6389" y="879"/>
                    </a:lnTo>
                    <a:lnTo>
                      <a:pt x="6386" y="879"/>
                    </a:lnTo>
                    <a:lnTo>
                      <a:pt x="6386" y="881"/>
                    </a:lnTo>
                    <a:lnTo>
                      <a:pt x="6386" y="893"/>
                    </a:lnTo>
                    <a:lnTo>
                      <a:pt x="6389" y="893"/>
                    </a:lnTo>
                    <a:lnTo>
                      <a:pt x="6389" y="891"/>
                    </a:lnTo>
                    <a:lnTo>
                      <a:pt x="6389" y="891"/>
                    </a:lnTo>
                    <a:lnTo>
                      <a:pt x="6389" y="879"/>
                    </a:lnTo>
                    <a:moveTo>
                      <a:pt x="6396" y="850"/>
                    </a:moveTo>
                    <a:lnTo>
                      <a:pt x="6396" y="850"/>
                    </a:lnTo>
                    <a:lnTo>
                      <a:pt x="6396" y="853"/>
                    </a:lnTo>
                    <a:lnTo>
                      <a:pt x="6396" y="872"/>
                    </a:lnTo>
                    <a:lnTo>
                      <a:pt x="6396" y="872"/>
                    </a:lnTo>
                    <a:lnTo>
                      <a:pt x="6396" y="869"/>
                    </a:lnTo>
                    <a:lnTo>
                      <a:pt x="6396" y="869"/>
                    </a:lnTo>
                    <a:lnTo>
                      <a:pt x="6396" y="850"/>
                    </a:lnTo>
                    <a:moveTo>
                      <a:pt x="804" y="829"/>
                    </a:moveTo>
                    <a:lnTo>
                      <a:pt x="804" y="829"/>
                    </a:lnTo>
                    <a:lnTo>
                      <a:pt x="804" y="829"/>
                    </a:lnTo>
                    <a:lnTo>
                      <a:pt x="804" y="1044"/>
                    </a:lnTo>
                    <a:lnTo>
                      <a:pt x="804" y="1044"/>
                    </a:lnTo>
                    <a:lnTo>
                      <a:pt x="804" y="829"/>
                    </a:lnTo>
                    <a:moveTo>
                      <a:pt x="3100" y="763"/>
                    </a:moveTo>
                    <a:lnTo>
                      <a:pt x="3100" y="763"/>
                    </a:lnTo>
                    <a:lnTo>
                      <a:pt x="3097" y="763"/>
                    </a:lnTo>
                    <a:lnTo>
                      <a:pt x="3097" y="765"/>
                    </a:lnTo>
                    <a:lnTo>
                      <a:pt x="3097" y="954"/>
                    </a:lnTo>
                    <a:lnTo>
                      <a:pt x="3100" y="954"/>
                    </a:lnTo>
                    <a:lnTo>
                      <a:pt x="3100" y="763"/>
                    </a:lnTo>
                    <a:moveTo>
                      <a:pt x="1009" y="753"/>
                    </a:moveTo>
                    <a:lnTo>
                      <a:pt x="1007" y="753"/>
                    </a:lnTo>
                    <a:lnTo>
                      <a:pt x="1007" y="756"/>
                    </a:lnTo>
                    <a:lnTo>
                      <a:pt x="1007" y="803"/>
                    </a:lnTo>
                    <a:lnTo>
                      <a:pt x="1009" y="803"/>
                    </a:lnTo>
                    <a:lnTo>
                      <a:pt x="1009" y="753"/>
                    </a:lnTo>
                    <a:moveTo>
                      <a:pt x="5131" y="732"/>
                    </a:moveTo>
                    <a:lnTo>
                      <a:pt x="5128" y="732"/>
                    </a:lnTo>
                    <a:lnTo>
                      <a:pt x="5128" y="734"/>
                    </a:lnTo>
                    <a:lnTo>
                      <a:pt x="5128" y="947"/>
                    </a:lnTo>
                    <a:lnTo>
                      <a:pt x="5131" y="947"/>
                    </a:lnTo>
                    <a:lnTo>
                      <a:pt x="5131" y="732"/>
                    </a:lnTo>
                    <a:moveTo>
                      <a:pt x="3138" y="659"/>
                    </a:moveTo>
                    <a:lnTo>
                      <a:pt x="3135" y="659"/>
                    </a:lnTo>
                    <a:lnTo>
                      <a:pt x="3135" y="659"/>
                    </a:lnTo>
                    <a:lnTo>
                      <a:pt x="3135" y="737"/>
                    </a:lnTo>
                    <a:lnTo>
                      <a:pt x="3138" y="737"/>
                    </a:lnTo>
                    <a:lnTo>
                      <a:pt x="3138" y="659"/>
                    </a:lnTo>
                    <a:moveTo>
                      <a:pt x="97" y="618"/>
                    </a:moveTo>
                    <a:lnTo>
                      <a:pt x="94" y="618"/>
                    </a:lnTo>
                    <a:lnTo>
                      <a:pt x="94" y="618"/>
                    </a:lnTo>
                    <a:lnTo>
                      <a:pt x="94" y="1428"/>
                    </a:lnTo>
                    <a:lnTo>
                      <a:pt x="97" y="1428"/>
                    </a:lnTo>
                    <a:lnTo>
                      <a:pt x="97" y="618"/>
                    </a:lnTo>
                    <a:moveTo>
                      <a:pt x="5251" y="611"/>
                    </a:moveTo>
                    <a:lnTo>
                      <a:pt x="5251" y="611"/>
                    </a:lnTo>
                    <a:lnTo>
                      <a:pt x="5251" y="611"/>
                    </a:lnTo>
                    <a:lnTo>
                      <a:pt x="5251" y="706"/>
                    </a:lnTo>
                    <a:lnTo>
                      <a:pt x="5251" y="706"/>
                    </a:lnTo>
                    <a:lnTo>
                      <a:pt x="5251" y="611"/>
                    </a:lnTo>
                    <a:moveTo>
                      <a:pt x="3282" y="583"/>
                    </a:moveTo>
                    <a:lnTo>
                      <a:pt x="3282" y="583"/>
                    </a:lnTo>
                    <a:lnTo>
                      <a:pt x="3279" y="583"/>
                    </a:lnTo>
                    <a:lnTo>
                      <a:pt x="3279" y="585"/>
                    </a:lnTo>
                    <a:lnTo>
                      <a:pt x="3279" y="632"/>
                    </a:lnTo>
                    <a:lnTo>
                      <a:pt x="3282" y="632"/>
                    </a:lnTo>
                    <a:lnTo>
                      <a:pt x="3282" y="583"/>
                    </a:lnTo>
                    <a:moveTo>
                      <a:pt x="302" y="547"/>
                    </a:moveTo>
                    <a:lnTo>
                      <a:pt x="300" y="547"/>
                    </a:lnTo>
                    <a:lnTo>
                      <a:pt x="300" y="550"/>
                    </a:lnTo>
                    <a:lnTo>
                      <a:pt x="300" y="592"/>
                    </a:lnTo>
                    <a:lnTo>
                      <a:pt x="302" y="592"/>
                    </a:lnTo>
                    <a:lnTo>
                      <a:pt x="302" y="547"/>
                    </a:lnTo>
                    <a:moveTo>
                      <a:pt x="7025" y="509"/>
                    </a:moveTo>
                    <a:lnTo>
                      <a:pt x="7022" y="509"/>
                    </a:lnTo>
                    <a:lnTo>
                      <a:pt x="7022" y="512"/>
                    </a:lnTo>
                    <a:lnTo>
                      <a:pt x="7022" y="1667"/>
                    </a:lnTo>
                    <a:lnTo>
                      <a:pt x="7025" y="1667"/>
                    </a:lnTo>
                    <a:lnTo>
                      <a:pt x="7025" y="509"/>
                    </a:lnTo>
                    <a:moveTo>
                      <a:pt x="4192" y="505"/>
                    </a:moveTo>
                    <a:lnTo>
                      <a:pt x="4192" y="505"/>
                    </a:lnTo>
                    <a:lnTo>
                      <a:pt x="4192" y="507"/>
                    </a:lnTo>
                    <a:lnTo>
                      <a:pt x="4142" y="571"/>
                    </a:lnTo>
                    <a:lnTo>
                      <a:pt x="4142" y="573"/>
                    </a:lnTo>
                    <a:lnTo>
                      <a:pt x="4192" y="505"/>
                    </a:lnTo>
                    <a:moveTo>
                      <a:pt x="3298" y="502"/>
                    </a:moveTo>
                    <a:lnTo>
                      <a:pt x="3298" y="502"/>
                    </a:lnTo>
                    <a:lnTo>
                      <a:pt x="3298" y="502"/>
                    </a:lnTo>
                    <a:lnTo>
                      <a:pt x="3298" y="505"/>
                    </a:lnTo>
                    <a:lnTo>
                      <a:pt x="3298" y="566"/>
                    </a:lnTo>
                    <a:lnTo>
                      <a:pt x="3298" y="566"/>
                    </a:lnTo>
                    <a:lnTo>
                      <a:pt x="3298" y="564"/>
                    </a:lnTo>
                    <a:lnTo>
                      <a:pt x="3298" y="564"/>
                    </a:lnTo>
                    <a:lnTo>
                      <a:pt x="3298" y="502"/>
                    </a:lnTo>
                    <a:moveTo>
                      <a:pt x="4036" y="455"/>
                    </a:moveTo>
                    <a:lnTo>
                      <a:pt x="4034" y="455"/>
                    </a:lnTo>
                    <a:lnTo>
                      <a:pt x="4034" y="455"/>
                    </a:lnTo>
                    <a:lnTo>
                      <a:pt x="4034" y="457"/>
                    </a:lnTo>
                    <a:lnTo>
                      <a:pt x="4034" y="493"/>
                    </a:lnTo>
                    <a:lnTo>
                      <a:pt x="3953" y="644"/>
                    </a:lnTo>
                    <a:lnTo>
                      <a:pt x="3953" y="902"/>
                    </a:lnTo>
                    <a:lnTo>
                      <a:pt x="3953" y="902"/>
                    </a:lnTo>
                    <a:lnTo>
                      <a:pt x="3953" y="642"/>
                    </a:lnTo>
                    <a:lnTo>
                      <a:pt x="4036" y="490"/>
                    </a:lnTo>
                    <a:lnTo>
                      <a:pt x="4036" y="455"/>
                    </a:lnTo>
                    <a:moveTo>
                      <a:pt x="3329" y="436"/>
                    </a:moveTo>
                    <a:lnTo>
                      <a:pt x="3327" y="436"/>
                    </a:lnTo>
                    <a:lnTo>
                      <a:pt x="3327" y="436"/>
                    </a:lnTo>
                    <a:lnTo>
                      <a:pt x="3327" y="476"/>
                    </a:lnTo>
                    <a:lnTo>
                      <a:pt x="3329" y="476"/>
                    </a:lnTo>
                    <a:lnTo>
                      <a:pt x="3329" y="436"/>
                    </a:lnTo>
                    <a:moveTo>
                      <a:pt x="4041" y="391"/>
                    </a:moveTo>
                    <a:lnTo>
                      <a:pt x="4041" y="391"/>
                    </a:lnTo>
                    <a:lnTo>
                      <a:pt x="4041" y="391"/>
                    </a:lnTo>
                    <a:lnTo>
                      <a:pt x="4041" y="393"/>
                    </a:lnTo>
                    <a:lnTo>
                      <a:pt x="4041" y="450"/>
                    </a:lnTo>
                    <a:lnTo>
                      <a:pt x="4041" y="450"/>
                    </a:lnTo>
                    <a:lnTo>
                      <a:pt x="4041" y="448"/>
                    </a:lnTo>
                    <a:lnTo>
                      <a:pt x="4041" y="448"/>
                    </a:lnTo>
                    <a:lnTo>
                      <a:pt x="4041" y="391"/>
                    </a:lnTo>
                    <a:moveTo>
                      <a:pt x="1809" y="370"/>
                    </a:moveTo>
                    <a:lnTo>
                      <a:pt x="1806" y="370"/>
                    </a:lnTo>
                    <a:lnTo>
                      <a:pt x="1806" y="372"/>
                    </a:lnTo>
                    <a:lnTo>
                      <a:pt x="1806" y="1106"/>
                    </a:lnTo>
                    <a:lnTo>
                      <a:pt x="1809" y="1106"/>
                    </a:lnTo>
                    <a:lnTo>
                      <a:pt x="1809" y="370"/>
                    </a:lnTo>
                    <a:moveTo>
                      <a:pt x="1939" y="334"/>
                    </a:moveTo>
                    <a:lnTo>
                      <a:pt x="1936" y="334"/>
                    </a:lnTo>
                    <a:lnTo>
                      <a:pt x="1936" y="337"/>
                    </a:lnTo>
                    <a:lnTo>
                      <a:pt x="1936" y="344"/>
                    </a:lnTo>
                    <a:lnTo>
                      <a:pt x="1939" y="344"/>
                    </a:lnTo>
                    <a:lnTo>
                      <a:pt x="1939" y="334"/>
                    </a:lnTo>
                    <a:moveTo>
                      <a:pt x="4050" y="329"/>
                    </a:moveTo>
                    <a:lnTo>
                      <a:pt x="4048" y="329"/>
                    </a:lnTo>
                    <a:lnTo>
                      <a:pt x="4048" y="329"/>
                    </a:lnTo>
                    <a:lnTo>
                      <a:pt x="4048" y="384"/>
                    </a:lnTo>
                    <a:lnTo>
                      <a:pt x="4050" y="384"/>
                    </a:lnTo>
                    <a:lnTo>
                      <a:pt x="4050" y="382"/>
                    </a:lnTo>
                    <a:lnTo>
                      <a:pt x="4050" y="382"/>
                    </a:lnTo>
                    <a:lnTo>
                      <a:pt x="4050" y="329"/>
                    </a:lnTo>
                    <a:moveTo>
                      <a:pt x="2029" y="294"/>
                    </a:moveTo>
                    <a:lnTo>
                      <a:pt x="2026" y="294"/>
                    </a:lnTo>
                    <a:lnTo>
                      <a:pt x="2026" y="296"/>
                    </a:lnTo>
                    <a:lnTo>
                      <a:pt x="2026" y="308"/>
                    </a:lnTo>
                    <a:lnTo>
                      <a:pt x="2029" y="308"/>
                    </a:lnTo>
                    <a:lnTo>
                      <a:pt x="2029" y="294"/>
                    </a:lnTo>
                    <a:moveTo>
                      <a:pt x="4703" y="232"/>
                    </a:moveTo>
                    <a:lnTo>
                      <a:pt x="4700" y="232"/>
                    </a:lnTo>
                    <a:lnTo>
                      <a:pt x="4700" y="235"/>
                    </a:lnTo>
                    <a:lnTo>
                      <a:pt x="4639" y="462"/>
                    </a:lnTo>
                    <a:lnTo>
                      <a:pt x="4641" y="462"/>
                    </a:lnTo>
                    <a:lnTo>
                      <a:pt x="4703" y="232"/>
                    </a:lnTo>
                    <a:moveTo>
                      <a:pt x="4802" y="173"/>
                    </a:moveTo>
                    <a:lnTo>
                      <a:pt x="4802" y="173"/>
                    </a:lnTo>
                    <a:lnTo>
                      <a:pt x="4802" y="173"/>
                    </a:lnTo>
                    <a:lnTo>
                      <a:pt x="4802" y="176"/>
                    </a:lnTo>
                    <a:lnTo>
                      <a:pt x="4802" y="206"/>
                    </a:lnTo>
                    <a:lnTo>
                      <a:pt x="4802" y="206"/>
                    </a:lnTo>
                    <a:lnTo>
                      <a:pt x="4802" y="173"/>
                    </a:lnTo>
                    <a:moveTo>
                      <a:pt x="4852" y="0"/>
                    </a:moveTo>
                    <a:lnTo>
                      <a:pt x="4849" y="0"/>
                    </a:lnTo>
                    <a:lnTo>
                      <a:pt x="4849" y="3"/>
                    </a:lnTo>
                    <a:lnTo>
                      <a:pt x="4849" y="147"/>
                    </a:lnTo>
                    <a:lnTo>
                      <a:pt x="4852" y="147"/>
                    </a:lnTo>
                    <a:lnTo>
                      <a:pt x="4852" y="0"/>
                    </a:lnTo>
                    <a:moveTo>
                      <a:pt x="4909" y="0"/>
                    </a:moveTo>
                    <a:lnTo>
                      <a:pt x="4909" y="0"/>
                    </a:lnTo>
                    <a:lnTo>
                      <a:pt x="4909" y="3"/>
                    </a:lnTo>
                    <a:lnTo>
                      <a:pt x="4909" y="147"/>
                    </a:lnTo>
                    <a:lnTo>
                      <a:pt x="4909" y="147"/>
                    </a:lnTo>
                    <a:lnTo>
                      <a:pt x="49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3" name="Freeform 118"/>
              <p:cNvSpPr>
                <a:spLocks noEditPoints="1"/>
              </p:cNvSpPr>
              <p:nvPr/>
            </p:nvSpPr>
            <p:spPr bwMode="auto">
              <a:xfrm>
                <a:off x="23" y="1686"/>
                <a:ext cx="7025" cy="1667"/>
              </a:xfrm>
              <a:custGeom>
                <a:avLst/>
                <a:gdLst>
                  <a:gd name="T0" fmla="*/ 0 w 7025"/>
                  <a:gd name="T1" fmla="*/ 1508 h 1667"/>
                  <a:gd name="T2" fmla="*/ 5663 w 7025"/>
                  <a:gd name="T3" fmla="*/ 1423 h 1667"/>
                  <a:gd name="T4" fmla="*/ 3708 w 7025"/>
                  <a:gd name="T5" fmla="*/ 1222 h 1667"/>
                  <a:gd name="T6" fmla="*/ 5831 w 7025"/>
                  <a:gd name="T7" fmla="*/ 1208 h 1667"/>
                  <a:gd name="T8" fmla="*/ 5831 w 7025"/>
                  <a:gd name="T9" fmla="*/ 1300 h 1667"/>
                  <a:gd name="T10" fmla="*/ 1662 w 7025"/>
                  <a:gd name="T11" fmla="*/ 1158 h 1667"/>
                  <a:gd name="T12" fmla="*/ 1686 w 7025"/>
                  <a:gd name="T13" fmla="*/ 1132 h 1667"/>
                  <a:gd name="T14" fmla="*/ 1688 w 7025"/>
                  <a:gd name="T15" fmla="*/ 1132 h 1667"/>
                  <a:gd name="T16" fmla="*/ 5852 w 7025"/>
                  <a:gd name="T17" fmla="*/ 1184 h 1667"/>
                  <a:gd name="T18" fmla="*/ 6321 w 7025"/>
                  <a:gd name="T19" fmla="*/ 1127 h 1667"/>
                  <a:gd name="T20" fmla="*/ 1445 w 7025"/>
                  <a:gd name="T21" fmla="*/ 1125 h 1667"/>
                  <a:gd name="T22" fmla="*/ 1445 w 7025"/>
                  <a:gd name="T23" fmla="*/ 1175 h 1667"/>
                  <a:gd name="T24" fmla="*/ 1461 w 7025"/>
                  <a:gd name="T25" fmla="*/ 1108 h 1667"/>
                  <a:gd name="T26" fmla="*/ 2859 w 7025"/>
                  <a:gd name="T27" fmla="*/ 1061 h 1667"/>
                  <a:gd name="T28" fmla="*/ 2859 w 7025"/>
                  <a:gd name="T29" fmla="*/ 1215 h 1667"/>
                  <a:gd name="T30" fmla="*/ 5928 w 7025"/>
                  <a:gd name="T31" fmla="*/ 1042 h 1667"/>
                  <a:gd name="T32" fmla="*/ 2875 w 7025"/>
                  <a:gd name="T33" fmla="*/ 1011 h 1667"/>
                  <a:gd name="T34" fmla="*/ 2878 w 7025"/>
                  <a:gd name="T35" fmla="*/ 1042 h 1667"/>
                  <a:gd name="T36" fmla="*/ 3767 w 7025"/>
                  <a:gd name="T37" fmla="*/ 1198 h 1667"/>
                  <a:gd name="T38" fmla="*/ 5947 w 7025"/>
                  <a:gd name="T39" fmla="*/ 990 h 1667"/>
                  <a:gd name="T40" fmla="*/ 5949 w 7025"/>
                  <a:gd name="T41" fmla="*/ 990 h 1667"/>
                  <a:gd name="T42" fmla="*/ 6337 w 7025"/>
                  <a:gd name="T43" fmla="*/ 1111 h 1667"/>
                  <a:gd name="T44" fmla="*/ 3845 w 7025"/>
                  <a:gd name="T45" fmla="*/ 926 h 1667"/>
                  <a:gd name="T46" fmla="*/ 3845 w 7025"/>
                  <a:gd name="T47" fmla="*/ 926 h 1667"/>
                  <a:gd name="T48" fmla="*/ 6380 w 7025"/>
                  <a:gd name="T49" fmla="*/ 909 h 1667"/>
                  <a:gd name="T50" fmla="*/ 6387 w 7025"/>
                  <a:gd name="T51" fmla="*/ 879 h 1667"/>
                  <a:gd name="T52" fmla="*/ 6389 w 7025"/>
                  <a:gd name="T53" fmla="*/ 888 h 1667"/>
                  <a:gd name="T54" fmla="*/ 6394 w 7025"/>
                  <a:gd name="T55" fmla="*/ 869 h 1667"/>
                  <a:gd name="T56" fmla="*/ 804 w 7025"/>
                  <a:gd name="T57" fmla="*/ 827 h 1667"/>
                  <a:gd name="T58" fmla="*/ 804 w 7025"/>
                  <a:gd name="T59" fmla="*/ 827 h 1667"/>
                  <a:gd name="T60" fmla="*/ 3098 w 7025"/>
                  <a:gd name="T61" fmla="*/ 954 h 1667"/>
                  <a:gd name="T62" fmla="*/ 1007 w 7025"/>
                  <a:gd name="T63" fmla="*/ 753 h 1667"/>
                  <a:gd name="T64" fmla="*/ 5129 w 7025"/>
                  <a:gd name="T65" fmla="*/ 732 h 1667"/>
                  <a:gd name="T66" fmla="*/ 3138 w 7025"/>
                  <a:gd name="T67" fmla="*/ 656 h 1667"/>
                  <a:gd name="T68" fmla="*/ 3138 w 7025"/>
                  <a:gd name="T69" fmla="*/ 656 h 1667"/>
                  <a:gd name="T70" fmla="*/ 97 w 7025"/>
                  <a:gd name="T71" fmla="*/ 1428 h 1667"/>
                  <a:gd name="T72" fmla="*/ 5249 w 7025"/>
                  <a:gd name="T73" fmla="*/ 706 h 1667"/>
                  <a:gd name="T74" fmla="*/ 3280 w 7025"/>
                  <a:gd name="T75" fmla="*/ 580 h 1667"/>
                  <a:gd name="T76" fmla="*/ 300 w 7025"/>
                  <a:gd name="T77" fmla="*/ 547 h 1667"/>
                  <a:gd name="T78" fmla="*/ 300 w 7025"/>
                  <a:gd name="T79" fmla="*/ 547 h 1667"/>
                  <a:gd name="T80" fmla="*/ 7025 w 7025"/>
                  <a:gd name="T81" fmla="*/ 1667 h 1667"/>
                  <a:gd name="T82" fmla="*/ 4140 w 7025"/>
                  <a:gd name="T83" fmla="*/ 573 h 1667"/>
                  <a:gd name="T84" fmla="*/ 3296 w 7025"/>
                  <a:gd name="T85" fmla="*/ 500 h 1667"/>
                  <a:gd name="T86" fmla="*/ 3299 w 7025"/>
                  <a:gd name="T87" fmla="*/ 561 h 1667"/>
                  <a:gd name="T88" fmla="*/ 4034 w 7025"/>
                  <a:gd name="T89" fmla="*/ 455 h 1667"/>
                  <a:gd name="T90" fmla="*/ 3954 w 7025"/>
                  <a:gd name="T91" fmla="*/ 640 h 1667"/>
                  <a:gd name="T92" fmla="*/ 3327 w 7025"/>
                  <a:gd name="T93" fmla="*/ 436 h 1667"/>
                  <a:gd name="T94" fmla="*/ 4041 w 7025"/>
                  <a:gd name="T95" fmla="*/ 391 h 1667"/>
                  <a:gd name="T96" fmla="*/ 4041 w 7025"/>
                  <a:gd name="T97" fmla="*/ 445 h 1667"/>
                  <a:gd name="T98" fmla="*/ 1807 w 7025"/>
                  <a:gd name="T99" fmla="*/ 370 h 1667"/>
                  <a:gd name="T100" fmla="*/ 1937 w 7025"/>
                  <a:gd name="T101" fmla="*/ 332 h 1667"/>
                  <a:gd name="T102" fmla="*/ 4051 w 7025"/>
                  <a:gd name="T103" fmla="*/ 327 h 1667"/>
                  <a:gd name="T104" fmla="*/ 4048 w 7025"/>
                  <a:gd name="T105" fmla="*/ 382 h 1667"/>
                  <a:gd name="T106" fmla="*/ 2027 w 7025"/>
                  <a:gd name="T107" fmla="*/ 294 h 1667"/>
                  <a:gd name="T108" fmla="*/ 4701 w 7025"/>
                  <a:gd name="T109" fmla="*/ 230 h 1667"/>
                  <a:gd name="T110" fmla="*/ 4803 w 7025"/>
                  <a:gd name="T111" fmla="*/ 171 h 1667"/>
                  <a:gd name="T112" fmla="*/ 4803 w 7025"/>
                  <a:gd name="T113" fmla="*/ 206 h 1667"/>
                  <a:gd name="T114" fmla="*/ 4850 w 7025"/>
                  <a:gd name="T115" fmla="*/ 147 h 1667"/>
                  <a:gd name="T116" fmla="*/ 4907 w 7025"/>
                  <a:gd name="T117"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67">
                    <a:moveTo>
                      <a:pt x="0" y="1452"/>
                    </a:moveTo>
                    <a:lnTo>
                      <a:pt x="0" y="1452"/>
                    </a:lnTo>
                    <a:lnTo>
                      <a:pt x="0" y="1454"/>
                    </a:lnTo>
                    <a:lnTo>
                      <a:pt x="0" y="1508"/>
                    </a:lnTo>
                    <a:lnTo>
                      <a:pt x="0" y="1508"/>
                    </a:lnTo>
                    <a:lnTo>
                      <a:pt x="0" y="1452"/>
                    </a:lnTo>
                    <a:close/>
                    <a:moveTo>
                      <a:pt x="5666" y="1326"/>
                    </a:moveTo>
                    <a:lnTo>
                      <a:pt x="5663" y="1326"/>
                    </a:lnTo>
                    <a:lnTo>
                      <a:pt x="5663" y="1326"/>
                    </a:lnTo>
                    <a:lnTo>
                      <a:pt x="5663" y="1423"/>
                    </a:lnTo>
                    <a:lnTo>
                      <a:pt x="5666" y="1423"/>
                    </a:lnTo>
                    <a:lnTo>
                      <a:pt x="5666" y="1326"/>
                    </a:lnTo>
                    <a:close/>
                    <a:moveTo>
                      <a:pt x="3710" y="1222"/>
                    </a:moveTo>
                    <a:lnTo>
                      <a:pt x="3708" y="1222"/>
                    </a:lnTo>
                    <a:lnTo>
                      <a:pt x="3708" y="1222"/>
                    </a:lnTo>
                    <a:lnTo>
                      <a:pt x="3708" y="1222"/>
                    </a:lnTo>
                    <a:lnTo>
                      <a:pt x="3708" y="1366"/>
                    </a:lnTo>
                    <a:lnTo>
                      <a:pt x="3710" y="1366"/>
                    </a:lnTo>
                    <a:lnTo>
                      <a:pt x="3710" y="1222"/>
                    </a:lnTo>
                    <a:close/>
                    <a:moveTo>
                      <a:pt x="5831" y="1208"/>
                    </a:moveTo>
                    <a:lnTo>
                      <a:pt x="5829" y="1208"/>
                    </a:lnTo>
                    <a:lnTo>
                      <a:pt x="5829" y="1208"/>
                    </a:lnTo>
                    <a:lnTo>
                      <a:pt x="5829" y="1210"/>
                    </a:lnTo>
                    <a:lnTo>
                      <a:pt x="5829" y="1300"/>
                    </a:lnTo>
                    <a:lnTo>
                      <a:pt x="5831" y="1300"/>
                    </a:lnTo>
                    <a:lnTo>
                      <a:pt x="5831" y="1208"/>
                    </a:lnTo>
                    <a:close/>
                    <a:moveTo>
                      <a:pt x="1665" y="1156"/>
                    </a:moveTo>
                    <a:lnTo>
                      <a:pt x="1665" y="1156"/>
                    </a:lnTo>
                    <a:lnTo>
                      <a:pt x="1662" y="1156"/>
                    </a:lnTo>
                    <a:lnTo>
                      <a:pt x="1662" y="1158"/>
                    </a:lnTo>
                    <a:lnTo>
                      <a:pt x="1662" y="1175"/>
                    </a:lnTo>
                    <a:lnTo>
                      <a:pt x="1665" y="1175"/>
                    </a:lnTo>
                    <a:lnTo>
                      <a:pt x="1665" y="1156"/>
                    </a:lnTo>
                    <a:close/>
                    <a:moveTo>
                      <a:pt x="1688" y="1132"/>
                    </a:moveTo>
                    <a:lnTo>
                      <a:pt x="1686" y="1132"/>
                    </a:lnTo>
                    <a:lnTo>
                      <a:pt x="1686" y="1132"/>
                    </a:lnTo>
                    <a:lnTo>
                      <a:pt x="1686" y="1134"/>
                    </a:lnTo>
                    <a:lnTo>
                      <a:pt x="1686" y="1134"/>
                    </a:lnTo>
                    <a:lnTo>
                      <a:pt x="1686" y="1132"/>
                    </a:lnTo>
                    <a:lnTo>
                      <a:pt x="1688" y="1132"/>
                    </a:lnTo>
                    <a:lnTo>
                      <a:pt x="1688" y="1132"/>
                    </a:lnTo>
                    <a:close/>
                    <a:moveTo>
                      <a:pt x="5855" y="1127"/>
                    </a:moveTo>
                    <a:lnTo>
                      <a:pt x="5852" y="1127"/>
                    </a:lnTo>
                    <a:lnTo>
                      <a:pt x="5852" y="1130"/>
                    </a:lnTo>
                    <a:lnTo>
                      <a:pt x="5852" y="1184"/>
                    </a:lnTo>
                    <a:lnTo>
                      <a:pt x="5855" y="1184"/>
                    </a:lnTo>
                    <a:lnTo>
                      <a:pt x="5855" y="1127"/>
                    </a:lnTo>
                    <a:close/>
                    <a:moveTo>
                      <a:pt x="6323" y="1127"/>
                    </a:moveTo>
                    <a:lnTo>
                      <a:pt x="6321" y="1127"/>
                    </a:lnTo>
                    <a:lnTo>
                      <a:pt x="6321" y="1127"/>
                    </a:lnTo>
                    <a:lnTo>
                      <a:pt x="6321" y="1130"/>
                    </a:lnTo>
                    <a:lnTo>
                      <a:pt x="6321" y="1338"/>
                    </a:lnTo>
                    <a:lnTo>
                      <a:pt x="6323" y="1338"/>
                    </a:lnTo>
                    <a:lnTo>
                      <a:pt x="6323" y="1127"/>
                    </a:lnTo>
                    <a:close/>
                    <a:moveTo>
                      <a:pt x="1445" y="1125"/>
                    </a:moveTo>
                    <a:lnTo>
                      <a:pt x="1445" y="1125"/>
                    </a:lnTo>
                    <a:lnTo>
                      <a:pt x="1445" y="1125"/>
                    </a:lnTo>
                    <a:lnTo>
                      <a:pt x="1445" y="1127"/>
                    </a:lnTo>
                    <a:lnTo>
                      <a:pt x="1445" y="1175"/>
                    </a:lnTo>
                    <a:lnTo>
                      <a:pt x="1445" y="1175"/>
                    </a:lnTo>
                    <a:lnTo>
                      <a:pt x="1445" y="1125"/>
                    </a:lnTo>
                    <a:close/>
                    <a:moveTo>
                      <a:pt x="1464" y="1082"/>
                    </a:moveTo>
                    <a:lnTo>
                      <a:pt x="1461" y="1082"/>
                    </a:lnTo>
                    <a:lnTo>
                      <a:pt x="1461" y="1085"/>
                    </a:lnTo>
                    <a:lnTo>
                      <a:pt x="1461" y="1108"/>
                    </a:lnTo>
                    <a:lnTo>
                      <a:pt x="1464" y="1108"/>
                    </a:lnTo>
                    <a:lnTo>
                      <a:pt x="1464" y="1106"/>
                    </a:lnTo>
                    <a:lnTo>
                      <a:pt x="1464" y="1106"/>
                    </a:lnTo>
                    <a:lnTo>
                      <a:pt x="1464" y="1082"/>
                    </a:lnTo>
                    <a:close/>
                    <a:moveTo>
                      <a:pt x="2859" y="1061"/>
                    </a:moveTo>
                    <a:lnTo>
                      <a:pt x="2859" y="1061"/>
                    </a:lnTo>
                    <a:lnTo>
                      <a:pt x="2857" y="1061"/>
                    </a:lnTo>
                    <a:lnTo>
                      <a:pt x="2857" y="1063"/>
                    </a:lnTo>
                    <a:lnTo>
                      <a:pt x="2857" y="1215"/>
                    </a:lnTo>
                    <a:lnTo>
                      <a:pt x="2859" y="1215"/>
                    </a:lnTo>
                    <a:lnTo>
                      <a:pt x="2859" y="1061"/>
                    </a:lnTo>
                    <a:close/>
                    <a:moveTo>
                      <a:pt x="5930" y="1040"/>
                    </a:moveTo>
                    <a:lnTo>
                      <a:pt x="5930" y="1040"/>
                    </a:lnTo>
                    <a:lnTo>
                      <a:pt x="5928" y="1040"/>
                    </a:lnTo>
                    <a:lnTo>
                      <a:pt x="5928" y="1042"/>
                    </a:lnTo>
                    <a:lnTo>
                      <a:pt x="5928" y="1104"/>
                    </a:lnTo>
                    <a:lnTo>
                      <a:pt x="5930" y="1104"/>
                    </a:lnTo>
                    <a:lnTo>
                      <a:pt x="5930" y="1040"/>
                    </a:lnTo>
                    <a:close/>
                    <a:moveTo>
                      <a:pt x="2878" y="1011"/>
                    </a:moveTo>
                    <a:lnTo>
                      <a:pt x="2875" y="1011"/>
                    </a:lnTo>
                    <a:lnTo>
                      <a:pt x="2875" y="1014"/>
                    </a:lnTo>
                    <a:lnTo>
                      <a:pt x="2875" y="1044"/>
                    </a:lnTo>
                    <a:lnTo>
                      <a:pt x="2875" y="1044"/>
                    </a:lnTo>
                    <a:lnTo>
                      <a:pt x="2875" y="1042"/>
                    </a:lnTo>
                    <a:lnTo>
                      <a:pt x="2878" y="1042"/>
                    </a:lnTo>
                    <a:lnTo>
                      <a:pt x="2878" y="1011"/>
                    </a:lnTo>
                    <a:close/>
                    <a:moveTo>
                      <a:pt x="3769" y="992"/>
                    </a:moveTo>
                    <a:lnTo>
                      <a:pt x="3767" y="992"/>
                    </a:lnTo>
                    <a:lnTo>
                      <a:pt x="3767" y="995"/>
                    </a:lnTo>
                    <a:lnTo>
                      <a:pt x="3767" y="1198"/>
                    </a:lnTo>
                    <a:lnTo>
                      <a:pt x="3769" y="1198"/>
                    </a:lnTo>
                    <a:lnTo>
                      <a:pt x="3769" y="992"/>
                    </a:lnTo>
                    <a:close/>
                    <a:moveTo>
                      <a:pt x="5949" y="990"/>
                    </a:moveTo>
                    <a:lnTo>
                      <a:pt x="5947" y="990"/>
                    </a:lnTo>
                    <a:lnTo>
                      <a:pt x="5947" y="990"/>
                    </a:lnTo>
                    <a:lnTo>
                      <a:pt x="5947" y="1023"/>
                    </a:lnTo>
                    <a:lnTo>
                      <a:pt x="5947" y="1023"/>
                    </a:lnTo>
                    <a:lnTo>
                      <a:pt x="5947" y="1023"/>
                    </a:lnTo>
                    <a:lnTo>
                      <a:pt x="5949" y="1023"/>
                    </a:lnTo>
                    <a:lnTo>
                      <a:pt x="5949" y="990"/>
                    </a:lnTo>
                    <a:close/>
                    <a:moveTo>
                      <a:pt x="6339" y="936"/>
                    </a:moveTo>
                    <a:lnTo>
                      <a:pt x="6339" y="936"/>
                    </a:lnTo>
                    <a:lnTo>
                      <a:pt x="6337" y="936"/>
                    </a:lnTo>
                    <a:lnTo>
                      <a:pt x="6337" y="936"/>
                    </a:lnTo>
                    <a:lnTo>
                      <a:pt x="6337" y="1111"/>
                    </a:lnTo>
                    <a:lnTo>
                      <a:pt x="6339" y="1111"/>
                    </a:lnTo>
                    <a:lnTo>
                      <a:pt x="6339" y="1108"/>
                    </a:lnTo>
                    <a:lnTo>
                      <a:pt x="6339" y="1108"/>
                    </a:lnTo>
                    <a:lnTo>
                      <a:pt x="6339" y="936"/>
                    </a:lnTo>
                    <a:close/>
                    <a:moveTo>
                      <a:pt x="3845" y="926"/>
                    </a:moveTo>
                    <a:lnTo>
                      <a:pt x="3843" y="926"/>
                    </a:lnTo>
                    <a:lnTo>
                      <a:pt x="3843" y="928"/>
                    </a:lnTo>
                    <a:lnTo>
                      <a:pt x="3843" y="969"/>
                    </a:lnTo>
                    <a:lnTo>
                      <a:pt x="3845" y="969"/>
                    </a:lnTo>
                    <a:lnTo>
                      <a:pt x="3845" y="926"/>
                    </a:lnTo>
                    <a:close/>
                    <a:moveTo>
                      <a:pt x="6384" y="893"/>
                    </a:moveTo>
                    <a:lnTo>
                      <a:pt x="6384" y="893"/>
                    </a:lnTo>
                    <a:lnTo>
                      <a:pt x="6382" y="893"/>
                    </a:lnTo>
                    <a:lnTo>
                      <a:pt x="6382" y="895"/>
                    </a:lnTo>
                    <a:lnTo>
                      <a:pt x="6380" y="909"/>
                    </a:lnTo>
                    <a:lnTo>
                      <a:pt x="6380" y="909"/>
                    </a:lnTo>
                    <a:lnTo>
                      <a:pt x="6384" y="893"/>
                    </a:lnTo>
                    <a:close/>
                    <a:moveTo>
                      <a:pt x="6389" y="879"/>
                    </a:moveTo>
                    <a:lnTo>
                      <a:pt x="6387" y="879"/>
                    </a:lnTo>
                    <a:lnTo>
                      <a:pt x="6387" y="879"/>
                    </a:lnTo>
                    <a:lnTo>
                      <a:pt x="6387" y="879"/>
                    </a:lnTo>
                    <a:lnTo>
                      <a:pt x="6387" y="891"/>
                    </a:lnTo>
                    <a:lnTo>
                      <a:pt x="6387" y="891"/>
                    </a:lnTo>
                    <a:lnTo>
                      <a:pt x="6389" y="888"/>
                    </a:lnTo>
                    <a:lnTo>
                      <a:pt x="6389" y="888"/>
                    </a:lnTo>
                    <a:lnTo>
                      <a:pt x="6389" y="879"/>
                    </a:lnTo>
                    <a:close/>
                    <a:moveTo>
                      <a:pt x="6396" y="850"/>
                    </a:moveTo>
                    <a:lnTo>
                      <a:pt x="6394" y="850"/>
                    </a:lnTo>
                    <a:lnTo>
                      <a:pt x="6394" y="850"/>
                    </a:lnTo>
                    <a:lnTo>
                      <a:pt x="6394" y="869"/>
                    </a:lnTo>
                    <a:lnTo>
                      <a:pt x="6396" y="869"/>
                    </a:lnTo>
                    <a:lnTo>
                      <a:pt x="6396" y="869"/>
                    </a:lnTo>
                    <a:lnTo>
                      <a:pt x="6396" y="869"/>
                    </a:lnTo>
                    <a:lnTo>
                      <a:pt x="6396" y="850"/>
                    </a:lnTo>
                    <a:close/>
                    <a:moveTo>
                      <a:pt x="804" y="827"/>
                    </a:moveTo>
                    <a:lnTo>
                      <a:pt x="802" y="827"/>
                    </a:lnTo>
                    <a:lnTo>
                      <a:pt x="802" y="829"/>
                    </a:lnTo>
                    <a:lnTo>
                      <a:pt x="802" y="1044"/>
                    </a:lnTo>
                    <a:lnTo>
                      <a:pt x="804" y="1044"/>
                    </a:lnTo>
                    <a:lnTo>
                      <a:pt x="804" y="827"/>
                    </a:lnTo>
                    <a:close/>
                    <a:moveTo>
                      <a:pt x="3100" y="763"/>
                    </a:moveTo>
                    <a:lnTo>
                      <a:pt x="3100" y="763"/>
                    </a:lnTo>
                    <a:lnTo>
                      <a:pt x="3098" y="763"/>
                    </a:lnTo>
                    <a:lnTo>
                      <a:pt x="3098" y="763"/>
                    </a:lnTo>
                    <a:lnTo>
                      <a:pt x="3098" y="954"/>
                    </a:lnTo>
                    <a:lnTo>
                      <a:pt x="3100" y="954"/>
                    </a:lnTo>
                    <a:lnTo>
                      <a:pt x="3100" y="763"/>
                    </a:lnTo>
                    <a:close/>
                    <a:moveTo>
                      <a:pt x="1007" y="753"/>
                    </a:moveTo>
                    <a:lnTo>
                      <a:pt x="1007" y="753"/>
                    </a:lnTo>
                    <a:lnTo>
                      <a:pt x="1007" y="753"/>
                    </a:lnTo>
                    <a:lnTo>
                      <a:pt x="1007" y="803"/>
                    </a:lnTo>
                    <a:lnTo>
                      <a:pt x="1007" y="803"/>
                    </a:lnTo>
                    <a:lnTo>
                      <a:pt x="1007" y="753"/>
                    </a:lnTo>
                    <a:close/>
                    <a:moveTo>
                      <a:pt x="5131" y="732"/>
                    </a:moveTo>
                    <a:lnTo>
                      <a:pt x="5129" y="732"/>
                    </a:lnTo>
                    <a:lnTo>
                      <a:pt x="5129" y="732"/>
                    </a:lnTo>
                    <a:lnTo>
                      <a:pt x="5129" y="947"/>
                    </a:lnTo>
                    <a:lnTo>
                      <a:pt x="5131" y="947"/>
                    </a:lnTo>
                    <a:lnTo>
                      <a:pt x="5131" y="732"/>
                    </a:lnTo>
                    <a:close/>
                    <a:moveTo>
                      <a:pt x="3138" y="656"/>
                    </a:moveTo>
                    <a:lnTo>
                      <a:pt x="3136" y="656"/>
                    </a:lnTo>
                    <a:lnTo>
                      <a:pt x="3136" y="659"/>
                    </a:lnTo>
                    <a:lnTo>
                      <a:pt x="3136" y="737"/>
                    </a:lnTo>
                    <a:lnTo>
                      <a:pt x="3138" y="737"/>
                    </a:lnTo>
                    <a:lnTo>
                      <a:pt x="3138" y="656"/>
                    </a:lnTo>
                    <a:close/>
                    <a:moveTo>
                      <a:pt x="97" y="616"/>
                    </a:moveTo>
                    <a:lnTo>
                      <a:pt x="95" y="616"/>
                    </a:lnTo>
                    <a:lnTo>
                      <a:pt x="95" y="618"/>
                    </a:lnTo>
                    <a:lnTo>
                      <a:pt x="95" y="1428"/>
                    </a:lnTo>
                    <a:lnTo>
                      <a:pt x="97" y="1428"/>
                    </a:lnTo>
                    <a:lnTo>
                      <a:pt x="97" y="616"/>
                    </a:lnTo>
                    <a:close/>
                    <a:moveTo>
                      <a:pt x="5252" y="609"/>
                    </a:moveTo>
                    <a:lnTo>
                      <a:pt x="5249" y="609"/>
                    </a:lnTo>
                    <a:lnTo>
                      <a:pt x="5249" y="611"/>
                    </a:lnTo>
                    <a:lnTo>
                      <a:pt x="5249" y="706"/>
                    </a:lnTo>
                    <a:lnTo>
                      <a:pt x="5252" y="706"/>
                    </a:lnTo>
                    <a:lnTo>
                      <a:pt x="5252" y="609"/>
                    </a:lnTo>
                    <a:close/>
                    <a:moveTo>
                      <a:pt x="3282" y="580"/>
                    </a:moveTo>
                    <a:lnTo>
                      <a:pt x="3280" y="580"/>
                    </a:lnTo>
                    <a:lnTo>
                      <a:pt x="3280" y="580"/>
                    </a:lnTo>
                    <a:lnTo>
                      <a:pt x="3280" y="583"/>
                    </a:lnTo>
                    <a:lnTo>
                      <a:pt x="3280" y="632"/>
                    </a:lnTo>
                    <a:lnTo>
                      <a:pt x="3282" y="632"/>
                    </a:lnTo>
                    <a:lnTo>
                      <a:pt x="3282" y="580"/>
                    </a:lnTo>
                    <a:close/>
                    <a:moveTo>
                      <a:pt x="300" y="547"/>
                    </a:moveTo>
                    <a:lnTo>
                      <a:pt x="300" y="547"/>
                    </a:lnTo>
                    <a:lnTo>
                      <a:pt x="300" y="547"/>
                    </a:lnTo>
                    <a:lnTo>
                      <a:pt x="300" y="592"/>
                    </a:lnTo>
                    <a:lnTo>
                      <a:pt x="300" y="592"/>
                    </a:lnTo>
                    <a:lnTo>
                      <a:pt x="300" y="547"/>
                    </a:lnTo>
                    <a:close/>
                    <a:moveTo>
                      <a:pt x="7025" y="507"/>
                    </a:moveTo>
                    <a:lnTo>
                      <a:pt x="7023" y="507"/>
                    </a:lnTo>
                    <a:lnTo>
                      <a:pt x="7023" y="509"/>
                    </a:lnTo>
                    <a:lnTo>
                      <a:pt x="7023" y="1667"/>
                    </a:lnTo>
                    <a:lnTo>
                      <a:pt x="7025" y="1667"/>
                    </a:lnTo>
                    <a:lnTo>
                      <a:pt x="7025" y="507"/>
                    </a:lnTo>
                    <a:close/>
                    <a:moveTo>
                      <a:pt x="4192" y="502"/>
                    </a:moveTo>
                    <a:lnTo>
                      <a:pt x="4192" y="502"/>
                    </a:lnTo>
                    <a:lnTo>
                      <a:pt x="4190" y="505"/>
                    </a:lnTo>
                    <a:lnTo>
                      <a:pt x="4140" y="573"/>
                    </a:lnTo>
                    <a:lnTo>
                      <a:pt x="4140" y="573"/>
                    </a:lnTo>
                    <a:lnTo>
                      <a:pt x="4192" y="502"/>
                    </a:lnTo>
                    <a:close/>
                    <a:moveTo>
                      <a:pt x="3299" y="500"/>
                    </a:moveTo>
                    <a:lnTo>
                      <a:pt x="3299" y="500"/>
                    </a:lnTo>
                    <a:lnTo>
                      <a:pt x="3296" y="500"/>
                    </a:lnTo>
                    <a:lnTo>
                      <a:pt x="3296" y="502"/>
                    </a:lnTo>
                    <a:lnTo>
                      <a:pt x="3296" y="564"/>
                    </a:lnTo>
                    <a:lnTo>
                      <a:pt x="3299" y="564"/>
                    </a:lnTo>
                    <a:lnTo>
                      <a:pt x="3299" y="561"/>
                    </a:lnTo>
                    <a:lnTo>
                      <a:pt x="3299" y="561"/>
                    </a:lnTo>
                    <a:lnTo>
                      <a:pt x="3299" y="500"/>
                    </a:lnTo>
                    <a:close/>
                    <a:moveTo>
                      <a:pt x="4036" y="453"/>
                    </a:moveTo>
                    <a:lnTo>
                      <a:pt x="4034" y="453"/>
                    </a:lnTo>
                    <a:lnTo>
                      <a:pt x="4034" y="453"/>
                    </a:lnTo>
                    <a:lnTo>
                      <a:pt x="4034" y="455"/>
                    </a:lnTo>
                    <a:lnTo>
                      <a:pt x="4034" y="490"/>
                    </a:lnTo>
                    <a:lnTo>
                      <a:pt x="3951" y="642"/>
                    </a:lnTo>
                    <a:lnTo>
                      <a:pt x="3951" y="902"/>
                    </a:lnTo>
                    <a:lnTo>
                      <a:pt x="3954" y="902"/>
                    </a:lnTo>
                    <a:lnTo>
                      <a:pt x="3954" y="640"/>
                    </a:lnTo>
                    <a:lnTo>
                      <a:pt x="4036" y="488"/>
                    </a:lnTo>
                    <a:lnTo>
                      <a:pt x="4036" y="453"/>
                    </a:lnTo>
                    <a:close/>
                    <a:moveTo>
                      <a:pt x="3327" y="434"/>
                    </a:moveTo>
                    <a:lnTo>
                      <a:pt x="3327" y="434"/>
                    </a:lnTo>
                    <a:lnTo>
                      <a:pt x="3327" y="436"/>
                    </a:lnTo>
                    <a:lnTo>
                      <a:pt x="3327" y="476"/>
                    </a:lnTo>
                    <a:lnTo>
                      <a:pt x="3327" y="476"/>
                    </a:lnTo>
                    <a:lnTo>
                      <a:pt x="3327" y="434"/>
                    </a:lnTo>
                    <a:close/>
                    <a:moveTo>
                      <a:pt x="4041" y="391"/>
                    </a:moveTo>
                    <a:lnTo>
                      <a:pt x="4041" y="391"/>
                    </a:lnTo>
                    <a:lnTo>
                      <a:pt x="4039" y="391"/>
                    </a:lnTo>
                    <a:lnTo>
                      <a:pt x="4039" y="391"/>
                    </a:lnTo>
                    <a:lnTo>
                      <a:pt x="4039" y="448"/>
                    </a:lnTo>
                    <a:lnTo>
                      <a:pt x="4041" y="448"/>
                    </a:lnTo>
                    <a:lnTo>
                      <a:pt x="4041" y="445"/>
                    </a:lnTo>
                    <a:lnTo>
                      <a:pt x="4041" y="445"/>
                    </a:lnTo>
                    <a:lnTo>
                      <a:pt x="4041" y="391"/>
                    </a:lnTo>
                    <a:close/>
                    <a:moveTo>
                      <a:pt x="1809" y="367"/>
                    </a:moveTo>
                    <a:lnTo>
                      <a:pt x="1807" y="367"/>
                    </a:lnTo>
                    <a:lnTo>
                      <a:pt x="1807" y="370"/>
                    </a:lnTo>
                    <a:lnTo>
                      <a:pt x="1807" y="1106"/>
                    </a:lnTo>
                    <a:lnTo>
                      <a:pt x="1809" y="1106"/>
                    </a:lnTo>
                    <a:lnTo>
                      <a:pt x="1809" y="367"/>
                    </a:lnTo>
                    <a:close/>
                    <a:moveTo>
                      <a:pt x="1937" y="332"/>
                    </a:moveTo>
                    <a:lnTo>
                      <a:pt x="1937" y="332"/>
                    </a:lnTo>
                    <a:lnTo>
                      <a:pt x="1937" y="334"/>
                    </a:lnTo>
                    <a:lnTo>
                      <a:pt x="1937" y="344"/>
                    </a:lnTo>
                    <a:lnTo>
                      <a:pt x="1937" y="344"/>
                    </a:lnTo>
                    <a:lnTo>
                      <a:pt x="1937" y="332"/>
                    </a:lnTo>
                    <a:close/>
                    <a:moveTo>
                      <a:pt x="4051" y="327"/>
                    </a:moveTo>
                    <a:lnTo>
                      <a:pt x="4048" y="327"/>
                    </a:lnTo>
                    <a:lnTo>
                      <a:pt x="4048" y="329"/>
                    </a:lnTo>
                    <a:lnTo>
                      <a:pt x="4048" y="382"/>
                    </a:lnTo>
                    <a:lnTo>
                      <a:pt x="4048" y="382"/>
                    </a:lnTo>
                    <a:lnTo>
                      <a:pt x="4048" y="382"/>
                    </a:lnTo>
                    <a:lnTo>
                      <a:pt x="4051" y="382"/>
                    </a:lnTo>
                    <a:lnTo>
                      <a:pt x="4051" y="327"/>
                    </a:lnTo>
                    <a:close/>
                    <a:moveTo>
                      <a:pt x="2029" y="292"/>
                    </a:moveTo>
                    <a:lnTo>
                      <a:pt x="2027" y="292"/>
                    </a:lnTo>
                    <a:lnTo>
                      <a:pt x="2027" y="294"/>
                    </a:lnTo>
                    <a:lnTo>
                      <a:pt x="2027" y="308"/>
                    </a:lnTo>
                    <a:lnTo>
                      <a:pt x="2029" y="308"/>
                    </a:lnTo>
                    <a:lnTo>
                      <a:pt x="2029" y="292"/>
                    </a:lnTo>
                    <a:close/>
                    <a:moveTo>
                      <a:pt x="4703" y="230"/>
                    </a:moveTo>
                    <a:lnTo>
                      <a:pt x="4701" y="230"/>
                    </a:lnTo>
                    <a:lnTo>
                      <a:pt x="4701" y="232"/>
                    </a:lnTo>
                    <a:lnTo>
                      <a:pt x="4639" y="462"/>
                    </a:lnTo>
                    <a:lnTo>
                      <a:pt x="4639" y="460"/>
                    </a:lnTo>
                    <a:lnTo>
                      <a:pt x="4703" y="230"/>
                    </a:lnTo>
                    <a:close/>
                    <a:moveTo>
                      <a:pt x="4803" y="171"/>
                    </a:moveTo>
                    <a:lnTo>
                      <a:pt x="4803" y="171"/>
                    </a:lnTo>
                    <a:lnTo>
                      <a:pt x="4800" y="171"/>
                    </a:lnTo>
                    <a:lnTo>
                      <a:pt x="4800" y="173"/>
                    </a:lnTo>
                    <a:lnTo>
                      <a:pt x="4800" y="206"/>
                    </a:lnTo>
                    <a:lnTo>
                      <a:pt x="4803" y="206"/>
                    </a:lnTo>
                    <a:lnTo>
                      <a:pt x="4803" y="171"/>
                    </a:lnTo>
                    <a:close/>
                    <a:moveTo>
                      <a:pt x="4852" y="0"/>
                    </a:moveTo>
                    <a:lnTo>
                      <a:pt x="4850" y="0"/>
                    </a:lnTo>
                    <a:lnTo>
                      <a:pt x="4850" y="0"/>
                    </a:lnTo>
                    <a:lnTo>
                      <a:pt x="4850" y="147"/>
                    </a:lnTo>
                    <a:lnTo>
                      <a:pt x="4852" y="147"/>
                    </a:lnTo>
                    <a:lnTo>
                      <a:pt x="4852" y="0"/>
                    </a:lnTo>
                    <a:close/>
                    <a:moveTo>
                      <a:pt x="4909" y="0"/>
                    </a:moveTo>
                    <a:lnTo>
                      <a:pt x="4907" y="0"/>
                    </a:lnTo>
                    <a:lnTo>
                      <a:pt x="4907" y="0"/>
                    </a:lnTo>
                    <a:lnTo>
                      <a:pt x="4907" y="147"/>
                    </a:lnTo>
                    <a:lnTo>
                      <a:pt x="4909" y="147"/>
                    </a:lnTo>
                    <a:lnTo>
                      <a:pt x="4909" y="0"/>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4" name="Freeform 119"/>
              <p:cNvSpPr>
                <a:spLocks noEditPoints="1"/>
              </p:cNvSpPr>
              <p:nvPr/>
            </p:nvSpPr>
            <p:spPr bwMode="auto">
              <a:xfrm>
                <a:off x="23" y="1686"/>
                <a:ext cx="7025" cy="1667"/>
              </a:xfrm>
              <a:custGeom>
                <a:avLst/>
                <a:gdLst>
                  <a:gd name="T0" fmla="*/ 0 w 7025"/>
                  <a:gd name="T1" fmla="*/ 1508 h 1667"/>
                  <a:gd name="T2" fmla="*/ 5663 w 7025"/>
                  <a:gd name="T3" fmla="*/ 1423 h 1667"/>
                  <a:gd name="T4" fmla="*/ 3708 w 7025"/>
                  <a:gd name="T5" fmla="*/ 1222 h 1667"/>
                  <a:gd name="T6" fmla="*/ 5831 w 7025"/>
                  <a:gd name="T7" fmla="*/ 1208 h 1667"/>
                  <a:gd name="T8" fmla="*/ 5831 w 7025"/>
                  <a:gd name="T9" fmla="*/ 1300 h 1667"/>
                  <a:gd name="T10" fmla="*/ 1662 w 7025"/>
                  <a:gd name="T11" fmla="*/ 1158 h 1667"/>
                  <a:gd name="T12" fmla="*/ 1686 w 7025"/>
                  <a:gd name="T13" fmla="*/ 1132 h 1667"/>
                  <a:gd name="T14" fmla="*/ 1688 w 7025"/>
                  <a:gd name="T15" fmla="*/ 1132 h 1667"/>
                  <a:gd name="T16" fmla="*/ 5852 w 7025"/>
                  <a:gd name="T17" fmla="*/ 1184 h 1667"/>
                  <a:gd name="T18" fmla="*/ 6321 w 7025"/>
                  <a:gd name="T19" fmla="*/ 1127 h 1667"/>
                  <a:gd name="T20" fmla="*/ 1445 w 7025"/>
                  <a:gd name="T21" fmla="*/ 1125 h 1667"/>
                  <a:gd name="T22" fmla="*/ 1445 w 7025"/>
                  <a:gd name="T23" fmla="*/ 1175 h 1667"/>
                  <a:gd name="T24" fmla="*/ 1461 w 7025"/>
                  <a:gd name="T25" fmla="*/ 1108 h 1667"/>
                  <a:gd name="T26" fmla="*/ 2859 w 7025"/>
                  <a:gd name="T27" fmla="*/ 1061 h 1667"/>
                  <a:gd name="T28" fmla="*/ 2859 w 7025"/>
                  <a:gd name="T29" fmla="*/ 1215 h 1667"/>
                  <a:gd name="T30" fmla="*/ 5928 w 7025"/>
                  <a:gd name="T31" fmla="*/ 1042 h 1667"/>
                  <a:gd name="T32" fmla="*/ 2875 w 7025"/>
                  <a:gd name="T33" fmla="*/ 1011 h 1667"/>
                  <a:gd name="T34" fmla="*/ 2878 w 7025"/>
                  <a:gd name="T35" fmla="*/ 1042 h 1667"/>
                  <a:gd name="T36" fmla="*/ 3767 w 7025"/>
                  <a:gd name="T37" fmla="*/ 1198 h 1667"/>
                  <a:gd name="T38" fmla="*/ 5947 w 7025"/>
                  <a:gd name="T39" fmla="*/ 990 h 1667"/>
                  <a:gd name="T40" fmla="*/ 5949 w 7025"/>
                  <a:gd name="T41" fmla="*/ 990 h 1667"/>
                  <a:gd name="T42" fmla="*/ 6337 w 7025"/>
                  <a:gd name="T43" fmla="*/ 1111 h 1667"/>
                  <a:gd name="T44" fmla="*/ 3845 w 7025"/>
                  <a:gd name="T45" fmla="*/ 926 h 1667"/>
                  <a:gd name="T46" fmla="*/ 3845 w 7025"/>
                  <a:gd name="T47" fmla="*/ 926 h 1667"/>
                  <a:gd name="T48" fmla="*/ 6380 w 7025"/>
                  <a:gd name="T49" fmla="*/ 909 h 1667"/>
                  <a:gd name="T50" fmla="*/ 6387 w 7025"/>
                  <a:gd name="T51" fmla="*/ 879 h 1667"/>
                  <a:gd name="T52" fmla="*/ 6389 w 7025"/>
                  <a:gd name="T53" fmla="*/ 888 h 1667"/>
                  <a:gd name="T54" fmla="*/ 6394 w 7025"/>
                  <a:gd name="T55" fmla="*/ 869 h 1667"/>
                  <a:gd name="T56" fmla="*/ 804 w 7025"/>
                  <a:gd name="T57" fmla="*/ 827 h 1667"/>
                  <a:gd name="T58" fmla="*/ 804 w 7025"/>
                  <a:gd name="T59" fmla="*/ 827 h 1667"/>
                  <a:gd name="T60" fmla="*/ 3098 w 7025"/>
                  <a:gd name="T61" fmla="*/ 954 h 1667"/>
                  <a:gd name="T62" fmla="*/ 1007 w 7025"/>
                  <a:gd name="T63" fmla="*/ 753 h 1667"/>
                  <a:gd name="T64" fmla="*/ 5129 w 7025"/>
                  <a:gd name="T65" fmla="*/ 732 h 1667"/>
                  <a:gd name="T66" fmla="*/ 3138 w 7025"/>
                  <a:gd name="T67" fmla="*/ 656 h 1667"/>
                  <a:gd name="T68" fmla="*/ 3138 w 7025"/>
                  <a:gd name="T69" fmla="*/ 656 h 1667"/>
                  <a:gd name="T70" fmla="*/ 97 w 7025"/>
                  <a:gd name="T71" fmla="*/ 1428 h 1667"/>
                  <a:gd name="T72" fmla="*/ 5249 w 7025"/>
                  <a:gd name="T73" fmla="*/ 706 h 1667"/>
                  <a:gd name="T74" fmla="*/ 3280 w 7025"/>
                  <a:gd name="T75" fmla="*/ 580 h 1667"/>
                  <a:gd name="T76" fmla="*/ 300 w 7025"/>
                  <a:gd name="T77" fmla="*/ 547 h 1667"/>
                  <a:gd name="T78" fmla="*/ 300 w 7025"/>
                  <a:gd name="T79" fmla="*/ 547 h 1667"/>
                  <a:gd name="T80" fmla="*/ 7025 w 7025"/>
                  <a:gd name="T81" fmla="*/ 1667 h 1667"/>
                  <a:gd name="T82" fmla="*/ 4140 w 7025"/>
                  <a:gd name="T83" fmla="*/ 573 h 1667"/>
                  <a:gd name="T84" fmla="*/ 3296 w 7025"/>
                  <a:gd name="T85" fmla="*/ 500 h 1667"/>
                  <a:gd name="T86" fmla="*/ 3299 w 7025"/>
                  <a:gd name="T87" fmla="*/ 561 h 1667"/>
                  <a:gd name="T88" fmla="*/ 4034 w 7025"/>
                  <a:gd name="T89" fmla="*/ 455 h 1667"/>
                  <a:gd name="T90" fmla="*/ 3954 w 7025"/>
                  <a:gd name="T91" fmla="*/ 640 h 1667"/>
                  <a:gd name="T92" fmla="*/ 3327 w 7025"/>
                  <a:gd name="T93" fmla="*/ 436 h 1667"/>
                  <a:gd name="T94" fmla="*/ 4041 w 7025"/>
                  <a:gd name="T95" fmla="*/ 391 h 1667"/>
                  <a:gd name="T96" fmla="*/ 4041 w 7025"/>
                  <a:gd name="T97" fmla="*/ 445 h 1667"/>
                  <a:gd name="T98" fmla="*/ 1807 w 7025"/>
                  <a:gd name="T99" fmla="*/ 370 h 1667"/>
                  <a:gd name="T100" fmla="*/ 1937 w 7025"/>
                  <a:gd name="T101" fmla="*/ 332 h 1667"/>
                  <a:gd name="T102" fmla="*/ 4051 w 7025"/>
                  <a:gd name="T103" fmla="*/ 327 h 1667"/>
                  <a:gd name="T104" fmla="*/ 4048 w 7025"/>
                  <a:gd name="T105" fmla="*/ 382 h 1667"/>
                  <a:gd name="T106" fmla="*/ 2027 w 7025"/>
                  <a:gd name="T107" fmla="*/ 294 h 1667"/>
                  <a:gd name="T108" fmla="*/ 4701 w 7025"/>
                  <a:gd name="T109" fmla="*/ 230 h 1667"/>
                  <a:gd name="T110" fmla="*/ 4803 w 7025"/>
                  <a:gd name="T111" fmla="*/ 171 h 1667"/>
                  <a:gd name="T112" fmla="*/ 4803 w 7025"/>
                  <a:gd name="T113" fmla="*/ 206 h 1667"/>
                  <a:gd name="T114" fmla="*/ 4850 w 7025"/>
                  <a:gd name="T115" fmla="*/ 147 h 1667"/>
                  <a:gd name="T116" fmla="*/ 4907 w 7025"/>
                  <a:gd name="T117"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67">
                    <a:moveTo>
                      <a:pt x="0" y="1452"/>
                    </a:moveTo>
                    <a:lnTo>
                      <a:pt x="0" y="1452"/>
                    </a:lnTo>
                    <a:lnTo>
                      <a:pt x="0" y="1454"/>
                    </a:lnTo>
                    <a:lnTo>
                      <a:pt x="0" y="1508"/>
                    </a:lnTo>
                    <a:lnTo>
                      <a:pt x="0" y="1508"/>
                    </a:lnTo>
                    <a:lnTo>
                      <a:pt x="0" y="1452"/>
                    </a:lnTo>
                    <a:moveTo>
                      <a:pt x="5666" y="1326"/>
                    </a:moveTo>
                    <a:lnTo>
                      <a:pt x="5663" y="1326"/>
                    </a:lnTo>
                    <a:lnTo>
                      <a:pt x="5663" y="1326"/>
                    </a:lnTo>
                    <a:lnTo>
                      <a:pt x="5663" y="1423"/>
                    </a:lnTo>
                    <a:lnTo>
                      <a:pt x="5666" y="1423"/>
                    </a:lnTo>
                    <a:lnTo>
                      <a:pt x="5666" y="1326"/>
                    </a:lnTo>
                    <a:moveTo>
                      <a:pt x="3710" y="1222"/>
                    </a:moveTo>
                    <a:lnTo>
                      <a:pt x="3708" y="1222"/>
                    </a:lnTo>
                    <a:lnTo>
                      <a:pt x="3708" y="1222"/>
                    </a:lnTo>
                    <a:lnTo>
                      <a:pt x="3708" y="1222"/>
                    </a:lnTo>
                    <a:lnTo>
                      <a:pt x="3708" y="1366"/>
                    </a:lnTo>
                    <a:lnTo>
                      <a:pt x="3710" y="1366"/>
                    </a:lnTo>
                    <a:lnTo>
                      <a:pt x="3710" y="1222"/>
                    </a:lnTo>
                    <a:moveTo>
                      <a:pt x="5831" y="1208"/>
                    </a:moveTo>
                    <a:lnTo>
                      <a:pt x="5829" y="1208"/>
                    </a:lnTo>
                    <a:lnTo>
                      <a:pt x="5829" y="1208"/>
                    </a:lnTo>
                    <a:lnTo>
                      <a:pt x="5829" y="1210"/>
                    </a:lnTo>
                    <a:lnTo>
                      <a:pt x="5829" y="1300"/>
                    </a:lnTo>
                    <a:lnTo>
                      <a:pt x="5831" y="1300"/>
                    </a:lnTo>
                    <a:lnTo>
                      <a:pt x="5831" y="1208"/>
                    </a:lnTo>
                    <a:moveTo>
                      <a:pt x="1665" y="1156"/>
                    </a:moveTo>
                    <a:lnTo>
                      <a:pt x="1665" y="1156"/>
                    </a:lnTo>
                    <a:lnTo>
                      <a:pt x="1662" y="1156"/>
                    </a:lnTo>
                    <a:lnTo>
                      <a:pt x="1662" y="1158"/>
                    </a:lnTo>
                    <a:lnTo>
                      <a:pt x="1662" y="1175"/>
                    </a:lnTo>
                    <a:lnTo>
                      <a:pt x="1665" y="1175"/>
                    </a:lnTo>
                    <a:lnTo>
                      <a:pt x="1665" y="1156"/>
                    </a:lnTo>
                    <a:moveTo>
                      <a:pt x="1688" y="1132"/>
                    </a:moveTo>
                    <a:lnTo>
                      <a:pt x="1686" y="1132"/>
                    </a:lnTo>
                    <a:lnTo>
                      <a:pt x="1686" y="1132"/>
                    </a:lnTo>
                    <a:lnTo>
                      <a:pt x="1686" y="1134"/>
                    </a:lnTo>
                    <a:lnTo>
                      <a:pt x="1686" y="1134"/>
                    </a:lnTo>
                    <a:lnTo>
                      <a:pt x="1686" y="1132"/>
                    </a:lnTo>
                    <a:lnTo>
                      <a:pt x="1688" y="1132"/>
                    </a:lnTo>
                    <a:lnTo>
                      <a:pt x="1688" y="1132"/>
                    </a:lnTo>
                    <a:moveTo>
                      <a:pt x="5855" y="1127"/>
                    </a:moveTo>
                    <a:lnTo>
                      <a:pt x="5852" y="1127"/>
                    </a:lnTo>
                    <a:lnTo>
                      <a:pt x="5852" y="1130"/>
                    </a:lnTo>
                    <a:lnTo>
                      <a:pt x="5852" y="1184"/>
                    </a:lnTo>
                    <a:lnTo>
                      <a:pt x="5855" y="1184"/>
                    </a:lnTo>
                    <a:lnTo>
                      <a:pt x="5855" y="1127"/>
                    </a:lnTo>
                    <a:moveTo>
                      <a:pt x="6323" y="1127"/>
                    </a:moveTo>
                    <a:lnTo>
                      <a:pt x="6321" y="1127"/>
                    </a:lnTo>
                    <a:lnTo>
                      <a:pt x="6321" y="1127"/>
                    </a:lnTo>
                    <a:lnTo>
                      <a:pt x="6321" y="1130"/>
                    </a:lnTo>
                    <a:lnTo>
                      <a:pt x="6321" y="1338"/>
                    </a:lnTo>
                    <a:lnTo>
                      <a:pt x="6323" y="1338"/>
                    </a:lnTo>
                    <a:lnTo>
                      <a:pt x="6323" y="1127"/>
                    </a:lnTo>
                    <a:moveTo>
                      <a:pt x="1445" y="1125"/>
                    </a:moveTo>
                    <a:lnTo>
                      <a:pt x="1445" y="1125"/>
                    </a:lnTo>
                    <a:lnTo>
                      <a:pt x="1445" y="1125"/>
                    </a:lnTo>
                    <a:lnTo>
                      <a:pt x="1445" y="1127"/>
                    </a:lnTo>
                    <a:lnTo>
                      <a:pt x="1445" y="1175"/>
                    </a:lnTo>
                    <a:lnTo>
                      <a:pt x="1445" y="1175"/>
                    </a:lnTo>
                    <a:lnTo>
                      <a:pt x="1445" y="1125"/>
                    </a:lnTo>
                    <a:moveTo>
                      <a:pt x="1464" y="1082"/>
                    </a:moveTo>
                    <a:lnTo>
                      <a:pt x="1461" y="1082"/>
                    </a:lnTo>
                    <a:lnTo>
                      <a:pt x="1461" y="1085"/>
                    </a:lnTo>
                    <a:lnTo>
                      <a:pt x="1461" y="1108"/>
                    </a:lnTo>
                    <a:lnTo>
                      <a:pt x="1464" y="1108"/>
                    </a:lnTo>
                    <a:lnTo>
                      <a:pt x="1464" y="1106"/>
                    </a:lnTo>
                    <a:lnTo>
                      <a:pt x="1464" y="1106"/>
                    </a:lnTo>
                    <a:lnTo>
                      <a:pt x="1464" y="1082"/>
                    </a:lnTo>
                    <a:moveTo>
                      <a:pt x="2859" y="1061"/>
                    </a:moveTo>
                    <a:lnTo>
                      <a:pt x="2859" y="1061"/>
                    </a:lnTo>
                    <a:lnTo>
                      <a:pt x="2857" y="1061"/>
                    </a:lnTo>
                    <a:lnTo>
                      <a:pt x="2857" y="1063"/>
                    </a:lnTo>
                    <a:lnTo>
                      <a:pt x="2857" y="1215"/>
                    </a:lnTo>
                    <a:lnTo>
                      <a:pt x="2859" y="1215"/>
                    </a:lnTo>
                    <a:lnTo>
                      <a:pt x="2859" y="1061"/>
                    </a:lnTo>
                    <a:moveTo>
                      <a:pt x="5930" y="1040"/>
                    </a:moveTo>
                    <a:lnTo>
                      <a:pt x="5930" y="1040"/>
                    </a:lnTo>
                    <a:lnTo>
                      <a:pt x="5928" y="1040"/>
                    </a:lnTo>
                    <a:lnTo>
                      <a:pt x="5928" y="1042"/>
                    </a:lnTo>
                    <a:lnTo>
                      <a:pt x="5928" y="1104"/>
                    </a:lnTo>
                    <a:lnTo>
                      <a:pt x="5930" y="1104"/>
                    </a:lnTo>
                    <a:lnTo>
                      <a:pt x="5930" y="1040"/>
                    </a:lnTo>
                    <a:moveTo>
                      <a:pt x="2878" y="1011"/>
                    </a:moveTo>
                    <a:lnTo>
                      <a:pt x="2875" y="1011"/>
                    </a:lnTo>
                    <a:lnTo>
                      <a:pt x="2875" y="1014"/>
                    </a:lnTo>
                    <a:lnTo>
                      <a:pt x="2875" y="1044"/>
                    </a:lnTo>
                    <a:lnTo>
                      <a:pt x="2875" y="1044"/>
                    </a:lnTo>
                    <a:lnTo>
                      <a:pt x="2875" y="1042"/>
                    </a:lnTo>
                    <a:lnTo>
                      <a:pt x="2878" y="1042"/>
                    </a:lnTo>
                    <a:lnTo>
                      <a:pt x="2878" y="1011"/>
                    </a:lnTo>
                    <a:moveTo>
                      <a:pt x="3769" y="992"/>
                    </a:moveTo>
                    <a:lnTo>
                      <a:pt x="3767" y="992"/>
                    </a:lnTo>
                    <a:lnTo>
                      <a:pt x="3767" y="995"/>
                    </a:lnTo>
                    <a:lnTo>
                      <a:pt x="3767" y="1198"/>
                    </a:lnTo>
                    <a:lnTo>
                      <a:pt x="3769" y="1198"/>
                    </a:lnTo>
                    <a:lnTo>
                      <a:pt x="3769" y="992"/>
                    </a:lnTo>
                    <a:moveTo>
                      <a:pt x="5949" y="990"/>
                    </a:moveTo>
                    <a:lnTo>
                      <a:pt x="5947" y="990"/>
                    </a:lnTo>
                    <a:lnTo>
                      <a:pt x="5947" y="990"/>
                    </a:lnTo>
                    <a:lnTo>
                      <a:pt x="5947" y="1023"/>
                    </a:lnTo>
                    <a:lnTo>
                      <a:pt x="5947" y="1023"/>
                    </a:lnTo>
                    <a:lnTo>
                      <a:pt x="5947" y="1023"/>
                    </a:lnTo>
                    <a:lnTo>
                      <a:pt x="5949" y="1023"/>
                    </a:lnTo>
                    <a:lnTo>
                      <a:pt x="5949" y="990"/>
                    </a:lnTo>
                    <a:moveTo>
                      <a:pt x="6339" y="936"/>
                    </a:moveTo>
                    <a:lnTo>
                      <a:pt x="6339" y="936"/>
                    </a:lnTo>
                    <a:lnTo>
                      <a:pt x="6337" y="936"/>
                    </a:lnTo>
                    <a:lnTo>
                      <a:pt x="6337" y="936"/>
                    </a:lnTo>
                    <a:lnTo>
                      <a:pt x="6337" y="1111"/>
                    </a:lnTo>
                    <a:lnTo>
                      <a:pt x="6339" y="1111"/>
                    </a:lnTo>
                    <a:lnTo>
                      <a:pt x="6339" y="1108"/>
                    </a:lnTo>
                    <a:lnTo>
                      <a:pt x="6339" y="1108"/>
                    </a:lnTo>
                    <a:lnTo>
                      <a:pt x="6339" y="936"/>
                    </a:lnTo>
                    <a:moveTo>
                      <a:pt x="3845" y="926"/>
                    </a:moveTo>
                    <a:lnTo>
                      <a:pt x="3843" y="926"/>
                    </a:lnTo>
                    <a:lnTo>
                      <a:pt x="3843" y="928"/>
                    </a:lnTo>
                    <a:lnTo>
                      <a:pt x="3843" y="969"/>
                    </a:lnTo>
                    <a:lnTo>
                      <a:pt x="3845" y="969"/>
                    </a:lnTo>
                    <a:lnTo>
                      <a:pt x="3845" y="926"/>
                    </a:lnTo>
                    <a:moveTo>
                      <a:pt x="6384" y="893"/>
                    </a:moveTo>
                    <a:lnTo>
                      <a:pt x="6384" y="893"/>
                    </a:lnTo>
                    <a:lnTo>
                      <a:pt x="6382" y="893"/>
                    </a:lnTo>
                    <a:lnTo>
                      <a:pt x="6382" y="895"/>
                    </a:lnTo>
                    <a:lnTo>
                      <a:pt x="6380" y="909"/>
                    </a:lnTo>
                    <a:lnTo>
                      <a:pt x="6380" y="909"/>
                    </a:lnTo>
                    <a:lnTo>
                      <a:pt x="6384" y="893"/>
                    </a:lnTo>
                    <a:moveTo>
                      <a:pt x="6389" y="879"/>
                    </a:moveTo>
                    <a:lnTo>
                      <a:pt x="6387" y="879"/>
                    </a:lnTo>
                    <a:lnTo>
                      <a:pt x="6387" y="879"/>
                    </a:lnTo>
                    <a:lnTo>
                      <a:pt x="6387" y="879"/>
                    </a:lnTo>
                    <a:lnTo>
                      <a:pt x="6387" y="891"/>
                    </a:lnTo>
                    <a:lnTo>
                      <a:pt x="6387" y="891"/>
                    </a:lnTo>
                    <a:lnTo>
                      <a:pt x="6389" y="888"/>
                    </a:lnTo>
                    <a:lnTo>
                      <a:pt x="6389" y="888"/>
                    </a:lnTo>
                    <a:lnTo>
                      <a:pt x="6389" y="879"/>
                    </a:lnTo>
                    <a:moveTo>
                      <a:pt x="6396" y="850"/>
                    </a:moveTo>
                    <a:lnTo>
                      <a:pt x="6394" y="850"/>
                    </a:lnTo>
                    <a:lnTo>
                      <a:pt x="6394" y="850"/>
                    </a:lnTo>
                    <a:lnTo>
                      <a:pt x="6394" y="869"/>
                    </a:lnTo>
                    <a:lnTo>
                      <a:pt x="6396" y="869"/>
                    </a:lnTo>
                    <a:lnTo>
                      <a:pt x="6396" y="869"/>
                    </a:lnTo>
                    <a:lnTo>
                      <a:pt x="6396" y="869"/>
                    </a:lnTo>
                    <a:lnTo>
                      <a:pt x="6396" y="850"/>
                    </a:lnTo>
                    <a:moveTo>
                      <a:pt x="804" y="827"/>
                    </a:moveTo>
                    <a:lnTo>
                      <a:pt x="802" y="827"/>
                    </a:lnTo>
                    <a:lnTo>
                      <a:pt x="802" y="829"/>
                    </a:lnTo>
                    <a:lnTo>
                      <a:pt x="802" y="1044"/>
                    </a:lnTo>
                    <a:lnTo>
                      <a:pt x="804" y="1044"/>
                    </a:lnTo>
                    <a:lnTo>
                      <a:pt x="804" y="827"/>
                    </a:lnTo>
                    <a:moveTo>
                      <a:pt x="3100" y="763"/>
                    </a:moveTo>
                    <a:lnTo>
                      <a:pt x="3100" y="763"/>
                    </a:lnTo>
                    <a:lnTo>
                      <a:pt x="3098" y="763"/>
                    </a:lnTo>
                    <a:lnTo>
                      <a:pt x="3098" y="763"/>
                    </a:lnTo>
                    <a:lnTo>
                      <a:pt x="3098" y="954"/>
                    </a:lnTo>
                    <a:lnTo>
                      <a:pt x="3100" y="954"/>
                    </a:lnTo>
                    <a:lnTo>
                      <a:pt x="3100" y="763"/>
                    </a:lnTo>
                    <a:moveTo>
                      <a:pt x="1007" y="753"/>
                    </a:moveTo>
                    <a:lnTo>
                      <a:pt x="1007" y="753"/>
                    </a:lnTo>
                    <a:lnTo>
                      <a:pt x="1007" y="753"/>
                    </a:lnTo>
                    <a:lnTo>
                      <a:pt x="1007" y="803"/>
                    </a:lnTo>
                    <a:lnTo>
                      <a:pt x="1007" y="803"/>
                    </a:lnTo>
                    <a:lnTo>
                      <a:pt x="1007" y="753"/>
                    </a:lnTo>
                    <a:moveTo>
                      <a:pt x="5131" y="732"/>
                    </a:moveTo>
                    <a:lnTo>
                      <a:pt x="5129" y="732"/>
                    </a:lnTo>
                    <a:lnTo>
                      <a:pt x="5129" y="732"/>
                    </a:lnTo>
                    <a:lnTo>
                      <a:pt x="5129" y="947"/>
                    </a:lnTo>
                    <a:lnTo>
                      <a:pt x="5131" y="947"/>
                    </a:lnTo>
                    <a:lnTo>
                      <a:pt x="5131" y="732"/>
                    </a:lnTo>
                    <a:moveTo>
                      <a:pt x="3138" y="656"/>
                    </a:moveTo>
                    <a:lnTo>
                      <a:pt x="3136" y="656"/>
                    </a:lnTo>
                    <a:lnTo>
                      <a:pt x="3136" y="659"/>
                    </a:lnTo>
                    <a:lnTo>
                      <a:pt x="3136" y="737"/>
                    </a:lnTo>
                    <a:lnTo>
                      <a:pt x="3138" y="737"/>
                    </a:lnTo>
                    <a:lnTo>
                      <a:pt x="3138" y="656"/>
                    </a:lnTo>
                    <a:moveTo>
                      <a:pt x="97" y="616"/>
                    </a:moveTo>
                    <a:lnTo>
                      <a:pt x="95" y="616"/>
                    </a:lnTo>
                    <a:lnTo>
                      <a:pt x="95" y="618"/>
                    </a:lnTo>
                    <a:lnTo>
                      <a:pt x="95" y="1428"/>
                    </a:lnTo>
                    <a:lnTo>
                      <a:pt x="97" y="1428"/>
                    </a:lnTo>
                    <a:lnTo>
                      <a:pt x="97" y="616"/>
                    </a:lnTo>
                    <a:moveTo>
                      <a:pt x="5252" y="609"/>
                    </a:moveTo>
                    <a:lnTo>
                      <a:pt x="5249" y="609"/>
                    </a:lnTo>
                    <a:lnTo>
                      <a:pt x="5249" y="611"/>
                    </a:lnTo>
                    <a:lnTo>
                      <a:pt x="5249" y="706"/>
                    </a:lnTo>
                    <a:lnTo>
                      <a:pt x="5252" y="706"/>
                    </a:lnTo>
                    <a:lnTo>
                      <a:pt x="5252" y="609"/>
                    </a:lnTo>
                    <a:moveTo>
                      <a:pt x="3282" y="580"/>
                    </a:moveTo>
                    <a:lnTo>
                      <a:pt x="3280" y="580"/>
                    </a:lnTo>
                    <a:lnTo>
                      <a:pt x="3280" y="580"/>
                    </a:lnTo>
                    <a:lnTo>
                      <a:pt x="3280" y="583"/>
                    </a:lnTo>
                    <a:lnTo>
                      <a:pt x="3280" y="632"/>
                    </a:lnTo>
                    <a:lnTo>
                      <a:pt x="3282" y="632"/>
                    </a:lnTo>
                    <a:lnTo>
                      <a:pt x="3282" y="580"/>
                    </a:lnTo>
                    <a:moveTo>
                      <a:pt x="300" y="547"/>
                    </a:moveTo>
                    <a:lnTo>
                      <a:pt x="300" y="547"/>
                    </a:lnTo>
                    <a:lnTo>
                      <a:pt x="300" y="547"/>
                    </a:lnTo>
                    <a:lnTo>
                      <a:pt x="300" y="592"/>
                    </a:lnTo>
                    <a:lnTo>
                      <a:pt x="300" y="592"/>
                    </a:lnTo>
                    <a:lnTo>
                      <a:pt x="300" y="547"/>
                    </a:lnTo>
                    <a:moveTo>
                      <a:pt x="7025" y="507"/>
                    </a:moveTo>
                    <a:lnTo>
                      <a:pt x="7023" y="507"/>
                    </a:lnTo>
                    <a:lnTo>
                      <a:pt x="7023" y="509"/>
                    </a:lnTo>
                    <a:lnTo>
                      <a:pt x="7023" y="1667"/>
                    </a:lnTo>
                    <a:lnTo>
                      <a:pt x="7025" y="1667"/>
                    </a:lnTo>
                    <a:lnTo>
                      <a:pt x="7025" y="507"/>
                    </a:lnTo>
                    <a:moveTo>
                      <a:pt x="4192" y="502"/>
                    </a:moveTo>
                    <a:lnTo>
                      <a:pt x="4192" y="502"/>
                    </a:lnTo>
                    <a:lnTo>
                      <a:pt x="4190" y="505"/>
                    </a:lnTo>
                    <a:lnTo>
                      <a:pt x="4140" y="573"/>
                    </a:lnTo>
                    <a:lnTo>
                      <a:pt x="4140" y="573"/>
                    </a:lnTo>
                    <a:lnTo>
                      <a:pt x="4192" y="502"/>
                    </a:lnTo>
                    <a:moveTo>
                      <a:pt x="3299" y="500"/>
                    </a:moveTo>
                    <a:lnTo>
                      <a:pt x="3299" y="500"/>
                    </a:lnTo>
                    <a:lnTo>
                      <a:pt x="3296" y="500"/>
                    </a:lnTo>
                    <a:lnTo>
                      <a:pt x="3296" y="502"/>
                    </a:lnTo>
                    <a:lnTo>
                      <a:pt x="3296" y="564"/>
                    </a:lnTo>
                    <a:lnTo>
                      <a:pt x="3299" y="564"/>
                    </a:lnTo>
                    <a:lnTo>
                      <a:pt x="3299" y="561"/>
                    </a:lnTo>
                    <a:lnTo>
                      <a:pt x="3299" y="561"/>
                    </a:lnTo>
                    <a:lnTo>
                      <a:pt x="3299" y="500"/>
                    </a:lnTo>
                    <a:moveTo>
                      <a:pt x="4036" y="453"/>
                    </a:moveTo>
                    <a:lnTo>
                      <a:pt x="4034" y="453"/>
                    </a:lnTo>
                    <a:lnTo>
                      <a:pt x="4034" y="453"/>
                    </a:lnTo>
                    <a:lnTo>
                      <a:pt x="4034" y="455"/>
                    </a:lnTo>
                    <a:lnTo>
                      <a:pt x="4034" y="490"/>
                    </a:lnTo>
                    <a:lnTo>
                      <a:pt x="3951" y="642"/>
                    </a:lnTo>
                    <a:lnTo>
                      <a:pt x="3951" y="902"/>
                    </a:lnTo>
                    <a:lnTo>
                      <a:pt x="3954" y="902"/>
                    </a:lnTo>
                    <a:lnTo>
                      <a:pt x="3954" y="640"/>
                    </a:lnTo>
                    <a:lnTo>
                      <a:pt x="4036" y="488"/>
                    </a:lnTo>
                    <a:lnTo>
                      <a:pt x="4036" y="453"/>
                    </a:lnTo>
                    <a:moveTo>
                      <a:pt x="3327" y="434"/>
                    </a:moveTo>
                    <a:lnTo>
                      <a:pt x="3327" y="434"/>
                    </a:lnTo>
                    <a:lnTo>
                      <a:pt x="3327" y="436"/>
                    </a:lnTo>
                    <a:lnTo>
                      <a:pt x="3327" y="476"/>
                    </a:lnTo>
                    <a:lnTo>
                      <a:pt x="3327" y="476"/>
                    </a:lnTo>
                    <a:lnTo>
                      <a:pt x="3327" y="434"/>
                    </a:lnTo>
                    <a:moveTo>
                      <a:pt x="4041" y="391"/>
                    </a:moveTo>
                    <a:lnTo>
                      <a:pt x="4041" y="391"/>
                    </a:lnTo>
                    <a:lnTo>
                      <a:pt x="4039" y="391"/>
                    </a:lnTo>
                    <a:lnTo>
                      <a:pt x="4039" y="391"/>
                    </a:lnTo>
                    <a:lnTo>
                      <a:pt x="4039" y="448"/>
                    </a:lnTo>
                    <a:lnTo>
                      <a:pt x="4041" y="448"/>
                    </a:lnTo>
                    <a:lnTo>
                      <a:pt x="4041" y="445"/>
                    </a:lnTo>
                    <a:lnTo>
                      <a:pt x="4041" y="445"/>
                    </a:lnTo>
                    <a:lnTo>
                      <a:pt x="4041" y="391"/>
                    </a:lnTo>
                    <a:moveTo>
                      <a:pt x="1809" y="367"/>
                    </a:moveTo>
                    <a:lnTo>
                      <a:pt x="1807" y="367"/>
                    </a:lnTo>
                    <a:lnTo>
                      <a:pt x="1807" y="370"/>
                    </a:lnTo>
                    <a:lnTo>
                      <a:pt x="1807" y="1106"/>
                    </a:lnTo>
                    <a:lnTo>
                      <a:pt x="1809" y="1106"/>
                    </a:lnTo>
                    <a:lnTo>
                      <a:pt x="1809" y="367"/>
                    </a:lnTo>
                    <a:moveTo>
                      <a:pt x="1937" y="332"/>
                    </a:moveTo>
                    <a:lnTo>
                      <a:pt x="1937" y="332"/>
                    </a:lnTo>
                    <a:lnTo>
                      <a:pt x="1937" y="334"/>
                    </a:lnTo>
                    <a:lnTo>
                      <a:pt x="1937" y="344"/>
                    </a:lnTo>
                    <a:lnTo>
                      <a:pt x="1937" y="344"/>
                    </a:lnTo>
                    <a:lnTo>
                      <a:pt x="1937" y="332"/>
                    </a:lnTo>
                    <a:moveTo>
                      <a:pt x="4051" y="327"/>
                    </a:moveTo>
                    <a:lnTo>
                      <a:pt x="4048" y="327"/>
                    </a:lnTo>
                    <a:lnTo>
                      <a:pt x="4048" y="329"/>
                    </a:lnTo>
                    <a:lnTo>
                      <a:pt x="4048" y="382"/>
                    </a:lnTo>
                    <a:lnTo>
                      <a:pt x="4048" y="382"/>
                    </a:lnTo>
                    <a:lnTo>
                      <a:pt x="4048" y="382"/>
                    </a:lnTo>
                    <a:lnTo>
                      <a:pt x="4051" y="382"/>
                    </a:lnTo>
                    <a:lnTo>
                      <a:pt x="4051" y="327"/>
                    </a:lnTo>
                    <a:moveTo>
                      <a:pt x="2029" y="292"/>
                    </a:moveTo>
                    <a:lnTo>
                      <a:pt x="2027" y="292"/>
                    </a:lnTo>
                    <a:lnTo>
                      <a:pt x="2027" y="294"/>
                    </a:lnTo>
                    <a:lnTo>
                      <a:pt x="2027" y="308"/>
                    </a:lnTo>
                    <a:lnTo>
                      <a:pt x="2029" y="308"/>
                    </a:lnTo>
                    <a:lnTo>
                      <a:pt x="2029" y="292"/>
                    </a:lnTo>
                    <a:moveTo>
                      <a:pt x="4703" y="230"/>
                    </a:moveTo>
                    <a:lnTo>
                      <a:pt x="4701" y="230"/>
                    </a:lnTo>
                    <a:lnTo>
                      <a:pt x="4701" y="232"/>
                    </a:lnTo>
                    <a:lnTo>
                      <a:pt x="4639" y="462"/>
                    </a:lnTo>
                    <a:lnTo>
                      <a:pt x="4639" y="460"/>
                    </a:lnTo>
                    <a:lnTo>
                      <a:pt x="4703" y="230"/>
                    </a:lnTo>
                    <a:moveTo>
                      <a:pt x="4803" y="171"/>
                    </a:moveTo>
                    <a:lnTo>
                      <a:pt x="4803" y="171"/>
                    </a:lnTo>
                    <a:lnTo>
                      <a:pt x="4800" y="171"/>
                    </a:lnTo>
                    <a:lnTo>
                      <a:pt x="4800" y="173"/>
                    </a:lnTo>
                    <a:lnTo>
                      <a:pt x="4800" y="206"/>
                    </a:lnTo>
                    <a:lnTo>
                      <a:pt x="4803" y="206"/>
                    </a:lnTo>
                    <a:lnTo>
                      <a:pt x="4803" y="171"/>
                    </a:lnTo>
                    <a:moveTo>
                      <a:pt x="4852" y="0"/>
                    </a:moveTo>
                    <a:lnTo>
                      <a:pt x="4850" y="0"/>
                    </a:lnTo>
                    <a:lnTo>
                      <a:pt x="4850" y="0"/>
                    </a:lnTo>
                    <a:lnTo>
                      <a:pt x="4850" y="147"/>
                    </a:lnTo>
                    <a:lnTo>
                      <a:pt x="4852" y="147"/>
                    </a:lnTo>
                    <a:lnTo>
                      <a:pt x="4852" y="0"/>
                    </a:lnTo>
                    <a:moveTo>
                      <a:pt x="4909" y="0"/>
                    </a:moveTo>
                    <a:lnTo>
                      <a:pt x="4907" y="0"/>
                    </a:lnTo>
                    <a:lnTo>
                      <a:pt x="4907" y="0"/>
                    </a:lnTo>
                    <a:lnTo>
                      <a:pt x="4907" y="147"/>
                    </a:lnTo>
                    <a:lnTo>
                      <a:pt x="4909" y="147"/>
                    </a:lnTo>
                    <a:lnTo>
                      <a:pt x="49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5" name="Freeform 120"/>
              <p:cNvSpPr>
                <a:spLocks noEditPoints="1"/>
              </p:cNvSpPr>
              <p:nvPr/>
            </p:nvSpPr>
            <p:spPr bwMode="auto">
              <a:xfrm>
                <a:off x="23" y="1684"/>
                <a:ext cx="7028" cy="1669"/>
              </a:xfrm>
              <a:custGeom>
                <a:avLst/>
                <a:gdLst>
                  <a:gd name="T0" fmla="*/ 3 w 7028"/>
                  <a:gd name="T1" fmla="*/ 1510 h 1669"/>
                  <a:gd name="T2" fmla="*/ 5666 w 7028"/>
                  <a:gd name="T3" fmla="*/ 1425 h 1669"/>
                  <a:gd name="T4" fmla="*/ 3710 w 7028"/>
                  <a:gd name="T5" fmla="*/ 1222 h 1669"/>
                  <a:gd name="T6" fmla="*/ 5831 w 7028"/>
                  <a:gd name="T7" fmla="*/ 1207 h 1669"/>
                  <a:gd name="T8" fmla="*/ 5831 w 7028"/>
                  <a:gd name="T9" fmla="*/ 1302 h 1669"/>
                  <a:gd name="T10" fmla="*/ 1665 w 7028"/>
                  <a:gd name="T11" fmla="*/ 1158 h 1669"/>
                  <a:gd name="T12" fmla="*/ 1688 w 7028"/>
                  <a:gd name="T13" fmla="*/ 1132 h 1669"/>
                  <a:gd name="T14" fmla="*/ 5857 w 7028"/>
                  <a:gd name="T15" fmla="*/ 1127 h 1669"/>
                  <a:gd name="T16" fmla="*/ 5857 w 7028"/>
                  <a:gd name="T17" fmla="*/ 1127 h 1669"/>
                  <a:gd name="T18" fmla="*/ 6323 w 7028"/>
                  <a:gd name="T19" fmla="*/ 1340 h 1669"/>
                  <a:gd name="T20" fmla="*/ 1445 w 7028"/>
                  <a:gd name="T21" fmla="*/ 1125 h 1669"/>
                  <a:gd name="T22" fmla="*/ 1464 w 7028"/>
                  <a:gd name="T23" fmla="*/ 1082 h 1669"/>
                  <a:gd name="T24" fmla="*/ 1464 w 7028"/>
                  <a:gd name="T25" fmla="*/ 1106 h 1669"/>
                  <a:gd name="T26" fmla="*/ 2859 w 7028"/>
                  <a:gd name="T27" fmla="*/ 1063 h 1669"/>
                  <a:gd name="T28" fmla="*/ 5933 w 7028"/>
                  <a:gd name="T29" fmla="*/ 1042 h 1669"/>
                  <a:gd name="T30" fmla="*/ 5933 w 7028"/>
                  <a:gd name="T31" fmla="*/ 1106 h 1669"/>
                  <a:gd name="T32" fmla="*/ 2878 w 7028"/>
                  <a:gd name="T33" fmla="*/ 1044 h 1669"/>
                  <a:gd name="T34" fmla="*/ 3772 w 7028"/>
                  <a:gd name="T35" fmla="*/ 992 h 1669"/>
                  <a:gd name="T36" fmla="*/ 3772 w 7028"/>
                  <a:gd name="T37" fmla="*/ 992 h 1669"/>
                  <a:gd name="T38" fmla="*/ 5949 w 7028"/>
                  <a:gd name="T39" fmla="*/ 1025 h 1669"/>
                  <a:gd name="T40" fmla="*/ 6342 w 7028"/>
                  <a:gd name="T41" fmla="*/ 935 h 1669"/>
                  <a:gd name="T42" fmla="*/ 6339 w 7028"/>
                  <a:gd name="T43" fmla="*/ 1108 h 1669"/>
                  <a:gd name="T44" fmla="*/ 3845 w 7028"/>
                  <a:gd name="T45" fmla="*/ 928 h 1669"/>
                  <a:gd name="T46" fmla="*/ 6384 w 7028"/>
                  <a:gd name="T47" fmla="*/ 895 h 1669"/>
                  <a:gd name="T48" fmla="*/ 6387 w 7028"/>
                  <a:gd name="T49" fmla="*/ 895 h 1669"/>
                  <a:gd name="T50" fmla="*/ 6389 w 7028"/>
                  <a:gd name="T51" fmla="*/ 890 h 1669"/>
                  <a:gd name="T52" fmla="*/ 6399 w 7028"/>
                  <a:gd name="T53" fmla="*/ 850 h 1669"/>
                  <a:gd name="T54" fmla="*/ 6399 w 7028"/>
                  <a:gd name="T55" fmla="*/ 869 h 1669"/>
                  <a:gd name="T56" fmla="*/ 804 w 7028"/>
                  <a:gd name="T57" fmla="*/ 829 h 1669"/>
                  <a:gd name="T58" fmla="*/ 3100 w 7028"/>
                  <a:gd name="T59" fmla="*/ 762 h 1669"/>
                  <a:gd name="T60" fmla="*/ 3102 w 7028"/>
                  <a:gd name="T61" fmla="*/ 762 h 1669"/>
                  <a:gd name="T62" fmla="*/ 1010 w 7028"/>
                  <a:gd name="T63" fmla="*/ 805 h 1669"/>
                  <a:gd name="T64" fmla="*/ 5131 w 7028"/>
                  <a:gd name="T65" fmla="*/ 949 h 1669"/>
                  <a:gd name="T66" fmla="*/ 3138 w 7028"/>
                  <a:gd name="T67" fmla="*/ 658 h 1669"/>
                  <a:gd name="T68" fmla="*/ 97 w 7028"/>
                  <a:gd name="T69" fmla="*/ 616 h 1669"/>
                  <a:gd name="T70" fmla="*/ 5254 w 7028"/>
                  <a:gd name="T71" fmla="*/ 608 h 1669"/>
                  <a:gd name="T72" fmla="*/ 5254 w 7028"/>
                  <a:gd name="T73" fmla="*/ 608 h 1669"/>
                  <a:gd name="T74" fmla="*/ 3282 w 7028"/>
                  <a:gd name="T75" fmla="*/ 634 h 1669"/>
                  <a:gd name="T76" fmla="*/ 300 w 7028"/>
                  <a:gd name="T77" fmla="*/ 549 h 1669"/>
                  <a:gd name="T78" fmla="*/ 7025 w 7028"/>
                  <a:gd name="T79" fmla="*/ 509 h 1669"/>
                  <a:gd name="T80" fmla="*/ 4195 w 7028"/>
                  <a:gd name="T81" fmla="*/ 502 h 1669"/>
                  <a:gd name="T82" fmla="*/ 4195 w 7028"/>
                  <a:gd name="T83" fmla="*/ 502 h 1669"/>
                  <a:gd name="T84" fmla="*/ 3299 w 7028"/>
                  <a:gd name="T85" fmla="*/ 563 h 1669"/>
                  <a:gd name="T86" fmla="*/ 4039 w 7028"/>
                  <a:gd name="T87" fmla="*/ 455 h 1669"/>
                  <a:gd name="T88" fmla="*/ 3954 w 7028"/>
                  <a:gd name="T89" fmla="*/ 642 h 1669"/>
                  <a:gd name="T90" fmla="*/ 4039 w 7028"/>
                  <a:gd name="T91" fmla="*/ 455 h 1669"/>
                  <a:gd name="T92" fmla="*/ 3329 w 7028"/>
                  <a:gd name="T93" fmla="*/ 478 h 1669"/>
                  <a:gd name="T94" fmla="*/ 4041 w 7028"/>
                  <a:gd name="T95" fmla="*/ 393 h 1669"/>
                  <a:gd name="T96" fmla="*/ 4044 w 7028"/>
                  <a:gd name="T97" fmla="*/ 391 h 1669"/>
                  <a:gd name="T98" fmla="*/ 1811 w 7028"/>
                  <a:gd name="T99" fmla="*/ 1108 h 1669"/>
                  <a:gd name="T100" fmla="*/ 1937 w 7028"/>
                  <a:gd name="T101" fmla="*/ 346 h 1669"/>
                  <a:gd name="T102" fmla="*/ 4051 w 7028"/>
                  <a:gd name="T103" fmla="*/ 329 h 1669"/>
                  <a:gd name="T104" fmla="*/ 4051 w 7028"/>
                  <a:gd name="T105" fmla="*/ 327 h 1669"/>
                  <a:gd name="T106" fmla="*/ 2029 w 7028"/>
                  <a:gd name="T107" fmla="*/ 310 h 1669"/>
                  <a:gd name="T108" fmla="*/ 4639 w 7028"/>
                  <a:gd name="T109" fmla="*/ 462 h 1669"/>
                  <a:gd name="T110" fmla="*/ 4803 w 7028"/>
                  <a:gd name="T111" fmla="*/ 170 h 1669"/>
                  <a:gd name="T112" fmla="*/ 4855 w 7028"/>
                  <a:gd name="T113" fmla="*/ 0 h 1669"/>
                  <a:gd name="T114" fmla="*/ 4855 w 7028"/>
                  <a:gd name="T115" fmla="*/ 0 h 1669"/>
                  <a:gd name="T116" fmla="*/ 4911 w 7028"/>
                  <a:gd name="T117" fmla="*/ 149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8" h="1669">
                    <a:moveTo>
                      <a:pt x="3" y="1451"/>
                    </a:moveTo>
                    <a:lnTo>
                      <a:pt x="0" y="1451"/>
                    </a:lnTo>
                    <a:lnTo>
                      <a:pt x="0" y="1454"/>
                    </a:lnTo>
                    <a:lnTo>
                      <a:pt x="0" y="1510"/>
                    </a:lnTo>
                    <a:lnTo>
                      <a:pt x="3" y="1510"/>
                    </a:lnTo>
                    <a:lnTo>
                      <a:pt x="3" y="1451"/>
                    </a:lnTo>
                    <a:close/>
                    <a:moveTo>
                      <a:pt x="5668" y="1326"/>
                    </a:moveTo>
                    <a:lnTo>
                      <a:pt x="5666" y="1326"/>
                    </a:lnTo>
                    <a:lnTo>
                      <a:pt x="5666" y="1328"/>
                    </a:lnTo>
                    <a:lnTo>
                      <a:pt x="5666" y="1425"/>
                    </a:lnTo>
                    <a:lnTo>
                      <a:pt x="5668" y="1425"/>
                    </a:lnTo>
                    <a:lnTo>
                      <a:pt x="5668" y="1326"/>
                    </a:lnTo>
                    <a:close/>
                    <a:moveTo>
                      <a:pt x="3712" y="1222"/>
                    </a:moveTo>
                    <a:lnTo>
                      <a:pt x="3710" y="1222"/>
                    </a:lnTo>
                    <a:lnTo>
                      <a:pt x="3710" y="1222"/>
                    </a:lnTo>
                    <a:lnTo>
                      <a:pt x="3710" y="1224"/>
                    </a:lnTo>
                    <a:lnTo>
                      <a:pt x="3710" y="1368"/>
                    </a:lnTo>
                    <a:lnTo>
                      <a:pt x="3712" y="1368"/>
                    </a:lnTo>
                    <a:lnTo>
                      <a:pt x="3712" y="1222"/>
                    </a:lnTo>
                    <a:close/>
                    <a:moveTo>
                      <a:pt x="5831" y="1207"/>
                    </a:moveTo>
                    <a:lnTo>
                      <a:pt x="5831" y="1207"/>
                    </a:lnTo>
                    <a:lnTo>
                      <a:pt x="5831" y="1207"/>
                    </a:lnTo>
                    <a:lnTo>
                      <a:pt x="5831" y="1210"/>
                    </a:lnTo>
                    <a:lnTo>
                      <a:pt x="5831" y="1302"/>
                    </a:lnTo>
                    <a:lnTo>
                      <a:pt x="5831" y="1302"/>
                    </a:lnTo>
                    <a:lnTo>
                      <a:pt x="5831" y="1207"/>
                    </a:lnTo>
                    <a:close/>
                    <a:moveTo>
                      <a:pt x="1667" y="1155"/>
                    </a:moveTo>
                    <a:lnTo>
                      <a:pt x="1665" y="1155"/>
                    </a:lnTo>
                    <a:lnTo>
                      <a:pt x="1665" y="1155"/>
                    </a:lnTo>
                    <a:lnTo>
                      <a:pt x="1665" y="1158"/>
                    </a:lnTo>
                    <a:lnTo>
                      <a:pt x="1665" y="1177"/>
                    </a:lnTo>
                    <a:lnTo>
                      <a:pt x="1667" y="1177"/>
                    </a:lnTo>
                    <a:lnTo>
                      <a:pt x="1667" y="1155"/>
                    </a:lnTo>
                    <a:close/>
                    <a:moveTo>
                      <a:pt x="1691" y="1132"/>
                    </a:moveTo>
                    <a:lnTo>
                      <a:pt x="1688" y="1132"/>
                    </a:lnTo>
                    <a:lnTo>
                      <a:pt x="1688" y="1134"/>
                    </a:lnTo>
                    <a:lnTo>
                      <a:pt x="1688" y="1134"/>
                    </a:lnTo>
                    <a:lnTo>
                      <a:pt x="1691" y="1134"/>
                    </a:lnTo>
                    <a:lnTo>
                      <a:pt x="1691" y="1132"/>
                    </a:lnTo>
                    <a:close/>
                    <a:moveTo>
                      <a:pt x="5857" y="1127"/>
                    </a:moveTo>
                    <a:lnTo>
                      <a:pt x="5855" y="1127"/>
                    </a:lnTo>
                    <a:lnTo>
                      <a:pt x="5855" y="1129"/>
                    </a:lnTo>
                    <a:lnTo>
                      <a:pt x="5855" y="1186"/>
                    </a:lnTo>
                    <a:lnTo>
                      <a:pt x="5857" y="1186"/>
                    </a:lnTo>
                    <a:lnTo>
                      <a:pt x="5857" y="1127"/>
                    </a:lnTo>
                    <a:close/>
                    <a:moveTo>
                      <a:pt x="6323" y="1127"/>
                    </a:moveTo>
                    <a:lnTo>
                      <a:pt x="6323" y="1127"/>
                    </a:lnTo>
                    <a:lnTo>
                      <a:pt x="6323" y="1127"/>
                    </a:lnTo>
                    <a:lnTo>
                      <a:pt x="6323" y="1129"/>
                    </a:lnTo>
                    <a:lnTo>
                      <a:pt x="6323" y="1340"/>
                    </a:lnTo>
                    <a:lnTo>
                      <a:pt x="6323" y="1340"/>
                    </a:lnTo>
                    <a:lnTo>
                      <a:pt x="6323" y="1127"/>
                    </a:lnTo>
                    <a:close/>
                    <a:moveTo>
                      <a:pt x="1447" y="1125"/>
                    </a:moveTo>
                    <a:lnTo>
                      <a:pt x="1447" y="1125"/>
                    </a:lnTo>
                    <a:lnTo>
                      <a:pt x="1445" y="1125"/>
                    </a:lnTo>
                    <a:lnTo>
                      <a:pt x="1445" y="1127"/>
                    </a:lnTo>
                    <a:lnTo>
                      <a:pt x="1445" y="1177"/>
                    </a:lnTo>
                    <a:lnTo>
                      <a:pt x="1447" y="1177"/>
                    </a:lnTo>
                    <a:lnTo>
                      <a:pt x="1447" y="1125"/>
                    </a:lnTo>
                    <a:close/>
                    <a:moveTo>
                      <a:pt x="1464" y="1082"/>
                    </a:moveTo>
                    <a:lnTo>
                      <a:pt x="1464" y="1082"/>
                    </a:lnTo>
                    <a:lnTo>
                      <a:pt x="1464" y="1084"/>
                    </a:lnTo>
                    <a:lnTo>
                      <a:pt x="1464" y="1108"/>
                    </a:lnTo>
                    <a:lnTo>
                      <a:pt x="1464" y="1108"/>
                    </a:lnTo>
                    <a:lnTo>
                      <a:pt x="1464" y="1106"/>
                    </a:lnTo>
                    <a:lnTo>
                      <a:pt x="1464" y="1106"/>
                    </a:lnTo>
                    <a:lnTo>
                      <a:pt x="1464" y="1082"/>
                    </a:lnTo>
                    <a:close/>
                    <a:moveTo>
                      <a:pt x="2861" y="1063"/>
                    </a:moveTo>
                    <a:lnTo>
                      <a:pt x="2859" y="1063"/>
                    </a:lnTo>
                    <a:lnTo>
                      <a:pt x="2859" y="1063"/>
                    </a:lnTo>
                    <a:lnTo>
                      <a:pt x="2859" y="1063"/>
                    </a:lnTo>
                    <a:lnTo>
                      <a:pt x="2859" y="1217"/>
                    </a:lnTo>
                    <a:lnTo>
                      <a:pt x="2861" y="1217"/>
                    </a:lnTo>
                    <a:lnTo>
                      <a:pt x="2861" y="1063"/>
                    </a:lnTo>
                    <a:close/>
                    <a:moveTo>
                      <a:pt x="5933" y="1042"/>
                    </a:moveTo>
                    <a:lnTo>
                      <a:pt x="5933" y="1042"/>
                    </a:lnTo>
                    <a:lnTo>
                      <a:pt x="5930" y="1042"/>
                    </a:lnTo>
                    <a:lnTo>
                      <a:pt x="5930" y="1042"/>
                    </a:lnTo>
                    <a:lnTo>
                      <a:pt x="5930" y="1106"/>
                    </a:lnTo>
                    <a:lnTo>
                      <a:pt x="5933" y="1106"/>
                    </a:lnTo>
                    <a:lnTo>
                      <a:pt x="5933" y="1042"/>
                    </a:lnTo>
                    <a:close/>
                    <a:moveTo>
                      <a:pt x="2878" y="1011"/>
                    </a:moveTo>
                    <a:lnTo>
                      <a:pt x="2878" y="1011"/>
                    </a:lnTo>
                    <a:lnTo>
                      <a:pt x="2878" y="1013"/>
                    </a:lnTo>
                    <a:lnTo>
                      <a:pt x="2878" y="1044"/>
                    </a:lnTo>
                    <a:lnTo>
                      <a:pt x="2878" y="1044"/>
                    </a:lnTo>
                    <a:lnTo>
                      <a:pt x="2878" y="1044"/>
                    </a:lnTo>
                    <a:lnTo>
                      <a:pt x="2878" y="1044"/>
                    </a:lnTo>
                    <a:lnTo>
                      <a:pt x="2878" y="1011"/>
                    </a:lnTo>
                    <a:close/>
                    <a:moveTo>
                      <a:pt x="3772" y="992"/>
                    </a:moveTo>
                    <a:lnTo>
                      <a:pt x="3769" y="992"/>
                    </a:lnTo>
                    <a:lnTo>
                      <a:pt x="3769" y="994"/>
                    </a:lnTo>
                    <a:lnTo>
                      <a:pt x="3769" y="1200"/>
                    </a:lnTo>
                    <a:lnTo>
                      <a:pt x="3772" y="1200"/>
                    </a:lnTo>
                    <a:lnTo>
                      <a:pt x="3772" y="992"/>
                    </a:lnTo>
                    <a:close/>
                    <a:moveTo>
                      <a:pt x="5949" y="990"/>
                    </a:moveTo>
                    <a:lnTo>
                      <a:pt x="5949" y="990"/>
                    </a:lnTo>
                    <a:lnTo>
                      <a:pt x="5949" y="992"/>
                    </a:lnTo>
                    <a:lnTo>
                      <a:pt x="5949" y="1025"/>
                    </a:lnTo>
                    <a:lnTo>
                      <a:pt x="5949" y="1025"/>
                    </a:lnTo>
                    <a:lnTo>
                      <a:pt x="5949" y="1023"/>
                    </a:lnTo>
                    <a:lnTo>
                      <a:pt x="5949" y="1023"/>
                    </a:lnTo>
                    <a:lnTo>
                      <a:pt x="5949" y="990"/>
                    </a:lnTo>
                    <a:close/>
                    <a:moveTo>
                      <a:pt x="6342" y="935"/>
                    </a:moveTo>
                    <a:lnTo>
                      <a:pt x="6342" y="935"/>
                    </a:lnTo>
                    <a:lnTo>
                      <a:pt x="6339" y="935"/>
                    </a:lnTo>
                    <a:lnTo>
                      <a:pt x="6339" y="938"/>
                    </a:lnTo>
                    <a:lnTo>
                      <a:pt x="6339" y="1110"/>
                    </a:lnTo>
                    <a:lnTo>
                      <a:pt x="6339" y="1110"/>
                    </a:lnTo>
                    <a:lnTo>
                      <a:pt x="6339" y="1108"/>
                    </a:lnTo>
                    <a:lnTo>
                      <a:pt x="6342" y="1108"/>
                    </a:lnTo>
                    <a:lnTo>
                      <a:pt x="6342" y="935"/>
                    </a:lnTo>
                    <a:close/>
                    <a:moveTo>
                      <a:pt x="3847" y="928"/>
                    </a:moveTo>
                    <a:lnTo>
                      <a:pt x="3845" y="928"/>
                    </a:lnTo>
                    <a:lnTo>
                      <a:pt x="3845" y="928"/>
                    </a:lnTo>
                    <a:lnTo>
                      <a:pt x="3845" y="971"/>
                    </a:lnTo>
                    <a:lnTo>
                      <a:pt x="3847" y="971"/>
                    </a:lnTo>
                    <a:lnTo>
                      <a:pt x="3847" y="928"/>
                    </a:lnTo>
                    <a:close/>
                    <a:moveTo>
                      <a:pt x="6387" y="895"/>
                    </a:moveTo>
                    <a:lnTo>
                      <a:pt x="6384" y="895"/>
                    </a:lnTo>
                    <a:lnTo>
                      <a:pt x="6384" y="895"/>
                    </a:lnTo>
                    <a:lnTo>
                      <a:pt x="6384" y="895"/>
                    </a:lnTo>
                    <a:lnTo>
                      <a:pt x="6380" y="911"/>
                    </a:lnTo>
                    <a:lnTo>
                      <a:pt x="6382" y="911"/>
                    </a:lnTo>
                    <a:lnTo>
                      <a:pt x="6387" y="895"/>
                    </a:lnTo>
                    <a:close/>
                    <a:moveTo>
                      <a:pt x="6391" y="878"/>
                    </a:moveTo>
                    <a:lnTo>
                      <a:pt x="6389" y="878"/>
                    </a:lnTo>
                    <a:lnTo>
                      <a:pt x="6389" y="878"/>
                    </a:lnTo>
                    <a:lnTo>
                      <a:pt x="6389" y="881"/>
                    </a:lnTo>
                    <a:lnTo>
                      <a:pt x="6389" y="890"/>
                    </a:lnTo>
                    <a:lnTo>
                      <a:pt x="6389" y="890"/>
                    </a:lnTo>
                    <a:lnTo>
                      <a:pt x="6389" y="888"/>
                    </a:lnTo>
                    <a:lnTo>
                      <a:pt x="6391" y="888"/>
                    </a:lnTo>
                    <a:lnTo>
                      <a:pt x="6391" y="878"/>
                    </a:lnTo>
                    <a:close/>
                    <a:moveTo>
                      <a:pt x="6399" y="850"/>
                    </a:moveTo>
                    <a:lnTo>
                      <a:pt x="6396" y="850"/>
                    </a:lnTo>
                    <a:lnTo>
                      <a:pt x="6396" y="852"/>
                    </a:lnTo>
                    <a:lnTo>
                      <a:pt x="6396" y="871"/>
                    </a:lnTo>
                    <a:lnTo>
                      <a:pt x="6399" y="871"/>
                    </a:lnTo>
                    <a:lnTo>
                      <a:pt x="6399" y="869"/>
                    </a:lnTo>
                    <a:lnTo>
                      <a:pt x="6399" y="869"/>
                    </a:lnTo>
                    <a:lnTo>
                      <a:pt x="6399" y="850"/>
                    </a:lnTo>
                    <a:close/>
                    <a:moveTo>
                      <a:pt x="806" y="826"/>
                    </a:moveTo>
                    <a:lnTo>
                      <a:pt x="804" y="826"/>
                    </a:lnTo>
                    <a:lnTo>
                      <a:pt x="804" y="829"/>
                    </a:lnTo>
                    <a:lnTo>
                      <a:pt x="804" y="1046"/>
                    </a:lnTo>
                    <a:lnTo>
                      <a:pt x="806" y="1046"/>
                    </a:lnTo>
                    <a:lnTo>
                      <a:pt x="806" y="826"/>
                    </a:lnTo>
                    <a:close/>
                    <a:moveTo>
                      <a:pt x="3102" y="762"/>
                    </a:moveTo>
                    <a:lnTo>
                      <a:pt x="3100" y="762"/>
                    </a:lnTo>
                    <a:lnTo>
                      <a:pt x="3100" y="762"/>
                    </a:lnTo>
                    <a:lnTo>
                      <a:pt x="3100" y="765"/>
                    </a:lnTo>
                    <a:lnTo>
                      <a:pt x="3100" y="956"/>
                    </a:lnTo>
                    <a:lnTo>
                      <a:pt x="3102" y="956"/>
                    </a:lnTo>
                    <a:lnTo>
                      <a:pt x="3102" y="762"/>
                    </a:lnTo>
                    <a:close/>
                    <a:moveTo>
                      <a:pt x="1010" y="753"/>
                    </a:moveTo>
                    <a:lnTo>
                      <a:pt x="1007" y="753"/>
                    </a:lnTo>
                    <a:lnTo>
                      <a:pt x="1007" y="755"/>
                    </a:lnTo>
                    <a:lnTo>
                      <a:pt x="1007" y="805"/>
                    </a:lnTo>
                    <a:lnTo>
                      <a:pt x="1010" y="805"/>
                    </a:lnTo>
                    <a:lnTo>
                      <a:pt x="1010" y="753"/>
                    </a:lnTo>
                    <a:close/>
                    <a:moveTo>
                      <a:pt x="5134" y="732"/>
                    </a:moveTo>
                    <a:lnTo>
                      <a:pt x="5131" y="732"/>
                    </a:lnTo>
                    <a:lnTo>
                      <a:pt x="5131" y="734"/>
                    </a:lnTo>
                    <a:lnTo>
                      <a:pt x="5131" y="949"/>
                    </a:lnTo>
                    <a:lnTo>
                      <a:pt x="5134" y="949"/>
                    </a:lnTo>
                    <a:lnTo>
                      <a:pt x="5134" y="732"/>
                    </a:lnTo>
                    <a:close/>
                    <a:moveTo>
                      <a:pt x="3140" y="656"/>
                    </a:moveTo>
                    <a:lnTo>
                      <a:pt x="3138" y="656"/>
                    </a:lnTo>
                    <a:lnTo>
                      <a:pt x="3138" y="658"/>
                    </a:lnTo>
                    <a:lnTo>
                      <a:pt x="3138" y="739"/>
                    </a:lnTo>
                    <a:lnTo>
                      <a:pt x="3140" y="739"/>
                    </a:lnTo>
                    <a:lnTo>
                      <a:pt x="3140" y="656"/>
                    </a:lnTo>
                    <a:close/>
                    <a:moveTo>
                      <a:pt x="97" y="616"/>
                    </a:moveTo>
                    <a:lnTo>
                      <a:pt x="97" y="616"/>
                    </a:lnTo>
                    <a:lnTo>
                      <a:pt x="97" y="618"/>
                    </a:lnTo>
                    <a:lnTo>
                      <a:pt x="97" y="1430"/>
                    </a:lnTo>
                    <a:lnTo>
                      <a:pt x="97" y="1430"/>
                    </a:lnTo>
                    <a:lnTo>
                      <a:pt x="97" y="616"/>
                    </a:lnTo>
                    <a:close/>
                    <a:moveTo>
                      <a:pt x="5254" y="608"/>
                    </a:moveTo>
                    <a:lnTo>
                      <a:pt x="5252" y="608"/>
                    </a:lnTo>
                    <a:lnTo>
                      <a:pt x="5252" y="611"/>
                    </a:lnTo>
                    <a:lnTo>
                      <a:pt x="5252" y="708"/>
                    </a:lnTo>
                    <a:lnTo>
                      <a:pt x="5254" y="708"/>
                    </a:lnTo>
                    <a:lnTo>
                      <a:pt x="5254" y="608"/>
                    </a:lnTo>
                    <a:close/>
                    <a:moveTo>
                      <a:pt x="3284" y="580"/>
                    </a:moveTo>
                    <a:lnTo>
                      <a:pt x="3282" y="580"/>
                    </a:lnTo>
                    <a:lnTo>
                      <a:pt x="3282" y="580"/>
                    </a:lnTo>
                    <a:lnTo>
                      <a:pt x="3282" y="582"/>
                    </a:lnTo>
                    <a:lnTo>
                      <a:pt x="3282" y="634"/>
                    </a:lnTo>
                    <a:lnTo>
                      <a:pt x="3284" y="634"/>
                    </a:lnTo>
                    <a:lnTo>
                      <a:pt x="3284" y="580"/>
                    </a:lnTo>
                    <a:close/>
                    <a:moveTo>
                      <a:pt x="303" y="547"/>
                    </a:moveTo>
                    <a:lnTo>
                      <a:pt x="300" y="547"/>
                    </a:lnTo>
                    <a:lnTo>
                      <a:pt x="300" y="549"/>
                    </a:lnTo>
                    <a:lnTo>
                      <a:pt x="300" y="594"/>
                    </a:lnTo>
                    <a:lnTo>
                      <a:pt x="303" y="594"/>
                    </a:lnTo>
                    <a:lnTo>
                      <a:pt x="303" y="547"/>
                    </a:lnTo>
                    <a:close/>
                    <a:moveTo>
                      <a:pt x="7028" y="509"/>
                    </a:moveTo>
                    <a:lnTo>
                      <a:pt x="7025" y="509"/>
                    </a:lnTo>
                    <a:lnTo>
                      <a:pt x="7025" y="509"/>
                    </a:lnTo>
                    <a:lnTo>
                      <a:pt x="7025" y="1669"/>
                    </a:lnTo>
                    <a:lnTo>
                      <a:pt x="7028" y="1669"/>
                    </a:lnTo>
                    <a:lnTo>
                      <a:pt x="7028" y="509"/>
                    </a:lnTo>
                    <a:close/>
                    <a:moveTo>
                      <a:pt x="4195" y="502"/>
                    </a:moveTo>
                    <a:lnTo>
                      <a:pt x="4195" y="502"/>
                    </a:lnTo>
                    <a:lnTo>
                      <a:pt x="4192" y="504"/>
                    </a:lnTo>
                    <a:lnTo>
                      <a:pt x="4140" y="575"/>
                    </a:lnTo>
                    <a:lnTo>
                      <a:pt x="4140" y="575"/>
                    </a:lnTo>
                    <a:lnTo>
                      <a:pt x="4195" y="502"/>
                    </a:lnTo>
                    <a:close/>
                    <a:moveTo>
                      <a:pt x="3301" y="500"/>
                    </a:moveTo>
                    <a:lnTo>
                      <a:pt x="3301" y="500"/>
                    </a:lnTo>
                    <a:lnTo>
                      <a:pt x="3299" y="500"/>
                    </a:lnTo>
                    <a:lnTo>
                      <a:pt x="3299" y="502"/>
                    </a:lnTo>
                    <a:lnTo>
                      <a:pt x="3299" y="563"/>
                    </a:lnTo>
                    <a:lnTo>
                      <a:pt x="3301" y="563"/>
                    </a:lnTo>
                    <a:lnTo>
                      <a:pt x="3301" y="563"/>
                    </a:lnTo>
                    <a:lnTo>
                      <a:pt x="3301" y="563"/>
                    </a:lnTo>
                    <a:lnTo>
                      <a:pt x="3301" y="500"/>
                    </a:lnTo>
                    <a:close/>
                    <a:moveTo>
                      <a:pt x="4039" y="455"/>
                    </a:moveTo>
                    <a:lnTo>
                      <a:pt x="4036" y="455"/>
                    </a:lnTo>
                    <a:lnTo>
                      <a:pt x="4036" y="455"/>
                    </a:lnTo>
                    <a:lnTo>
                      <a:pt x="4036" y="455"/>
                    </a:lnTo>
                    <a:lnTo>
                      <a:pt x="4036" y="490"/>
                    </a:lnTo>
                    <a:lnTo>
                      <a:pt x="3954" y="642"/>
                    </a:lnTo>
                    <a:lnTo>
                      <a:pt x="3954" y="904"/>
                    </a:lnTo>
                    <a:lnTo>
                      <a:pt x="3956" y="904"/>
                    </a:lnTo>
                    <a:lnTo>
                      <a:pt x="3956" y="642"/>
                    </a:lnTo>
                    <a:lnTo>
                      <a:pt x="4039" y="488"/>
                    </a:lnTo>
                    <a:lnTo>
                      <a:pt x="4039" y="455"/>
                    </a:lnTo>
                    <a:close/>
                    <a:moveTo>
                      <a:pt x="3329" y="433"/>
                    </a:moveTo>
                    <a:lnTo>
                      <a:pt x="3327" y="433"/>
                    </a:lnTo>
                    <a:lnTo>
                      <a:pt x="3327" y="436"/>
                    </a:lnTo>
                    <a:lnTo>
                      <a:pt x="3327" y="478"/>
                    </a:lnTo>
                    <a:lnTo>
                      <a:pt x="3329" y="478"/>
                    </a:lnTo>
                    <a:lnTo>
                      <a:pt x="3329" y="433"/>
                    </a:lnTo>
                    <a:close/>
                    <a:moveTo>
                      <a:pt x="4044" y="391"/>
                    </a:moveTo>
                    <a:lnTo>
                      <a:pt x="4041" y="391"/>
                    </a:lnTo>
                    <a:lnTo>
                      <a:pt x="4041" y="391"/>
                    </a:lnTo>
                    <a:lnTo>
                      <a:pt x="4041" y="393"/>
                    </a:lnTo>
                    <a:lnTo>
                      <a:pt x="4041" y="447"/>
                    </a:lnTo>
                    <a:lnTo>
                      <a:pt x="4044" y="447"/>
                    </a:lnTo>
                    <a:lnTo>
                      <a:pt x="4044" y="445"/>
                    </a:lnTo>
                    <a:lnTo>
                      <a:pt x="4044" y="445"/>
                    </a:lnTo>
                    <a:lnTo>
                      <a:pt x="4044" y="391"/>
                    </a:lnTo>
                    <a:close/>
                    <a:moveTo>
                      <a:pt x="1811" y="367"/>
                    </a:moveTo>
                    <a:lnTo>
                      <a:pt x="1809" y="367"/>
                    </a:lnTo>
                    <a:lnTo>
                      <a:pt x="1809" y="369"/>
                    </a:lnTo>
                    <a:lnTo>
                      <a:pt x="1809" y="1108"/>
                    </a:lnTo>
                    <a:lnTo>
                      <a:pt x="1811" y="1108"/>
                    </a:lnTo>
                    <a:lnTo>
                      <a:pt x="1811" y="367"/>
                    </a:lnTo>
                    <a:close/>
                    <a:moveTo>
                      <a:pt x="1939" y="334"/>
                    </a:moveTo>
                    <a:lnTo>
                      <a:pt x="1937" y="334"/>
                    </a:lnTo>
                    <a:lnTo>
                      <a:pt x="1937" y="334"/>
                    </a:lnTo>
                    <a:lnTo>
                      <a:pt x="1937" y="346"/>
                    </a:lnTo>
                    <a:lnTo>
                      <a:pt x="1939" y="346"/>
                    </a:lnTo>
                    <a:lnTo>
                      <a:pt x="1939" y="334"/>
                    </a:lnTo>
                    <a:close/>
                    <a:moveTo>
                      <a:pt x="4051" y="327"/>
                    </a:moveTo>
                    <a:lnTo>
                      <a:pt x="4051" y="327"/>
                    </a:lnTo>
                    <a:lnTo>
                      <a:pt x="4051" y="329"/>
                    </a:lnTo>
                    <a:lnTo>
                      <a:pt x="4051" y="384"/>
                    </a:lnTo>
                    <a:lnTo>
                      <a:pt x="4051" y="384"/>
                    </a:lnTo>
                    <a:lnTo>
                      <a:pt x="4051" y="381"/>
                    </a:lnTo>
                    <a:lnTo>
                      <a:pt x="4051" y="381"/>
                    </a:lnTo>
                    <a:lnTo>
                      <a:pt x="4051" y="327"/>
                    </a:lnTo>
                    <a:close/>
                    <a:moveTo>
                      <a:pt x="2029" y="294"/>
                    </a:moveTo>
                    <a:lnTo>
                      <a:pt x="2029" y="294"/>
                    </a:lnTo>
                    <a:lnTo>
                      <a:pt x="2029" y="294"/>
                    </a:lnTo>
                    <a:lnTo>
                      <a:pt x="2029" y="310"/>
                    </a:lnTo>
                    <a:lnTo>
                      <a:pt x="2029" y="310"/>
                    </a:lnTo>
                    <a:lnTo>
                      <a:pt x="2029" y="294"/>
                    </a:lnTo>
                    <a:close/>
                    <a:moveTo>
                      <a:pt x="4706" y="232"/>
                    </a:moveTo>
                    <a:lnTo>
                      <a:pt x="4703" y="232"/>
                    </a:lnTo>
                    <a:lnTo>
                      <a:pt x="4703" y="232"/>
                    </a:lnTo>
                    <a:lnTo>
                      <a:pt x="4639" y="462"/>
                    </a:lnTo>
                    <a:lnTo>
                      <a:pt x="4642" y="462"/>
                    </a:lnTo>
                    <a:lnTo>
                      <a:pt x="4706" y="232"/>
                    </a:lnTo>
                    <a:close/>
                    <a:moveTo>
                      <a:pt x="4805" y="170"/>
                    </a:moveTo>
                    <a:lnTo>
                      <a:pt x="4803" y="170"/>
                    </a:lnTo>
                    <a:lnTo>
                      <a:pt x="4803" y="170"/>
                    </a:lnTo>
                    <a:lnTo>
                      <a:pt x="4803" y="173"/>
                    </a:lnTo>
                    <a:lnTo>
                      <a:pt x="4803" y="208"/>
                    </a:lnTo>
                    <a:lnTo>
                      <a:pt x="4805" y="208"/>
                    </a:lnTo>
                    <a:lnTo>
                      <a:pt x="4805" y="170"/>
                    </a:lnTo>
                    <a:close/>
                    <a:moveTo>
                      <a:pt x="4855" y="0"/>
                    </a:moveTo>
                    <a:lnTo>
                      <a:pt x="4852" y="0"/>
                    </a:lnTo>
                    <a:lnTo>
                      <a:pt x="4852" y="2"/>
                    </a:lnTo>
                    <a:lnTo>
                      <a:pt x="4852" y="149"/>
                    </a:lnTo>
                    <a:lnTo>
                      <a:pt x="4855" y="149"/>
                    </a:lnTo>
                    <a:lnTo>
                      <a:pt x="4855" y="0"/>
                    </a:lnTo>
                    <a:close/>
                    <a:moveTo>
                      <a:pt x="4911" y="0"/>
                    </a:moveTo>
                    <a:lnTo>
                      <a:pt x="4909" y="0"/>
                    </a:lnTo>
                    <a:lnTo>
                      <a:pt x="4909" y="2"/>
                    </a:lnTo>
                    <a:lnTo>
                      <a:pt x="4909" y="149"/>
                    </a:lnTo>
                    <a:lnTo>
                      <a:pt x="4911" y="149"/>
                    </a:lnTo>
                    <a:lnTo>
                      <a:pt x="4911" y="0"/>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6" name="Freeform 121"/>
              <p:cNvSpPr>
                <a:spLocks noEditPoints="1"/>
              </p:cNvSpPr>
              <p:nvPr/>
            </p:nvSpPr>
            <p:spPr bwMode="auto">
              <a:xfrm>
                <a:off x="23" y="1684"/>
                <a:ext cx="7028" cy="1669"/>
              </a:xfrm>
              <a:custGeom>
                <a:avLst/>
                <a:gdLst>
                  <a:gd name="T0" fmla="*/ 3 w 7028"/>
                  <a:gd name="T1" fmla="*/ 1510 h 1669"/>
                  <a:gd name="T2" fmla="*/ 5666 w 7028"/>
                  <a:gd name="T3" fmla="*/ 1425 h 1669"/>
                  <a:gd name="T4" fmla="*/ 3710 w 7028"/>
                  <a:gd name="T5" fmla="*/ 1222 h 1669"/>
                  <a:gd name="T6" fmla="*/ 5831 w 7028"/>
                  <a:gd name="T7" fmla="*/ 1207 h 1669"/>
                  <a:gd name="T8" fmla="*/ 5831 w 7028"/>
                  <a:gd name="T9" fmla="*/ 1302 h 1669"/>
                  <a:gd name="T10" fmla="*/ 1665 w 7028"/>
                  <a:gd name="T11" fmla="*/ 1158 h 1669"/>
                  <a:gd name="T12" fmla="*/ 1688 w 7028"/>
                  <a:gd name="T13" fmla="*/ 1132 h 1669"/>
                  <a:gd name="T14" fmla="*/ 5857 w 7028"/>
                  <a:gd name="T15" fmla="*/ 1127 h 1669"/>
                  <a:gd name="T16" fmla="*/ 5857 w 7028"/>
                  <a:gd name="T17" fmla="*/ 1127 h 1669"/>
                  <a:gd name="T18" fmla="*/ 6323 w 7028"/>
                  <a:gd name="T19" fmla="*/ 1340 h 1669"/>
                  <a:gd name="T20" fmla="*/ 1445 w 7028"/>
                  <a:gd name="T21" fmla="*/ 1125 h 1669"/>
                  <a:gd name="T22" fmla="*/ 1464 w 7028"/>
                  <a:gd name="T23" fmla="*/ 1082 h 1669"/>
                  <a:gd name="T24" fmla="*/ 1464 w 7028"/>
                  <a:gd name="T25" fmla="*/ 1106 h 1669"/>
                  <a:gd name="T26" fmla="*/ 2859 w 7028"/>
                  <a:gd name="T27" fmla="*/ 1063 h 1669"/>
                  <a:gd name="T28" fmla="*/ 5933 w 7028"/>
                  <a:gd name="T29" fmla="*/ 1042 h 1669"/>
                  <a:gd name="T30" fmla="*/ 5933 w 7028"/>
                  <a:gd name="T31" fmla="*/ 1106 h 1669"/>
                  <a:gd name="T32" fmla="*/ 2878 w 7028"/>
                  <a:gd name="T33" fmla="*/ 1044 h 1669"/>
                  <a:gd name="T34" fmla="*/ 3772 w 7028"/>
                  <a:gd name="T35" fmla="*/ 992 h 1669"/>
                  <a:gd name="T36" fmla="*/ 3772 w 7028"/>
                  <a:gd name="T37" fmla="*/ 992 h 1669"/>
                  <a:gd name="T38" fmla="*/ 5949 w 7028"/>
                  <a:gd name="T39" fmla="*/ 1025 h 1669"/>
                  <a:gd name="T40" fmla="*/ 6342 w 7028"/>
                  <a:gd name="T41" fmla="*/ 935 h 1669"/>
                  <a:gd name="T42" fmla="*/ 6339 w 7028"/>
                  <a:gd name="T43" fmla="*/ 1108 h 1669"/>
                  <a:gd name="T44" fmla="*/ 3845 w 7028"/>
                  <a:gd name="T45" fmla="*/ 928 h 1669"/>
                  <a:gd name="T46" fmla="*/ 6384 w 7028"/>
                  <a:gd name="T47" fmla="*/ 895 h 1669"/>
                  <a:gd name="T48" fmla="*/ 6387 w 7028"/>
                  <a:gd name="T49" fmla="*/ 895 h 1669"/>
                  <a:gd name="T50" fmla="*/ 6389 w 7028"/>
                  <a:gd name="T51" fmla="*/ 890 h 1669"/>
                  <a:gd name="T52" fmla="*/ 6399 w 7028"/>
                  <a:gd name="T53" fmla="*/ 850 h 1669"/>
                  <a:gd name="T54" fmla="*/ 6399 w 7028"/>
                  <a:gd name="T55" fmla="*/ 869 h 1669"/>
                  <a:gd name="T56" fmla="*/ 804 w 7028"/>
                  <a:gd name="T57" fmla="*/ 829 h 1669"/>
                  <a:gd name="T58" fmla="*/ 3100 w 7028"/>
                  <a:gd name="T59" fmla="*/ 762 h 1669"/>
                  <a:gd name="T60" fmla="*/ 3102 w 7028"/>
                  <a:gd name="T61" fmla="*/ 762 h 1669"/>
                  <a:gd name="T62" fmla="*/ 1010 w 7028"/>
                  <a:gd name="T63" fmla="*/ 805 h 1669"/>
                  <a:gd name="T64" fmla="*/ 5131 w 7028"/>
                  <a:gd name="T65" fmla="*/ 949 h 1669"/>
                  <a:gd name="T66" fmla="*/ 3138 w 7028"/>
                  <a:gd name="T67" fmla="*/ 658 h 1669"/>
                  <a:gd name="T68" fmla="*/ 97 w 7028"/>
                  <a:gd name="T69" fmla="*/ 616 h 1669"/>
                  <a:gd name="T70" fmla="*/ 5254 w 7028"/>
                  <a:gd name="T71" fmla="*/ 608 h 1669"/>
                  <a:gd name="T72" fmla="*/ 5254 w 7028"/>
                  <a:gd name="T73" fmla="*/ 608 h 1669"/>
                  <a:gd name="T74" fmla="*/ 3282 w 7028"/>
                  <a:gd name="T75" fmla="*/ 634 h 1669"/>
                  <a:gd name="T76" fmla="*/ 300 w 7028"/>
                  <a:gd name="T77" fmla="*/ 549 h 1669"/>
                  <a:gd name="T78" fmla="*/ 7025 w 7028"/>
                  <a:gd name="T79" fmla="*/ 509 h 1669"/>
                  <a:gd name="T80" fmla="*/ 4195 w 7028"/>
                  <a:gd name="T81" fmla="*/ 502 h 1669"/>
                  <a:gd name="T82" fmla="*/ 4195 w 7028"/>
                  <a:gd name="T83" fmla="*/ 502 h 1669"/>
                  <a:gd name="T84" fmla="*/ 3299 w 7028"/>
                  <a:gd name="T85" fmla="*/ 563 h 1669"/>
                  <a:gd name="T86" fmla="*/ 4039 w 7028"/>
                  <a:gd name="T87" fmla="*/ 455 h 1669"/>
                  <a:gd name="T88" fmla="*/ 3954 w 7028"/>
                  <a:gd name="T89" fmla="*/ 642 h 1669"/>
                  <a:gd name="T90" fmla="*/ 4039 w 7028"/>
                  <a:gd name="T91" fmla="*/ 455 h 1669"/>
                  <a:gd name="T92" fmla="*/ 3329 w 7028"/>
                  <a:gd name="T93" fmla="*/ 478 h 1669"/>
                  <a:gd name="T94" fmla="*/ 4041 w 7028"/>
                  <a:gd name="T95" fmla="*/ 393 h 1669"/>
                  <a:gd name="T96" fmla="*/ 4044 w 7028"/>
                  <a:gd name="T97" fmla="*/ 391 h 1669"/>
                  <a:gd name="T98" fmla="*/ 1811 w 7028"/>
                  <a:gd name="T99" fmla="*/ 1108 h 1669"/>
                  <a:gd name="T100" fmla="*/ 1937 w 7028"/>
                  <a:gd name="T101" fmla="*/ 346 h 1669"/>
                  <a:gd name="T102" fmla="*/ 4051 w 7028"/>
                  <a:gd name="T103" fmla="*/ 329 h 1669"/>
                  <a:gd name="T104" fmla="*/ 4051 w 7028"/>
                  <a:gd name="T105" fmla="*/ 327 h 1669"/>
                  <a:gd name="T106" fmla="*/ 2029 w 7028"/>
                  <a:gd name="T107" fmla="*/ 310 h 1669"/>
                  <a:gd name="T108" fmla="*/ 4639 w 7028"/>
                  <a:gd name="T109" fmla="*/ 462 h 1669"/>
                  <a:gd name="T110" fmla="*/ 4803 w 7028"/>
                  <a:gd name="T111" fmla="*/ 170 h 1669"/>
                  <a:gd name="T112" fmla="*/ 4855 w 7028"/>
                  <a:gd name="T113" fmla="*/ 0 h 1669"/>
                  <a:gd name="T114" fmla="*/ 4855 w 7028"/>
                  <a:gd name="T115" fmla="*/ 0 h 1669"/>
                  <a:gd name="T116" fmla="*/ 4911 w 7028"/>
                  <a:gd name="T117" fmla="*/ 149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8" h="1669">
                    <a:moveTo>
                      <a:pt x="3" y="1451"/>
                    </a:moveTo>
                    <a:lnTo>
                      <a:pt x="0" y="1451"/>
                    </a:lnTo>
                    <a:lnTo>
                      <a:pt x="0" y="1454"/>
                    </a:lnTo>
                    <a:lnTo>
                      <a:pt x="0" y="1510"/>
                    </a:lnTo>
                    <a:lnTo>
                      <a:pt x="3" y="1510"/>
                    </a:lnTo>
                    <a:lnTo>
                      <a:pt x="3" y="1451"/>
                    </a:lnTo>
                    <a:moveTo>
                      <a:pt x="5668" y="1326"/>
                    </a:moveTo>
                    <a:lnTo>
                      <a:pt x="5666" y="1326"/>
                    </a:lnTo>
                    <a:lnTo>
                      <a:pt x="5666" y="1328"/>
                    </a:lnTo>
                    <a:lnTo>
                      <a:pt x="5666" y="1425"/>
                    </a:lnTo>
                    <a:lnTo>
                      <a:pt x="5668" y="1425"/>
                    </a:lnTo>
                    <a:lnTo>
                      <a:pt x="5668" y="1326"/>
                    </a:lnTo>
                    <a:moveTo>
                      <a:pt x="3712" y="1222"/>
                    </a:moveTo>
                    <a:lnTo>
                      <a:pt x="3710" y="1222"/>
                    </a:lnTo>
                    <a:lnTo>
                      <a:pt x="3710" y="1222"/>
                    </a:lnTo>
                    <a:lnTo>
                      <a:pt x="3710" y="1224"/>
                    </a:lnTo>
                    <a:lnTo>
                      <a:pt x="3710" y="1368"/>
                    </a:lnTo>
                    <a:lnTo>
                      <a:pt x="3712" y="1368"/>
                    </a:lnTo>
                    <a:lnTo>
                      <a:pt x="3712" y="1222"/>
                    </a:lnTo>
                    <a:moveTo>
                      <a:pt x="5831" y="1207"/>
                    </a:moveTo>
                    <a:lnTo>
                      <a:pt x="5831" y="1207"/>
                    </a:lnTo>
                    <a:lnTo>
                      <a:pt x="5831" y="1207"/>
                    </a:lnTo>
                    <a:lnTo>
                      <a:pt x="5831" y="1210"/>
                    </a:lnTo>
                    <a:lnTo>
                      <a:pt x="5831" y="1302"/>
                    </a:lnTo>
                    <a:lnTo>
                      <a:pt x="5831" y="1302"/>
                    </a:lnTo>
                    <a:lnTo>
                      <a:pt x="5831" y="1207"/>
                    </a:lnTo>
                    <a:moveTo>
                      <a:pt x="1667" y="1155"/>
                    </a:moveTo>
                    <a:lnTo>
                      <a:pt x="1665" y="1155"/>
                    </a:lnTo>
                    <a:lnTo>
                      <a:pt x="1665" y="1155"/>
                    </a:lnTo>
                    <a:lnTo>
                      <a:pt x="1665" y="1158"/>
                    </a:lnTo>
                    <a:lnTo>
                      <a:pt x="1665" y="1177"/>
                    </a:lnTo>
                    <a:lnTo>
                      <a:pt x="1667" y="1177"/>
                    </a:lnTo>
                    <a:lnTo>
                      <a:pt x="1667" y="1155"/>
                    </a:lnTo>
                    <a:moveTo>
                      <a:pt x="1691" y="1132"/>
                    </a:moveTo>
                    <a:lnTo>
                      <a:pt x="1688" y="1132"/>
                    </a:lnTo>
                    <a:lnTo>
                      <a:pt x="1688" y="1134"/>
                    </a:lnTo>
                    <a:lnTo>
                      <a:pt x="1688" y="1134"/>
                    </a:lnTo>
                    <a:lnTo>
                      <a:pt x="1691" y="1134"/>
                    </a:lnTo>
                    <a:lnTo>
                      <a:pt x="1691" y="1132"/>
                    </a:lnTo>
                    <a:moveTo>
                      <a:pt x="5857" y="1127"/>
                    </a:moveTo>
                    <a:lnTo>
                      <a:pt x="5855" y="1127"/>
                    </a:lnTo>
                    <a:lnTo>
                      <a:pt x="5855" y="1129"/>
                    </a:lnTo>
                    <a:lnTo>
                      <a:pt x="5855" y="1186"/>
                    </a:lnTo>
                    <a:lnTo>
                      <a:pt x="5857" y="1186"/>
                    </a:lnTo>
                    <a:lnTo>
                      <a:pt x="5857" y="1127"/>
                    </a:lnTo>
                    <a:moveTo>
                      <a:pt x="6323" y="1127"/>
                    </a:moveTo>
                    <a:lnTo>
                      <a:pt x="6323" y="1127"/>
                    </a:lnTo>
                    <a:lnTo>
                      <a:pt x="6323" y="1127"/>
                    </a:lnTo>
                    <a:lnTo>
                      <a:pt x="6323" y="1129"/>
                    </a:lnTo>
                    <a:lnTo>
                      <a:pt x="6323" y="1340"/>
                    </a:lnTo>
                    <a:lnTo>
                      <a:pt x="6323" y="1340"/>
                    </a:lnTo>
                    <a:lnTo>
                      <a:pt x="6323" y="1127"/>
                    </a:lnTo>
                    <a:moveTo>
                      <a:pt x="1447" y="1125"/>
                    </a:moveTo>
                    <a:lnTo>
                      <a:pt x="1447" y="1125"/>
                    </a:lnTo>
                    <a:lnTo>
                      <a:pt x="1445" y="1125"/>
                    </a:lnTo>
                    <a:lnTo>
                      <a:pt x="1445" y="1127"/>
                    </a:lnTo>
                    <a:lnTo>
                      <a:pt x="1445" y="1177"/>
                    </a:lnTo>
                    <a:lnTo>
                      <a:pt x="1447" y="1177"/>
                    </a:lnTo>
                    <a:lnTo>
                      <a:pt x="1447" y="1125"/>
                    </a:lnTo>
                    <a:moveTo>
                      <a:pt x="1464" y="1082"/>
                    </a:moveTo>
                    <a:lnTo>
                      <a:pt x="1464" y="1082"/>
                    </a:lnTo>
                    <a:lnTo>
                      <a:pt x="1464" y="1084"/>
                    </a:lnTo>
                    <a:lnTo>
                      <a:pt x="1464" y="1108"/>
                    </a:lnTo>
                    <a:lnTo>
                      <a:pt x="1464" y="1108"/>
                    </a:lnTo>
                    <a:lnTo>
                      <a:pt x="1464" y="1106"/>
                    </a:lnTo>
                    <a:lnTo>
                      <a:pt x="1464" y="1106"/>
                    </a:lnTo>
                    <a:lnTo>
                      <a:pt x="1464" y="1082"/>
                    </a:lnTo>
                    <a:moveTo>
                      <a:pt x="2861" y="1063"/>
                    </a:moveTo>
                    <a:lnTo>
                      <a:pt x="2859" y="1063"/>
                    </a:lnTo>
                    <a:lnTo>
                      <a:pt x="2859" y="1063"/>
                    </a:lnTo>
                    <a:lnTo>
                      <a:pt x="2859" y="1063"/>
                    </a:lnTo>
                    <a:lnTo>
                      <a:pt x="2859" y="1217"/>
                    </a:lnTo>
                    <a:lnTo>
                      <a:pt x="2861" y="1217"/>
                    </a:lnTo>
                    <a:lnTo>
                      <a:pt x="2861" y="1063"/>
                    </a:lnTo>
                    <a:moveTo>
                      <a:pt x="5933" y="1042"/>
                    </a:moveTo>
                    <a:lnTo>
                      <a:pt x="5933" y="1042"/>
                    </a:lnTo>
                    <a:lnTo>
                      <a:pt x="5930" y="1042"/>
                    </a:lnTo>
                    <a:lnTo>
                      <a:pt x="5930" y="1042"/>
                    </a:lnTo>
                    <a:lnTo>
                      <a:pt x="5930" y="1106"/>
                    </a:lnTo>
                    <a:lnTo>
                      <a:pt x="5933" y="1106"/>
                    </a:lnTo>
                    <a:lnTo>
                      <a:pt x="5933" y="1042"/>
                    </a:lnTo>
                    <a:moveTo>
                      <a:pt x="2878" y="1011"/>
                    </a:moveTo>
                    <a:lnTo>
                      <a:pt x="2878" y="1011"/>
                    </a:lnTo>
                    <a:lnTo>
                      <a:pt x="2878" y="1013"/>
                    </a:lnTo>
                    <a:lnTo>
                      <a:pt x="2878" y="1044"/>
                    </a:lnTo>
                    <a:lnTo>
                      <a:pt x="2878" y="1044"/>
                    </a:lnTo>
                    <a:lnTo>
                      <a:pt x="2878" y="1044"/>
                    </a:lnTo>
                    <a:lnTo>
                      <a:pt x="2878" y="1044"/>
                    </a:lnTo>
                    <a:lnTo>
                      <a:pt x="2878" y="1011"/>
                    </a:lnTo>
                    <a:moveTo>
                      <a:pt x="3772" y="992"/>
                    </a:moveTo>
                    <a:lnTo>
                      <a:pt x="3769" y="992"/>
                    </a:lnTo>
                    <a:lnTo>
                      <a:pt x="3769" y="994"/>
                    </a:lnTo>
                    <a:lnTo>
                      <a:pt x="3769" y="1200"/>
                    </a:lnTo>
                    <a:lnTo>
                      <a:pt x="3772" y="1200"/>
                    </a:lnTo>
                    <a:lnTo>
                      <a:pt x="3772" y="992"/>
                    </a:lnTo>
                    <a:moveTo>
                      <a:pt x="5949" y="990"/>
                    </a:moveTo>
                    <a:lnTo>
                      <a:pt x="5949" y="990"/>
                    </a:lnTo>
                    <a:lnTo>
                      <a:pt x="5949" y="992"/>
                    </a:lnTo>
                    <a:lnTo>
                      <a:pt x="5949" y="1025"/>
                    </a:lnTo>
                    <a:lnTo>
                      <a:pt x="5949" y="1025"/>
                    </a:lnTo>
                    <a:lnTo>
                      <a:pt x="5949" y="1023"/>
                    </a:lnTo>
                    <a:lnTo>
                      <a:pt x="5949" y="1023"/>
                    </a:lnTo>
                    <a:lnTo>
                      <a:pt x="5949" y="990"/>
                    </a:lnTo>
                    <a:moveTo>
                      <a:pt x="6342" y="935"/>
                    </a:moveTo>
                    <a:lnTo>
                      <a:pt x="6342" y="935"/>
                    </a:lnTo>
                    <a:lnTo>
                      <a:pt x="6339" y="935"/>
                    </a:lnTo>
                    <a:lnTo>
                      <a:pt x="6339" y="938"/>
                    </a:lnTo>
                    <a:lnTo>
                      <a:pt x="6339" y="1110"/>
                    </a:lnTo>
                    <a:lnTo>
                      <a:pt x="6339" y="1110"/>
                    </a:lnTo>
                    <a:lnTo>
                      <a:pt x="6339" y="1108"/>
                    </a:lnTo>
                    <a:lnTo>
                      <a:pt x="6342" y="1108"/>
                    </a:lnTo>
                    <a:lnTo>
                      <a:pt x="6342" y="935"/>
                    </a:lnTo>
                    <a:moveTo>
                      <a:pt x="3847" y="928"/>
                    </a:moveTo>
                    <a:lnTo>
                      <a:pt x="3845" y="928"/>
                    </a:lnTo>
                    <a:lnTo>
                      <a:pt x="3845" y="928"/>
                    </a:lnTo>
                    <a:lnTo>
                      <a:pt x="3845" y="971"/>
                    </a:lnTo>
                    <a:lnTo>
                      <a:pt x="3847" y="971"/>
                    </a:lnTo>
                    <a:lnTo>
                      <a:pt x="3847" y="928"/>
                    </a:lnTo>
                    <a:moveTo>
                      <a:pt x="6387" y="895"/>
                    </a:moveTo>
                    <a:lnTo>
                      <a:pt x="6384" y="895"/>
                    </a:lnTo>
                    <a:lnTo>
                      <a:pt x="6384" y="895"/>
                    </a:lnTo>
                    <a:lnTo>
                      <a:pt x="6384" y="895"/>
                    </a:lnTo>
                    <a:lnTo>
                      <a:pt x="6380" y="911"/>
                    </a:lnTo>
                    <a:lnTo>
                      <a:pt x="6382" y="911"/>
                    </a:lnTo>
                    <a:lnTo>
                      <a:pt x="6387" y="895"/>
                    </a:lnTo>
                    <a:moveTo>
                      <a:pt x="6391" y="878"/>
                    </a:moveTo>
                    <a:lnTo>
                      <a:pt x="6389" y="878"/>
                    </a:lnTo>
                    <a:lnTo>
                      <a:pt x="6389" y="878"/>
                    </a:lnTo>
                    <a:lnTo>
                      <a:pt x="6389" y="881"/>
                    </a:lnTo>
                    <a:lnTo>
                      <a:pt x="6389" y="890"/>
                    </a:lnTo>
                    <a:lnTo>
                      <a:pt x="6389" y="890"/>
                    </a:lnTo>
                    <a:lnTo>
                      <a:pt x="6389" y="888"/>
                    </a:lnTo>
                    <a:lnTo>
                      <a:pt x="6391" y="888"/>
                    </a:lnTo>
                    <a:lnTo>
                      <a:pt x="6391" y="878"/>
                    </a:lnTo>
                    <a:moveTo>
                      <a:pt x="6399" y="850"/>
                    </a:moveTo>
                    <a:lnTo>
                      <a:pt x="6396" y="850"/>
                    </a:lnTo>
                    <a:lnTo>
                      <a:pt x="6396" y="852"/>
                    </a:lnTo>
                    <a:lnTo>
                      <a:pt x="6396" y="871"/>
                    </a:lnTo>
                    <a:lnTo>
                      <a:pt x="6399" y="871"/>
                    </a:lnTo>
                    <a:lnTo>
                      <a:pt x="6399" y="869"/>
                    </a:lnTo>
                    <a:lnTo>
                      <a:pt x="6399" y="869"/>
                    </a:lnTo>
                    <a:lnTo>
                      <a:pt x="6399" y="850"/>
                    </a:lnTo>
                    <a:moveTo>
                      <a:pt x="806" y="826"/>
                    </a:moveTo>
                    <a:lnTo>
                      <a:pt x="804" y="826"/>
                    </a:lnTo>
                    <a:lnTo>
                      <a:pt x="804" y="829"/>
                    </a:lnTo>
                    <a:lnTo>
                      <a:pt x="804" y="1046"/>
                    </a:lnTo>
                    <a:lnTo>
                      <a:pt x="806" y="1046"/>
                    </a:lnTo>
                    <a:lnTo>
                      <a:pt x="806" y="826"/>
                    </a:lnTo>
                    <a:moveTo>
                      <a:pt x="3102" y="762"/>
                    </a:moveTo>
                    <a:lnTo>
                      <a:pt x="3100" y="762"/>
                    </a:lnTo>
                    <a:lnTo>
                      <a:pt x="3100" y="762"/>
                    </a:lnTo>
                    <a:lnTo>
                      <a:pt x="3100" y="765"/>
                    </a:lnTo>
                    <a:lnTo>
                      <a:pt x="3100" y="956"/>
                    </a:lnTo>
                    <a:lnTo>
                      <a:pt x="3102" y="956"/>
                    </a:lnTo>
                    <a:lnTo>
                      <a:pt x="3102" y="762"/>
                    </a:lnTo>
                    <a:moveTo>
                      <a:pt x="1010" y="753"/>
                    </a:moveTo>
                    <a:lnTo>
                      <a:pt x="1007" y="753"/>
                    </a:lnTo>
                    <a:lnTo>
                      <a:pt x="1007" y="755"/>
                    </a:lnTo>
                    <a:lnTo>
                      <a:pt x="1007" y="805"/>
                    </a:lnTo>
                    <a:lnTo>
                      <a:pt x="1010" y="805"/>
                    </a:lnTo>
                    <a:lnTo>
                      <a:pt x="1010" y="753"/>
                    </a:lnTo>
                    <a:moveTo>
                      <a:pt x="5134" y="732"/>
                    </a:moveTo>
                    <a:lnTo>
                      <a:pt x="5131" y="732"/>
                    </a:lnTo>
                    <a:lnTo>
                      <a:pt x="5131" y="734"/>
                    </a:lnTo>
                    <a:lnTo>
                      <a:pt x="5131" y="949"/>
                    </a:lnTo>
                    <a:lnTo>
                      <a:pt x="5134" y="949"/>
                    </a:lnTo>
                    <a:lnTo>
                      <a:pt x="5134" y="732"/>
                    </a:lnTo>
                    <a:moveTo>
                      <a:pt x="3140" y="656"/>
                    </a:moveTo>
                    <a:lnTo>
                      <a:pt x="3138" y="656"/>
                    </a:lnTo>
                    <a:lnTo>
                      <a:pt x="3138" y="658"/>
                    </a:lnTo>
                    <a:lnTo>
                      <a:pt x="3138" y="739"/>
                    </a:lnTo>
                    <a:lnTo>
                      <a:pt x="3140" y="739"/>
                    </a:lnTo>
                    <a:lnTo>
                      <a:pt x="3140" y="656"/>
                    </a:lnTo>
                    <a:moveTo>
                      <a:pt x="97" y="616"/>
                    </a:moveTo>
                    <a:lnTo>
                      <a:pt x="97" y="616"/>
                    </a:lnTo>
                    <a:lnTo>
                      <a:pt x="97" y="618"/>
                    </a:lnTo>
                    <a:lnTo>
                      <a:pt x="97" y="1430"/>
                    </a:lnTo>
                    <a:lnTo>
                      <a:pt x="97" y="1430"/>
                    </a:lnTo>
                    <a:lnTo>
                      <a:pt x="97" y="616"/>
                    </a:lnTo>
                    <a:moveTo>
                      <a:pt x="5254" y="608"/>
                    </a:moveTo>
                    <a:lnTo>
                      <a:pt x="5252" y="608"/>
                    </a:lnTo>
                    <a:lnTo>
                      <a:pt x="5252" y="611"/>
                    </a:lnTo>
                    <a:lnTo>
                      <a:pt x="5252" y="708"/>
                    </a:lnTo>
                    <a:lnTo>
                      <a:pt x="5254" y="708"/>
                    </a:lnTo>
                    <a:lnTo>
                      <a:pt x="5254" y="608"/>
                    </a:lnTo>
                    <a:moveTo>
                      <a:pt x="3284" y="580"/>
                    </a:moveTo>
                    <a:lnTo>
                      <a:pt x="3282" y="580"/>
                    </a:lnTo>
                    <a:lnTo>
                      <a:pt x="3282" y="580"/>
                    </a:lnTo>
                    <a:lnTo>
                      <a:pt x="3282" y="582"/>
                    </a:lnTo>
                    <a:lnTo>
                      <a:pt x="3282" y="634"/>
                    </a:lnTo>
                    <a:lnTo>
                      <a:pt x="3284" y="634"/>
                    </a:lnTo>
                    <a:lnTo>
                      <a:pt x="3284" y="580"/>
                    </a:lnTo>
                    <a:moveTo>
                      <a:pt x="303" y="547"/>
                    </a:moveTo>
                    <a:lnTo>
                      <a:pt x="300" y="547"/>
                    </a:lnTo>
                    <a:lnTo>
                      <a:pt x="300" y="549"/>
                    </a:lnTo>
                    <a:lnTo>
                      <a:pt x="300" y="594"/>
                    </a:lnTo>
                    <a:lnTo>
                      <a:pt x="303" y="594"/>
                    </a:lnTo>
                    <a:lnTo>
                      <a:pt x="303" y="547"/>
                    </a:lnTo>
                    <a:moveTo>
                      <a:pt x="7028" y="509"/>
                    </a:moveTo>
                    <a:lnTo>
                      <a:pt x="7025" y="509"/>
                    </a:lnTo>
                    <a:lnTo>
                      <a:pt x="7025" y="509"/>
                    </a:lnTo>
                    <a:lnTo>
                      <a:pt x="7025" y="1669"/>
                    </a:lnTo>
                    <a:lnTo>
                      <a:pt x="7028" y="1669"/>
                    </a:lnTo>
                    <a:lnTo>
                      <a:pt x="7028" y="509"/>
                    </a:lnTo>
                    <a:moveTo>
                      <a:pt x="4195" y="502"/>
                    </a:moveTo>
                    <a:lnTo>
                      <a:pt x="4195" y="502"/>
                    </a:lnTo>
                    <a:lnTo>
                      <a:pt x="4192" y="504"/>
                    </a:lnTo>
                    <a:lnTo>
                      <a:pt x="4140" y="575"/>
                    </a:lnTo>
                    <a:lnTo>
                      <a:pt x="4140" y="575"/>
                    </a:lnTo>
                    <a:lnTo>
                      <a:pt x="4195" y="502"/>
                    </a:lnTo>
                    <a:moveTo>
                      <a:pt x="3301" y="500"/>
                    </a:moveTo>
                    <a:lnTo>
                      <a:pt x="3301" y="500"/>
                    </a:lnTo>
                    <a:lnTo>
                      <a:pt x="3299" y="500"/>
                    </a:lnTo>
                    <a:lnTo>
                      <a:pt x="3299" y="502"/>
                    </a:lnTo>
                    <a:lnTo>
                      <a:pt x="3299" y="563"/>
                    </a:lnTo>
                    <a:lnTo>
                      <a:pt x="3301" y="563"/>
                    </a:lnTo>
                    <a:lnTo>
                      <a:pt x="3301" y="563"/>
                    </a:lnTo>
                    <a:lnTo>
                      <a:pt x="3301" y="563"/>
                    </a:lnTo>
                    <a:lnTo>
                      <a:pt x="3301" y="500"/>
                    </a:lnTo>
                    <a:moveTo>
                      <a:pt x="4039" y="455"/>
                    </a:moveTo>
                    <a:lnTo>
                      <a:pt x="4036" y="455"/>
                    </a:lnTo>
                    <a:lnTo>
                      <a:pt x="4036" y="455"/>
                    </a:lnTo>
                    <a:lnTo>
                      <a:pt x="4036" y="455"/>
                    </a:lnTo>
                    <a:lnTo>
                      <a:pt x="4036" y="490"/>
                    </a:lnTo>
                    <a:lnTo>
                      <a:pt x="3954" y="642"/>
                    </a:lnTo>
                    <a:lnTo>
                      <a:pt x="3954" y="904"/>
                    </a:lnTo>
                    <a:lnTo>
                      <a:pt x="3956" y="904"/>
                    </a:lnTo>
                    <a:lnTo>
                      <a:pt x="3956" y="642"/>
                    </a:lnTo>
                    <a:lnTo>
                      <a:pt x="4039" y="488"/>
                    </a:lnTo>
                    <a:lnTo>
                      <a:pt x="4039" y="455"/>
                    </a:lnTo>
                    <a:moveTo>
                      <a:pt x="3329" y="433"/>
                    </a:moveTo>
                    <a:lnTo>
                      <a:pt x="3327" y="433"/>
                    </a:lnTo>
                    <a:lnTo>
                      <a:pt x="3327" y="436"/>
                    </a:lnTo>
                    <a:lnTo>
                      <a:pt x="3327" y="478"/>
                    </a:lnTo>
                    <a:lnTo>
                      <a:pt x="3329" y="478"/>
                    </a:lnTo>
                    <a:lnTo>
                      <a:pt x="3329" y="433"/>
                    </a:lnTo>
                    <a:moveTo>
                      <a:pt x="4044" y="391"/>
                    </a:moveTo>
                    <a:lnTo>
                      <a:pt x="4041" y="391"/>
                    </a:lnTo>
                    <a:lnTo>
                      <a:pt x="4041" y="391"/>
                    </a:lnTo>
                    <a:lnTo>
                      <a:pt x="4041" y="393"/>
                    </a:lnTo>
                    <a:lnTo>
                      <a:pt x="4041" y="447"/>
                    </a:lnTo>
                    <a:lnTo>
                      <a:pt x="4044" y="447"/>
                    </a:lnTo>
                    <a:lnTo>
                      <a:pt x="4044" y="445"/>
                    </a:lnTo>
                    <a:lnTo>
                      <a:pt x="4044" y="445"/>
                    </a:lnTo>
                    <a:lnTo>
                      <a:pt x="4044" y="391"/>
                    </a:lnTo>
                    <a:moveTo>
                      <a:pt x="1811" y="367"/>
                    </a:moveTo>
                    <a:lnTo>
                      <a:pt x="1809" y="367"/>
                    </a:lnTo>
                    <a:lnTo>
                      <a:pt x="1809" y="369"/>
                    </a:lnTo>
                    <a:lnTo>
                      <a:pt x="1809" y="1108"/>
                    </a:lnTo>
                    <a:lnTo>
                      <a:pt x="1811" y="1108"/>
                    </a:lnTo>
                    <a:lnTo>
                      <a:pt x="1811" y="367"/>
                    </a:lnTo>
                    <a:moveTo>
                      <a:pt x="1939" y="334"/>
                    </a:moveTo>
                    <a:lnTo>
                      <a:pt x="1937" y="334"/>
                    </a:lnTo>
                    <a:lnTo>
                      <a:pt x="1937" y="334"/>
                    </a:lnTo>
                    <a:lnTo>
                      <a:pt x="1937" y="346"/>
                    </a:lnTo>
                    <a:lnTo>
                      <a:pt x="1939" y="346"/>
                    </a:lnTo>
                    <a:lnTo>
                      <a:pt x="1939" y="334"/>
                    </a:lnTo>
                    <a:moveTo>
                      <a:pt x="4051" y="327"/>
                    </a:moveTo>
                    <a:lnTo>
                      <a:pt x="4051" y="327"/>
                    </a:lnTo>
                    <a:lnTo>
                      <a:pt x="4051" y="329"/>
                    </a:lnTo>
                    <a:lnTo>
                      <a:pt x="4051" y="384"/>
                    </a:lnTo>
                    <a:lnTo>
                      <a:pt x="4051" y="384"/>
                    </a:lnTo>
                    <a:lnTo>
                      <a:pt x="4051" y="381"/>
                    </a:lnTo>
                    <a:lnTo>
                      <a:pt x="4051" y="381"/>
                    </a:lnTo>
                    <a:lnTo>
                      <a:pt x="4051" y="327"/>
                    </a:lnTo>
                    <a:moveTo>
                      <a:pt x="2029" y="294"/>
                    </a:moveTo>
                    <a:lnTo>
                      <a:pt x="2029" y="294"/>
                    </a:lnTo>
                    <a:lnTo>
                      <a:pt x="2029" y="294"/>
                    </a:lnTo>
                    <a:lnTo>
                      <a:pt x="2029" y="310"/>
                    </a:lnTo>
                    <a:lnTo>
                      <a:pt x="2029" y="310"/>
                    </a:lnTo>
                    <a:lnTo>
                      <a:pt x="2029" y="294"/>
                    </a:lnTo>
                    <a:moveTo>
                      <a:pt x="4706" y="232"/>
                    </a:moveTo>
                    <a:lnTo>
                      <a:pt x="4703" y="232"/>
                    </a:lnTo>
                    <a:lnTo>
                      <a:pt x="4703" y="232"/>
                    </a:lnTo>
                    <a:lnTo>
                      <a:pt x="4639" y="462"/>
                    </a:lnTo>
                    <a:lnTo>
                      <a:pt x="4642" y="462"/>
                    </a:lnTo>
                    <a:lnTo>
                      <a:pt x="4706" y="232"/>
                    </a:lnTo>
                    <a:moveTo>
                      <a:pt x="4805" y="170"/>
                    </a:moveTo>
                    <a:lnTo>
                      <a:pt x="4803" y="170"/>
                    </a:lnTo>
                    <a:lnTo>
                      <a:pt x="4803" y="170"/>
                    </a:lnTo>
                    <a:lnTo>
                      <a:pt x="4803" y="173"/>
                    </a:lnTo>
                    <a:lnTo>
                      <a:pt x="4803" y="208"/>
                    </a:lnTo>
                    <a:lnTo>
                      <a:pt x="4805" y="208"/>
                    </a:lnTo>
                    <a:lnTo>
                      <a:pt x="4805" y="170"/>
                    </a:lnTo>
                    <a:moveTo>
                      <a:pt x="4855" y="0"/>
                    </a:moveTo>
                    <a:lnTo>
                      <a:pt x="4852" y="0"/>
                    </a:lnTo>
                    <a:lnTo>
                      <a:pt x="4852" y="2"/>
                    </a:lnTo>
                    <a:lnTo>
                      <a:pt x="4852" y="149"/>
                    </a:lnTo>
                    <a:lnTo>
                      <a:pt x="4855" y="149"/>
                    </a:lnTo>
                    <a:lnTo>
                      <a:pt x="4855" y="0"/>
                    </a:lnTo>
                    <a:moveTo>
                      <a:pt x="4911" y="0"/>
                    </a:moveTo>
                    <a:lnTo>
                      <a:pt x="4909" y="0"/>
                    </a:lnTo>
                    <a:lnTo>
                      <a:pt x="4909" y="2"/>
                    </a:lnTo>
                    <a:lnTo>
                      <a:pt x="4909" y="149"/>
                    </a:lnTo>
                    <a:lnTo>
                      <a:pt x="4911" y="149"/>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7" name="Freeform 122"/>
              <p:cNvSpPr>
                <a:spLocks noEditPoints="1"/>
              </p:cNvSpPr>
              <p:nvPr/>
            </p:nvSpPr>
            <p:spPr bwMode="auto">
              <a:xfrm>
                <a:off x="26" y="1682"/>
                <a:ext cx="7025" cy="1671"/>
              </a:xfrm>
              <a:custGeom>
                <a:avLst/>
                <a:gdLst>
                  <a:gd name="T0" fmla="*/ 2 w 7025"/>
                  <a:gd name="T1" fmla="*/ 1512 h 1671"/>
                  <a:gd name="T2" fmla="*/ 5665 w 7025"/>
                  <a:gd name="T3" fmla="*/ 1427 h 1671"/>
                  <a:gd name="T4" fmla="*/ 3709 w 7025"/>
                  <a:gd name="T5" fmla="*/ 1221 h 1671"/>
                  <a:gd name="T6" fmla="*/ 5830 w 7025"/>
                  <a:gd name="T7" fmla="*/ 1207 h 1671"/>
                  <a:gd name="T8" fmla="*/ 5830 w 7025"/>
                  <a:gd name="T9" fmla="*/ 1304 h 1671"/>
                  <a:gd name="T10" fmla="*/ 1664 w 7025"/>
                  <a:gd name="T11" fmla="*/ 1157 h 1671"/>
                  <a:gd name="T12" fmla="*/ 1688 w 7025"/>
                  <a:gd name="T13" fmla="*/ 1131 h 1671"/>
                  <a:gd name="T14" fmla="*/ 5856 w 7025"/>
                  <a:gd name="T15" fmla="*/ 1127 h 1671"/>
                  <a:gd name="T16" fmla="*/ 5856 w 7025"/>
                  <a:gd name="T17" fmla="*/ 1188 h 1671"/>
                  <a:gd name="T18" fmla="*/ 6320 w 7025"/>
                  <a:gd name="T19" fmla="*/ 1129 h 1671"/>
                  <a:gd name="T20" fmla="*/ 1444 w 7025"/>
                  <a:gd name="T21" fmla="*/ 1124 h 1671"/>
                  <a:gd name="T22" fmla="*/ 1447 w 7025"/>
                  <a:gd name="T23" fmla="*/ 1124 h 1671"/>
                  <a:gd name="T24" fmla="*/ 1463 w 7025"/>
                  <a:gd name="T25" fmla="*/ 1108 h 1671"/>
                  <a:gd name="T26" fmla="*/ 2858 w 7025"/>
                  <a:gd name="T27" fmla="*/ 1063 h 1671"/>
                  <a:gd name="T28" fmla="*/ 2861 w 7025"/>
                  <a:gd name="T29" fmla="*/ 1063 h 1671"/>
                  <a:gd name="T30" fmla="*/ 5930 w 7025"/>
                  <a:gd name="T31" fmla="*/ 1108 h 1671"/>
                  <a:gd name="T32" fmla="*/ 2875 w 7025"/>
                  <a:gd name="T33" fmla="*/ 1013 h 1671"/>
                  <a:gd name="T34" fmla="*/ 2877 w 7025"/>
                  <a:gd name="T35" fmla="*/ 1011 h 1671"/>
                  <a:gd name="T36" fmla="*/ 3771 w 7025"/>
                  <a:gd name="T37" fmla="*/ 1202 h 1671"/>
                  <a:gd name="T38" fmla="*/ 5946 w 7025"/>
                  <a:gd name="T39" fmla="*/ 1025 h 1671"/>
                  <a:gd name="T40" fmla="*/ 6339 w 7025"/>
                  <a:gd name="T41" fmla="*/ 935 h 1671"/>
                  <a:gd name="T42" fmla="*/ 6339 w 7025"/>
                  <a:gd name="T43" fmla="*/ 1110 h 1671"/>
                  <a:gd name="T44" fmla="*/ 3844 w 7025"/>
                  <a:gd name="T45" fmla="*/ 928 h 1671"/>
                  <a:gd name="T46" fmla="*/ 6384 w 7025"/>
                  <a:gd name="T47" fmla="*/ 895 h 1671"/>
                  <a:gd name="T48" fmla="*/ 6379 w 7025"/>
                  <a:gd name="T49" fmla="*/ 913 h 1671"/>
                  <a:gd name="T50" fmla="*/ 6388 w 7025"/>
                  <a:gd name="T51" fmla="*/ 880 h 1671"/>
                  <a:gd name="T52" fmla="*/ 6388 w 7025"/>
                  <a:gd name="T53" fmla="*/ 878 h 1671"/>
                  <a:gd name="T54" fmla="*/ 6398 w 7025"/>
                  <a:gd name="T55" fmla="*/ 871 h 1671"/>
                  <a:gd name="T56" fmla="*/ 803 w 7025"/>
                  <a:gd name="T57" fmla="*/ 826 h 1671"/>
                  <a:gd name="T58" fmla="*/ 3099 w 7025"/>
                  <a:gd name="T59" fmla="*/ 762 h 1671"/>
                  <a:gd name="T60" fmla="*/ 3099 w 7025"/>
                  <a:gd name="T61" fmla="*/ 958 h 1671"/>
                  <a:gd name="T62" fmla="*/ 1007 w 7025"/>
                  <a:gd name="T63" fmla="*/ 807 h 1671"/>
                  <a:gd name="T64" fmla="*/ 5131 w 7025"/>
                  <a:gd name="T65" fmla="*/ 734 h 1671"/>
                  <a:gd name="T66" fmla="*/ 3137 w 7025"/>
                  <a:gd name="T67" fmla="*/ 655 h 1671"/>
                  <a:gd name="T68" fmla="*/ 97 w 7025"/>
                  <a:gd name="T69" fmla="*/ 615 h 1671"/>
                  <a:gd name="T70" fmla="*/ 97 w 7025"/>
                  <a:gd name="T71" fmla="*/ 615 h 1671"/>
                  <a:gd name="T72" fmla="*/ 5253 w 7025"/>
                  <a:gd name="T73" fmla="*/ 710 h 1671"/>
                  <a:gd name="T74" fmla="*/ 3281 w 7025"/>
                  <a:gd name="T75" fmla="*/ 582 h 1671"/>
                  <a:gd name="T76" fmla="*/ 300 w 7025"/>
                  <a:gd name="T77" fmla="*/ 547 h 1671"/>
                  <a:gd name="T78" fmla="*/ 7025 w 7025"/>
                  <a:gd name="T79" fmla="*/ 509 h 1671"/>
                  <a:gd name="T80" fmla="*/ 7025 w 7025"/>
                  <a:gd name="T81" fmla="*/ 509 h 1671"/>
                  <a:gd name="T82" fmla="*/ 4137 w 7025"/>
                  <a:gd name="T83" fmla="*/ 577 h 1671"/>
                  <a:gd name="T84" fmla="*/ 3298 w 7025"/>
                  <a:gd name="T85" fmla="*/ 502 h 1671"/>
                  <a:gd name="T86" fmla="*/ 3300 w 7025"/>
                  <a:gd name="T87" fmla="*/ 502 h 1671"/>
                  <a:gd name="T88" fmla="*/ 4036 w 7025"/>
                  <a:gd name="T89" fmla="*/ 490 h 1671"/>
                  <a:gd name="T90" fmla="*/ 4036 w 7025"/>
                  <a:gd name="T91" fmla="*/ 487 h 1671"/>
                  <a:gd name="T92" fmla="*/ 3326 w 7025"/>
                  <a:gd name="T93" fmla="*/ 480 h 1671"/>
                  <a:gd name="T94" fmla="*/ 4041 w 7025"/>
                  <a:gd name="T95" fmla="*/ 390 h 1671"/>
                  <a:gd name="T96" fmla="*/ 4043 w 7025"/>
                  <a:gd name="T97" fmla="*/ 447 h 1671"/>
                  <a:gd name="T98" fmla="*/ 1808 w 7025"/>
                  <a:gd name="T99" fmla="*/ 1110 h 1671"/>
                  <a:gd name="T100" fmla="*/ 1936 w 7025"/>
                  <a:gd name="T101" fmla="*/ 336 h 1671"/>
                  <a:gd name="T102" fmla="*/ 4048 w 7025"/>
                  <a:gd name="T103" fmla="*/ 326 h 1671"/>
                  <a:gd name="T104" fmla="*/ 4050 w 7025"/>
                  <a:gd name="T105" fmla="*/ 381 h 1671"/>
                  <a:gd name="T106" fmla="*/ 2026 w 7025"/>
                  <a:gd name="T107" fmla="*/ 312 h 1671"/>
                  <a:gd name="T108" fmla="*/ 4703 w 7025"/>
                  <a:gd name="T109" fmla="*/ 234 h 1671"/>
                  <a:gd name="T110" fmla="*/ 4802 w 7025"/>
                  <a:gd name="T111" fmla="*/ 172 h 1671"/>
                  <a:gd name="T112" fmla="*/ 4804 w 7025"/>
                  <a:gd name="T113" fmla="*/ 172 h 1671"/>
                  <a:gd name="T114" fmla="*/ 4852 w 7025"/>
                  <a:gd name="T115" fmla="*/ 151 h 1671"/>
                  <a:gd name="T116" fmla="*/ 4908 w 7025"/>
                  <a:gd name="T117" fmla="*/ 15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1">
                    <a:moveTo>
                      <a:pt x="2" y="1453"/>
                    </a:moveTo>
                    <a:lnTo>
                      <a:pt x="0" y="1453"/>
                    </a:lnTo>
                    <a:lnTo>
                      <a:pt x="0" y="1453"/>
                    </a:lnTo>
                    <a:lnTo>
                      <a:pt x="0" y="1512"/>
                    </a:lnTo>
                    <a:lnTo>
                      <a:pt x="2" y="1512"/>
                    </a:lnTo>
                    <a:lnTo>
                      <a:pt x="2" y="1453"/>
                    </a:lnTo>
                    <a:close/>
                    <a:moveTo>
                      <a:pt x="5665" y="1325"/>
                    </a:moveTo>
                    <a:lnTo>
                      <a:pt x="5665" y="1325"/>
                    </a:lnTo>
                    <a:lnTo>
                      <a:pt x="5665" y="1328"/>
                    </a:lnTo>
                    <a:lnTo>
                      <a:pt x="5665" y="1427"/>
                    </a:lnTo>
                    <a:lnTo>
                      <a:pt x="5665" y="1427"/>
                    </a:lnTo>
                    <a:lnTo>
                      <a:pt x="5665" y="1325"/>
                    </a:lnTo>
                    <a:close/>
                    <a:moveTo>
                      <a:pt x="3712" y="1221"/>
                    </a:moveTo>
                    <a:lnTo>
                      <a:pt x="3709" y="1221"/>
                    </a:lnTo>
                    <a:lnTo>
                      <a:pt x="3709" y="1221"/>
                    </a:lnTo>
                    <a:lnTo>
                      <a:pt x="3709" y="1224"/>
                    </a:lnTo>
                    <a:lnTo>
                      <a:pt x="3709" y="1370"/>
                    </a:lnTo>
                    <a:lnTo>
                      <a:pt x="3712" y="1370"/>
                    </a:lnTo>
                    <a:lnTo>
                      <a:pt x="3712" y="1221"/>
                    </a:lnTo>
                    <a:close/>
                    <a:moveTo>
                      <a:pt x="5830" y="1207"/>
                    </a:moveTo>
                    <a:lnTo>
                      <a:pt x="5830" y="1207"/>
                    </a:lnTo>
                    <a:lnTo>
                      <a:pt x="5828" y="1207"/>
                    </a:lnTo>
                    <a:lnTo>
                      <a:pt x="5828" y="1209"/>
                    </a:lnTo>
                    <a:lnTo>
                      <a:pt x="5828" y="1304"/>
                    </a:lnTo>
                    <a:lnTo>
                      <a:pt x="5830" y="1304"/>
                    </a:lnTo>
                    <a:lnTo>
                      <a:pt x="5830" y="1207"/>
                    </a:lnTo>
                    <a:close/>
                    <a:moveTo>
                      <a:pt x="1667" y="1157"/>
                    </a:moveTo>
                    <a:lnTo>
                      <a:pt x="1664" y="1157"/>
                    </a:lnTo>
                    <a:lnTo>
                      <a:pt x="1664" y="1157"/>
                    </a:lnTo>
                    <a:lnTo>
                      <a:pt x="1664" y="1157"/>
                    </a:lnTo>
                    <a:lnTo>
                      <a:pt x="1664" y="1179"/>
                    </a:lnTo>
                    <a:lnTo>
                      <a:pt x="1667" y="1179"/>
                    </a:lnTo>
                    <a:lnTo>
                      <a:pt x="1667" y="1157"/>
                    </a:lnTo>
                    <a:close/>
                    <a:moveTo>
                      <a:pt x="1688" y="1131"/>
                    </a:moveTo>
                    <a:lnTo>
                      <a:pt x="1688" y="1131"/>
                    </a:lnTo>
                    <a:lnTo>
                      <a:pt x="1688" y="1134"/>
                    </a:lnTo>
                    <a:lnTo>
                      <a:pt x="1688" y="1136"/>
                    </a:lnTo>
                    <a:lnTo>
                      <a:pt x="1688" y="1136"/>
                    </a:lnTo>
                    <a:lnTo>
                      <a:pt x="1688" y="1131"/>
                    </a:lnTo>
                    <a:close/>
                    <a:moveTo>
                      <a:pt x="5856" y="1127"/>
                    </a:moveTo>
                    <a:lnTo>
                      <a:pt x="5854" y="1127"/>
                    </a:lnTo>
                    <a:lnTo>
                      <a:pt x="5854" y="1127"/>
                    </a:lnTo>
                    <a:lnTo>
                      <a:pt x="5854" y="1129"/>
                    </a:lnTo>
                    <a:lnTo>
                      <a:pt x="5854" y="1188"/>
                    </a:lnTo>
                    <a:lnTo>
                      <a:pt x="5856" y="1188"/>
                    </a:lnTo>
                    <a:lnTo>
                      <a:pt x="5856" y="1127"/>
                    </a:lnTo>
                    <a:close/>
                    <a:moveTo>
                      <a:pt x="6322" y="1127"/>
                    </a:moveTo>
                    <a:lnTo>
                      <a:pt x="6322" y="1127"/>
                    </a:lnTo>
                    <a:lnTo>
                      <a:pt x="6320" y="1127"/>
                    </a:lnTo>
                    <a:lnTo>
                      <a:pt x="6320" y="1129"/>
                    </a:lnTo>
                    <a:lnTo>
                      <a:pt x="6320" y="1342"/>
                    </a:lnTo>
                    <a:lnTo>
                      <a:pt x="6322" y="1342"/>
                    </a:lnTo>
                    <a:lnTo>
                      <a:pt x="6322" y="1127"/>
                    </a:lnTo>
                    <a:close/>
                    <a:moveTo>
                      <a:pt x="1447" y="1124"/>
                    </a:moveTo>
                    <a:lnTo>
                      <a:pt x="1444" y="1124"/>
                    </a:lnTo>
                    <a:lnTo>
                      <a:pt x="1444" y="1124"/>
                    </a:lnTo>
                    <a:lnTo>
                      <a:pt x="1444" y="1127"/>
                    </a:lnTo>
                    <a:lnTo>
                      <a:pt x="1444" y="1179"/>
                    </a:lnTo>
                    <a:lnTo>
                      <a:pt x="1447" y="1179"/>
                    </a:lnTo>
                    <a:lnTo>
                      <a:pt x="1447" y="1124"/>
                    </a:lnTo>
                    <a:close/>
                    <a:moveTo>
                      <a:pt x="1463" y="1084"/>
                    </a:moveTo>
                    <a:lnTo>
                      <a:pt x="1461" y="1084"/>
                    </a:lnTo>
                    <a:lnTo>
                      <a:pt x="1461" y="1084"/>
                    </a:lnTo>
                    <a:lnTo>
                      <a:pt x="1461" y="1108"/>
                    </a:lnTo>
                    <a:lnTo>
                      <a:pt x="1463" y="1108"/>
                    </a:lnTo>
                    <a:lnTo>
                      <a:pt x="1463" y="1105"/>
                    </a:lnTo>
                    <a:lnTo>
                      <a:pt x="1463" y="1105"/>
                    </a:lnTo>
                    <a:lnTo>
                      <a:pt x="1463" y="1084"/>
                    </a:lnTo>
                    <a:close/>
                    <a:moveTo>
                      <a:pt x="2861" y="1063"/>
                    </a:moveTo>
                    <a:lnTo>
                      <a:pt x="2858" y="1063"/>
                    </a:lnTo>
                    <a:lnTo>
                      <a:pt x="2858" y="1063"/>
                    </a:lnTo>
                    <a:lnTo>
                      <a:pt x="2858" y="1065"/>
                    </a:lnTo>
                    <a:lnTo>
                      <a:pt x="2858" y="1219"/>
                    </a:lnTo>
                    <a:lnTo>
                      <a:pt x="2861" y="1219"/>
                    </a:lnTo>
                    <a:lnTo>
                      <a:pt x="2861" y="1063"/>
                    </a:lnTo>
                    <a:close/>
                    <a:moveTo>
                      <a:pt x="5930" y="1041"/>
                    </a:moveTo>
                    <a:lnTo>
                      <a:pt x="5930" y="1041"/>
                    </a:lnTo>
                    <a:lnTo>
                      <a:pt x="5930" y="1041"/>
                    </a:lnTo>
                    <a:lnTo>
                      <a:pt x="5930" y="1044"/>
                    </a:lnTo>
                    <a:lnTo>
                      <a:pt x="5930" y="1108"/>
                    </a:lnTo>
                    <a:lnTo>
                      <a:pt x="5930" y="1108"/>
                    </a:lnTo>
                    <a:lnTo>
                      <a:pt x="5930" y="1041"/>
                    </a:lnTo>
                    <a:close/>
                    <a:moveTo>
                      <a:pt x="2877" y="1011"/>
                    </a:moveTo>
                    <a:lnTo>
                      <a:pt x="2875" y="1013"/>
                    </a:lnTo>
                    <a:lnTo>
                      <a:pt x="2875" y="1013"/>
                    </a:lnTo>
                    <a:lnTo>
                      <a:pt x="2875" y="1046"/>
                    </a:lnTo>
                    <a:lnTo>
                      <a:pt x="2877" y="1046"/>
                    </a:lnTo>
                    <a:lnTo>
                      <a:pt x="2877" y="1044"/>
                    </a:lnTo>
                    <a:lnTo>
                      <a:pt x="2877" y="1044"/>
                    </a:lnTo>
                    <a:lnTo>
                      <a:pt x="2877" y="1011"/>
                    </a:lnTo>
                    <a:close/>
                    <a:moveTo>
                      <a:pt x="3771" y="992"/>
                    </a:moveTo>
                    <a:lnTo>
                      <a:pt x="3769" y="992"/>
                    </a:lnTo>
                    <a:lnTo>
                      <a:pt x="3769" y="994"/>
                    </a:lnTo>
                    <a:lnTo>
                      <a:pt x="3769" y="1202"/>
                    </a:lnTo>
                    <a:lnTo>
                      <a:pt x="3771" y="1202"/>
                    </a:lnTo>
                    <a:lnTo>
                      <a:pt x="3771" y="992"/>
                    </a:lnTo>
                    <a:close/>
                    <a:moveTo>
                      <a:pt x="5949" y="989"/>
                    </a:moveTo>
                    <a:lnTo>
                      <a:pt x="5946" y="989"/>
                    </a:lnTo>
                    <a:lnTo>
                      <a:pt x="5946" y="992"/>
                    </a:lnTo>
                    <a:lnTo>
                      <a:pt x="5946" y="1025"/>
                    </a:lnTo>
                    <a:lnTo>
                      <a:pt x="5949" y="1025"/>
                    </a:lnTo>
                    <a:lnTo>
                      <a:pt x="5949" y="1022"/>
                    </a:lnTo>
                    <a:lnTo>
                      <a:pt x="5949" y="1022"/>
                    </a:lnTo>
                    <a:lnTo>
                      <a:pt x="5949" y="989"/>
                    </a:lnTo>
                    <a:close/>
                    <a:moveTo>
                      <a:pt x="6339" y="935"/>
                    </a:moveTo>
                    <a:lnTo>
                      <a:pt x="6339" y="935"/>
                    </a:lnTo>
                    <a:lnTo>
                      <a:pt x="6339" y="935"/>
                    </a:lnTo>
                    <a:lnTo>
                      <a:pt x="6339" y="937"/>
                    </a:lnTo>
                    <a:lnTo>
                      <a:pt x="6339" y="1110"/>
                    </a:lnTo>
                    <a:lnTo>
                      <a:pt x="6339" y="1110"/>
                    </a:lnTo>
                    <a:lnTo>
                      <a:pt x="6339" y="1110"/>
                    </a:lnTo>
                    <a:lnTo>
                      <a:pt x="6339" y="1110"/>
                    </a:lnTo>
                    <a:lnTo>
                      <a:pt x="6339" y="935"/>
                    </a:lnTo>
                    <a:close/>
                    <a:moveTo>
                      <a:pt x="3844" y="928"/>
                    </a:moveTo>
                    <a:lnTo>
                      <a:pt x="3844" y="928"/>
                    </a:lnTo>
                    <a:lnTo>
                      <a:pt x="3844" y="930"/>
                    </a:lnTo>
                    <a:lnTo>
                      <a:pt x="3844" y="973"/>
                    </a:lnTo>
                    <a:lnTo>
                      <a:pt x="3844" y="973"/>
                    </a:lnTo>
                    <a:lnTo>
                      <a:pt x="3844" y="928"/>
                    </a:lnTo>
                    <a:close/>
                    <a:moveTo>
                      <a:pt x="6384" y="895"/>
                    </a:moveTo>
                    <a:lnTo>
                      <a:pt x="6384" y="895"/>
                    </a:lnTo>
                    <a:lnTo>
                      <a:pt x="6384" y="895"/>
                    </a:lnTo>
                    <a:lnTo>
                      <a:pt x="6384" y="897"/>
                    </a:lnTo>
                    <a:lnTo>
                      <a:pt x="6379" y="913"/>
                    </a:lnTo>
                    <a:lnTo>
                      <a:pt x="6379" y="913"/>
                    </a:lnTo>
                    <a:lnTo>
                      <a:pt x="6384" y="895"/>
                    </a:lnTo>
                    <a:close/>
                    <a:moveTo>
                      <a:pt x="6388" y="878"/>
                    </a:moveTo>
                    <a:lnTo>
                      <a:pt x="6388" y="878"/>
                    </a:lnTo>
                    <a:lnTo>
                      <a:pt x="6388" y="878"/>
                    </a:lnTo>
                    <a:lnTo>
                      <a:pt x="6388" y="880"/>
                    </a:lnTo>
                    <a:lnTo>
                      <a:pt x="6388" y="890"/>
                    </a:lnTo>
                    <a:lnTo>
                      <a:pt x="6388" y="890"/>
                    </a:lnTo>
                    <a:lnTo>
                      <a:pt x="6388" y="890"/>
                    </a:lnTo>
                    <a:lnTo>
                      <a:pt x="6388" y="890"/>
                    </a:lnTo>
                    <a:lnTo>
                      <a:pt x="6388" y="878"/>
                    </a:lnTo>
                    <a:close/>
                    <a:moveTo>
                      <a:pt x="6398" y="850"/>
                    </a:moveTo>
                    <a:lnTo>
                      <a:pt x="6396" y="850"/>
                    </a:lnTo>
                    <a:lnTo>
                      <a:pt x="6396" y="852"/>
                    </a:lnTo>
                    <a:lnTo>
                      <a:pt x="6396" y="871"/>
                    </a:lnTo>
                    <a:lnTo>
                      <a:pt x="6398" y="871"/>
                    </a:lnTo>
                    <a:lnTo>
                      <a:pt x="6398" y="869"/>
                    </a:lnTo>
                    <a:lnTo>
                      <a:pt x="6398" y="869"/>
                    </a:lnTo>
                    <a:lnTo>
                      <a:pt x="6398" y="850"/>
                    </a:lnTo>
                    <a:close/>
                    <a:moveTo>
                      <a:pt x="806" y="826"/>
                    </a:moveTo>
                    <a:lnTo>
                      <a:pt x="803" y="826"/>
                    </a:lnTo>
                    <a:lnTo>
                      <a:pt x="803" y="828"/>
                    </a:lnTo>
                    <a:lnTo>
                      <a:pt x="803" y="1048"/>
                    </a:lnTo>
                    <a:lnTo>
                      <a:pt x="806" y="1048"/>
                    </a:lnTo>
                    <a:lnTo>
                      <a:pt x="806" y="826"/>
                    </a:lnTo>
                    <a:close/>
                    <a:moveTo>
                      <a:pt x="3099" y="762"/>
                    </a:moveTo>
                    <a:lnTo>
                      <a:pt x="3099" y="762"/>
                    </a:lnTo>
                    <a:lnTo>
                      <a:pt x="3099" y="762"/>
                    </a:lnTo>
                    <a:lnTo>
                      <a:pt x="3099" y="764"/>
                    </a:lnTo>
                    <a:lnTo>
                      <a:pt x="3099" y="958"/>
                    </a:lnTo>
                    <a:lnTo>
                      <a:pt x="3099" y="958"/>
                    </a:lnTo>
                    <a:lnTo>
                      <a:pt x="3099" y="762"/>
                    </a:lnTo>
                    <a:close/>
                    <a:moveTo>
                      <a:pt x="1009" y="752"/>
                    </a:moveTo>
                    <a:lnTo>
                      <a:pt x="1007" y="752"/>
                    </a:lnTo>
                    <a:lnTo>
                      <a:pt x="1007" y="755"/>
                    </a:lnTo>
                    <a:lnTo>
                      <a:pt x="1007" y="807"/>
                    </a:lnTo>
                    <a:lnTo>
                      <a:pt x="1009" y="807"/>
                    </a:lnTo>
                    <a:lnTo>
                      <a:pt x="1009" y="752"/>
                    </a:lnTo>
                    <a:close/>
                    <a:moveTo>
                      <a:pt x="5133" y="731"/>
                    </a:moveTo>
                    <a:lnTo>
                      <a:pt x="5131" y="731"/>
                    </a:lnTo>
                    <a:lnTo>
                      <a:pt x="5131" y="734"/>
                    </a:lnTo>
                    <a:lnTo>
                      <a:pt x="5131" y="951"/>
                    </a:lnTo>
                    <a:lnTo>
                      <a:pt x="5133" y="951"/>
                    </a:lnTo>
                    <a:lnTo>
                      <a:pt x="5133" y="731"/>
                    </a:lnTo>
                    <a:close/>
                    <a:moveTo>
                      <a:pt x="3140" y="655"/>
                    </a:moveTo>
                    <a:lnTo>
                      <a:pt x="3137" y="655"/>
                    </a:lnTo>
                    <a:lnTo>
                      <a:pt x="3137" y="658"/>
                    </a:lnTo>
                    <a:lnTo>
                      <a:pt x="3137" y="741"/>
                    </a:lnTo>
                    <a:lnTo>
                      <a:pt x="3140" y="741"/>
                    </a:lnTo>
                    <a:lnTo>
                      <a:pt x="3140" y="655"/>
                    </a:lnTo>
                    <a:close/>
                    <a:moveTo>
                      <a:pt x="97" y="615"/>
                    </a:moveTo>
                    <a:lnTo>
                      <a:pt x="94" y="615"/>
                    </a:lnTo>
                    <a:lnTo>
                      <a:pt x="94" y="618"/>
                    </a:lnTo>
                    <a:lnTo>
                      <a:pt x="94" y="1432"/>
                    </a:lnTo>
                    <a:lnTo>
                      <a:pt x="97" y="1432"/>
                    </a:lnTo>
                    <a:lnTo>
                      <a:pt x="97" y="615"/>
                    </a:lnTo>
                    <a:close/>
                    <a:moveTo>
                      <a:pt x="5253" y="608"/>
                    </a:moveTo>
                    <a:lnTo>
                      <a:pt x="5251" y="608"/>
                    </a:lnTo>
                    <a:lnTo>
                      <a:pt x="5251" y="610"/>
                    </a:lnTo>
                    <a:lnTo>
                      <a:pt x="5251" y="710"/>
                    </a:lnTo>
                    <a:lnTo>
                      <a:pt x="5253" y="710"/>
                    </a:lnTo>
                    <a:lnTo>
                      <a:pt x="5253" y="608"/>
                    </a:lnTo>
                    <a:close/>
                    <a:moveTo>
                      <a:pt x="3281" y="582"/>
                    </a:moveTo>
                    <a:lnTo>
                      <a:pt x="3281" y="582"/>
                    </a:lnTo>
                    <a:lnTo>
                      <a:pt x="3281" y="582"/>
                    </a:lnTo>
                    <a:lnTo>
                      <a:pt x="3281" y="582"/>
                    </a:lnTo>
                    <a:lnTo>
                      <a:pt x="3281" y="636"/>
                    </a:lnTo>
                    <a:lnTo>
                      <a:pt x="3281" y="636"/>
                    </a:lnTo>
                    <a:lnTo>
                      <a:pt x="3281" y="582"/>
                    </a:lnTo>
                    <a:close/>
                    <a:moveTo>
                      <a:pt x="302" y="547"/>
                    </a:moveTo>
                    <a:lnTo>
                      <a:pt x="300" y="547"/>
                    </a:lnTo>
                    <a:lnTo>
                      <a:pt x="300" y="549"/>
                    </a:lnTo>
                    <a:lnTo>
                      <a:pt x="300" y="596"/>
                    </a:lnTo>
                    <a:lnTo>
                      <a:pt x="302" y="596"/>
                    </a:lnTo>
                    <a:lnTo>
                      <a:pt x="302" y="547"/>
                    </a:lnTo>
                    <a:close/>
                    <a:moveTo>
                      <a:pt x="7025" y="509"/>
                    </a:moveTo>
                    <a:lnTo>
                      <a:pt x="7025" y="509"/>
                    </a:lnTo>
                    <a:lnTo>
                      <a:pt x="7025" y="511"/>
                    </a:lnTo>
                    <a:lnTo>
                      <a:pt x="7025" y="1671"/>
                    </a:lnTo>
                    <a:lnTo>
                      <a:pt x="7025" y="1671"/>
                    </a:lnTo>
                    <a:lnTo>
                      <a:pt x="7025" y="509"/>
                    </a:lnTo>
                    <a:close/>
                    <a:moveTo>
                      <a:pt x="4194" y="502"/>
                    </a:moveTo>
                    <a:lnTo>
                      <a:pt x="4192" y="502"/>
                    </a:lnTo>
                    <a:lnTo>
                      <a:pt x="4192" y="504"/>
                    </a:lnTo>
                    <a:lnTo>
                      <a:pt x="4137" y="577"/>
                    </a:lnTo>
                    <a:lnTo>
                      <a:pt x="4137" y="577"/>
                    </a:lnTo>
                    <a:lnTo>
                      <a:pt x="4194" y="502"/>
                    </a:lnTo>
                    <a:close/>
                    <a:moveTo>
                      <a:pt x="3300" y="502"/>
                    </a:moveTo>
                    <a:lnTo>
                      <a:pt x="3298" y="502"/>
                    </a:lnTo>
                    <a:lnTo>
                      <a:pt x="3298" y="502"/>
                    </a:lnTo>
                    <a:lnTo>
                      <a:pt x="3298" y="502"/>
                    </a:lnTo>
                    <a:lnTo>
                      <a:pt x="3298" y="565"/>
                    </a:lnTo>
                    <a:lnTo>
                      <a:pt x="3300" y="565"/>
                    </a:lnTo>
                    <a:lnTo>
                      <a:pt x="3300" y="563"/>
                    </a:lnTo>
                    <a:lnTo>
                      <a:pt x="3300" y="563"/>
                    </a:lnTo>
                    <a:lnTo>
                      <a:pt x="3300" y="502"/>
                    </a:lnTo>
                    <a:close/>
                    <a:moveTo>
                      <a:pt x="4036" y="454"/>
                    </a:moveTo>
                    <a:lnTo>
                      <a:pt x="4036" y="454"/>
                    </a:lnTo>
                    <a:lnTo>
                      <a:pt x="4036" y="454"/>
                    </a:lnTo>
                    <a:lnTo>
                      <a:pt x="4036" y="457"/>
                    </a:lnTo>
                    <a:lnTo>
                      <a:pt x="4036" y="490"/>
                    </a:lnTo>
                    <a:lnTo>
                      <a:pt x="3953" y="644"/>
                    </a:lnTo>
                    <a:lnTo>
                      <a:pt x="3953" y="906"/>
                    </a:lnTo>
                    <a:lnTo>
                      <a:pt x="3955" y="906"/>
                    </a:lnTo>
                    <a:lnTo>
                      <a:pt x="3955" y="641"/>
                    </a:lnTo>
                    <a:lnTo>
                      <a:pt x="4036" y="487"/>
                    </a:lnTo>
                    <a:lnTo>
                      <a:pt x="4036" y="454"/>
                    </a:lnTo>
                    <a:close/>
                    <a:moveTo>
                      <a:pt x="3329" y="433"/>
                    </a:moveTo>
                    <a:lnTo>
                      <a:pt x="3326" y="433"/>
                    </a:lnTo>
                    <a:lnTo>
                      <a:pt x="3326" y="435"/>
                    </a:lnTo>
                    <a:lnTo>
                      <a:pt x="3326" y="480"/>
                    </a:lnTo>
                    <a:lnTo>
                      <a:pt x="3329" y="480"/>
                    </a:lnTo>
                    <a:lnTo>
                      <a:pt x="3329" y="433"/>
                    </a:lnTo>
                    <a:close/>
                    <a:moveTo>
                      <a:pt x="4043" y="390"/>
                    </a:moveTo>
                    <a:lnTo>
                      <a:pt x="4041" y="390"/>
                    </a:lnTo>
                    <a:lnTo>
                      <a:pt x="4041" y="390"/>
                    </a:lnTo>
                    <a:lnTo>
                      <a:pt x="4041" y="393"/>
                    </a:lnTo>
                    <a:lnTo>
                      <a:pt x="4041" y="447"/>
                    </a:lnTo>
                    <a:lnTo>
                      <a:pt x="4043" y="447"/>
                    </a:lnTo>
                    <a:lnTo>
                      <a:pt x="4043" y="447"/>
                    </a:lnTo>
                    <a:lnTo>
                      <a:pt x="4043" y="447"/>
                    </a:lnTo>
                    <a:lnTo>
                      <a:pt x="4043" y="390"/>
                    </a:lnTo>
                    <a:close/>
                    <a:moveTo>
                      <a:pt x="1811" y="369"/>
                    </a:moveTo>
                    <a:lnTo>
                      <a:pt x="1808" y="369"/>
                    </a:lnTo>
                    <a:lnTo>
                      <a:pt x="1808" y="369"/>
                    </a:lnTo>
                    <a:lnTo>
                      <a:pt x="1808" y="1110"/>
                    </a:lnTo>
                    <a:lnTo>
                      <a:pt x="1811" y="1110"/>
                    </a:lnTo>
                    <a:lnTo>
                      <a:pt x="1811" y="369"/>
                    </a:lnTo>
                    <a:close/>
                    <a:moveTo>
                      <a:pt x="1938" y="333"/>
                    </a:moveTo>
                    <a:lnTo>
                      <a:pt x="1936" y="333"/>
                    </a:lnTo>
                    <a:lnTo>
                      <a:pt x="1936" y="336"/>
                    </a:lnTo>
                    <a:lnTo>
                      <a:pt x="1936" y="348"/>
                    </a:lnTo>
                    <a:lnTo>
                      <a:pt x="1938" y="348"/>
                    </a:lnTo>
                    <a:lnTo>
                      <a:pt x="1938" y="333"/>
                    </a:lnTo>
                    <a:close/>
                    <a:moveTo>
                      <a:pt x="4050" y="326"/>
                    </a:moveTo>
                    <a:lnTo>
                      <a:pt x="4048" y="326"/>
                    </a:lnTo>
                    <a:lnTo>
                      <a:pt x="4048" y="329"/>
                    </a:lnTo>
                    <a:lnTo>
                      <a:pt x="4048" y="383"/>
                    </a:lnTo>
                    <a:lnTo>
                      <a:pt x="4050" y="383"/>
                    </a:lnTo>
                    <a:lnTo>
                      <a:pt x="4050" y="381"/>
                    </a:lnTo>
                    <a:lnTo>
                      <a:pt x="4050" y="381"/>
                    </a:lnTo>
                    <a:lnTo>
                      <a:pt x="4050" y="326"/>
                    </a:lnTo>
                    <a:close/>
                    <a:moveTo>
                      <a:pt x="2028" y="293"/>
                    </a:moveTo>
                    <a:lnTo>
                      <a:pt x="2026" y="293"/>
                    </a:lnTo>
                    <a:lnTo>
                      <a:pt x="2026" y="296"/>
                    </a:lnTo>
                    <a:lnTo>
                      <a:pt x="2026" y="312"/>
                    </a:lnTo>
                    <a:lnTo>
                      <a:pt x="2028" y="312"/>
                    </a:lnTo>
                    <a:lnTo>
                      <a:pt x="2028" y="293"/>
                    </a:lnTo>
                    <a:close/>
                    <a:moveTo>
                      <a:pt x="4703" y="232"/>
                    </a:moveTo>
                    <a:lnTo>
                      <a:pt x="4703" y="232"/>
                    </a:lnTo>
                    <a:lnTo>
                      <a:pt x="4703" y="234"/>
                    </a:lnTo>
                    <a:lnTo>
                      <a:pt x="4639" y="464"/>
                    </a:lnTo>
                    <a:lnTo>
                      <a:pt x="4641" y="461"/>
                    </a:lnTo>
                    <a:lnTo>
                      <a:pt x="4703" y="232"/>
                    </a:lnTo>
                    <a:close/>
                    <a:moveTo>
                      <a:pt x="4804" y="172"/>
                    </a:moveTo>
                    <a:lnTo>
                      <a:pt x="4802" y="172"/>
                    </a:lnTo>
                    <a:lnTo>
                      <a:pt x="4802" y="172"/>
                    </a:lnTo>
                    <a:lnTo>
                      <a:pt x="4802" y="172"/>
                    </a:lnTo>
                    <a:lnTo>
                      <a:pt x="4802" y="210"/>
                    </a:lnTo>
                    <a:lnTo>
                      <a:pt x="4804" y="210"/>
                    </a:lnTo>
                    <a:lnTo>
                      <a:pt x="4804" y="172"/>
                    </a:lnTo>
                    <a:close/>
                    <a:moveTo>
                      <a:pt x="4852" y="0"/>
                    </a:moveTo>
                    <a:lnTo>
                      <a:pt x="4852" y="0"/>
                    </a:lnTo>
                    <a:lnTo>
                      <a:pt x="4852" y="2"/>
                    </a:lnTo>
                    <a:lnTo>
                      <a:pt x="4852" y="151"/>
                    </a:lnTo>
                    <a:lnTo>
                      <a:pt x="4852" y="151"/>
                    </a:lnTo>
                    <a:lnTo>
                      <a:pt x="4852" y="0"/>
                    </a:lnTo>
                    <a:close/>
                    <a:moveTo>
                      <a:pt x="4911" y="0"/>
                    </a:moveTo>
                    <a:lnTo>
                      <a:pt x="4908" y="0"/>
                    </a:lnTo>
                    <a:lnTo>
                      <a:pt x="4908" y="2"/>
                    </a:lnTo>
                    <a:lnTo>
                      <a:pt x="4908" y="151"/>
                    </a:lnTo>
                    <a:lnTo>
                      <a:pt x="4911" y="151"/>
                    </a:lnTo>
                    <a:lnTo>
                      <a:pt x="4911" y="0"/>
                    </a:lnTo>
                    <a:close/>
                  </a:path>
                </a:pathLst>
              </a:custGeom>
              <a:solidFill>
                <a:srgbClr val="C7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8" name="Freeform 123"/>
              <p:cNvSpPr>
                <a:spLocks noEditPoints="1"/>
              </p:cNvSpPr>
              <p:nvPr/>
            </p:nvSpPr>
            <p:spPr bwMode="auto">
              <a:xfrm>
                <a:off x="26" y="1682"/>
                <a:ext cx="7025" cy="1671"/>
              </a:xfrm>
              <a:custGeom>
                <a:avLst/>
                <a:gdLst>
                  <a:gd name="T0" fmla="*/ 2 w 7025"/>
                  <a:gd name="T1" fmla="*/ 1512 h 1671"/>
                  <a:gd name="T2" fmla="*/ 5665 w 7025"/>
                  <a:gd name="T3" fmla="*/ 1427 h 1671"/>
                  <a:gd name="T4" fmla="*/ 3709 w 7025"/>
                  <a:gd name="T5" fmla="*/ 1221 h 1671"/>
                  <a:gd name="T6" fmla="*/ 5830 w 7025"/>
                  <a:gd name="T7" fmla="*/ 1207 h 1671"/>
                  <a:gd name="T8" fmla="*/ 5830 w 7025"/>
                  <a:gd name="T9" fmla="*/ 1304 h 1671"/>
                  <a:gd name="T10" fmla="*/ 1664 w 7025"/>
                  <a:gd name="T11" fmla="*/ 1157 h 1671"/>
                  <a:gd name="T12" fmla="*/ 1688 w 7025"/>
                  <a:gd name="T13" fmla="*/ 1131 h 1671"/>
                  <a:gd name="T14" fmla="*/ 5856 w 7025"/>
                  <a:gd name="T15" fmla="*/ 1127 h 1671"/>
                  <a:gd name="T16" fmla="*/ 5856 w 7025"/>
                  <a:gd name="T17" fmla="*/ 1188 h 1671"/>
                  <a:gd name="T18" fmla="*/ 6320 w 7025"/>
                  <a:gd name="T19" fmla="*/ 1129 h 1671"/>
                  <a:gd name="T20" fmla="*/ 1444 w 7025"/>
                  <a:gd name="T21" fmla="*/ 1124 h 1671"/>
                  <a:gd name="T22" fmla="*/ 1447 w 7025"/>
                  <a:gd name="T23" fmla="*/ 1124 h 1671"/>
                  <a:gd name="T24" fmla="*/ 1463 w 7025"/>
                  <a:gd name="T25" fmla="*/ 1108 h 1671"/>
                  <a:gd name="T26" fmla="*/ 2858 w 7025"/>
                  <a:gd name="T27" fmla="*/ 1063 h 1671"/>
                  <a:gd name="T28" fmla="*/ 2861 w 7025"/>
                  <a:gd name="T29" fmla="*/ 1063 h 1671"/>
                  <a:gd name="T30" fmla="*/ 5930 w 7025"/>
                  <a:gd name="T31" fmla="*/ 1108 h 1671"/>
                  <a:gd name="T32" fmla="*/ 2875 w 7025"/>
                  <a:gd name="T33" fmla="*/ 1013 h 1671"/>
                  <a:gd name="T34" fmla="*/ 2877 w 7025"/>
                  <a:gd name="T35" fmla="*/ 1011 h 1671"/>
                  <a:gd name="T36" fmla="*/ 3771 w 7025"/>
                  <a:gd name="T37" fmla="*/ 1202 h 1671"/>
                  <a:gd name="T38" fmla="*/ 5946 w 7025"/>
                  <a:gd name="T39" fmla="*/ 1025 h 1671"/>
                  <a:gd name="T40" fmla="*/ 6339 w 7025"/>
                  <a:gd name="T41" fmla="*/ 935 h 1671"/>
                  <a:gd name="T42" fmla="*/ 6339 w 7025"/>
                  <a:gd name="T43" fmla="*/ 1110 h 1671"/>
                  <a:gd name="T44" fmla="*/ 3844 w 7025"/>
                  <a:gd name="T45" fmla="*/ 928 h 1671"/>
                  <a:gd name="T46" fmla="*/ 6384 w 7025"/>
                  <a:gd name="T47" fmla="*/ 895 h 1671"/>
                  <a:gd name="T48" fmla="*/ 6379 w 7025"/>
                  <a:gd name="T49" fmla="*/ 913 h 1671"/>
                  <a:gd name="T50" fmla="*/ 6388 w 7025"/>
                  <a:gd name="T51" fmla="*/ 880 h 1671"/>
                  <a:gd name="T52" fmla="*/ 6388 w 7025"/>
                  <a:gd name="T53" fmla="*/ 878 h 1671"/>
                  <a:gd name="T54" fmla="*/ 6398 w 7025"/>
                  <a:gd name="T55" fmla="*/ 871 h 1671"/>
                  <a:gd name="T56" fmla="*/ 803 w 7025"/>
                  <a:gd name="T57" fmla="*/ 826 h 1671"/>
                  <a:gd name="T58" fmla="*/ 3099 w 7025"/>
                  <a:gd name="T59" fmla="*/ 762 h 1671"/>
                  <a:gd name="T60" fmla="*/ 3099 w 7025"/>
                  <a:gd name="T61" fmla="*/ 958 h 1671"/>
                  <a:gd name="T62" fmla="*/ 1007 w 7025"/>
                  <a:gd name="T63" fmla="*/ 807 h 1671"/>
                  <a:gd name="T64" fmla="*/ 5131 w 7025"/>
                  <a:gd name="T65" fmla="*/ 734 h 1671"/>
                  <a:gd name="T66" fmla="*/ 3137 w 7025"/>
                  <a:gd name="T67" fmla="*/ 655 h 1671"/>
                  <a:gd name="T68" fmla="*/ 97 w 7025"/>
                  <a:gd name="T69" fmla="*/ 615 h 1671"/>
                  <a:gd name="T70" fmla="*/ 97 w 7025"/>
                  <a:gd name="T71" fmla="*/ 615 h 1671"/>
                  <a:gd name="T72" fmla="*/ 5253 w 7025"/>
                  <a:gd name="T73" fmla="*/ 710 h 1671"/>
                  <a:gd name="T74" fmla="*/ 3281 w 7025"/>
                  <a:gd name="T75" fmla="*/ 582 h 1671"/>
                  <a:gd name="T76" fmla="*/ 300 w 7025"/>
                  <a:gd name="T77" fmla="*/ 547 h 1671"/>
                  <a:gd name="T78" fmla="*/ 7025 w 7025"/>
                  <a:gd name="T79" fmla="*/ 509 h 1671"/>
                  <a:gd name="T80" fmla="*/ 7025 w 7025"/>
                  <a:gd name="T81" fmla="*/ 509 h 1671"/>
                  <a:gd name="T82" fmla="*/ 4137 w 7025"/>
                  <a:gd name="T83" fmla="*/ 577 h 1671"/>
                  <a:gd name="T84" fmla="*/ 3298 w 7025"/>
                  <a:gd name="T85" fmla="*/ 502 h 1671"/>
                  <a:gd name="T86" fmla="*/ 3300 w 7025"/>
                  <a:gd name="T87" fmla="*/ 502 h 1671"/>
                  <a:gd name="T88" fmla="*/ 4036 w 7025"/>
                  <a:gd name="T89" fmla="*/ 490 h 1671"/>
                  <a:gd name="T90" fmla="*/ 4036 w 7025"/>
                  <a:gd name="T91" fmla="*/ 487 h 1671"/>
                  <a:gd name="T92" fmla="*/ 3326 w 7025"/>
                  <a:gd name="T93" fmla="*/ 480 h 1671"/>
                  <a:gd name="T94" fmla="*/ 4041 w 7025"/>
                  <a:gd name="T95" fmla="*/ 390 h 1671"/>
                  <a:gd name="T96" fmla="*/ 4043 w 7025"/>
                  <a:gd name="T97" fmla="*/ 447 h 1671"/>
                  <a:gd name="T98" fmla="*/ 1808 w 7025"/>
                  <a:gd name="T99" fmla="*/ 1110 h 1671"/>
                  <a:gd name="T100" fmla="*/ 1936 w 7025"/>
                  <a:gd name="T101" fmla="*/ 336 h 1671"/>
                  <a:gd name="T102" fmla="*/ 4048 w 7025"/>
                  <a:gd name="T103" fmla="*/ 326 h 1671"/>
                  <a:gd name="T104" fmla="*/ 4050 w 7025"/>
                  <a:gd name="T105" fmla="*/ 381 h 1671"/>
                  <a:gd name="T106" fmla="*/ 2026 w 7025"/>
                  <a:gd name="T107" fmla="*/ 312 h 1671"/>
                  <a:gd name="T108" fmla="*/ 4703 w 7025"/>
                  <a:gd name="T109" fmla="*/ 234 h 1671"/>
                  <a:gd name="T110" fmla="*/ 4802 w 7025"/>
                  <a:gd name="T111" fmla="*/ 172 h 1671"/>
                  <a:gd name="T112" fmla="*/ 4804 w 7025"/>
                  <a:gd name="T113" fmla="*/ 172 h 1671"/>
                  <a:gd name="T114" fmla="*/ 4852 w 7025"/>
                  <a:gd name="T115" fmla="*/ 151 h 1671"/>
                  <a:gd name="T116" fmla="*/ 4908 w 7025"/>
                  <a:gd name="T117" fmla="*/ 15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1">
                    <a:moveTo>
                      <a:pt x="2" y="1453"/>
                    </a:moveTo>
                    <a:lnTo>
                      <a:pt x="0" y="1453"/>
                    </a:lnTo>
                    <a:lnTo>
                      <a:pt x="0" y="1453"/>
                    </a:lnTo>
                    <a:lnTo>
                      <a:pt x="0" y="1512"/>
                    </a:lnTo>
                    <a:lnTo>
                      <a:pt x="2" y="1512"/>
                    </a:lnTo>
                    <a:lnTo>
                      <a:pt x="2" y="1453"/>
                    </a:lnTo>
                    <a:moveTo>
                      <a:pt x="5665" y="1325"/>
                    </a:moveTo>
                    <a:lnTo>
                      <a:pt x="5665" y="1325"/>
                    </a:lnTo>
                    <a:lnTo>
                      <a:pt x="5665" y="1328"/>
                    </a:lnTo>
                    <a:lnTo>
                      <a:pt x="5665" y="1427"/>
                    </a:lnTo>
                    <a:lnTo>
                      <a:pt x="5665" y="1427"/>
                    </a:lnTo>
                    <a:lnTo>
                      <a:pt x="5665" y="1325"/>
                    </a:lnTo>
                    <a:moveTo>
                      <a:pt x="3712" y="1221"/>
                    </a:moveTo>
                    <a:lnTo>
                      <a:pt x="3709" y="1221"/>
                    </a:lnTo>
                    <a:lnTo>
                      <a:pt x="3709" y="1221"/>
                    </a:lnTo>
                    <a:lnTo>
                      <a:pt x="3709" y="1224"/>
                    </a:lnTo>
                    <a:lnTo>
                      <a:pt x="3709" y="1370"/>
                    </a:lnTo>
                    <a:lnTo>
                      <a:pt x="3712" y="1370"/>
                    </a:lnTo>
                    <a:lnTo>
                      <a:pt x="3712" y="1221"/>
                    </a:lnTo>
                    <a:moveTo>
                      <a:pt x="5830" y="1207"/>
                    </a:moveTo>
                    <a:lnTo>
                      <a:pt x="5830" y="1207"/>
                    </a:lnTo>
                    <a:lnTo>
                      <a:pt x="5828" y="1207"/>
                    </a:lnTo>
                    <a:lnTo>
                      <a:pt x="5828" y="1209"/>
                    </a:lnTo>
                    <a:lnTo>
                      <a:pt x="5828" y="1304"/>
                    </a:lnTo>
                    <a:lnTo>
                      <a:pt x="5830" y="1304"/>
                    </a:lnTo>
                    <a:lnTo>
                      <a:pt x="5830" y="1207"/>
                    </a:lnTo>
                    <a:moveTo>
                      <a:pt x="1667" y="1157"/>
                    </a:moveTo>
                    <a:lnTo>
                      <a:pt x="1664" y="1157"/>
                    </a:lnTo>
                    <a:lnTo>
                      <a:pt x="1664" y="1157"/>
                    </a:lnTo>
                    <a:lnTo>
                      <a:pt x="1664" y="1157"/>
                    </a:lnTo>
                    <a:lnTo>
                      <a:pt x="1664" y="1179"/>
                    </a:lnTo>
                    <a:lnTo>
                      <a:pt x="1667" y="1179"/>
                    </a:lnTo>
                    <a:lnTo>
                      <a:pt x="1667" y="1157"/>
                    </a:lnTo>
                    <a:moveTo>
                      <a:pt x="1688" y="1131"/>
                    </a:moveTo>
                    <a:lnTo>
                      <a:pt x="1688" y="1131"/>
                    </a:lnTo>
                    <a:lnTo>
                      <a:pt x="1688" y="1134"/>
                    </a:lnTo>
                    <a:lnTo>
                      <a:pt x="1688" y="1136"/>
                    </a:lnTo>
                    <a:lnTo>
                      <a:pt x="1688" y="1136"/>
                    </a:lnTo>
                    <a:lnTo>
                      <a:pt x="1688" y="1131"/>
                    </a:lnTo>
                    <a:moveTo>
                      <a:pt x="5856" y="1127"/>
                    </a:moveTo>
                    <a:lnTo>
                      <a:pt x="5854" y="1127"/>
                    </a:lnTo>
                    <a:lnTo>
                      <a:pt x="5854" y="1127"/>
                    </a:lnTo>
                    <a:lnTo>
                      <a:pt x="5854" y="1129"/>
                    </a:lnTo>
                    <a:lnTo>
                      <a:pt x="5854" y="1188"/>
                    </a:lnTo>
                    <a:lnTo>
                      <a:pt x="5856" y="1188"/>
                    </a:lnTo>
                    <a:lnTo>
                      <a:pt x="5856" y="1127"/>
                    </a:lnTo>
                    <a:moveTo>
                      <a:pt x="6322" y="1127"/>
                    </a:moveTo>
                    <a:lnTo>
                      <a:pt x="6322" y="1127"/>
                    </a:lnTo>
                    <a:lnTo>
                      <a:pt x="6320" y="1127"/>
                    </a:lnTo>
                    <a:lnTo>
                      <a:pt x="6320" y="1129"/>
                    </a:lnTo>
                    <a:lnTo>
                      <a:pt x="6320" y="1342"/>
                    </a:lnTo>
                    <a:lnTo>
                      <a:pt x="6322" y="1342"/>
                    </a:lnTo>
                    <a:lnTo>
                      <a:pt x="6322" y="1127"/>
                    </a:lnTo>
                    <a:moveTo>
                      <a:pt x="1447" y="1124"/>
                    </a:moveTo>
                    <a:lnTo>
                      <a:pt x="1444" y="1124"/>
                    </a:lnTo>
                    <a:lnTo>
                      <a:pt x="1444" y="1124"/>
                    </a:lnTo>
                    <a:lnTo>
                      <a:pt x="1444" y="1127"/>
                    </a:lnTo>
                    <a:lnTo>
                      <a:pt x="1444" y="1179"/>
                    </a:lnTo>
                    <a:lnTo>
                      <a:pt x="1447" y="1179"/>
                    </a:lnTo>
                    <a:lnTo>
                      <a:pt x="1447" y="1124"/>
                    </a:lnTo>
                    <a:moveTo>
                      <a:pt x="1463" y="1084"/>
                    </a:moveTo>
                    <a:lnTo>
                      <a:pt x="1461" y="1084"/>
                    </a:lnTo>
                    <a:lnTo>
                      <a:pt x="1461" y="1084"/>
                    </a:lnTo>
                    <a:lnTo>
                      <a:pt x="1461" y="1108"/>
                    </a:lnTo>
                    <a:lnTo>
                      <a:pt x="1463" y="1108"/>
                    </a:lnTo>
                    <a:lnTo>
                      <a:pt x="1463" y="1105"/>
                    </a:lnTo>
                    <a:lnTo>
                      <a:pt x="1463" y="1105"/>
                    </a:lnTo>
                    <a:lnTo>
                      <a:pt x="1463" y="1084"/>
                    </a:lnTo>
                    <a:moveTo>
                      <a:pt x="2861" y="1063"/>
                    </a:moveTo>
                    <a:lnTo>
                      <a:pt x="2858" y="1063"/>
                    </a:lnTo>
                    <a:lnTo>
                      <a:pt x="2858" y="1063"/>
                    </a:lnTo>
                    <a:lnTo>
                      <a:pt x="2858" y="1065"/>
                    </a:lnTo>
                    <a:lnTo>
                      <a:pt x="2858" y="1219"/>
                    </a:lnTo>
                    <a:lnTo>
                      <a:pt x="2861" y="1219"/>
                    </a:lnTo>
                    <a:lnTo>
                      <a:pt x="2861" y="1063"/>
                    </a:lnTo>
                    <a:moveTo>
                      <a:pt x="5930" y="1041"/>
                    </a:moveTo>
                    <a:lnTo>
                      <a:pt x="5930" y="1041"/>
                    </a:lnTo>
                    <a:lnTo>
                      <a:pt x="5930" y="1041"/>
                    </a:lnTo>
                    <a:lnTo>
                      <a:pt x="5930" y="1044"/>
                    </a:lnTo>
                    <a:lnTo>
                      <a:pt x="5930" y="1108"/>
                    </a:lnTo>
                    <a:lnTo>
                      <a:pt x="5930" y="1108"/>
                    </a:lnTo>
                    <a:lnTo>
                      <a:pt x="5930" y="1041"/>
                    </a:lnTo>
                    <a:moveTo>
                      <a:pt x="2877" y="1011"/>
                    </a:moveTo>
                    <a:lnTo>
                      <a:pt x="2875" y="1013"/>
                    </a:lnTo>
                    <a:lnTo>
                      <a:pt x="2875" y="1013"/>
                    </a:lnTo>
                    <a:lnTo>
                      <a:pt x="2875" y="1046"/>
                    </a:lnTo>
                    <a:lnTo>
                      <a:pt x="2877" y="1046"/>
                    </a:lnTo>
                    <a:lnTo>
                      <a:pt x="2877" y="1044"/>
                    </a:lnTo>
                    <a:lnTo>
                      <a:pt x="2877" y="1044"/>
                    </a:lnTo>
                    <a:lnTo>
                      <a:pt x="2877" y="1011"/>
                    </a:lnTo>
                    <a:moveTo>
                      <a:pt x="3771" y="992"/>
                    </a:moveTo>
                    <a:lnTo>
                      <a:pt x="3769" y="992"/>
                    </a:lnTo>
                    <a:lnTo>
                      <a:pt x="3769" y="994"/>
                    </a:lnTo>
                    <a:lnTo>
                      <a:pt x="3769" y="1202"/>
                    </a:lnTo>
                    <a:lnTo>
                      <a:pt x="3771" y="1202"/>
                    </a:lnTo>
                    <a:lnTo>
                      <a:pt x="3771" y="992"/>
                    </a:lnTo>
                    <a:moveTo>
                      <a:pt x="5949" y="989"/>
                    </a:moveTo>
                    <a:lnTo>
                      <a:pt x="5946" y="989"/>
                    </a:lnTo>
                    <a:lnTo>
                      <a:pt x="5946" y="992"/>
                    </a:lnTo>
                    <a:lnTo>
                      <a:pt x="5946" y="1025"/>
                    </a:lnTo>
                    <a:lnTo>
                      <a:pt x="5949" y="1025"/>
                    </a:lnTo>
                    <a:lnTo>
                      <a:pt x="5949" y="1022"/>
                    </a:lnTo>
                    <a:lnTo>
                      <a:pt x="5949" y="1022"/>
                    </a:lnTo>
                    <a:lnTo>
                      <a:pt x="5949" y="989"/>
                    </a:lnTo>
                    <a:moveTo>
                      <a:pt x="6339" y="935"/>
                    </a:moveTo>
                    <a:lnTo>
                      <a:pt x="6339" y="935"/>
                    </a:lnTo>
                    <a:lnTo>
                      <a:pt x="6339" y="935"/>
                    </a:lnTo>
                    <a:lnTo>
                      <a:pt x="6339" y="937"/>
                    </a:lnTo>
                    <a:lnTo>
                      <a:pt x="6339" y="1110"/>
                    </a:lnTo>
                    <a:lnTo>
                      <a:pt x="6339" y="1110"/>
                    </a:lnTo>
                    <a:lnTo>
                      <a:pt x="6339" y="1110"/>
                    </a:lnTo>
                    <a:lnTo>
                      <a:pt x="6339" y="1110"/>
                    </a:lnTo>
                    <a:lnTo>
                      <a:pt x="6339" y="935"/>
                    </a:lnTo>
                    <a:moveTo>
                      <a:pt x="3844" y="928"/>
                    </a:moveTo>
                    <a:lnTo>
                      <a:pt x="3844" y="928"/>
                    </a:lnTo>
                    <a:lnTo>
                      <a:pt x="3844" y="930"/>
                    </a:lnTo>
                    <a:lnTo>
                      <a:pt x="3844" y="973"/>
                    </a:lnTo>
                    <a:lnTo>
                      <a:pt x="3844" y="973"/>
                    </a:lnTo>
                    <a:lnTo>
                      <a:pt x="3844" y="928"/>
                    </a:lnTo>
                    <a:moveTo>
                      <a:pt x="6384" y="895"/>
                    </a:moveTo>
                    <a:lnTo>
                      <a:pt x="6384" y="895"/>
                    </a:lnTo>
                    <a:lnTo>
                      <a:pt x="6384" y="895"/>
                    </a:lnTo>
                    <a:lnTo>
                      <a:pt x="6384" y="897"/>
                    </a:lnTo>
                    <a:lnTo>
                      <a:pt x="6379" y="913"/>
                    </a:lnTo>
                    <a:lnTo>
                      <a:pt x="6379" y="913"/>
                    </a:lnTo>
                    <a:lnTo>
                      <a:pt x="6384" y="895"/>
                    </a:lnTo>
                    <a:moveTo>
                      <a:pt x="6388" y="878"/>
                    </a:moveTo>
                    <a:lnTo>
                      <a:pt x="6388" y="878"/>
                    </a:lnTo>
                    <a:lnTo>
                      <a:pt x="6388" y="878"/>
                    </a:lnTo>
                    <a:lnTo>
                      <a:pt x="6388" y="880"/>
                    </a:lnTo>
                    <a:lnTo>
                      <a:pt x="6388" y="890"/>
                    </a:lnTo>
                    <a:lnTo>
                      <a:pt x="6388" y="890"/>
                    </a:lnTo>
                    <a:lnTo>
                      <a:pt x="6388" y="890"/>
                    </a:lnTo>
                    <a:lnTo>
                      <a:pt x="6388" y="890"/>
                    </a:lnTo>
                    <a:lnTo>
                      <a:pt x="6388" y="878"/>
                    </a:lnTo>
                    <a:moveTo>
                      <a:pt x="6398" y="850"/>
                    </a:moveTo>
                    <a:lnTo>
                      <a:pt x="6396" y="850"/>
                    </a:lnTo>
                    <a:lnTo>
                      <a:pt x="6396" y="852"/>
                    </a:lnTo>
                    <a:lnTo>
                      <a:pt x="6396" y="871"/>
                    </a:lnTo>
                    <a:lnTo>
                      <a:pt x="6398" y="871"/>
                    </a:lnTo>
                    <a:lnTo>
                      <a:pt x="6398" y="869"/>
                    </a:lnTo>
                    <a:lnTo>
                      <a:pt x="6398" y="869"/>
                    </a:lnTo>
                    <a:lnTo>
                      <a:pt x="6398" y="850"/>
                    </a:lnTo>
                    <a:moveTo>
                      <a:pt x="806" y="826"/>
                    </a:moveTo>
                    <a:lnTo>
                      <a:pt x="803" y="826"/>
                    </a:lnTo>
                    <a:lnTo>
                      <a:pt x="803" y="828"/>
                    </a:lnTo>
                    <a:lnTo>
                      <a:pt x="803" y="1048"/>
                    </a:lnTo>
                    <a:lnTo>
                      <a:pt x="806" y="1048"/>
                    </a:lnTo>
                    <a:lnTo>
                      <a:pt x="806" y="826"/>
                    </a:lnTo>
                    <a:moveTo>
                      <a:pt x="3099" y="762"/>
                    </a:moveTo>
                    <a:lnTo>
                      <a:pt x="3099" y="762"/>
                    </a:lnTo>
                    <a:lnTo>
                      <a:pt x="3099" y="762"/>
                    </a:lnTo>
                    <a:lnTo>
                      <a:pt x="3099" y="764"/>
                    </a:lnTo>
                    <a:lnTo>
                      <a:pt x="3099" y="958"/>
                    </a:lnTo>
                    <a:lnTo>
                      <a:pt x="3099" y="958"/>
                    </a:lnTo>
                    <a:lnTo>
                      <a:pt x="3099" y="762"/>
                    </a:lnTo>
                    <a:moveTo>
                      <a:pt x="1009" y="752"/>
                    </a:moveTo>
                    <a:lnTo>
                      <a:pt x="1007" y="752"/>
                    </a:lnTo>
                    <a:lnTo>
                      <a:pt x="1007" y="755"/>
                    </a:lnTo>
                    <a:lnTo>
                      <a:pt x="1007" y="807"/>
                    </a:lnTo>
                    <a:lnTo>
                      <a:pt x="1009" y="807"/>
                    </a:lnTo>
                    <a:lnTo>
                      <a:pt x="1009" y="752"/>
                    </a:lnTo>
                    <a:moveTo>
                      <a:pt x="5133" y="731"/>
                    </a:moveTo>
                    <a:lnTo>
                      <a:pt x="5131" y="731"/>
                    </a:lnTo>
                    <a:lnTo>
                      <a:pt x="5131" y="734"/>
                    </a:lnTo>
                    <a:lnTo>
                      <a:pt x="5131" y="951"/>
                    </a:lnTo>
                    <a:lnTo>
                      <a:pt x="5133" y="951"/>
                    </a:lnTo>
                    <a:lnTo>
                      <a:pt x="5133" y="731"/>
                    </a:lnTo>
                    <a:moveTo>
                      <a:pt x="3140" y="655"/>
                    </a:moveTo>
                    <a:lnTo>
                      <a:pt x="3137" y="655"/>
                    </a:lnTo>
                    <a:lnTo>
                      <a:pt x="3137" y="658"/>
                    </a:lnTo>
                    <a:lnTo>
                      <a:pt x="3137" y="741"/>
                    </a:lnTo>
                    <a:lnTo>
                      <a:pt x="3140" y="741"/>
                    </a:lnTo>
                    <a:lnTo>
                      <a:pt x="3140" y="655"/>
                    </a:lnTo>
                    <a:moveTo>
                      <a:pt x="97" y="615"/>
                    </a:moveTo>
                    <a:lnTo>
                      <a:pt x="94" y="615"/>
                    </a:lnTo>
                    <a:lnTo>
                      <a:pt x="94" y="618"/>
                    </a:lnTo>
                    <a:lnTo>
                      <a:pt x="94" y="1432"/>
                    </a:lnTo>
                    <a:lnTo>
                      <a:pt x="97" y="1432"/>
                    </a:lnTo>
                    <a:lnTo>
                      <a:pt x="97" y="615"/>
                    </a:lnTo>
                    <a:moveTo>
                      <a:pt x="5253" y="608"/>
                    </a:moveTo>
                    <a:lnTo>
                      <a:pt x="5251" y="608"/>
                    </a:lnTo>
                    <a:lnTo>
                      <a:pt x="5251" y="610"/>
                    </a:lnTo>
                    <a:lnTo>
                      <a:pt x="5251" y="710"/>
                    </a:lnTo>
                    <a:lnTo>
                      <a:pt x="5253" y="710"/>
                    </a:lnTo>
                    <a:lnTo>
                      <a:pt x="5253" y="608"/>
                    </a:lnTo>
                    <a:moveTo>
                      <a:pt x="3281" y="582"/>
                    </a:moveTo>
                    <a:lnTo>
                      <a:pt x="3281" y="582"/>
                    </a:lnTo>
                    <a:lnTo>
                      <a:pt x="3281" y="582"/>
                    </a:lnTo>
                    <a:lnTo>
                      <a:pt x="3281" y="582"/>
                    </a:lnTo>
                    <a:lnTo>
                      <a:pt x="3281" y="636"/>
                    </a:lnTo>
                    <a:lnTo>
                      <a:pt x="3281" y="636"/>
                    </a:lnTo>
                    <a:lnTo>
                      <a:pt x="3281" y="582"/>
                    </a:lnTo>
                    <a:moveTo>
                      <a:pt x="302" y="547"/>
                    </a:moveTo>
                    <a:lnTo>
                      <a:pt x="300" y="547"/>
                    </a:lnTo>
                    <a:lnTo>
                      <a:pt x="300" y="549"/>
                    </a:lnTo>
                    <a:lnTo>
                      <a:pt x="300" y="596"/>
                    </a:lnTo>
                    <a:lnTo>
                      <a:pt x="302" y="596"/>
                    </a:lnTo>
                    <a:lnTo>
                      <a:pt x="302" y="547"/>
                    </a:lnTo>
                    <a:moveTo>
                      <a:pt x="7025" y="509"/>
                    </a:moveTo>
                    <a:lnTo>
                      <a:pt x="7025" y="509"/>
                    </a:lnTo>
                    <a:lnTo>
                      <a:pt x="7025" y="511"/>
                    </a:lnTo>
                    <a:lnTo>
                      <a:pt x="7025" y="1671"/>
                    </a:lnTo>
                    <a:lnTo>
                      <a:pt x="7025" y="1671"/>
                    </a:lnTo>
                    <a:lnTo>
                      <a:pt x="7025" y="509"/>
                    </a:lnTo>
                    <a:moveTo>
                      <a:pt x="4194" y="502"/>
                    </a:moveTo>
                    <a:lnTo>
                      <a:pt x="4192" y="502"/>
                    </a:lnTo>
                    <a:lnTo>
                      <a:pt x="4192" y="504"/>
                    </a:lnTo>
                    <a:lnTo>
                      <a:pt x="4137" y="577"/>
                    </a:lnTo>
                    <a:lnTo>
                      <a:pt x="4137" y="577"/>
                    </a:lnTo>
                    <a:lnTo>
                      <a:pt x="4194" y="502"/>
                    </a:lnTo>
                    <a:moveTo>
                      <a:pt x="3300" y="502"/>
                    </a:moveTo>
                    <a:lnTo>
                      <a:pt x="3298" y="502"/>
                    </a:lnTo>
                    <a:lnTo>
                      <a:pt x="3298" y="502"/>
                    </a:lnTo>
                    <a:lnTo>
                      <a:pt x="3298" y="502"/>
                    </a:lnTo>
                    <a:lnTo>
                      <a:pt x="3298" y="565"/>
                    </a:lnTo>
                    <a:lnTo>
                      <a:pt x="3300" y="565"/>
                    </a:lnTo>
                    <a:lnTo>
                      <a:pt x="3300" y="563"/>
                    </a:lnTo>
                    <a:lnTo>
                      <a:pt x="3300" y="563"/>
                    </a:lnTo>
                    <a:lnTo>
                      <a:pt x="3300" y="502"/>
                    </a:lnTo>
                    <a:moveTo>
                      <a:pt x="4036" y="454"/>
                    </a:moveTo>
                    <a:lnTo>
                      <a:pt x="4036" y="454"/>
                    </a:lnTo>
                    <a:lnTo>
                      <a:pt x="4036" y="454"/>
                    </a:lnTo>
                    <a:lnTo>
                      <a:pt x="4036" y="457"/>
                    </a:lnTo>
                    <a:lnTo>
                      <a:pt x="4036" y="490"/>
                    </a:lnTo>
                    <a:lnTo>
                      <a:pt x="3953" y="644"/>
                    </a:lnTo>
                    <a:lnTo>
                      <a:pt x="3953" y="906"/>
                    </a:lnTo>
                    <a:lnTo>
                      <a:pt x="3955" y="906"/>
                    </a:lnTo>
                    <a:lnTo>
                      <a:pt x="3955" y="641"/>
                    </a:lnTo>
                    <a:lnTo>
                      <a:pt x="4036" y="487"/>
                    </a:lnTo>
                    <a:lnTo>
                      <a:pt x="4036" y="454"/>
                    </a:lnTo>
                    <a:moveTo>
                      <a:pt x="3329" y="433"/>
                    </a:moveTo>
                    <a:lnTo>
                      <a:pt x="3326" y="433"/>
                    </a:lnTo>
                    <a:lnTo>
                      <a:pt x="3326" y="435"/>
                    </a:lnTo>
                    <a:lnTo>
                      <a:pt x="3326" y="480"/>
                    </a:lnTo>
                    <a:lnTo>
                      <a:pt x="3329" y="480"/>
                    </a:lnTo>
                    <a:lnTo>
                      <a:pt x="3329" y="433"/>
                    </a:lnTo>
                    <a:moveTo>
                      <a:pt x="4043" y="390"/>
                    </a:moveTo>
                    <a:lnTo>
                      <a:pt x="4041" y="390"/>
                    </a:lnTo>
                    <a:lnTo>
                      <a:pt x="4041" y="390"/>
                    </a:lnTo>
                    <a:lnTo>
                      <a:pt x="4041" y="393"/>
                    </a:lnTo>
                    <a:lnTo>
                      <a:pt x="4041" y="447"/>
                    </a:lnTo>
                    <a:lnTo>
                      <a:pt x="4043" y="447"/>
                    </a:lnTo>
                    <a:lnTo>
                      <a:pt x="4043" y="447"/>
                    </a:lnTo>
                    <a:lnTo>
                      <a:pt x="4043" y="447"/>
                    </a:lnTo>
                    <a:lnTo>
                      <a:pt x="4043" y="390"/>
                    </a:lnTo>
                    <a:moveTo>
                      <a:pt x="1811" y="369"/>
                    </a:moveTo>
                    <a:lnTo>
                      <a:pt x="1808" y="369"/>
                    </a:lnTo>
                    <a:lnTo>
                      <a:pt x="1808" y="369"/>
                    </a:lnTo>
                    <a:lnTo>
                      <a:pt x="1808" y="1110"/>
                    </a:lnTo>
                    <a:lnTo>
                      <a:pt x="1811" y="1110"/>
                    </a:lnTo>
                    <a:lnTo>
                      <a:pt x="1811" y="369"/>
                    </a:lnTo>
                    <a:moveTo>
                      <a:pt x="1938" y="333"/>
                    </a:moveTo>
                    <a:lnTo>
                      <a:pt x="1936" y="333"/>
                    </a:lnTo>
                    <a:lnTo>
                      <a:pt x="1936" y="336"/>
                    </a:lnTo>
                    <a:lnTo>
                      <a:pt x="1936" y="348"/>
                    </a:lnTo>
                    <a:lnTo>
                      <a:pt x="1938" y="348"/>
                    </a:lnTo>
                    <a:lnTo>
                      <a:pt x="1938" y="333"/>
                    </a:lnTo>
                    <a:moveTo>
                      <a:pt x="4050" y="326"/>
                    </a:moveTo>
                    <a:lnTo>
                      <a:pt x="4048" y="326"/>
                    </a:lnTo>
                    <a:lnTo>
                      <a:pt x="4048" y="329"/>
                    </a:lnTo>
                    <a:lnTo>
                      <a:pt x="4048" y="383"/>
                    </a:lnTo>
                    <a:lnTo>
                      <a:pt x="4050" y="383"/>
                    </a:lnTo>
                    <a:lnTo>
                      <a:pt x="4050" y="381"/>
                    </a:lnTo>
                    <a:lnTo>
                      <a:pt x="4050" y="381"/>
                    </a:lnTo>
                    <a:lnTo>
                      <a:pt x="4050" y="326"/>
                    </a:lnTo>
                    <a:moveTo>
                      <a:pt x="2028" y="293"/>
                    </a:moveTo>
                    <a:lnTo>
                      <a:pt x="2026" y="293"/>
                    </a:lnTo>
                    <a:lnTo>
                      <a:pt x="2026" y="296"/>
                    </a:lnTo>
                    <a:lnTo>
                      <a:pt x="2026" y="312"/>
                    </a:lnTo>
                    <a:lnTo>
                      <a:pt x="2028" y="312"/>
                    </a:lnTo>
                    <a:lnTo>
                      <a:pt x="2028" y="293"/>
                    </a:lnTo>
                    <a:moveTo>
                      <a:pt x="4703" y="232"/>
                    </a:moveTo>
                    <a:lnTo>
                      <a:pt x="4703" y="232"/>
                    </a:lnTo>
                    <a:lnTo>
                      <a:pt x="4703" y="234"/>
                    </a:lnTo>
                    <a:lnTo>
                      <a:pt x="4639" y="464"/>
                    </a:lnTo>
                    <a:lnTo>
                      <a:pt x="4641" y="461"/>
                    </a:lnTo>
                    <a:lnTo>
                      <a:pt x="4703" y="232"/>
                    </a:lnTo>
                    <a:moveTo>
                      <a:pt x="4804" y="172"/>
                    </a:moveTo>
                    <a:lnTo>
                      <a:pt x="4802" y="172"/>
                    </a:lnTo>
                    <a:lnTo>
                      <a:pt x="4802" y="172"/>
                    </a:lnTo>
                    <a:lnTo>
                      <a:pt x="4802" y="172"/>
                    </a:lnTo>
                    <a:lnTo>
                      <a:pt x="4802" y="210"/>
                    </a:lnTo>
                    <a:lnTo>
                      <a:pt x="4804" y="210"/>
                    </a:lnTo>
                    <a:lnTo>
                      <a:pt x="4804" y="172"/>
                    </a:lnTo>
                    <a:moveTo>
                      <a:pt x="4852" y="0"/>
                    </a:moveTo>
                    <a:lnTo>
                      <a:pt x="4852" y="0"/>
                    </a:lnTo>
                    <a:lnTo>
                      <a:pt x="4852" y="2"/>
                    </a:lnTo>
                    <a:lnTo>
                      <a:pt x="4852" y="151"/>
                    </a:lnTo>
                    <a:lnTo>
                      <a:pt x="4852" y="151"/>
                    </a:lnTo>
                    <a:lnTo>
                      <a:pt x="4852" y="0"/>
                    </a:lnTo>
                    <a:moveTo>
                      <a:pt x="4911" y="0"/>
                    </a:moveTo>
                    <a:lnTo>
                      <a:pt x="4908" y="0"/>
                    </a:lnTo>
                    <a:lnTo>
                      <a:pt x="4908" y="2"/>
                    </a:lnTo>
                    <a:lnTo>
                      <a:pt x="4908" y="151"/>
                    </a:lnTo>
                    <a:lnTo>
                      <a:pt x="4911" y="151"/>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9" name="Freeform 124"/>
              <p:cNvSpPr>
                <a:spLocks noEditPoints="1"/>
              </p:cNvSpPr>
              <p:nvPr/>
            </p:nvSpPr>
            <p:spPr bwMode="auto">
              <a:xfrm>
                <a:off x="28" y="1679"/>
                <a:ext cx="7025" cy="1674"/>
              </a:xfrm>
              <a:custGeom>
                <a:avLst/>
                <a:gdLst>
                  <a:gd name="T0" fmla="*/ 2 w 7025"/>
                  <a:gd name="T1" fmla="*/ 1515 h 1674"/>
                  <a:gd name="T2" fmla="*/ 5663 w 7025"/>
                  <a:gd name="T3" fmla="*/ 1430 h 1674"/>
                  <a:gd name="T4" fmla="*/ 3710 w 7025"/>
                  <a:gd name="T5" fmla="*/ 1222 h 1674"/>
                  <a:gd name="T6" fmla="*/ 5831 w 7025"/>
                  <a:gd name="T7" fmla="*/ 1210 h 1674"/>
                  <a:gd name="T8" fmla="*/ 5831 w 7025"/>
                  <a:gd name="T9" fmla="*/ 1307 h 1674"/>
                  <a:gd name="T10" fmla="*/ 1665 w 7025"/>
                  <a:gd name="T11" fmla="*/ 1160 h 1674"/>
                  <a:gd name="T12" fmla="*/ 1686 w 7025"/>
                  <a:gd name="T13" fmla="*/ 1132 h 1674"/>
                  <a:gd name="T14" fmla="*/ 5857 w 7025"/>
                  <a:gd name="T15" fmla="*/ 1130 h 1674"/>
                  <a:gd name="T16" fmla="*/ 5857 w 7025"/>
                  <a:gd name="T17" fmla="*/ 1191 h 1674"/>
                  <a:gd name="T18" fmla="*/ 6320 w 7025"/>
                  <a:gd name="T19" fmla="*/ 1130 h 1674"/>
                  <a:gd name="T20" fmla="*/ 1445 w 7025"/>
                  <a:gd name="T21" fmla="*/ 1127 h 1674"/>
                  <a:gd name="T22" fmla="*/ 1447 w 7025"/>
                  <a:gd name="T23" fmla="*/ 1127 h 1674"/>
                  <a:gd name="T24" fmla="*/ 1464 w 7025"/>
                  <a:gd name="T25" fmla="*/ 1108 h 1674"/>
                  <a:gd name="T26" fmla="*/ 2859 w 7025"/>
                  <a:gd name="T27" fmla="*/ 1063 h 1674"/>
                  <a:gd name="T28" fmla="*/ 2861 w 7025"/>
                  <a:gd name="T29" fmla="*/ 1063 h 1674"/>
                  <a:gd name="T30" fmla="*/ 5928 w 7025"/>
                  <a:gd name="T31" fmla="*/ 1111 h 1674"/>
                  <a:gd name="T32" fmla="*/ 2875 w 7025"/>
                  <a:gd name="T33" fmla="*/ 1014 h 1674"/>
                  <a:gd name="T34" fmla="*/ 2878 w 7025"/>
                  <a:gd name="T35" fmla="*/ 1011 h 1674"/>
                  <a:gd name="T36" fmla="*/ 3771 w 7025"/>
                  <a:gd name="T37" fmla="*/ 1205 h 1674"/>
                  <a:gd name="T38" fmla="*/ 5947 w 7025"/>
                  <a:gd name="T39" fmla="*/ 1025 h 1674"/>
                  <a:gd name="T40" fmla="*/ 6339 w 7025"/>
                  <a:gd name="T41" fmla="*/ 935 h 1674"/>
                  <a:gd name="T42" fmla="*/ 6339 w 7025"/>
                  <a:gd name="T43" fmla="*/ 1113 h 1674"/>
                  <a:gd name="T44" fmla="*/ 3842 w 7025"/>
                  <a:gd name="T45" fmla="*/ 928 h 1674"/>
                  <a:gd name="T46" fmla="*/ 6384 w 7025"/>
                  <a:gd name="T47" fmla="*/ 895 h 1674"/>
                  <a:gd name="T48" fmla="*/ 6379 w 7025"/>
                  <a:gd name="T49" fmla="*/ 916 h 1674"/>
                  <a:gd name="T50" fmla="*/ 6386 w 7025"/>
                  <a:gd name="T51" fmla="*/ 881 h 1674"/>
                  <a:gd name="T52" fmla="*/ 6389 w 7025"/>
                  <a:gd name="T53" fmla="*/ 879 h 1674"/>
                  <a:gd name="T54" fmla="*/ 6396 w 7025"/>
                  <a:gd name="T55" fmla="*/ 872 h 1674"/>
                  <a:gd name="T56" fmla="*/ 804 w 7025"/>
                  <a:gd name="T57" fmla="*/ 827 h 1674"/>
                  <a:gd name="T58" fmla="*/ 3100 w 7025"/>
                  <a:gd name="T59" fmla="*/ 763 h 1674"/>
                  <a:gd name="T60" fmla="*/ 3100 w 7025"/>
                  <a:gd name="T61" fmla="*/ 961 h 1674"/>
                  <a:gd name="T62" fmla="*/ 1007 w 7025"/>
                  <a:gd name="T63" fmla="*/ 810 h 1674"/>
                  <a:gd name="T64" fmla="*/ 5131 w 7025"/>
                  <a:gd name="T65" fmla="*/ 734 h 1674"/>
                  <a:gd name="T66" fmla="*/ 3138 w 7025"/>
                  <a:gd name="T67" fmla="*/ 658 h 1674"/>
                  <a:gd name="T68" fmla="*/ 97 w 7025"/>
                  <a:gd name="T69" fmla="*/ 618 h 1674"/>
                  <a:gd name="T70" fmla="*/ 97 w 7025"/>
                  <a:gd name="T71" fmla="*/ 618 h 1674"/>
                  <a:gd name="T72" fmla="*/ 5254 w 7025"/>
                  <a:gd name="T73" fmla="*/ 713 h 1674"/>
                  <a:gd name="T74" fmla="*/ 3279 w 7025"/>
                  <a:gd name="T75" fmla="*/ 585 h 1674"/>
                  <a:gd name="T76" fmla="*/ 300 w 7025"/>
                  <a:gd name="T77" fmla="*/ 547 h 1674"/>
                  <a:gd name="T78" fmla="*/ 7025 w 7025"/>
                  <a:gd name="T79" fmla="*/ 509 h 1674"/>
                  <a:gd name="T80" fmla="*/ 7025 w 7025"/>
                  <a:gd name="T81" fmla="*/ 509 h 1674"/>
                  <a:gd name="T82" fmla="*/ 4138 w 7025"/>
                  <a:gd name="T83" fmla="*/ 580 h 1674"/>
                  <a:gd name="T84" fmla="*/ 3298 w 7025"/>
                  <a:gd name="T85" fmla="*/ 505 h 1674"/>
                  <a:gd name="T86" fmla="*/ 3301 w 7025"/>
                  <a:gd name="T87" fmla="*/ 502 h 1674"/>
                  <a:gd name="T88" fmla="*/ 4034 w 7025"/>
                  <a:gd name="T89" fmla="*/ 490 h 1674"/>
                  <a:gd name="T90" fmla="*/ 4036 w 7025"/>
                  <a:gd name="T91" fmla="*/ 490 h 1674"/>
                  <a:gd name="T92" fmla="*/ 3327 w 7025"/>
                  <a:gd name="T93" fmla="*/ 483 h 1674"/>
                  <a:gd name="T94" fmla="*/ 4041 w 7025"/>
                  <a:gd name="T95" fmla="*/ 391 h 1674"/>
                  <a:gd name="T96" fmla="*/ 4043 w 7025"/>
                  <a:gd name="T97" fmla="*/ 448 h 1674"/>
                  <a:gd name="T98" fmla="*/ 1809 w 7025"/>
                  <a:gd name="T99" fmla="*/ 1113 h 1674"/>
                  <a:gd name="T100" fmla="*/ 1936 w 7025"/>
                  <a:gd name="T101" fmla="*/ 336 h 1674"/>
                  <a:gd name="T102" fmla="*/ 4048 w 7025"/>
                  <a:gd name="T103" fmla="*/ 327 h 1674"/>
                  <a:gd name="T104" fmla="*/ 4050 w 7025"/>
                  <a:gd name="T105" fmla="*/ 381 h 1674"/>
                  <a:gd name="T106" fmla="*/ 2026 w 7025"/>
                  <a:gd name="T107" fmla="*/ 315 h 1674"/>
                  <a:gd name="T108" fmla="*/ 4701 w 7025"/>
                  <a:gd name="T109" fmla="*/ 235 h 1674"/>
                  <a:gd name="T110" fmla="*/ 4802 w 7025"/>
                  <a:gd name="T111" fmla="*/ 173 h 1674"/>
                  <a:gd name="T112" fmla="*/ 4805 w 7025"/>
                  <a:gd name="T113" fmla="*/ 173 h 1674"/>
                  <a:gd name="T114" fmla="*/ 4852 w 7025"/>
                  <a:gd name="T115" fmla="*/ 154 h 1674"/>
                  <a:gd name="T116" fmla="*/ 4909 w 7025"/>
                  <a:gd name="T117" fmla="*/ 15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4">
                    <a:moveTo>
                      <a:pt x="2" y="1454"/>
                    </a:moveTo>
                    <a:lnTo>
                      <a:pt x="0" y="1454"/>
                    </a:lnTo>
                    <a:lnTo>
                      <a:pt x="0" y="1456"/>
                    </a:lnTo>
                    <a:lnTo>
                      <a:pt x="0" y="1515"/>
                    </a:lnTo>
                    <a:lnTo>
                      <a:pt x="2" y="1515"/>
                    </a:lnTo>
                    <a:lnTo>
                      <a:pt x="2" y="1454"/>
                    </a:lnTo>
                    <a:close/>
                    <a:moveTo>
                      <a:pt x="5665" y="1326"/>
                    </a:moveTo>
                    <a:lnTo>
                      <a:pt x="5663" y="1326"/>
                    </a:lnTo>
                    <a:lnTo>
                      <a:pt x="5663" y="1328"/>
                    </a:lnTo>
                    <a:lnTo>
                      <a:pt x="5663" y="1430"/>
                    </a:lnTo>
                    <a:lnTo>
                      <a:pt x="5665" y="1430"/>
                    </a:lnTo>
                    <a:lnTo>
                      <a:pt x="5665" y="1326"/>
                    </a:lnTo>
                    <a:close/>
                    <a:moveTo>
                      <a:pt x="3710" y="1222"/>
                    </a:moveTo>
                    <a:lnTo>
                      <a:pt x="3710" y="1222"/>
                    </a:lnTo>
                    <a:lnTo>
                      <a:pt x="3710" y="1222"/>
                    </a:lnTo>
                    <a:lnTo>
                      <a:pt x="3710" y="1224"/>
                    </a:lnTo>
                    <a:lnTo>
                      <a:pt x="3710" y="1373"/>
                    </a:lnTo>
                    <a:lnTo>
                      <a:pt x="3710" y="1373"/>
                    </a:lnTo>
                    <a:lnTo>
                      <a:pt x="3710" y="1222"/>
                    </a:lnTo>
                    <a:close/>
                    <a:moveTo>
                      <a:pt x="5831" y="1210"/>
                    </a:moveTo>
                    <a:lnTo>
                      <a:pt x="5831" y="1210"/>
                    </a:lnTo>
                    <a:lnTo>
                      <a:pt x="5828" y="1210"/>
                    </a:lnTo>
                    <a:lnTo>
                      <a:pt x="5828" y="1210"/>
                    </a:lnTo>
                    <a:lnTo>
                      <a:pt x="5828" y="1307"/>
                    </a:lnTo>
                    <a:lnTo>
                      <a:pt x="5831" y="1307"/>
                    </a:lnTo>
                    <a:lnTo>
                      <a:pt x="5831" y="1210"/>
                    </a:lnTo>
                    <a:close/>
                    <a:moveTo>
                      <a:pt x="1665" y="1158"/>
                    </a:moveTo>
                    <a:lnTo>
                      <a:pt x="1665" y="1158"/>
                    </a:lnTo>
                    <a:lnTo>
                      <a:pt x="1665" y="1158"/>
                    </a:lnTo>
                    <a:lnTo>
                      <a:pt x="1665" y="1160"/>
                    </a:lnTo>
                    <a:lnTo>
                      <a:pt x="1665" y="1182"/>
                    </a:lnTo>
                    <a:lnTo>
                      <a:pt x="1665" y="1182"/>
                    </a:lnTo>
                    <a:lnTo>
                      <a:pt x="1665" y="1158"/>
                    </a:lnTo>
                    <a:close/>
                    <a:moveTo>
                      <a:pt x="1688" y="1132"/>
                    </a:moveTo>
                    <a:lnTo>
                      <a:pt x="1686" y="1132"/>
                    </a:lnTo>
                    <a:lnTo>
                      <a:pt x="1686" y="1134"/>
                    </a:lnTo>
                    <a:lnTo>
                      <a:pt x="1686" y="1139"/>
                    </a:lnTo>
                    <a:lnTo>
                      <a:pt x="1688" y="1139"/>
                    </a:lnTo>
                    <a:lnTo>
                      <a:pt x="1688" y="1132"/>
                    </a:lnTo>
                    <a:close/>
                    <a:moveTo>
                      <a:pt x="5857" y="1130"/>
                    </a:moveTo>
                    <a:lnTo>
                      <a:pt x="5854" y="1130"/>
                    </a:lnTo>
                    <a:lnTo>
                      <a:pt x="5854" y="1130"/>
                    </a:lnTo>
                    <a:lnTo>
                      <a:pt x="5854" y="1130"/>
                    </a:lnTo>
                    <a:lnTo>
                      <a:pt x="5854" y="1191"/>
                    </a:lnTo>
                    <a:lnTo>
                      <a:pt x="5857" y="1191"/>
                    </a:lnTo>
                    <a:lnTo>
                      <a:pt x="5857" y="1130"/>
                    </a:lnTo>
                    <a:close/>
                    <a:moveTo>
                      <a:pt x="6323" y="1130"/>
                    </a:moveTo>
                    <a:lnTo>
                      <a:pt x="6320" y="1130"/>
                    </a:lnTo>
                    <a:lnTo>
                      <a:pt x="6320" y="1130"/>
                    </a:lnTo>
                    <a:lnTo>
                      <a:pt x="6320" y="1130"/>
                    </a:lnTo>
                    <a:lnTo>
                      <a:pt x="6320" y="1345"/>
                    </a:lnTo>
                    <a:lnTo>
                      <a:pt x="6323" y="1345"/>
                    </a:lnTo>
                    <a:lnTo>
                      <a:pt x="6323" y="1130"/>
                    </a:lnTo>
                    <a:close/>
                    <a:moveTo>
                      <a:pt x="1447" y="1127"/>
                    </a:moveTo>
                    <a:lnTo>
                      <a:pt x="1445" y="1127"/>
                    </a:lnTo>
                    <a:lnTo>
                      <a:pt x="1445" y="1127"/>
                    </a:lnTo>
                    <a:lnTo>
                      <a:pt x="1445" y="1127"/>
                    </a:lnTo>
                    <a:lnTo>
                      <a:pt x="1445" y="1182"/>
                    </a:lnTo>
                    <a:lnTo>
                      <a:pt x="1447" y="1182"/>
                    </a:lnTo>
                    <a:lnTo>
                      <a:pt x="1447" y="1127"/>
                    </a:lnTo>
                    <a:close/>
                    <a:moveTo>
                      <a:pt x="1464" y="1085"/>
                    </a:moveTo>
                    <a:lnTo>
                      <a:pt x="1461" y="1085"/>
                    </a:lnTo>
                    <a:lnTo>
                      <a:pt x="1461" y="1087"/>
                    </a:lnTo>
                    <a:lnTo>
                      <a:pt x="1461" y="1108"/>
                    </a:lnTo>
                    <a:lnTo>
                      <a:pt x="1464" y="1108"/>
                    </a:lnTo>
                    <a:lnTo>
                      <a:pt x="1464" y="1108"/>
                    </a:lnTo>
                    <a:lnTo>
                      <a:pt x="1464" y="1108"/>
                    </a:lnTo>
                    <a:lnTo>
                      <a:pt x="1464" y="1085"/>
                    </a:lnTo>
                    <a:close/>
                    <a:moveTo>
                      <a:pt x="2861" y="1063"/>
                    </a:moveTo>
                    <a:lnTo>
                      <a:pt x="2859" y="1063"/>
                    </a:lnTo>
                    <a:lnTo>
                      <a:pt x="2859" y="1063"/>
                    </a:lnTo>
                    <a:lnTo>
                      <a:pt x="2859" y="1066"/>
                    </a:lnTo>
                    <a:lnTo>
                      <a:pt x="2859" y="1222"/>
                    </a:lnTo>
                    <a:lnTo>
                      <a:pt x="2861" y="1222"/>
                    </a:lnTo>
                    <a:lnTo>
                      <a:pt x="2861" y="1063"/>
                    </a:lnTo>
                    <a:close/>
                    <a:moveTo>
                      <a:pt x="5930" y="1042"/>
                    </a:moveTo>
                    <a:lnTo>
                      <a:pt x="5930" y="1042"/>
                    </a:lnTo>
                    <a:lnTo>
                      <a:pt x="5928" y="1042"/>
                    </a:lnTo>
                    <a:lnTo>
                      <a:pt x="5928" y="1044"/>
                    </a:lnTo>
                    <a:lnTo>
                      <a:pt x="5928" y="1111"/>
                    </a:lnTo>
                    <a:lnTo>
                      <a:pt x="5930" y="1111"/>
                    </a:lnTo>
                    <a:lnTo>
                      <a:pt x="5930" y="1042"/>
                    </a:lnTo>
                    <a:close/>
                    <a:moveTo>
                      <a:pt x="2878" y="1011"/>
                    </a:moveTo>
                    <a:lnTo>
                      <a:pt x="2875" y="1014"/>
                    </a:lnTo>
                    <a:lnTo>
                      <a:pt x="2875" y="1014"/>
                    </a:lnTo>
                    <a:lnTo>
                      <a:pt x="2875" y="1047"/>
                    </a:lnTo>
                    <a:lnTo>
                      <a:pt x="2878" y="1047"/>
                    </a:lnTo>
                    <a:lnTo>
                      <a:pt x="2878" y="1044"/>
                    </a:lnTo>
                    <a:lnTo>
                      <a:pt x="2878" y="1044"/>
                    </a:lnTo>
                    <a:lnTo>
                      <a:pt x="2878" y="1011"/>
                    </a:lnTo>
                    <a:close/>
                    <a:moveTo>
                      <a:pt x="3771" y="995"/>
                    </a:moveTo>
                    <a:lnTo>
                      <a:pt x="3769" y="995"/>
                    </a:lnTo>
                    <a:lnTo>
                      <a:pt x="3769" y="995"/>
                    </a:lnTo>
                    <a:lnTo>
                      <a:pt x="3769" y="1205"/>
                    </a:lnTo>
                    <a:lnTo>
                      <a:pt x="3771" y="1205"/>
                    </a:lnTo>
                    <a:lnTo>
                      <a:pt x="3771" y="995"/>
                    </a:lnTo>
                    <a:close/>
                    <a:moveTo>
                      <a:pt x="5949" y="990"/>
                    </a:moveTo>
                    <a:lnTo>
                      <a:pt x="5947" y="990"/>
                    </a:lnTo>
                    <a:lnTo>
                      <a:pt x="5947" y="992"/>
                    </a:lnTo>
                    <a:lnTo>
                      <a:pt x="5947" y="1025"/>
                    </a:lnTo>
                    <a:lnTo>
                      <a:pt x="5947" y="1025"/>
                    </a:lnTo>
                    <a:lnTo>
                      <a:pt x="5947" y="1023"/>
                    </a:lnTo>
                    <a:lnTo>
                      <a:pt x="5949" y="1023"/>
                    </a:lnTo>
                    <a:lnTo>
                      <a:pt x="5949" y="990"/>
                    </a:lnTo>
                    <a:close/>
                    <a:moveTo>
                      <a:pt x="6339" y="935"/>
                    </a:moveTo>
                    <a:lnTo>
                      <a:pt x="6339" y="935"/>
                    </a:lnTo>
                    <a:lnTo>
                      <a:pt x="6337" y="935"/>
                    </a:lnTo>
                    <a:lnTo>
                      <a:pt x="6337" y="938"/>
                    </a:lnTo>
                    <a:lnTo>
                      <a:pt x="6337" y="1113"/>
                    </a:lnTo>
                    <a:lnTo>
                      <a:pt x="6339" y="1113"/>
                    </a:lnTo>
                    <a:lnTo>
                      <a:pt x="6339" y="1111"/>
                    </a:lnTo>
                    <a:lnTo>
                      <a:pt x="6339" y="1111"/>
                    </a:lnTo>
                    <a:lnTo>
                      <a:pt x="6339" y="935"/>
                    </a:lnTo>
                    <a:close/>
                    <a:moveTo>
                      <a:pt x="3845" y="928"/>
                    </a:moveTo>
                    <a:lnTo>
                      <a:pt x="3842" y="928"/>
                    </a:lnTo>
                    <a:lnTo>
                      <a:pt x="3842" y="931"/>
                    </a:lnTo>
                    <a:lnTo>
                      <a:pt x="3842" y="976"/>
                    </a:lnTo>
                    <a:lnTo>
                      <a:pt x="3845" y="976"/>
                    </a:lnTo>
                    <a:lnTo>
                      <a:pt x="3845" y="928"/>
                    </a:lnTo>
                    <a:close/>
                    <a:moveTo>
                      <a:pt x="6384" y="895"/>
                    </a:moveTo>
                    <a:lnTo>
                      <a:pt x="6384" y="895"/>
                    </a:lnTo>
                    <a:lnTo>
                      <a:pt x="6384" y="895"/>
                    </a:lnTo>
                    <a:lnTo>
                      <a:pt x="6382" y="898"/>
                    </a:lnTo>
                    <a:lnTo>
                      <a:pt x="6377" y="916"/>
                    </a:lnTo>
                    <a:lnTo>
                      <a:pt x="6379" y="916"/>
                    </a:lnTo>
                    <a:lnTo>
                      <a:pt x="6384" y="895"/>
                    </a:lnTo>
                    <a:close/>
                    <a:moveTo>
                      <a:pt x="6389" y="879"/>
                    </a:moveTo>
                    <a:lnTo>
                      <a:pt x="6389" y="879"/>
                    </a:lnTo>
                    <a:lnTo>
                      <a:pt x="6386" y="879"/>
                    </a:lnTo>
                    <a:lnTo>
                      <a:pt x="6386" y="881"/>
                    </a:lnTo>
                    <a:lnTo>
                      <a:pt x="6386" y="893"/>
                    </a:lnTo>
                    <a:lnTo>
                      <a:pt x="6389" y="893"/>
                    </a:lnTo>
                    <a:lnTo>
                      <a:pt x="6389" y="890"/>
                    </a:lnTo>
                    <a:lnTo>
                      <a:pt x="6389" y="890"/>
                    </a:lnTo>
                    <a:lnTo>
                      <a:pt x="6389" y="879"/>
                    </a:lnTo>
                    <a:close/>
                    <a:moveTo>
                      <a:pt x="6398" y="850"/>
                    </a:moveTo>
                    <a:lnTo>
                      <a:pt x="6396" y="850"/>
                    </a:lnTo>
                    <a:lnTo>
                      <a:pt x="6396" y="853"/>
                    </a:lnTo>
                    <a:lnTo>
                      <a:pt x="6396" y="872"/>
                    </a:lnTo>
                    <a:lnTo>
                      <a:pt x="6396" y="872"/>
                    </a:lnTo>
                    <a:lnTo>
                      <a:pt x="6396" y="869"/>
                    </a:lnTo>
                    <a:lnTo>
                      <a:pt x="6398" y="869"/>
                    </a:lnTo>
                    <a:lnTo>
                      <a:pt x="6398" y="850"/>
                    </a:lnTo>
                    <a:close/>
                    <a:moveTo>
                      <a:pt x="806" y="827"/>
                    </a:moveTo>
                    <a:lnTo>
                      <a:pt x="804" y="827"/>
                    </a:lnTo>
                    <a:lnTo>
                      <a:pt x="804" y="829"/>
                    </a:lnTo>
                    <a:lnTo>
                      <a:pt x="804" y="1051"/>
                    </a:lnTo>
                    <a:lnTo>
                      <a:pt x="806" y="1051"/>
                    </a:lnTo>
                    <a:lnTo>
                      <a:pt x="806" y="827"/>
                    </a:lnTo>
                    <a:close/>
                    <a:moveTo>
                      <a:pt x="3100" y="763"/>
                    </a:moveTo>
                    <a:lnTo>
                      <a:pt x="3100" y="763"/>
                    </a:lnTo>
                    <a:lnTo>
                      <a:pt x="3097" y="763"/>
                    </a:lnTo>
                    <a:lnTo>
                      <a:pt x="3097" y="765"/>
                    </a:lnTo>
                    <a:lnTo>
                      <a:pt x="3097" y="961"/>
                    </a:lnTo>
                    <a:lnTo>
                      <a:pt x="3100" y="961"/>
                    </a:lnTo>
                    <a:lnTo>
                      <a:pt x="3100" y="763"/>
                    </a:lnTo>
                    <a:close/>
                    <a:moveTo>
                      <a:pt x="1010" y="753"/>
                    </a:moveTo>
                    <a:lnTo>
                      <a:pt x="1007" y="753"/>
                    </a:lnTo>
                    <a:lnTo>
                      <a:pt x="1007" y="755"/>
                    </a:lnTo>
                    <a:lnTo>
                      <a:pt x="1007" y="810"/>
                    </a:lnTo>
                    <a:lnTo>
                      <a:pt x="1010" y="810"/>
                    </a:lnTo>
                    <a:lnTo>
                      <a:pt x="1010" y="753"/>
                    </a:lnTo>
                    <a:close/>
                    <a:moveTo>
                      <a:pt x="5131" y="732"/>
                    </a:moveTo>
                    <a:lnTo>
                      <a:pt x="5131" y="732"/>
                    </a:lnTo>
                    <a:lnTo>
                      <a:pt x="5131" y="734"/>
                    </a:lnTo>
                    <a:lnTo>
                      <a:pt x="5131" y="954"/>
                    </a:lnTo>
                    <a:lnTo>
                      <a:pt x="5131" y="954"/>
                    </a:lnTo>
                    <a:lnTo>
                      <a:pt x="5131" y="732"/>
                    </a:lnTo>
                    <a:close/>
                    <a:moveTo>
                      <a:pt x="3138" y="658"/>
                    </a:moveTo>
                    <a:lnTo>
                      <a:pt x="3138" y="658"/>
                    </a:lnTo>
                    <a:lnTo>
                      <a:pt x="3138" y="658"/>
                    </a:lnTo>
                    <a:lnTo>
                      <a:pt x="3138" y="744"/>
                    </a:lnTo>
                    <a:lnTo>
                      <a:pt x="3138" y="744"/>
                    </a:lnTo>
                    <a:lnTo>
                      <a:pt x="3138" y="658"/>
                    </a:lnTo>
                    <a:close/>
                    <a:moveTo>
                      <a:pt x="97" y="618"/>
                    </a:moveTo>
                    <a:lnTo>
                      <a:pt x="95" y="618"/>
                    </a:lnTo>
                    <a:lnTo>
                      <a:pt x="95" y="618"/>
                    </a:lnTo>
                    <a:lnTo>
                      <a:pt x="95" y="1435"/>
                    </a:lnTo>
                    <a:lnTo>
                      <a:pt x="97" y="1435"/>
                    </a:lnTo>
                    <a:lnTo>
                      <a:pt x="97" y="618"/>
                    </a:lnTo>
                    <a:close/>
                    <a:moveTo>
                      <a:pt x="5254" y="609"/>
                    </a:moveTo>
                    <a:lnTo>
                      <a:pt x="5251" y="609"/>
                    </a:lnTo>
                    <a:lnTo>
                      <a:pt x="5251" y="611"/>
                    </a:lnTo>
                    <a:lnTo>
                      <a:pt x="5251" y="713"/>
                    </a:lnTo>
                    <a:lnTo>
                      <a:pt x="5254" y="713"/>
                    </a:lnTo>
                    <a:lnTo>
                      <a:pt x="5254" y="609"/>
                    </a:lnTo>
                    <a:close/>
                    <a:moveTo>
                      <a:pt x="3282" y="583"/>
                    </a:moveTo>
                    <a:lnTo>
                      <a:pt x="3282" y="583"/>
                    </a:lnTo>
                    <a:lnTo>
                      <a:pt x="3279" y="583"/>
                    </a:lnTo>
                    <a:lnTo>
                      <a:pt x="3279" y="585"/>
                    </a:lnTo>
                    <a:lnTo>
                      <a:pt x="3279" y="639"/>
                    </a:lnTo>
                    <a:lnTo>
                      <a:pt x="3282" y="639"/>
                    </a:lnTo>
                    <a:lnTo>
                      <a:pt x="3282" y="583"/>
                    </a:lnTo>
                    <a:close/>
                    <a:moveTo>
                      <a:pt x="303" y="547"/>
                    </a:moveTo>
                    <a:lnTo>
                      <a:pt x="300" y="547"/>
                    </a:lnTo>
                    <a:lnTo>
                      <a:pt x="300" y="550"/>
                    </a:lnTo>
                    <a:lnTo>
                      <a:pt x="300" y="599"/>
                    </a:lnTo>
                    <a:lnTo>
                      <a:pt x="303" y="599"/>
                    </a:lnTo>
                    <a:lnTo>
                      <a:pt x="303" y="547"/>
                    </a:lnTo>
                    <a:close/>
                    <a:moveTo>
                      <a:pt x="7025" y="509"/>
                    </a:moveTo>
                    <a:lnTo>
                      <a:pt x="7023" y="509"/>
                    </a:lnTo>
                    <a:lnTo>
                      <a:pt x="7023" y="512"/>
                    </a:lnTo>
                    <a:lnTo>
                      <a:pt x="7023" y="1674"/>
                    </a:lnTo>
                    <a:lnTo>
                      <a:pt x="7025" y="1674"/>
                    </a:lnTo>
                    <a:lnTo>
                      <a:pt x="7025" y="509"/>
                    </a:lnTo>
                    <a:close/>
                    <a:moveTo>
                      <a:pt x="4192" y="505"/>
                    </a:moveTo>
                    <a:lnTo>
                      <a:pt x="4192" y="505"/>
                    </a:lnTo>
                    <a:lnTo>
                      <a:pt x="4192" y="505"/>
                    </a:lnTo>
                    <a:lnTo>
                      <a:pt x="4135" y="580"/>
                    </a:lnTo>
                    <a:lnTo>
                      <a:pt x="4138" y="580"/>
                    </a:lnTo>
                    <a:lnTo>
                      <a:pt x="4192" y="505"/>
                    </a:lnTo>
                    <a:close/>
                    <a:moveTo>
                      <a:pt x="3301" y="502"/>
                    </a:moveTo>
                    <a:lnTo>
                      <a:pt x="3298" y="502"/>
                    </a:lnTo>
                    <a:lnTo>
                      <a:pt x="3298" y="502"/>
                    </a:lnTo>
                    <a:lnTo>
                      <a:pt x="3298" y="505"/>
                    </a:lnTo>
                    <a:lnTo>
                      <a:pt x="3298" y="566"/>
                    </a:lnTo>
                    <a:lnTo>
                      <a:pt x="3298" y="566"/>
                    </a:lnTo>
                    <a:lnTo>
                      <a:pt x="3298" y="564"/>
                    </a:lnTo>
                    <a:lnTo>
                      <a:pt x="3301" y="564"/>
                    </a:lnTo>
                    <a:lnTo>
                      <a:pt x="3301" y="502"/>
                    </a:lnTo>
                    <a:close/>
                    <a:moveTo>
                      <a:pt x="4036" y="455"/>
                    </a:moveTo>
                    <a:lnTo>
                      <a:pt x="4034" y="455"/>
                    </a:lnTo>
                    <a:lnTo>
                      <a:pt x="4034" y="455"/>
                    </a:lnTo>
                    <a:lnTo>
                      <a:pt x="4034" y="457"/>
                    </a:lnTo>
                    <a:lnTo>
                      <a:pt x="4034" y="490"/>
                    </a:lnTo>
                    <a:lnTo>
                      <a:pt x="3953" y="644"/>
                    </a:lnTo>
                    <a:lnTo>
                      <a:pt x="3953" y="909"/>
                    </a:lnTo>
                    <a:lnTo>
                      <a:pt x="3956" y="909"/>
                    </a:lnTo>
                    <a:lnTo>
                      <a:pt x="3956" y="642"/>
                    </a:lnTo>
                    <a:lnTo>
                      <a:pt x="4036" y="490"/>
                    </a:lnTo>
                    <a:lnTo>
                      <a:pt x="4036" y="455"/>
                    </a:lnTo>
                    <a:close/>
                    <a:moveTo>
                      <a:pt x="3329" y="433"/>
                    </a:moveTo>
                    <a:lnTo>
                      <a:pt x="3327" y="433"/>
                    </a:lnTo>
                    <a:lnTo>
                      <a:pt x="3327" y="436"/>
                    </a:lnTo>
                    <a:lnTo>
                      <a:pt x="3327" y="483"/>
                    </a:lnTo>
                    <a:lnTo>
                      <a:pt x="3329" y="483"/>
                    </a:lnTo>
                    <a:lnTo>
                      <a:pt x="3329" y="433"/>
                    </a:lnTo>
                    <a:close/>
                    <a:moveTo>
                      <a:pt x="4043" y="391"/>
                    </a:moveTo>
                    <a:lnTo>
                      <a:pt x="4041" y="391"/>
                    </a:lnTo>
                    <a:lnTo>
                      <a:pt x="4041" y="391"/>
                    </a:lnTo>
                    <a:lnTo>
                      <a:pt x="4041" y="393"/>
                    </a:lnTo>
                    <a:lnTo>
                      <a:pt x="4041" y="450"/>
                    </a:lnTo>
                    <a:lnTo>
                      <a:pt x="4043" y="450"/>
                    </a:lnTo>
                    <a:lnTo>
                      <a:pt x="4043" y="448"/>
                    </a:lnTo>
                    <a:lnTo>
                      <a:pt x="4043" y="448"/>
                    </a:lnTo>
                    <a:lnTo>
                      <a:pt x="4043" y="391"/>
                    </a:lnTo>
                    <a:close/>
                    <a:moveTo>
                      <a:pt x="1809" y="370"/>
                    </a:moveTo>
                    <a:lnTo>
                      <a:pt x="1809" y="370"/>
                    </a:lnTo>
                    <a:lnTo>
                      <a:pt x="1809" y="372"/>
                    </a:lnTo>
                    <a:lnTo>
                      <a:pt x="1809" y="1113"/>
                    </a:lnTo>
                    <a:lnTo>
                      <a:pt x="1809" y="1113"/>
                    </a:lnTo>
                    <a:lnTo>
                      <a:pt x="1809" y="370"/>
                    </a:lnTo>
                    <a:close/>
                    <a:moveTo>
                      <a:pt x="1939" y="334"/>
                    </a:moveTo>
                    <a:lnTo>
                      <a:pt x="1936" y="334"/>
                    </a:lnTo>
                    <a:lnTo>
                      <a:pt x="1936" y="336"/>
                    </a:lnTo>
                    <a:lnTo>
                      <a:pt x="1936" y="351"/>
                    </a:lnTo>
                    <a:lnTo>
                      <a:pt x="1939" y="351"/>
                    </a:lnTo>
                    <a:lnTo>
                      <a:pt x="1939" y="334"/>
                    </a:lnTo>
                    <a:close/>
                    <a:moveTo>
                      <a:pt x="4050" y="327"/>
                    </a:moveTo>
                    <a:lnTo>
                      <a:pt x="4048" y="327"/>
                    </a:lnTo>
                    <a:lnTo>
                      <a:pt x="4048" y="329"/>
                    </a:lnTo>
                    <a:lnTo>
                      <a:pt x="4048" y="384"/>
                    </a:lnTo>
                    <a:lnTo>
                      <a:pt x="4050" y="384"/>
                    </a:lnTo>
                    <a:lnTo>
                      <a:pt x="4050" y="381"/>
                    </a:lnTo>
                    <a:lnTo>
                      <a:pt x="4050" y="381"/>
                    </a:lnTo>
                    <a:lnTo>
                      <a:pt x="4050" y="327"/>
                    </a:lnTo>
                    <a:close/>
                    <a:moveTo>
                      <a:pt x="2029" y="294"/>
                    </a:moveTo>
                    <a:lnTo>
                      <a:pt x="2026" y="294"/>
                    </a:lnTo>
                    <a:lnTo>
                      <a:pt x="2026" y="296"/>
                    </a:lnTo>
                    <a:lnTo>
                      <a:pt x="2026" y="315"/>
                    </a:lnTo>
                    <a:lnTo>
                      <a:pt x="2029" y="315"/>
                    </a:lnTo>
                    <a:lnTo>
                      <a:pt x="2029" y="294"/>
                    </a:lnTo>
                    <a:close/>
                    <a:moveTo>
                      <a:pt x="4703" y="232"/>
                    </a:moveTo>
                    <a:lnTo>
                      <a:pt x="4701" y="232"/>
                    </a:lnTo>
                    <a:lnTo>
                      <a:pt x="4701" y="235"/>
                    </a:lnTo>
                    <a:lnTo>
                      <a:pt x="4639" y="464"/>
                    </a:lnTo>
                    <a:lnTo>
                      <a:pt x="4639" y="464"/>
                    </a:lnTo>
                    <a:lnTo>
                      <a:pt x="4703" y="232"/>
                    </a:lnTo>
                    <a:close/>
                    <a:moveTo>
                      <a:pt x="4805" y="173"/>
                    </a:moveTo>
                    <a:lnTo>
                      <a:pt x="4802" y="173"/>
                    </a:lnTo>
                    <a:lnTo>
                      <a:pt x="4802" y="173"/>
                    </a:lnTo>
                    <a:lnTo>
                      <a:pt x="4802" y="175"/>
                    </a:lnTo>
                    <a:lnTo>
                      <a:pt x="4802" y="213"/>
                    </a:lnTo>
                    <a:lnTo>
                      <a:pt x="4805" y="213"/>
                    </a:lnTo>
                    <a:lnTo>
                      <a:pt x="4805" y="173"/>
                    </a:lnTo>
                    <a:close/>
                    <a:moveTo>
                      <a:pt x="4852" y="0"/>
                    </a:moveTo>
                    <a:lnTo>
                      <a:pt x="4850" y="0"/>
                    </a:lnTo>
                    <a:lnTo>
                      <a:pt x="4850" y="3"/>
                    </a:lnTo>
                    <a:lnTo>
                      <a:pt x="4850" y="154"/>
                    </a:lnTo>
                    <a:lnTo>
                      <a:pt x="4852" y="154"/>
                    </a:lnTo>
                    <a:lnTo>
                      <a:pt x="4852" y="0"/>
                    </a:lnTo>
                    <a:close/>
                    <a:moveTo>
                      <a:pt x="4911" y="0"/>
                    </a:moveTo>
                    <a:lnTo>
                      <a:pt x="4909" y="0"/>
                    </a:lnTo>
                    <a:lnTo>
                      <a:pt x="4909" y="3"/>
                    </a:lnTo>
                    <a:lnTo>
                      <a:pt x="4909" y="154"/>
                    </a:lnTo>
                    <a:lnTo>
                      <a:pt x="4911" y="154"/>
                    </a:lnTo>
                    <a:lnTo>
                      <a:pt x="4911"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0" name="Freeform 125"/>
              <p:cNvSpPr>
                <a:spLocks noEditPoints="1"/>
              </p:cNvSpPr>
              <p:nvPr/>
            </p:nvSpPr>
            <p:spPr bwMode="auto">
              <a:xfrm>
                <a:off x="28" y="1679"/>
                <a:ext cx="7025" cy="1674"/>
              </a:xfrm>
              <a:custGeom>
                <a:avLst/>
                <a:gdLst>
                  <a:gd name="T0" fmla="*/ 2 w 7025"/>
                  <a:gd name="T1" fmla="*/ 1515 h 1674"/>
                  <a:gd name="T2" fmla="*/ 5663 w 7025"/>
                  <a:gd name="T3" fmla="*/ 1430 h 1674"/>
                  <a:gd name="T4" fmla="*/ 3710 w 7025"/>
                  <a:gd name="T5" fmla="*/ 1222 h 1674"/>
                  <a:gd name="T6" fmla="*/ 5831 w 7025"/>
                  <a:gd name="T7" fmla="*/ 1210 h 1674"/>
                  <a:gd name="T8" fmla="*/ 5831 w 7025"/>
                  <a:gd name="T9" fmla="*/ 1307 h 1674"/>
                  <a:gd name="T10" fmla="*/ 1665 w 7025"/>
                  <a:gd name="T11" fmla="*/ 1160 h 1674"/>
                  <a:gd name="T12" fmla="*/ 1686 w 7025"/>
                  <a:gd name="T13" fmla="*/ 1132 h 1674"/>
                  <a:gd name="T14" fmla="*/ 5857 w 7025"/>
                  <a:gd name="T15" fmla="*/ 1130 h 1674"/>
                  <a:gd name="T16" fmla="*/ 5857 w 7025"/>
                  <a:gd name="T17" fmla="*/ 1191 h 1674"/>
                  <a:gd name="T18" fmla="*/ 6320 w 7025"/>
                  <a:gd name="T19" fmla="*/ 1130 h 1674"/>
                  <a:gd name="T20" fmla="*/ 1445 w 7025"/>
                  <a:gd name="T21" fmla="*/ 1127 h 1674"/>
                  <a:gd name="T22" fmla="*/ 1447 w 7025"/>
                  <a:gd name="T23" fmla="*/ 1127 h 1674"/>
                  <a:gd name="T24" fmla="*/ 1464 w 7025"/>
                  <a:gd name="T25" fmla="*/ 1108 h 1674"/>
                  <a:gd name="T26" fmla="*/ 2859 w 7025"/>
                  <a:gd name="T27" fmla="*/ 1063 h 1674"/>
                  <a:gd name="T28" fmla="*/ 2861 w 7025"/>
                  <a:gd name="T29" fmla="*/ 1063 h 1674"/>
                  <a:gd name="T30" fmla="*/ 5928 w 7025"/>
                  <a:gd name="T31" fmla="*/ 1111 h 1674"/>
                  <a:gd name="T32" fmla="*/ 2875 w 7025"/>
                  <a:gd name="T33" fmla="*/ 1014 h 1674"/>
                  <a:gd name="T34" fmla="*/ 2878 w 7025"/>
                  <a:gd name="T35" fmla="*/ 1011 h 1674"/>
                  <a:gd name="T36" fmla="*/ 3771 w 7025"/>
                  <a:gd name="T37" fmla="*/ 1205 h 1674"/>
                  <a:gd name="T38" fmla="*/ 5947 w 7025"/>
                  <a:gd name="T39" fmla="*/ 1025 h 1674"/>
                  <a:gd name="T40" fmla="*/ 6339 w 7025"/>
                  <a:gd name="T41" fmla="*/ 935 h 1674"/>
                  <a:gd name="T42" fmla="*/ 6339 w 7025"/>
                  <a:gd name="T43" fmla="*/ 1113 h 1674"/>
                  <a:gd name="T44" fmla="*/ 3842 w 7025"/>
                  <a:gd name="T45" fmla="*/ 928 h 1674"/>
                  <a:gd name="T46" fmla="*/ 6384 w 7025"/>
                  <a:gd name="T47" fmla="*/ 895 h 1674"/>
                  <a:gd name="T48" fmla="*/ 6379 w 7025"/>
                  <a:gd name="T49" fmla="*/ 916 h 1674"/>
                  <a:gd name="T50" fmla="*/ 6386 w 7025"/>
                  <a:gd name="T51" fmla="*/ 881 h 1674"/>
                  <a:gd name="T52" fmla="*/ 6389 w 7025"/>
                  <a:gd name="T53" fmla="*/ 879 h 1674"/>
                  <a:gd name="T54" fmla="*/ 6396 w 7025"/>
                  <a:gd name="T55" fmla="*/ 872 h 1674"/>
                  <a:gd name="T56" fmla="*/ 804 w 7025"/>
                  <a:gd name="T57" fmla="*/ 827 h 1674"/>
                  <a:gd name="T58" fmla="*/ 3100 w 7025"/>
                  <a:gd name="T59" fmla="*/ 763 h 1674"/>
                  <a:gd name="T60" fmla="*/ 3100 w 7025"/>
                  <a:gd name="T61" fmla="*/ 961 h 1674"/>
                  <a:gd name="T62" fmla="*/ 1007 w 7025"/>
                  <a:gd name="T63" fmla="*/ 810 h 1674"/>
                  <a:gd name="T64" fmla="*/ 5131 w 7025"/>
                  <a:gd name="T65" fmla="*/ 734 h 1674"/>
                  <a:gd name="T66" fmla="*/ 3138 w 7025"/>
                  <a:gd name="T67" fmla="*/ 658 h 1674"/>
                  <a:gd name="T68" fmla="*/ 97 w 7025"/>
                  <a:gd name="T69" fmla="*/ 618 h 1674"/>
                  <a:gd name="T70" fmla="*/ 97 w 7025"/>
                  <a:gd name="T71" fmla="*/ 618 h 1674"/>
                  <a:gd name="T72" fmla="*/ 5254 w 7025"/>
                  <a:gd name="T73" fmla="*/ 713 h 1674"/>
                  <a:gd name="T74" fmla="*/ 3279 w 7025"/>
                  <a:gd name="T75" fmla="*/ 585 h 1674"/>
                  <a:gd name="T76" fmla="*/ 300 w 7025"/>
                  <a:gd name="T77" fmla="*/ 547 h 1674"/>
                  <a:gd name="T78" fmla="*/ 7025 w 7025"/>
                  <a:gd name="T79" fmla="*/ 509 h 1674"/>
                  <a:gd name="T80" fmla="*/ 7025 w 7025"/>
                  <a:gd name="T81" fmla="*/ 509 h 1674"/>
                  <a:gd name="T82" fmla="*/ 4138 w 7025"/>
                  <a:gd name="T83" fmla="*/ 580 h 1674"/>
                  <a:gd name="T84" fmla="*/ 3298 w 7025"/>
                  <a:gd name="T85" fmla="*/ 505 h 1674"/>
                  <a:gd name="T86" fmla="*/ 3301 w 7025"/>
                  <a:gd name="T87" fmla="*/ 502 h 1674"/>
                  <a:gd name="T88" fmla="*/ 4034 w 7025"/>
                  <a:gd name="T89" fmla="*/ 490 h 1674"/>
                  <a:gd name="T90" fmla="*/ 4036 w 7025"/>
                  <a:gd name="T91" fmla="*/ 490 h 1674"/>
                  <a:gd name="T92" fmla="*/ 3327 w 7025"/>
                  <a:gd name="T93" fmla="*/ 483 h 1674"/>
                  <a:gd name="T94" fmla="*/ 4041 w 7025"/>
                  <a:gd name="T95" fmla="*/ 391 h 1674"/>
                  <a:gd name="T96" fmla="*/ 4043 w 7025"/>
                  <a:gd name="T97" fmla="*/ 448 h 1674"/>
                  <a:gd name="T98" fmla="*/ 1809 w 7025"/>
                  <a:gd name="T99" fmla="*/ 1113 h 1674"/>
                  <a:gd name="T100" fmla="*/ 1936 w 7025"/>
                  <a:gd name="T101" fmla="*/ 336 h 1674"/>
                  <a:gd name="T102" fmla="*/ 4048 w 7025"/>
                  <a:gd name="T103" fmla="*/ 327 h 1674"/>
                  <a:gd name="T104" fmla="*/ 4050 w 7025"/>
                  <a:gd name="T105" fmla="*/ 381 h 1674"/>
                  <a:gd name="T106" fmla="*/ 2026 w 7025"/>
                  <a:gd name="T107" fmla="*/ 315 h 1674"/>
                  <a:gd name="T108" fmla="*/ 4701 w 7025"/>
                  <a:gd name="T109" fmla="*/ 235 h 1674"/>
                  <a:gd name="T110" fmla="*/ 4802 w 7025"/>
                  <a:gd name="T111" fmla="*/ 173 h 1674"/>
                  <a:gd name="T112" fmla="*/ 4805 w 7025"/>
                  <a:gd name="T113" fmla="*/ 173 h 1674"/>
                  <a:gd name="T114" fmla="*/ 4852 w 7025"/>
                  <a:gd name="T115" fmla="*/ 154 h 1674"/>
                  <a:gd name="T116" fmla="*/ 4909 w 7025"/>
                  <a:gd name="T117" fmla="*/ 15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4">
                    <a:moveTo>
                      <a:pt x="2" y="1454"/>
                    </a:moveTo>
                    <a:lnTo>
                      <a:pt x="0" y="1454"/>
                    </a:lnTo>
                    <a:lnTo>
                      <a:pt x="0" y="1456"/>
                    </a:lnTo>
                    <a:lnTo>
                      <a:pt x="0" y="1515"/>
                    </a:lnTo>
                    <a:lnTo>
                      <a:pt x="2" y="1515"/>
                    </a:lnTo>
                    <a:lnTo>
                      <a:pt x="2" y="1454"/>
                    </a:lnTo>
                    <a:moveTo>
                      <a:pt x="5665" y="1326"/>
                    </a:moveTo>
                    <a:lnTo>
                      <a:pt x="5663" y="1326"/>
                    </a:lnTo>
                    <a:lnTo>
                      <a:pt x="5663" y="1328"/>
                    </a:lnTo>
                    <a:lnTo>
                      <a:pt x="5663" y="1430"/>
                    </a:lnTo>
                    <a:lnTo>
                      <a:pt x="5665" y="1430"/>
                    </a:lnTo>
                    <a:lnTo>
                      <a:pt x="5665" y="1326"/>
                    </a:lnTo>
                    <a:moveTo>
                      <a:pt x="3710" y="1222"/>
                    </a:moveTo>
                    <a:lnTo>
                      <a:pt x="3710" y="1222"/>
                    </a:lnTo>
                    <a:lnTo>
                      <a:pt x="3710" y="1222"/>
                    </a:lnTo>
                    <a:lnTo>
                      <a:pt x="3710" y="1224"/>
                    </a:lnTo>
                    <a:lnTo>
                      <a:pt x="3710" y="1373"/>
                    </a:lnTo>
                    <a:lnTo>
                      <a:pt x="3710" y="1373"/>
                    </a:lnTo>
                    <a:lnTo>
                      <a:pt x="3710" y="1222"/>
                    </a:lnTo>
                    <a:moveTo>
                      <a:pt x="5831" y="1210"/>
                    </a:moveTo>
                    <a:lnTo>
                      <a:pt x="5831" y="1210"/>
                    </a:lnTo>
                    <a:lnTo>
                      <a:pt x="5828" y="1210"/>
                    </a:lnTo>
                    <a:lnTo>
                      <a:pt x="5828" y="1210"/>
                    </a:lnTo>
                    <a:lnTo>
                      <a:pt x="5828" y="1307"/>
                    </a:lnTo>
                    <a:lnTo>
                      <a:pt x="5831" y="1307"/>
                    </a:lnTo>
                    <a:lnTo>
                      <a:pt x="5831" y="1210"/>
                    </a:lnTo>
                    <a:moveTo>
                      <a:pt x="1665" y="1158"/>
                    </a:moveTo>
                    <a:lnTo>
                      <a:pt x="1665" y="1158"/>
                    </a:lnTo>
                    <a:lnTo>
                      <a:pt x="1665" y="1158"/>
                    </a:lnTo>
                    <a:lnTo>
                      <a:pt x="1665" y="1160"/>
                    </a:lnTo>
                    <a:lnTo>
                      <a:pt x="1665" y="1182"/>
                    </a:lnTo>
                    <a:lnTo>
                      <a:pt x="1665" y="1182"/>
                    </a:lnTo>
                    <a:lnTo>
                      <a:pt x="1665" y="1158"/>
                    </a:lnTo>
                    <a:moveTo>
                      <a:pt x="1688" y="1132"/>
                    </a:moveTo>
                    <a:lnTo>
                      <a:pt x="1686" y="1132"/>
                    </a:lnTo>
                    <a:lnTo>
                      <a:pt x="1686" y="1134"/>
                    </a:lnTo>
                    <a:lnTo>
                      <a:pt x="1686" y="1139"/>
                    </a:lnTo>
                    <a:lnTo>
                      <a:pt x="1688" y="1139"/>
                    </a:lnTo>
                    <a:lnTo>
                      <a:pt x="1688" y="1132"/>
                    </a:lnTo>
                    <a:moveTo>
                      <a:pt x="5857" y="1130"/>
                    </a:moveTo>
                    <a:lnTo>
                      <a:pt x="5854" y="1130"/>
                    </a:lnTo>
                    <a:lnTo>
                      <a:pt x="5854" y="1130"/>
                    </a:lnTo>
                    <a:lnTo>
                      <a:pt x="5854" y="1130"/>
                    </a:lnTo>
                    <a:lnTo>
                      <a:pt x="5854" y="1191"/>
                    </a:lnTo>
                    <a:lnTo>
                      <a:pt x="5857" y="1191"/>
                    </a:lnTo>
                    <a:lnTo>
                      <a:pt x="5857" y="1130"/>
                    </a:lnTo>
                    <a:moveTo>
                      <a:pt x="6323" y="1130"/>
                    </a:moveTo>
                    <a:lnTo>
                      <a:pt x="6320" y="1130"/>
                    </a:lnTo>
                    <a:lnTo>
                      <a:pt x="6320" y="1130"/>
                    </a:lnTo>
                    <a:lnTo>
                      <a:pt x="6320" y="1130"/>
                    </a:lnTo>
                    <a:lnTo>
                      <a:pt x="6320" y="1345"/>
                    </a:lnTo>
                    <a:lnTo>
                      <a:pt x="6323" y="1345"/>
                    </a:lnTo>
                    <a:lnTo>
                      <a:pt x="6323" y="1130"/>
                    </a:lnTo>
                    <a:moveTo>
                      <a:pt x="1447" y="1127"/>
                    </a:moveTo>
                    <a:lnTo>
                      <a:pt x="1445" y="1127"/>
                    </a:lnTo>
                    <a:lnTo>
                      <a:pt x="1445" y="1127"/>
                    </a:lnTo>
                    <a:lnTo>
                      <a:pt x="1445" y="1127"/>
                    </a:lnTo>
                    <a:lnTo>
                      <a:pt x="1445" y="1182"/>
                    </a:lnTo>
                    <a:lnTo>
                      <a:pt x="1447" y="1182"/>
                    </a:lnTo>
                    <a:lnTo>
                      <a:pt x="1447" y="1127"/>
                    </a:lnTo>
                    <a:moveTo>
                      <a:pt x="1464" y="1085"/>
                    </a:moveTo>
                    <a:lnTo>
                      <a:pt x="1461" y="1085"/>
                    </a:lnTo>
                    <a:lnTo>
                      <a:pt x="1461" y="1087"/>
                    </a:lnTo>
                    <a:lnTo>
                      <a:pt x="1461" y="1108"/>
                    </a:lnTo>
                    <a:lnTo>
                      <a:pt x="1464" y="1108"/>
                    </a:lnTo>
                    <a:lnTo>
                      <a:pt x="1464" y="1108"/>
                    </a:lnTo>
                    <a:lnTo>
                      <a:pt x="1464" y="1108"/>
                    </a:lnTo>
                    <a:lnTo>
                      <a:pt x="1464" y="1085"/>
                    </a:lnTo>
                    <a:moveTo>
                      <a:pt x="2861" y="1063"/>
                    </a:moveTo>
                    <a:lnTo>
                      <a:pt x="2859" y="1063"/>
                    </a:lnTo>
                    <a:lnTo>
                      <a:pt x="2859" y="1063"/>
                    </a:lnTo>
                    <a:lnTo>
                      <a:pt x="2859" y="1066"/>
                    </a:lnTo>
                    <a:lnTo>
                      <a:pt x="2859" y="1222"/>
                    </a:lnTo>
                    <a:lnTo>
                      <a:pt x="2861" y="1222"/>
                    </a:lnTo>
                    <a:lnTo>
                      <a:pt x="2861" y="1063"/>
                    </a:lnTo>
                    <a:moveTo>
                      <a:pt x="5930" y="1042"/>
                    </a:moveTo>
                    <a:lnTo>
                      <a:pt x="5930" y="1042"/>
                    </a:lnTo>
                    <a:lnTo>
                      <a:pt x="5928" y="1042"/>
                    </a:lnTo>
                    <a:lnTo>
                      <a:pt x="5928" y="1044"/>
                    </a:lnTo>
                    <a:lnTo>
                      <a:pt x="5928" y="1111"/>
                    </a:lnTo>
                    <a:lnTo>
                      <a:pt x="5930" y="1111"/>
                    </a:lnTo>
                    <a:lnTo>
                      <a:pt x="5930" y="1042"/>
                    </a:lnTo>
                    <a:moveTo>
                      <a:pt x="2878" y="1011"/>
                    </a:moveTo>
                    <a:lnTo>
                      <a:pt x="2875" y="1014"/>
                    </a:lnTo>
                    <a:lnTo>
                      <a:pt x="2875" y="1014"/>
                    </a:lnTo>
                    <a:lnTo>
                      <a:pt x="2875" y="1047"/>
                    </a:lnTo>
                    <a:lnTo>
                      <a:pt x="2878" y="1047"/>
                    </a:lnTo>
                    <a:lnTo>
                      <a:pt x="2878" y="1044"/>
                    </a:lnTo>
                    <a:lnTo>
                      <a:pt x="2878" y="1044"/>
                    </a:lnTo>
                    <a:lnTo>
                      <a:pt x="2878" y="1011"/>
                    </a:lnTo>
                    <a:moveTo>
                      <a:pt x="3771" y="995"/>
                    </a:moveTo>
                    <a:lnTo>
                      <a:pt x="3769" y="995"/>
                    </a:lnTo>
                    <a:lnTo>
                      <a:pt x="3769" y="995"/>
                    </a:lnTo>
                    <a:lnTo>
                      <a:pt x="3769" y="1205"/>
                    </a:lnTo>
                    <a:lnTo>
                      <a:pt x="3771" y="1205"/>
                    </a:lnTo>
                    <a:lnTo>
                      <a:pt x="3771" y="995"/>
                    </a:lnTo>
                    <a:moveTo>
                      <a:pt x="5949" y="990"/>
                    </a:moveTo>
                    <a:lnTo>
                      <a:pt x="5947" y="990"/>
                    </a:lnTo>
                    <a:lnTo>
                      <a:pt x="5947" y="992"/>
                    </a:lnTo>
                    <a:lnTo>
                      <a:pt x="5947" y="1025"/>
                    </a:lnTo>
                    <a:lnTo>
                      <a:pt x="5947" y="1025"/>
                    </a:lnTo>
                    <a:lnTo>
                      <a:pt x="5947" y="1023"/>
                    </a:lnTo>
                    <a:lnTo>
                      <a:pt x="5949" y="1023"/>
                    </a:lnTo>
                    <a:lnTo>
                      <a:pt x="5949" y="990"/>
                    </a:lnTo>
                    <a:moveTo>
                      <a:pt x="6339" y="935"/>
                    </a:moveTo>
                    <a:lnTo>
                      <a:pt x="6339" y="935"/>
                    </a:lnTo>
                    <a:lnTo>
                      <a:pt x="6337" y="935"/>
                    </a:lnTo>
                    <a:lnTo>
                      <a:pt x="6337" y="938"/>
                    </a:lnTo>
                    <a:lnTo>
                      <a:pt x="6337" y="1113"/>
                    </a:lnTo>
                    <a:lnTo>
                      <a:pt x="6339" y="1113"/>
                    </a:lnTo>
                    <a:lnTo>
                      <a:pt x="6339" y="1111"/>
                    </a:lnTo>
                    <a:lnTo>
                      <a:pt x="6339" y="1111"/>
                    </a:lnTo>
                    <a:lnTo>
                      <a:pt x="6339" y="935"/>
                    </a:lnTo>
                    <a:moveTo>
                      <a:pt x="3845" y="928"/>
                    </a:moveTo>
                    <a:lnTo>
                      <a:pt x="3842" y="928"/>
                    </a:lnTo>
                    <a:lnTo>
                      <a:pt x="3842" y="931"/>
                    </a:lnTo>
                    <a:lnTo>
                      <a:pt x="3842" y="976"/>
                    </a:lnTo>
                    <a:lnTo>
                      <a:pt x="3845" y="976"/>
                    </a:lnTo>
                    <a:lnTo>
                      <a:pt x="3845" y="928"/>
                    </a:lnTo>
                    <a:moveTo>
                      <a:pt x="6384" y="895"/>
                    </a:moveTo>
                    <a:lnTo>
                      <a:pt x="6384" y="895"/>
                    </a:lnTo>
                    <a:lnTo>
                      <a:pt x="6384" y="895"/>
                    </a:lnTo>
                    <a:lnTo>
                      <a:pt x="6382" y="898"/>
                    </a:lnTo>
                    <a:lnTo>
                      <a:pt x="6377" y="916"/>
                    </a:lnTo>
                    <a:lnTo>
                      <a:pt x="6379" y="916"/>
                    </a:lnTo>
                    <a:lnTo>
                      <a:pt x="6384" y="895"/>
                    </a:lnTo>
                    <a:moveTo>
                      <a:pt x="6389" y="879"/>
                    </a:moveTo>
                    <a:lnTo>
                      <a:pt x="6389" y="879"/>
                    </a:lnTo>
                    <a:lnTo>
                      <a:pt x="6386" y="879"/>
                    </a:lnTo>
                    <a:lnTo>
                      <a:pt x="6386" y="881"/>
                    </a:lnTo>
                    <a:lnTo>
                      <a:pt x="6386" y="893"/>
                    </a:lnTo>
                    <a:lnTo>
                      <a:pt x="6389" y="893"/>
                    </a:lnTo>
                    <a:lnTo>
                      <a:pt x="6389" y="890"/>
                    </a:lnTo>
                    <a:lnTo>
                      <a:pt x="6389" y="890"/>
                    </a:lnTo>
                    <a:lnTo>
                      <a:pt x="6389" y="879"/>
                    </a:lnTo>
                    <a:moveTo>
                      <a:pt x="6398" y="850"/>
                    </a:moveTo>
                    <a:lnTo>
                      <a:pt x="6396" y="850"/>
                    </a:lnTo>
                    <a:lnTo>
                      <a:pt x="6396" y="853"/>
                    </a:lnTo>
                    <a:lnTo>
                      <a:pt x="6396" y="872"/>
                    </a:lnTo>
                    <a:lnTo>
                      <a:pt x="6396" y="872"/>
                    </a:lnTo>
                    <a:lnTo>
                      <a:pt x="6396" y="869"/>
                    </a:lnTo>
                    <a:lnTo>
                      <a:pt x="6398" y="869"/>
                    </a:lnTo>
                    <a:lnTo>
                      <a:pt x="6398" y="850"/>
                    </a:lnTo>
                    <a:moveTo>
                      <a:pt x="806" y="827"/>
                    </a:moveTo>
                    <a:lnTo>
                      <a:pt x="804" y="827"/>
                    </a:lnTo>
                    <a:lnTo>
                      <a:pt x="804" y="829"/>
                    </a:lnTo>
                    <a:lnTo>
                      <a:pt x="804" y="1051"/>
                    </a:lnTo>
                    <a:lnTo>
                      <a:pt x="806" y="1051"/>
                    </a:lnTo>
                    <a:lnTo>
                      <a:pt x="806" y="827"/>
                    </a:lnTo>
                    <a:moveTo>
                      <a:pt x="3100" y="763"/>
                    </a:moveTo>
                    <a:lnTo>
                      <a:pt x="3100" y="763"/>
                    </a:lnTo>
                    <a:lnTo>
                      <a:pt x="3097" y="763"/>
                    </a:lnTo>
                    <a:lnTo>
                      <a:pt x="3097" y="765"/>
                    </a:lnTo>
                    <a:lnTo>
                      <a:pt x="3097" y="961"/>
                    </a:lnTo>
                    <a:lnTo>
                      <a:pt x="3100" y="961"/>
                    </a:lnTo>
                    <a:lnTo>
                      <a:pt x="3100" y="763"/>
                    </a:lnTo>
                    <a:moveTo>
                      <a:pt x="1010" y="753"/>
                    </a:moveTo>
                    <a:lnTo>
                      <a:pt x="1007" y="753"/>
                    </a:lnTo>
                    <a:lnTo>
                      <a:pt x="1007" y="755"/>
                    </a:lnTo>
                    <a:lnTo>
                      <a:pt x="1007" y="810"/>
                    </a:lnTo>
                    <a:lnTo>
                      <a:pt x="1010" y="810"/>
                    </a:lnTo>
                    <a:lnTo>
                      <a:pt x="1010" y="753"/>
                    </a:lnTo>
                    <a:moveTo>
                      <a:pt x="5131" y="732"/>
                    </a:moveTo>
                    <a:lnTo>
                      <a:pt x="5131" y="732"/>
                    </a:lnTo>
                    <a:lnTo>
                      <a:pt x="5131" y="734"/>
                    </a:lnTo>
                    <a:lnTo>
                      <a:pt x="5131" y="954"/>
                    </a:lnTo>
                    <a:lnTo>
                      <a:pt x="5131" y="954"/>
                    </a:lnTo>
                    <a:lnTo>
                      <a:pt x="5131" y="732"/>
                    </a:lnTo>
                    <a:moveTo>
                      <a:pt x="3138" y="658"/>
                    </a:moveTo>
                    <a:lnTo>
                      <a:pt x="3138" y="658"/>
                    </a:lnTo>
                    <a:lnTo>
                      <a:pt x="3138" y="658"/>
                    </a:lnTo>
                    <a:lnTo>
                      <a:pt x="3138" y="744"/>
                    </a:lnTo>
                    <a:lnTo>
                      <a:pt x="3138" y="744"/>
                    </a:lnTo>
                    <a:lnTo>
                      <a:pt x="3138" y="658"/>
                    </a:lnTo>
                    <a:moveTo>
                      <a:pt x="97" y="618"/>
                    </a:moveTo>
                    <a:lnTo>
                      <a:pt x="95" y="618"/>
                    </a:lnTo>
                    <a:lnTo>
                      <a:pt x="95" y="618"/>
                    </a:lnTo>
                    <a:lnTo>
                      <a:pt x="95" y="1435"/>
                    </a:lnTo>
                    <a:lnTo>
                      <a:pt x="97" y="1435"/>
                    </a:lnTo>
                    <a:lnTo>
                      <a:pt x="97" y="618"/>
                    </a:lnTo>
                    <a:moveTo>
                      <a:pt x="5254" y="609"/>
                    </a:moveTo>
                    <a:lnTo>
                      <a:pt x="5251" y="609"/>
                    </a:lnTo>
                    <a:lnTo>
                      <a:pt x="5251" y="611"/>
                    </a:lnTo>
                    <a:lnTo>
                      <a:pt x="5251" y="713"/>
                    </a:lnTo>
                    <a:lnTo>
                      <a:pt x="5254" y="713"/>
                    </a:lnTo>
                    <a:lnTo>
                      <a:pt x="5254" y="609"/>
                    </a:lnTo>
                    <a:moveTo>
                      <a:pt x="3282" y="583"/>
                    </a:moveTo>
                    <a:lnTo>
                      <a:pt x="3282" y="583"/>
                    </a:lnTo>
                    <a:lnTo>
                      <a:pt x="3279" y="583"/>
                    </a:lnTo>
                    <a:lnTo>
                      <a:pt x="3279" y="585"/>
                    </a:lnTo>
                    <a:lnTo>
                      <a:pt x="3279" y="639"/>
                    </a:lnTo>
                    <a:lnTo>
                      <a:pt x="3282" y="639"/>
                    </a:lnTo>
                    <a:lnTo>
                      <a:pt x="3282" y="583"/>
                    </a:lnTo>
                    <a:moveTo>
                      <a:pt x="303" y="547"/>
                    </a:moveTo>
                    <a:lnTo>
                      <a:pt x="300" y="547"/>
                    </a:lnTo>
                    <a:lnTo>
                      <a:pt x="300" y="550"/>
                    </a:lnTo>
                    <a:lnTo>
                      <a:pt x="300" y="599"/>
                    </a:lnTo>
                    <a:lnTo>
                      <a:pt x="303" y="599"/>
                    </a:lnTo>
                    <a:lnTo>
                      <a:pt x="303" y="547"/>
                    </a:lnTo>
                    <a:moveTo>
                      <a:pt x="7025" y="509"/>
                    </a:moveTo>
                    <a:lnTo>
                      <a:pt x="7023" y="509"/>
                    </a:lnTo>
                    <a:lnTo>
                      <a:pt x="7023" y="512"/>
                    </a:lnTo>
                    <a:lnTo>
                      <a:pt x="7023" y="1674"/>
                    </a:lnTo>
                    <a:lnTo>
                      <a:pt x="7025" y="1674"/>
                    </a:lnTo>
                    <a:lnTo>
                      <a:pt x="7025" y="509"/>
                    </a:lnTo>
                    <a:moveTo>
                      <a:pt x="4192" y="505"/>
                    </a:moveTo>
                    <a:lnTo>
                      <a:pt x="4192" y="505"/>
                    </a:lnTo>
                    <a:lnTo>
                      <a:pt x="4192" y="505"/>
                    </a:lnTo>
                    <a:lnTo>
                      <a:pt x="4135" y="580"/>
                    </a:lnTo>
                    <a:lnTo>
                      <a:pt x="4138" y="580"/>
                    </a:lnTo>
                    <a:lnTo>
                      <a:pt x="4192" y="505"/>
                    </a:lnTo>
                    <a:moveTo>
                      <a:pt x="3301" y="502"/>
                    </a:moveTo>
                    <a:lnTo>
                      <a:pt x="3298" y="502"/>
                    </a:lnTo>
                    <a:lnTo>
                      <a:pt x="3298" y="502"/>
                    </a:lnTo>
                    <a:lnTo>
                      <a:pt x="3298" y="505"/>
                    </a:lnTo>
                    <a:lnTo>
                      <a:pt x="3298" y="566"/>
                    </a:lnTo>
                    <a:lnTo>
                      <a:pt x="3298" y="566"/>
                    </a:lnTo>
                    <a:lnTo>
                      <a:pt x="3298" y="564"/>
                    </a:lnTo>
                    <a:lnTo>
                      <a:pt x="3301" y="564"/>
                    </a:lnTo>
                    <a:lnTo>
                      <a:pt x="3301" y="502"/>
                    </a:lnTo>
                    <a:moveTo>
                      <a:pt x="4036" y="455"/>
                    </a:moveTo>
                    <a:lnTo>
                      <a:pt x="4034" y="455"/>
                    </a:lnTo>
                    <a:lnTo>
                      <a:pt x="4034" y="455"/>
                    </a:lnTo>
                    <a:lnTo>
                      <a:pt x="4034" y="457"/>
                    </a:lnTo>
                    <a:lnTo>
                      <a:pt x="4034" y="490"/>
                    </a:lnTo>
                    <a:lnTo>
                      <a:pt x="3953" y="644"/>
                    </a:lnTo>
                    <a:lnTo>
                      <a:pt x="3953" y="909"/>
                    </a:lnTo>
                    <a:lnTo>
                      <a:pt x="3956" y="909"/>
                    </a:lnTo>
                    <a:lnTo>
                      <a:pt x="3956" y="642"/>
                    </a:lnTo>
                    <a:lnTo>
                      <a:pt x="4036" y="490"/>
                    </a:lnTo>
                    <a:lnTo>
                      <a:pt x="4036" y="455"/>
                    </a:lnTo>
                    <a:moveTo>
                      <a:pt x="3329" y="433"/>
                    </a:moveTo>
                    <a:lnTo>
                      <a:pt x="3327" y="433"/>
                    </a:lnTo>
                    <a:lnTo>
                      <a:pt x="3327" y="436"/>
                    </a:lnTo>
                    <a:lnTo>
                      <a:pt x="3327" y="483"/>
                    </a:lnTo>
                    <a:lnTo>
                      <a:pt x="3329" y="483"/>
                    </a:lnTo>
                    <a:lnTo>
                      <a:pt x="3329" y="433"/>
                    </a:lnTo>
                    <a:moveTo>
                      <a:pt x="4043" y="391"/>
                    </a:moveTo>
                    <a:lnTo>
                      <a:pt x="4041" y="391"/>
                    </a:lnTo>
                    <a:lnTo>
                      <a:pt x="4041" y="391"/>
                    </a:lnTo>
                    <a:lnTo>
                      <a:pt x="4041" y="393"/>
                    </a:lnTo>
                    <a:lnTo>
                      <a:pt x="4041" y="450"/>
                    </a:lnTo>
                    <a:lnTo>
                      <a:pt x="4043" y="450"/>
                    </a:lnTo>
                    <a:lnTo>
                      <a:pt x="4043" y="448"/>
                    </a:lnTo>
                    <a:lnTo>
                      <a:pt x="4043" y="448"/>
                    </a:lnTo>
                    <a:lnTo>
                      <a:pt x="4043" y="391"/>
                    </a:lnTo>
                    <a:moveTo>
                      <a:pt x="1809" y="370"/>
                    </a:moveTo>
                    <a:lnTo>
                      <a:pt x="1809" y="370"/>
                    </a:lnTo>
                    <a:lnTo>
                      <a:pt x="1809" y="372"/>
                    </a:lnTo>
                    <a:lnTo>
                      <a:pt x="1809" y="1113"/>
                    </a:lnTo>
                    <a:lnTo>
                      <a:pt x="1809" y="1113"/>
                    </a:lnTo>
                    <a:lnTo>
                      <a:pt x="1809" y="370"/>
                    </a:lnTo>
                    <a:moveTo>
                      <a:pt x="1939" y="334"/>
                    </a:moveTo>
                    <a:lnTo>
                      <a:pt x="1936" y="334"/>
                    </a:lnTo>
                    <a:lnTo>
                      <a:pt x="1936" y="336"/>
                    </a:lnTo>
                    <a:lnTo>
                      <a:pt x="1936" y="351"/>
                    </a:lnTo>
                    <a:lnTo>
                      <a:pt x="1939" y="351"/>
                    </a:lnTo>
                    <a:lnTo>
                      <a:pt x="1939" y="334"/>
                    </a:lnTo>
                    <a:moveTo>
                      <a:pt x="4050" y="327"/>
                    </a:moveTo>
                    <a:lnTo>
                      <a:pt x="4048" y="327"/>
                    </a:lnTo>
                    <a:lnTo>
                      <a:pt x="4048" y="329"/>
                    </a:lnTo>
                    <a:lnTo>
                      <a:pt x="4048" y="384"/>
                    </a:lnTo>
                    <a:lnTo>
                      <a:pt x="4050" y="384"/>
                    </a:lnTo>
                    <a:lnTo>
                      <a:pt x="4050" y="381"/>
                    </a:lnTo>
                    <a:lnTo>
                      <a:pt x="4050" y="381"/>
                    </a:lnTo>
                    <a:lnTo>
                      <a:pt x="4050" y="327"/>
                    </a:lnTo>
                    <a:moveTo>
                      <a:pt x="2029" y="294"/>
                    </a:moveTo>
                    <a:lnTo>
                      <a:pt x="2026" y="294"/>
                    </a:lnTo>
                    <a:lnTo>
                      <a:pt x="2026" y="296"/>
                    </a:lnTo>
                    <a:lnTo>
                      <a:pt x="2026" y="315"/>
                    </a:lnTo>
                    <a:lnTo>
                      <a:pt x="2029" y="315"/>
                    </a:lnTo>
                    <a:lnTo>
                      <a:pt x="2029" y="294"/>
                    </a:lnTo>
                    <a:moveTo>
                      <a:pt x="4703" y="232"/>
                    </a:moveTo>
                    <a:lnTo>
                      <a:pt x="4701" y="232"/>
                    </a:lnTo>
                    <a:lnTo>
                      <a:pt x="4701" y="235"/>
                    </a:lnTo>
                    <a:lnTo>
                      <a:pt x="4639" y="464"/>
                    </a:lnTo>
                    <a:lnTo>
                      <a:pt x="4639" y="464"/>
                    </a:lnTo>
                    <a:lnTo>
                      <a:pt x="4703" y="232"/>
                    </a:lnTo>
                    <a:moveTo>
                      <a:pt x="4805" y="173"/>
                    </a:moveTo>
                    <a:lnTo>
                      <a:pt x="4802" y="173"/>
                    </a:lnTo>
                    <a:lnTo>
                      <a:pt x="4802" y="173"/>
                    </a:lnTo>
                    <a:lnTo>
                      <a:pt x="4802" y="175"/>
                    </a:lnTo>
                    <a:lnTo>
                      <a:pt x="4802" y="213"/>
                    </a:lnTo>
                    <a:lnTo>
                      <a:pt x="4805" y="213"/>
                    </a:lnTo>
                    <a:lnTo>
                      <a:pt x="4805" y="173"/>
                    </a:lnTo>
                    <a:moveTo>
                      <a:pt x="4852" y="0"/>
                    </a:moveTo>
                    <a:lnTo>
                      <a:pt x="4850" y="0"/>
                    </a:lnTo>
                    <a:lnTo>
                      <a:pt x="4850" y="3"/>
                    </a:lnTo>
                    <a:lnTo>
                      <a:pt x="4850" y="154"/>
                    </a:lnTo>
                    <a:lnTo>
                      <a:pt x="4852" y="154"/>
                    </a:lnTo>
                    <a:lnTo>
                      <a:pt x="4852" y="0"/>
                    </a:lnTo>
                    <a:moveTo>
                      <a:pt x="4911" y="0"/>
                    </a:moveTo>
                    <a:lnTo>
                      <a:pt x="4909" y="0"/>
                    </a:lnTo>
                    <a:lnTo>
                      <a:pt x="4909" y="3"/>
                    </a:lnTo>
                    <a:lnTo>
                      <a:pt x="4909" y="154"/>
                    </a:lnTo>
                    <a:lnTo>
                      <a:pt x="4911" y="154"/>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1" name="Freeform 126"/>
              <p:cNvSpPr>
                <a:spLocks noEditPoints="1"/>
              </p:cNvSpPr>
              <p:nvPr/>
            </p:nvSpPr>
            <p:spPr bwMode="auto">
              <a:xfrm>
                <a:off x="30" y="1677"/>
                <a:ext cx="7025" cy="1676"/>
              </a:xfrm>
              <a:custGeom>
                <a:avLst/>
                <a:gdLst>
                  <a:gd name="T0" fmla="*/ 0 w 7025"/>
                  <a:gd name="T1" fmla="*/ 1517 h 1676"/>
                  <a:gd name="T2" fmla="*/ 5663 w 7025"/>
                  <a:gd name="T3" fmla="*/ 1432 h 1676"/>
                  <a:gd name="T4" fmla="*/ 3708 w 7025"/>
                  <a:gd name="T5" fmla="*/ 1224 h 1676"/>
                  <a:gd name="T6" fmla="*/ 5831 w 7025"/>
                  <a:gd name="T7" fmla="*/ 1210 h 1676"/>
                  <a:gd name="T8" fmla="*/ 5831 w 7025"/>
                  <a:gd name="T9" fmla="*/ 1309 h 1676"/>
                  <a:gd name="T10" fmla="*/ 1663 w 7025"/>
                  <a:gd name="T11" fmla="*/ 1160 h 1676"/>
                  <a:gd name="T12" fmla="*/ 1686 w 7025"/>
                  <a:gd name="T13" fmla="*/ 1132 h 1676"/>
                  <a:gd name="T14" fmla="*/ 5855 w 7025"/>
                  <a:gd name="T15" fmla="*/ 1129 h 1676"/>
                  <a:gd name="T16" fmla="*/ 5855 w 7025"/>
                  <a:gd name="T17" fmla="*/ 1193 h 1676"/>
                  <a:gd name="T18" fmla="*/ 6321 w 7025"/>
                  <a:gd name="T19" fmla="*/ 1132 h 1676"/>
                  <a:gd name="T20" fmla="*/ 1445 w 7025"/>
                  <a:gd name="T21" fmla="*/ 1127 h 1676"/>
                  <a:gd name="T22" fmla="*/ 1447 w 7025"/>
                  <a:gd name="T23" fmla="*/ 1127 h 1676"/>
                  <a:gd name="T24" fmla="*/ 1464 w 7025"/>
                  <a:gd name="T25" fmla="*/ 1110 h 1676"/>
                  <a:gd name="T26" fmla="*/ 2859 w 7025"/>
                  <a:gd name="T27" fmla="*/ 1065 h 1676"/>
                  <a:gd name="T28" fmla="*/ 5930 w 7025"/>
                  <a:gd name="T29" fmla="*/ 1042 h 1676"/>
                  <a:gd name="T30" fmla="*/ 5930 w 7025"/>
                  <a:gd name="T31" fmla="*/ 1042 h 1676"/>
                  <a:gd name="T32" fmla="*/ 2878 w 7025"/>
                  <a:gd name="T33" fmla="*/ 1046 h 1676"/>
                  <a:gd name="T34" fmla="*/ 3769 w 7025"/>
                  <a:gd name="T35" fmla="*/ 1207 h 1676"/>
                  <a:gd name="T36" fmla="*/ 5947 w 7025"/>
                  <a:gd name="T37" fmla="*/ 992 h 1676"/>
                  <a:gd name="T38" fmla="*/ 6340 w 7025"/>
                  <a:gd name="T39" fmla="*/ 937 h 1676"/>
                  <a:gd name="T40" fmla="*/ 6340 w 7025"/>
                  <a:gd name="T41" fmla="*/ 937 h 1676"/>
                  <a:gd name="T42" fmla="*/ 3845 w 7025"/>
                  <a:gd name="T43" fmla="*/ 978 h 1676"/>
                  <a:gd name="T44" fmla="*/ 6382 w 7025"/>
                  <a:gd name="T45" fmla="*/ 897 h 1676"/>
                  <a:gd name="T46" fmla="*/ 6387 w 7025"/>
                  <a:gd name="T47" fmla="*/ 878 h 1676"/>
                  <a:gd name="T48" fmla="*/ 6389 w 7025"/>
                  <a:gd name="T49" fmla="*/ 890 h 1676"/>
                  <a:gd name="T50" fmla="*/ 6396 w 7025"/>
                  <a:gd name="T51" fmla="*/ 852 h 1676"/>
                  <a:gd name="T52" fmla="*/ 6396 w 7025"/>
                  <a:gd name="T53" fmla="*/ 850 h 1676"/>
                  <a:gd name="T54" fmla="*/ 804 w 7025"/>
                  <a:gd name="T55" fmla="*/ 1053 h 1676"/>
                  <a:gd name="T56" fmla="*/ 3098 w 7025"/>
                  <a:gd name="T57" fmla="*/ 765 h 1676"/>
                  <a:gd name="T58" fmla="*/ 1008 w 7025"/>
                  <a:gd name="T59" fmla="*/ 753 h 1676"/>
                  <a:gd name="T60" fmla="*/ 5131 w 7025"/>
                  <a:gd name="T61" fmla="*/ 731 h 1676"/>
                  <a:gd name="T62" fmla="*/ 5131 w 7025"/>
                  <a:gd name="T63" fmla="*/ 731 h 1676"/>
                  <a:gd name="T64" fmla="*/ 3138 w 7025"/>
                  <a:gd name="T65" fmla="*/ 746 h 1676"/>
                  <a:gd name="T66" fmla="*/ 95 w 7025"/>
                  <a:gd name="T67" fmla="*/ 1437 h 1676"/>
                  <a:gd name="T68" fmla="*/ 5252 w 7025"/>
                  <a:gd name="T69" fmla="*/ 611 h 1676"/>
                  <a:gd name="T70" fmla="*/ 3282 w 7025"/>
                  <a:gd name="T71" fmla="*/ 582 h 1676"/>
                  <a:gd name="T72" fmla="*/ 3282 w 7025"/>
                  <a:gd name="T73" fmla="*/ 582 h 1676"/>
                  <a:gd name="T74" fmla="*/ 303 w 7025"/>
                  <a:gd name="T75" fmla="*/ 601 h 1676"/>
                  <a:gd name="T76" fmla="*/ 7023 w 7025"/>
                  <a:gd name="T77" fmla="*/ 1676 h 1676"/>
                  <a:gd name="T78" fmla="*/ 4190 w 7025"/>
                  <a:gd name="T79" fmla="*/ 507 h 1676"/>
                  <a:gd name="T80" fmla="*/ 3299 w 7025"/>
                  <a:gd name="T81" fmla="*/ 502 h 1676"/>
                  <a:gd name="T82" fmla="*/ 3299 w 7025"/>
                  <a:gd name="T83" fmla="*/ 502 h 1676"/>
                  <a:gd name="T84" fmla="*/ 4034 w 7025"/>
                  <a:gd name="T85" fmla="*/ 492 h 1676"/>
                  <a:gd name="T86" fmla="*/ 4037 w 7025"/>
                  <a:gd name="T87" fmla="*/ 490 h 1676"/>
                  <a:gd name="T88" fmla="*/ 3327 w 7025"/>
                  <a:gd name="T89" fmla="*/ 485 h 1676"/>
                  <a:gd name="T90" fmla="*/ 4041 w 7025"/>
                  <a:gd name="T91" fmla="*/ 391 h 1676"/>
                  <a:gd name="T92" fmla="*/ 4041 w 7025"/>
                  <a:gd name="T93" fmla="*/ 447 h 1676"/>
                  <a:gd name="T94" fmla="*/ 1807 w 7025"/>
                  <a:gd name="T95" fmla="*/ 1115 h 1676"/>
                  <a:gd name="T96" fmla="*/ 1937 w 7025"/>
                  <a:gd name="T97" fmla="*/ 336 h 1676"/>
                  <a:gd name="T98" fmla="*/ 4048 w 7025"/>
                  <a:gd name="T99" fmla="*/ 329 h 1676"/>
                  <a:gd name="T100" fmla="*/ 4051 w 7025"/>
                  <a:gd name="T101" fmla="*/ 381 h 1676"/>
                  <a:gd name="T102" fmla="*/ 2027 w 7025"/>
                  <a:gd name="T103" fmla="*/ 317 h 1676"/>
                  <a:gd name="T104" fmla="*/ 4701 w 7025"/>
                  <a:gd name="T105" fmla="*/ 234 h 1676"/>
                  <a:gd name="T106" fmla="*/ 4803 w 7025"/>
                  <a:gd name="T107" fmla="*/ 173 h 1676"/>
                  <a:gd name="T108" fmla="*/ 4803 w 7025"/>
                  <a:gd name="T109" fmla="*/ 173 h 1676"/>
                  <a:gd name="T110" fmla="*/ 4852 w 7025"/>
                  <a:gd name="T111" fmla="*/ 156 h 1676"/>
                  <a:gd name="T112" fmla="*/ 4909 w 7025"/>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76">
                    <a:moveTo>
                      <a:pt x="0" y="1454"/>
                    </a:moveTo>
                    <a:lnTo>
                      <a:pt x="0" y="1454"/>
                    </a:lnTo>
                    <a:lnTo>
                      <a:pt x="0" y="1456"/>
                    </a:lnTo>
                    <a:lnTo>
                      <a:pt x="0" y="1517"/>
                    </a:lnTo>
                    <a:lnTo>
                      <a:pt x="0" y="1517"/>
                    </a:lnTo>
                    <a:lnTo>
                      <a:pt x="0" y="1454"/>
                    </a:lnTo>
                    <a:close/>
                    <a:moveTo>
                      <a:pt x="5666" y="1326"/>
                    </a:moveTo>
                    <a:lnTo>
                      <a:pt x="5663" y="1326"/>
                    </a:lnTo>
                    <a:lnTo>
                      <a:pt x="5663" y="1328"/>
                    </a:lnTo>
                    <a:lnTo>
                      <a:pt x="5663" y="1432"/>
                    </a:lnTo>
                    <a:lnTo>
                      <a:pt x="5666" y="1432"/>
                    </a:lnTo>
                    <a:lnTo>
                      <a:pt x="5666" y="1326"/>
                    </a:lnTo>
                    <a:close/>
                    <a:moveTo>
                      <a:pt x="3710" y="1224"/>
                    </a:moveTo>
                    <a:lnTo>
                      <a:pt x="3708" y="1224"/>
                    </a:lnTo>
                    <a:lnTo>
                      <a:pt x="3708" y="1224"/>
                    </a:lnTo>
                    <a:lnTo>
                      <a:pt x="3708" y="1224"/>
                    </a:lnTo>
                    <a:lnTo>
                      <a:pt x="3708" y="1375"/>
                    </a:lnTo>
                    <a:lnTo>
                      <a:pt x="3710" y="1375"/>
                    </a:lnTo>
                    <a:lnTo>
                      <a:pt x="3710" y="1224"/>
                    </a:lnTo>
                    <a:close/>
                    <a:moveTo>
                      <a:pt x="5831" y="1210"/>
                    </a:moveTo>
                    <a:lnTo>
                      <a:pt x="5829" y="1210"/>
                    </a:lnTo>
                    <a:lnTo>
                      <a:pt x="5829" y="1210"/>
                    </a:lnTo>
                    <a:lnTo>
                      <a:pt x="5829" y="1212"/>
                    </a:lnTo>
                    <a:lnTo>
                      <a:pt x="5829" y="1309"/>
                    </a:lnTo>
                    <a:lnTo>
                      <a:pt x="5831" y="1309"/>
                    </a:lnTo>
                    <a:lnTo>
                      <a:pt x="5831" y="1210"/>
                    </a:lnTo>
                    <a:close/>
                    <a:moveTo>
                      <a:pt x="1665" y="1158"/>
                    </a:moveTo>
                    <a:lnTo>
                      <a:pt x="1665" y="1158"/>
                    </a:lnTo>
                    <a:lnTo>
                      <a:pt x="1663" y="1158"/>
                    </a:lnTo>
                    <a:lnTo>
                      <a:pt x="1663" y="1160"/>
                    </a:lnTo>
                    <a:lnTo>
                      <a:pt x="1663" y="1184"/>
                    </a:lnTo>
                    <a:lnTo>
                      <a:pt x="1665" y="1184"/>
                    </a:lnTo>
                    <a:lnTo>
                      <a:pt x="1665" y="1158"/>
                    </a:lnTo>
                    <a:close/>
                    <a:moveTo>
                      <a:pt x="1689" y="1132"/>
                    </a:moveTo>
                    <a:lnTo>
                      <a:pt x="1686" y="1132"/>
                    </a:lnTo>
                    <a:lnTo>
                      <a:pt x="1686" y="1134"/>
                    </a:lnTo>
                    <a:lnTo>
                      <a:pt x="1686" y="1141"/>
                    </a:lnTo>
                    <a:lnTo>
                      <a:pt x="1689" y="1141"/>
                    </a:lnTo>
                    <a:lnTo>
                      <a:pt x="1689" y="1132"/>
                    </a:lnTo>
                    <a:close/>
                    <a:moveTo>
                      <a:pt x="5855" y="1129"/>
                    </a:moveTo>
                    <a:lnTo>
                      <a:pt x="5855" y="1129"/>
                    </a:lnTo>
                    <a:lnTo>
                      <a:pt x="5855" y="1129"/>
                    </a:lnTo>
                    <a:lnTo>
                      <a:pt x="5855" y="1132"/>
                    </a:lnTo>
                    <a:lnTo>
                      <a:pt x="5855" y="1193"/>
                    </a:lnTo>
                    <a:lnTo>
                      <a:pt x="5855" y="1193"/>
                    </a:lnTo>
                    <a:lnTo>
                      <a:pt x="5855" y="1129"/>
                    </a:lnTo>
                    <a:close/>
                    <a:moveTo>
                      <a:pt x="6323" y="1129"/>
                    </a:moveTo>
                    <a:lnTo>
                      <a:pt x="6321" y="1129"/>
                    </a:lnTo>
                    <a:lnTo>
                      <a:pt x="6321" y="1129"/>
                    </a:lnTo>
                    <a:lnTo>
                      <a:pt x="6321" y="1132"/>
                    </a:lnTo>
                    <a:lnTo>
                      <a:pt x="6321" y="1347"/>
                    </a:lnTo>
                    <a:lnTo>
                      <a:pt x="6323" y="1347"/>
                    </a:lnTo>
                    <a:lnTo>
                      <a:pt x="6323" y="1129"/>
                    </a:lnTo>
                    <a:close/>
                    <a:moveTo>
                      <a:pt x="1447" y="1127"/>
                    </a:moveTo>
                    <a:lnTo>
                      <a:pt x="1445" y="1127"/>
                    </a:lnTo>
                    <a:lnTo>
                      <a:pt x="1445" y="1127"/>
                    </a:lnTo>
                    <a:lnTo>
                      <a:pt x="1445" y="1129"/>
                    </a:lnTo>
                    <a:lnTo>
                      <a:pt x="1445" y="1184"/>
                    </a:lnTo>
                    <a:lnTo>
                      <a:pt x="1447" y="1184"/>
                    </a:lnTo>
                    <a:lnTo>
                      <a:pt x="1447" y="1127"/>
                    </a:lnTo>
                    <a:close/>
                    <a:moveTo>
                      <a:pt x="1464" y="1084"/>
                    </a:moveTo>
                    <a:lnTo>
                      <a:pt x="1462" y="1084"/>
                    </a:lnTo>
                    <a:lnTo>
                      <a:pt x="1462" y="1087"/>
                    </a:lnTo>
                    <a:lnTo>
                      <a:pt x="1462" y="1110"/>
                    </a:lnTo>
                    <a:lnTo>
                      <a:pt x="1464" y="1110"/>
                    </a:lnTo>
                    <a:lnTo>
                      <a:pt x="1464" y="1084"/>
                    </a:lnTo>
                    <a:close/>
                    <a:moveTo>
                      <a:pt x="2859" y="1063"/>
                    </a:moveTo>
                    <a:lnTo>
                      <a:pt x="2859" y="1063"/>
                    </a:lnTo>
                    <a:lnTo>
                      <a:pt x="2859" y="1063"/>
                    </a:lnTo>
                    <a:lnTo>
                      <a:pt x="2859" y="1065"/>
                    </a:lnTo>
                    <a:lnTo>
                      <a:pt x="2859" y="1224"/>
                    </a:lnTo>
                    <a:lnTo>
                      <a:pt x="2859" y="1224"/>
                    </a:lnTo>
                    <a:lnTo>
                      <a:pt x="2859" y="1063"/>
                    </a:lnTo>
                    <a:close/>
                    <a:moveTo>
                      <a:pt x="5930" y="1042"/>
                    </a:moveTo>
                    <a:lnTo>
                      <a:pt x="5930" y="1042"/>
                    </a:lnTo>
                    <a:lnTo>
                      <a:pt x="5928" y="1042"/>
                    </a:lnTo>
                    <a:lnTo>
                      <a:pt x="5928" y="1044"/>
                    </a:lnTo>
                    <a:lnTo>
                      <a:pt x="5928" y="1113"/>
                    </a:lnTo>
                    <a:lnTo>
                      <a:pt x="5930" y="1113"/>
                    </a:lnTo>
                    <a:lnTo>
                      <a:pt x="5930" y="1042"/>
                    </a:lnTo>
                    <a:close/>
                    <a:moveTo>
                      <a:pt x="2878" y="1013"/>
                    </a:moveTo>
                    <a:lnTo>
                      <a:pt x="2876" y="1013"/>
                    </a:lnTo>
                    <a:lnTo>
                      <a:pt x="2876" y="1013"/>
                    </a:lnTo>
                    <a:lnTo>
                      <a:pt x="2876" y="1046"/>
                    </a:lnTo>
                    <a:lnTo>
                      <a:pt x="2878" y="1046"/>
                    </a:lnTo>
                    <a:lnTo>
                      <a:pt x="2878" y="1013"/>
                    </a:lnTo>
                    <a:close/>
                    <a:moveTo>
                      <a:pt x="3769" y="994"/>
                    </a:moveTo>
                    <a:lnTo>
                      <a:pt x="3769" y="994"/>
                    </a:lnTo>
                    <a:lnTo>
                      <a:pt x="3769" y="997"/>
                    </a:lnTo>
                    <a:lnTo>
                      <a:pt x="3769" y="1207"/>
                    </a:lnTo>
                    <a:lnTo>
                      <a:pt x="3769" y="1207"/>
                    </a:lnTo>
                    <a:lnTo>
                      <a:pt x="3769" y="994"/>
                    </a:lnTo>
                    <a:close/>
                    <a:moveTo>
                      <a:pt x="5949" y="990"/>
                    </a:moveTo>
                    <a:lnTo>
                      <a:pt x="5947" y="990"/>
                    </a:lnTo>
                    <a:lnTo>
                      <a:pt x="5947" y="992"/>
                    </a:lnTo>
                    <a:lnTo>
                      <a:pt x="5947" y="1025"/>
                    </a:lnTo>
                    <a:lnTo>
                      <a:pt x="5949" y="1025"/>
                    </a:lnTo>
                    <a:lnTo>
                      <a:pt x="5949" y="990"/>
                    </a:lnTo>
                    <a:close/>
                    <a:moveTo>
                      <a:pt x="6340" y="937"/>
                    </a:moveTo>
                    <a:lnTo>
                      <a:pt x="6340" y="937"/>
                    </a:lnTo>
                    <a:lnTo>
                      <a:pt x="6337" y="937"/>
                    </a:lnTo>
                    <a:lnTo>
                      <a:pt x="6337" y="937"/>
                    </a:lnTo>
                    <a:lnTo>
                      <a:pt x="6337" y="1113"/>
                    </a:lnTo>
                    <a:lnTo>
                      <a:pt x="6340" y="1113"/>
                    </a:lnTo>
                    <a:lnTo>
                      <a:pt x="6340" y="937"/>
                    </a:lnTo>
                    <a:close/>
                    <a:moveTo>
                      <a:pt x="3845" y="928"/>
                    </a:moveTo>
                    <a:lnTo>
                      <a:pt x="3843" y="928"/>
                    </a:lnTo>
                    <a:lnTo>
                      <a:pt x="3843" y="930"/>
                    </a:lnTo>
                    <a:lnTo>
                      <a:pt x="3843" y="978"/>
                    </a:lnTo>
                    <a:lnTo>
                      <a:pt x="3845" y="978"/>
                    </a:lnTo>
                    <a:lnTo>
                      <a:pt x="3845" y="928"/>
                    </a:lnTo>
                    <a:close/>
                    <a:moveTo>
                      <a:pt x="6384" y="895"/>
                    </a:moveTo>
                    <a:lnTo>
                      <a:pt x="6384" y="895"/>
                    </a:lnTo>
                    <a:lnTo>
                      <a:pt x="6382" y="895"/>
                    </a:lnTo>
                    <a:lnTo>
                      <a:pt x="6382" y="897"/>
                    </a:lnTo>
                    <a:lnTo>
                      <a:pt x="6377" y="918"/>
                    </a:lnTo>
                    <a:lnTo>
                      <a:pt x="6380" y="918"/>
                    </a:lnTo>
                    <a:lnTo>
                      <a:pt x="6384" y="895"/>
                    </a:lnTo>
                    <a:close/>
                    <a:moveTo>
                      <a:pt x="6389" y="878"/>
                    </a:moveTo>
                    <a:lnTo>
                      <a:pt x="6387" y="878"/>
                    </a:lnTo>
                    <a:lnTo>
                      <a:pt x="6387" y="878"/>
                    </a:lnTo>
                    <a:lnTo>
                      <a:pt x="6387" y="881"/>
                    </a:lnTo>
                    <a:lnTo>
                      <a:pt x="6387" y="892"/>
                    </a:lnTo>
                    <a:lnTo>
                      <a:pt x="6389" y="892"/>
                    </a:lnTo>
                    <a:lnTo>
                      <a:pt x="6389" y="890"/>
                    </a:lnTo>
                    <a:lnTo>
                      <a:pt x="6389" y="890"/>
                    </a:lnTo>
                    <a:lnTo>
                      <a:pt x="6389" y="878"/>
                    </a:lnTo>
                    <a:close/>
                    <a:moveTo>
                      <a:pt x="6396" y="850"/>
                    </a:moveTo>
                    <a:lnTo>
                      <a:pt x="6396" y="850"/>
                    </a:lnTo>
                    <a:lnTo>
                      <a:pt x="6396" y="852"/>
                    </a:lnTo>
                    <a:lnTo>
                      <a:pt x="6396" y="871"/>
                    </a:lnTo>
                    <a:lnTo>
                      <a:pt x="6396" y="871"/>
                    </a:lnTo>
                    <a:lnTo>
                      <a:pt x="6396" y="869"/>
                    </a:lnTo>
                    <a:lnTo>
                      <a:pt x="6396" y="869"/>
                    </a:lnTo>
                    <a:lnTo>
                      <a:pt x="6396" y="850"/>
                    </a:lnTo>
                    <a:close/>
                    <a:moveTo>
                      <a:pt x="804" y="829"/>
                    </a:moveTo>
                    <a:lnTo>
                      <a:pt x="804" y="829"/>
                    </a:lnTo>
                    <a:lnTo>
                      <a:pt x="804" y="829"/>
                    </a:lnTo>
                    <a:lnTo>
                      <a:pt x="804" y="1053"/>
                    </a:lnTo>
                    <a:lnTo>
                      <a:pt x="804" y="1053"/>
                    </a:lnTo>
                    <a:lnTo>
                      <a:pt x="804" y="829"/>
                    </a:lnTo>
                    <a:close/>
                    <a:moveTo>
                      <a:pt x="3100" y="762"/>
                    </a:moveTo>
                    <a:lnTo>
                      <a:pt x="3100" y="762"/>
                    </a:lnTo>
                    <a:lnTo>
                      <a:pt x="3098" y="762"/>
                    </a:lnTo>
                    <a:lnTo>
                      <a:pt x="3098" y="765"/>
                    </a:lnTo>
                    <a:lnTo>
                      <a:pt x="3098" y="963"/>
                    </a:lnTo>
                    <a:lnTo>
                      <a:pt x="3100" y="963"/>
                    </a:lnTo>
                    <a:lnTo>
                      <a:pt x="3100" y="762"/>
                    </a:lnTo>
                    <a:close/>
                    <a:moveTo>
                      <a:pt x="1008" y="753"/>
                    </a:moveTo>
                    <a:lnTo>
                      <a:pt x="1008" y="753"/>
                    </a:lnTo>
                    <a:lnTo>
                      <a:pt x="1008" y="755"/>
                    </a:lnTo>
                    <a:lnTo>
                      <a:pt x="1008" y="812"/>
                    </a:lnTo>
                    <a:lnTo>
                      <a:pt x="1008" y="812"/>
                    </a:lnTo>
                    <a:lnTo>
                      <a:pt x="1008" y="753"/>
                    </a:lnTo>
                    <a:close/>
                    <a:moveTo>
                      <a:pt x="5131" y="731"/>
                    </a:moveTo>
                    <a:lnTo>
                      <a:pt x="5129" y="731"/>
                    </a:lnTo>
                    <a:lnTo>
                      <a:pt x="5129" y="734"/>
                    </a:lnTo>
                    <a:lnTo>
                      <a:pt x="5129" y="956"/>
                    </a:lnTo>
                    <a:lnTo>
                      <a:pt x="5131" y="956"/>
                    </a:lnTo>
                    <a:lnTo>
                      <a:pt x="5131" y="731"/>
                    </a:lnTo>
                    <a:close/>
                    <a:moveTo>
                      <a:pt x="3138" y="658"/>
                    </a:moveTo>
                    <a:lnTo>
                      <a:pt x="3136" y="658"/>
                    </a:lnTo>
                    <a:lnTo>
                      <a:pt x="3136" y="660"/>
                    </a:lnTo>
                    <a:lnTo>
                      <a:pt x="3136" y="746"/>
                    </a:lnTo>
                    <a:lnTo>
                      <a:pt x="3138" y="746"/>
                    </a:lnTo>
                    <a:lnTo>
                      <a:pt x="3138" y="658"/>
                    </a:lnTo>
                    <a:close/>
                    <a:moveTo>
                      <a:pt x="97" y="618"/>
                    </a:moveTo>
                    <a:lnTo>
                      <a:pt x="95" y="618"/>
                    </a:lnTo>
                    <a:lnTo>
                      <a:pt x="95" y="620"/>
                    </a:lnTo>
                    <a:lnTo>
                      <a:pt x="95" y="1437"/>
                    </a:lnTo>
                    <a:lnTo>
                      <a:pt x="97" y="1437"/>
                    </a:lnTo>
                    <a:lnTo>
                      <a:pt x="97" y="618"/>
                    </a:lnTo>
                    <a:close/>
                    <a:moveTo>
                      <a:pt x="5252" y="611"/>
                    </a:moveTo>
                    <a:lnTo>
                      <a:pt x="5252" y="611"/>
                    </a:lnTo>
                    <a:lnTo>
                      <a:pt x="5252" y="611"/>
                    </a:lnTo>
                    <a:lnTo>
                      <a:pt x="5252" y="715"/>
                    </a:lnTo>
                    <a:lnTo>
                      <a:pt x="5252" y="715"/>
                    </a:lnTo>
                    <a:lnTo>
                      <a:pt x="5252" y="611"/>
                    </a:lnTo>
                    <a:close/>
                    <a:moveTo>
                      <a:pt x="3282" y="582"/>
                    </a:moveTo>
                    <a:lnTo>
                      <a:pt x="3282" y="582"/>
                    </a:lnTo>
                    <a:lnTo>
                      <a:pt x="3280" y="582"/>
                    </a:lnTo>
                    <a:lnTo>
                      <a:pt x="3280" y="585"/>
                    </a:lnTo>
                    <a:lnTo>
                      <a:pt x="3280" y="641"/>
                    </a:lnTo>
                    <a:lnTo>
                      <a:pt x="3282" y="641"/>
                    </a:lnTo>
                    <a:lnTo>
                      <a:pt x="3282" y="582"/>
                    </a:lnTo>
                    <a:close/>
                    <a:moveTo>
                      <a:pt x="303" y="547"/>
                    </a:moveTo>
                    <a:lnTo>
                      <a:pt x="301" y="547"/>
                    </a:lnTo>
                    <a:lnTo>
                      <a:pt x="301" y="549"/>
                    </a:lnTo>
                    <a:lnTo>
                      <a:pt x="301" y="601"/>
                    </a:lnTo>
                    <a:lnTo>
                      <a:pt x="303" y="601"/>
                    </a:lnTo>
                    <a:lnTo>
                      <a:pt x="303" y="547"/>
                    </a:lnTo>
                    <a:close/>
                    <a:moveTo>
                      <a:pt x="7025" y="509"/>
                    </a:moveTo>
                    <a:lnTo>
                      <a:pt x="7023" y="509"/>
                    </a:lnTo>
                    <a:lnTo>
                      <a:pt x="7023" y="511"/>
                    </a:lnTo>
                    <a:lnTo>
                      <a:pt x="7023" y="1676"/>
                    </a:lnTo>
                    <a:lnTo>
                      <a:pt x="7025" y="1676"/>
                    </a:lnTo>
                    <a:lnTo>
                      <a:pt x="7025" y="509"/>
                    </a:lnTo>
                    <a:close/>
                    <a:moveTo>
                      <a:pt x="4193" y="504"/>
                    </a:moveTo>
                    <a:lnTo>
                      <a:pt x="4193" y="504"/>
                    </a:lnTo>
                    <a:lnTo>
                      <a:pt x="4190" y="507"/>
                    </a:lnTo>
                    <a:lnTo>
                      <a:pt x="4136" y="582"/>
                    </a:lnTo>
                    <a:lnTo>
                      <a:pt x="4136" y="585"/>
                    </a:lnTo>
                    <a:lnTo>
                      <a:pt x="4193" y="504"/>
                    </a:lnTo>
                    <a:close/>
                    <a:moveTo>
                      <a:pt x="3299" y="502"/>
                    </a:moveTo>
                    <a:lnTo>
                      <a:pt x="3299" y="502"/>
                    </a:lnTo>
                    <a:lnTo>
                      <a:pt x="3299" y="502"/>
                    </a:lnTo>
                    <a:lnTo>
                      <a:pt x="3299" y="504"/>
                    </a:lnTo>
                    <a:lnTo>
                      <a:pt x="3299" y="566"/>
                    </a:lnTo>
                    <a:lnTo>
                      <a:pt x="3299" y="566"/>
                    </a:lnTo>
                    <a:lnTo>
                      <a:pt x="3299" y="502"/>
                    </a:lnTo>
                    <a:close/>
                    <a:moveTo>
                      <a:pt x="4037" y="454"/>
                    </a:moveTo>
                    <a:lnTo>
                      <a:pt x="4034" y="454"/>
                    </a:lnTo>
                    <a:lnTo>
                      <a:pt x="4034" y="454"/>
                    </a:lnTo>
                    <a:lnTo>
                      <a:pt x="4034" y="457"/>
                    </a:lnTo>
                    <a:lnTo>
                      <a:pt x="4034" y="492"/>
                    </a:lnTo>
                    <a:lnTo>
                      <a:pt x="3954" y="644"/>
                    </a:lnTo>
                    <a:lnTo>
                      <a:pt x="3954" y="911"/>
                    </a:lnTo>
                    <a:lnTo>
                      <a:pt x="3954" y="911"/>
                    </a:lnTo>
                    <a:lnTo>
                      <a:pt x="3954" y="641"/>
                    </a:lnTo>
                    <a:lnTo>
                      <a:pt x="4037" y="490"/>
                    </a:lnTo>
                    <a:lnTo>
                      <a:pt x="4037" y="454"/>
                    </a:lnTo>
                    <a:close/>
                    <a:moveTo>
                      <a:pt x="3330" y="435"/>
                    </a:moveTo>
                    <a:lnTo>
                      <a:pt x="3327" y="435"/>
                    </a:lnTo>
                    <a:lnTo>
                      <a:pt x="3327" y="435"/>
                    </a:lnTo>
                    <a:lnTo>
                      <a:pt x="3327" y="485"/>
                    </a:lnTo>
                    <a:lnTo>
                      <a:pt x="3330" y="485"/>
                    </a:lnTo>
                    <a:lnTo>
                      <a:pt x="3330" y="435"/>
                    </a:lnTo>
                    <a:close/>
                    <a:moveTo>
                      <a:pt x="4041" y="391"/>
                    </a:moveTo>
                    <a:lnTo>
                      <a:pt x="4041" y="391"/>
                    </a:lnTo>
                    <a:lnTo>
                      <a:pt x="4041" y="391"/>
                    </a:lnTo>
                    <a:lnTo>
                      <a:pt x="4041" y="393"/>
                    </a:lnTo>
                    <a:lnTo>
                      <a:pt x="4041" y="450"/>
                    </a:lnTo>
                    <a:lnTo>
                      <a:pt x="4041" y="450"/>
                    </a:lnTo>
                    <a:lnTo>
                      <a:pt x="4041" y="447"/>
                    </a:lnTo>
                    <a:lnTo>
                      <a:pt x="4041" y="447"/>
                    </a:lnTo>
                    <a:lnTo>
                      <a:pt x="4041" y="391"/>
                    </a:lnTo>
                    <a:close/>
                    <a:moveTo>
                      <a:pt x="1809" y="369"/>
                    </a:moveTo>
                    <a:lnTo>
                      <a:pt x="1807" y="369"/>
                    </a:lnTo>
                    <a:lnTo>
                      <a:pt x="1807" y="372"/>
                    </a:lnTo>
                    <a:lnTo>
                      <a:pt x="1807" y="1115"/>
                    </a:lnTo>
                    <a:lnTo>
                      <a:pt x="1809" y="1115"/>
                    </a:lnTo>
                    <a:lnTo>
                      <a:pt x="1809" y="369"/>
                    </a:lnTo>
                    <a:close/>
                    <a:moveTo>
                      <a:pt x="1939" y="334"/>
                    </a:moveTo>
                    <a:lnTo>
                      <a:pt x="1937" y="334"/>
                    </a:lnTo>
                    <a:lnTo>
                      <a:pt x="1937" y="336"/>
                    </a:lnTo>
                    <a:lnTo>
                      <a:pt x="1937" y="353"/>
                    </a:lnTo>
                    <a:lnTo>
                      <a:pt x="1939" y="353"/>
                    </a:lnTo>
                    <a:lnTo>
                      <a:pt x="1939" y="334"/>
                    </a:lnTo>
                    <a:close/>
                    <a:moveTo>
                      <a:pt x="4051" y="329"/>
                    </a:moveTo>
                    <a:lnTo>
                      <a:pt x="4048" y="329"/>
                    </a:lnTo>
                    <a:lnTo>
                      <a:pt x="4048" y="329"/>
                    </a:lnTo>
                    <a:lnTo>
                      <a:pt x="4048" y="383"/>
                    </a:lnTo>
                    <a:lnTo>
                      <a:pt x="4048" y="383"/>
                    </a:lnTo>
                    <a:lnTo>
                      <a:pt x="4048" y="381"/>
                    </a:lnTo>
                    <a:lnTo>
                      <a:pt x="4051" y="381"/>
                    </a:lnTo>
                    <a:lnTo>
                      <a:pt x="4051" y="329"/>
                    </a:lnTo>
                    <a:close/>
                    <a:moveTo>
                      <a:pt x="2029" y="293"/>
                    </a:moveTo>
                    <a:lnTo>
                      <a:pt x="2027" y="293"/>
                    </a:lnTo>
                    <a:lnTo>
                      <a:pt x="2027" y="296"/>
                    </a:lnTo>
                    <a:lnTo>
                      <a:pt x="2027" y="317"/>
                    </a:lnTo>
                    <a:lnTo>
                      <a:pt x="2029" y="317"/>
                    </a:lnTo>
                    <a:lnTo>
                      <a:pt x="2029" y="293"/>
                    </a:lnTo>
                    <a:close/>
                    <a:moveTo>
                      <a:pt x="4703" y="232"/>
                    </a:moveTo>
                    <a:lnTo>
                      <a:pt x="4701" y="232"/>
                    </a:lnTo>
                    <a:lnTo>
                      <a:pt x="4701" y="234"/>
                    </a:lnTo>
                    <a:lnTo>
                      <a:pt x="4637" y="466"/>
                    </a:lnTo>
                    <a:lnTo>
                      <a:pt x="4639" y="464"/>
                    </a:lnTo>
                    <a:lnTo>
                      <a:pt x="4703" y="232"/>
                    </a:lnTo>
                    <a:close/>
                    <a:moveTo>
                      <a:pt x="4803" y="173"/>
                    </a:moveTo>
                    <a:lnTo>
                      <a:pt x="4803" y="173"/>
                    </a:lnTo>
                    <a:lnTo>
                      <a:pt x="4803" y="173"/>
                    </a:lnTo>
                    <a:lnTo>
                      <a:pt x="4803" y="175"/>
                    </a:lnTo>
                    <a:lnTo>
                      <a:pt x="4803" y="215"/>
                    </a:lnTo>
                    <a:lnTo>
                      <a:pt x="4803" y="215"/>
                    </a:lnTo>
                    <a:lnTo>
                      <a:pt x="4803" y="173"/>
                    </a:lnTo>
                    <a:close/>
                    <a:moveTo>
                      <a:pt x="4852" y="0"/>
                    </a:moveTo>
                    <a:lnTo>
                      <a:pt x="4850" y="0"/>
                    </a:lnTo>
                    <a:lnTo>
                      <a:pt x="4850" y="2"/>
                    </a:lnTo>
                    <a:lnTo>
                      <a:pt x="4850" y="156"/>
                    </a:lnTo>
                    <a:lnTo>
                      <a:pt x="4852" y="156"/>
                    </a:lnTo>
                    <a:lnTo>
                      <a:pt x="4852" y="0"/>
                    </a:lnTo>
                    <a:close/>
                    <a:moveTo>
                      <a:pt x="4909" y="0"/>
                    </a:moveTo>
                    <a:lnTo>
                      <a:pt x="4909" y="0"/>
                    </a:lnTo>
                    <a:lnTo>
                      <a:pt x="4909" y="2"/>
                    </a:lnTo>
                    <a:lnTo>
                      <a:pt x="4909" y="156"/>
                    </a:lnTo>
                    <a:lnTo>
                      <a:pt x="4909" y="156"/>
                    </a:lnTo>
                    <a:lnTo>
                      <a:pt x="4909" y="0"/>
                    </a:lnTo>
                    <a:close/>
                  </a:path>
                </a:pathLst>
              </a:custGeom>
              <a:solidFill>
                <a:srgbClr val="C4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2" name="Freeform 127"/>
              <p:cNvSpPr>
                <a:spLocks noEditPoints="1"/>
              </p:cNvSpPr>
              <p:nvPr/>
            </p:nvSpPr>
            <p:spPr bwMode="auto">
              <a:xfrm>
                <a:off x="30" y="1677"/>
                <a:ext cx="7025" cy="1676"/>
              </a:xfrm>
              <a:custGeom>
                <a:avLst/>
                <a:gdLst>
                  <a:gd name="T0" fmla="*/ 0 w 7025"/>
                  <a:gd name="T1" fmla="*/ 1517 h 1676"/>
                  <a:gd name="T2" fmla="*/ 5663 w 7025"/>
                  <a:gd name="T3" fmla="*/ 1432 h 1676"/>
                  <a:gd name="T4" fmla="*/ 3708 w 7025"/>
                  <a:gd name="T5" fmla="*/ 1224 h 1676"/>
                  <a:gd name="T6" fmla="*/ 5831 w 7025"/>
                  <a:gd name="T7" fmla="*/ 1210 h 1676"/>
                  <a:gd name="T8" fmla="*/ 5831 w 7025"/>
                  <a:gd name="T9" fmla="*/ 1309 h 1676"/>
                  <a:gd name="T10" fmla="*/ 1663 w 7025"/>
                  <a:gd name="T11" fmla="*/ 1160 h 1676"/>
                  <a:gd name="T12" fmla="*/ 1686 w 7025"/>
                  <a:gd name="T13" fmla="*/ 1132 h 1676"/>
                  <a:gd name="T14" fmla="*/ 5855 w 7025"/>
                  <a:gd name="T15" fmla="*/ 1129 h 1676"/>
                  <a:gd name="T16" fmla="*/ 5855 w 7025"/>
                  <a:gd name="T17" fmla="*/ 1193 h 1676"/>
                  <a:gd name="T18" fmla="*/ 6321 w 7025"/>
                  <a:gd name="T19" fmla="*/ 1132 h 1676"/>
                  <a:gd name="T20" fmla="*/ 1445 w 7025"/>
                  <a:gd name="T21" fmla="*/ 1127 h 1676"/>
                  <a:gd name="T22" fmla="*/ 1447 w 7025"/>
                  <a:gd name="T23" fmla="*/ 1127 h 1676"/>
                  <a:gd name="T24" fmla="*/ 1464 w 7025"/>
                  <a:gd name="T25" fmla="*/ 1110 h 1676"/>
                  <a:gd name="T26" fmla="*/ 2859 w 7025"/>
                  <a:gd name="T27" fmla="*/ 1065 h 1676"/>
                  <a:gd name="T28" fmla="*/ 5930 w 7025"/>
                  <a:gd name="T29" fmla="*/ 1042 h 1676"/>
                  <a:gd name="T30" fmla="*/ 5930 w 7025"/>
                  <a:gd name="T31" fmla="*/ 1042 h 1676"/>
                  <a:gd name="T32" fmla="*/ 2878 w 7025"/>
                  <a:gd name="T33" fmla="*/ 1046 h 1676"/>
                  <a:gd name="T34" fmla="*/ 3769 w 7025"/>
                  <a:gd name="T35" fmla="*/ 1207 h 1676"/>
                  <a:gd name="T36" fmla="*/ 5947 w 7025"/>
                  <a:gd name="T37" fmla="*/ 992 h 1676"/>
                  <a:gd name="T38" fmla="*/ 6340 w 7025"/>
                  <a:gd name="T39" fmla="*/ 937 h 1676"/>
                  <a:gd name="T40" fmla="*/ 6340 w 7025"/>
                  <a:gd name="T41" fmla="*/ 937 h 1676"/>
                  <a:gd name="T42" fmla="*/ 3845 w 7025"/>
                  <a:gd name="T43" fmla="*/ 978 h 1676"/>
                  <a:gd name="T44" fmla="*/ 6382 w 7025"/>
                  <a:gd name="T45" fmla="*/ 897 h 1676"/>
                  <a:gd name="T46" fmla="*/ 6387 w 7025"/>
                  <a:gd name="T47" fmla="*/ 878 h 1676"/>
                  <a:gd name="T48" fmla="*/ 6389 w 7025"/>
                  <a:gd name="T49" fmla="*/ 890 h 1676"/>
                  <a:gd name="T50" fmla="*/ 6396 w 7025"/>
                  <a:gd name="T51" fmla="*/ 852 h 1676"/>
                  <a:gd name="T52" fmla="*/ 6396 w 7025"/>
                  <a:gd name="T53" fmla="*/ 850 h 1676"/>
                  <a:gd name="T54" fmla="*/ 804 w 7025"/>
                  <a:gd name="T55" fmla="*/ 1053 h 1676"/>
                  <a:gd name="T56" fmla="*/ 3098 w 7025"/>
                  <a:gd name="T57" fmla="*/ 765 h 1676"/>
                  <a:gd name="T58" fmla="*/ 1008 w 7025"/>
                  <a:gd name="T59" fmla="*/ 753 h 1676"/>
                  <a:gd name="T60" fmla="*/ 5131 w 7025"/>
                  <a:gd name="T61" fmla="*/ 731 h 1676"/>
                  <a:gd name="T62" fmla="*/ 5131 w 7025"/>
                  <a:gd name="T63" fmla="*/ 731 h 1676"/>
                  <a:gd name="T64" fmla="*/ 3138 w 7025"/>
                  <a:gd name="T65" fmla="*/ 746 h 1676"/>
                  <a:gd name="T66" fmla="*/ 95 w 7025"/>
                  <a:gd name="T67" fmla="*/ 1437 h 1676"/>
                  <a:gd name="T68" fmla="*/ 5252 w 7025"/>
                  <a:gd name="T69" fmla="*/ 611 h 1676"/>
                  <a:gd name="T70" fmla="*/ 3282 w 7025"/>
                  <a:gd name="T71" fmla="*/ 582 h 1676"/>
                  <a:gd name="T72" fmla="*/ 3282 w 7025"/>
                  <a:gd name="T73" fmla="*/ 582 h 1676"/>
                  <a:gd name="T74" fmla="*/ 303 w 7025"/>
                  <a:gd name="T75" fmla="*/ 601 h 1676"/>
                  <a:gd name="T76" fmla="*/ 7023 w 7025"/>
                  <a:gd name="T77" fmla="*/ 1676 h 1676"/>
                  <a:gd name="T78" fmla="*/ 4190 w 7025"/>
                  <a:gd name="T79" fmla="*/ 507 h 1676"/>
                  <a:gd name="T80" fmla="*/ 3299 w 7025"/>
                  <a:gd name="T81" fmla="*/ 502 h 1676"/>
                  <a:gd name="T82" fmla="*/ 3299 w 7025"/>
                  <a:gd name="T83" fmla="*/ 502 h 1676"/>
                  <a:gd name="T84" fmla="*/ 4034 w 7025"/>
                  <a:gd name="T85" fmla="*/ 492 h 1676"/>
                  <a:gd name="T86" fmla="*/ 4037 w 7025"/>
                  <a:gd name="T87" fmla="*/ 490 h 1676"/>
                  <a:gd name="T88" fmla="*/ 3327 w 7025"/>
                  <a:gd name="T89" fmla="*/ 485 h 1676"/>
                  <a:gd name="T90" fmla="*/ 4041 w 7025"/>
                  <a:gd name="T91" fmla="*/ 391 h 1676"/>
                  <a:gd name="T92" fmla="*/ 4041 w 7025"/>
                  <a:gd name="T93" fmla="*/ 447 h 1676"/>
                  <a:gd name="T94" fmla="*/ 1807 w 7025"/>
                  <a:gd name="T95" fmla="*/ 1115 h 1676"/>
                  <a:gd name="T96" fmla="*/ 1937 w 7025"/>
                  <a:gd name="T97" fmla="*/ 336 h 1676"/>
                  <a:gd name="T98" fmla="*/ 4048 w 7025"/>
                  <a:gd name="T99" fmla="*/ 329 h 1676"/>
                  <a:gd name="T100" fmla="*/ 4051 w 7025"/>
                  <a:gd name="T101" fmla="*/ 381 h 1676"/>
                  <a:gd name="T102" fmla="*/ 2027 w 7025"/>
                  <a:gd name="T103" fmla="*/ 317 h 1676"/>
                  <a:gd name="T104" fmla="*/ 4701 w 7025"/>
                  <a:gd name="T105" fmla="*/ 234 h 1676"/>
                  <a:gd name="T106" fmla="*/ 4803 w 7025"/>
                  <a:gd name="T107" fmla="*/ 173 h 1676"/>
                  <a:gd name="T108" fmla="*/ 4803 w 7025"/>
                  <a:gd name="T109" fmla="*/ 173 h 1676"/>
                  <a:gd name="T110" fmla="*/ 4852 w 7025"/>
                  <a:gd name="T111" fmla="*/ 156 h 1676"/>
                  <a:gd name="T112" fmla="*/ 4909 w 7025"/>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76">
                    <a:moveTo>
                      <a:pt x="0" y="1454"/>
                    </a:moveTo>
                    <a:lnTo>
                      <a:pt x="0" y="1454"/>
                    </a:lnTo>
                    <a:lnTo>
                      <a:pt x="0" y="1456"/>
                    </a:lnTo>
                    <a:lnTo>
                      <a:pt x="0" y="1517"/>
                    </a:lnTo>
                    <a:lnTo>
                      <a:pt x="0" y="1517"/>
                    </a:lnTo>
                    <a:lnTo>
                      <a:pt x="0" y="1454"/>
                    </a:lnTo>
                    <a:moveTo>
                      <a:pt x="5666" y="1326"/>
                    </a:moveTo>
                    <a:lnTo>
                      <a:pt x="5663" y="1326"/>
                    </a:lnTo>
                    <a:lnTo>
                      <a:pt x="5663" y="1328"/>
                    </a:lnTo>
                    <a:lnTo>
                      <a:pt x="5663" y="1432"/>
                    </a:lnTo>
                    <a:lnTo>
                      <a:pt x="5666" y="1432"/>
                    </a:lnTo>
                    <a:lnTo>
                      <a:pt x="5666" y="1326"/>
                    </a:lnTo>
                    <a:moveTo>
                      <a:pt x="3710" y="1224"/>
                    </a:moveTo>
                    <a:lnTo>
                      <a:pt x="3708" y="1224"/>
                    </a:lnTo>
                    <a:lnTo>
                      <a:pt x="3708" y="1224"/>
                    </a:lnTo>
                    <a:lnTo>
                      <a:pt x="3708" y="1224"/>
                    </a:lnTo>
                    <a:lnTo>
                      <a:pt x="3708" y="1375"/>
                    </a:lnTo>
                    <a:lnTo>
                      <a:pt x="3710" y="1375"/>
                    </a:lnTo>
                    <a:lnTo>
                      <a:pt x="3710" y="1224"/>
                    </a:lnTo>
                    <a:moveTo>
                      <a:pt x="5831" y="1210"/>
                    </a:moveTo>
                    <a:lnTo>
                      <a:pt x="5829" y="1210"/>
                    </a:lnTo>
                    <a:lnTo>
                      <a:pt x="5829" y="1210"/>
                    </a:lnTo>
                    <a:lnTo>
                      <a:pt x="5829" y="1212"/>
                    </a:lnTo>
                    <a:lnTo>
                      <a:pt x="5829" y="1309"/>
                    </a:lnTo>
                    <a:lnTo>
                      <a:pt x="5831" y="1309"/>
                    </a:lnTo>
                    <a:lnTo>
                      <a:pt x="5831" y="1210"/>
                    </a:lnTo>
                    <a:moveTo>
                      <a:pt x="1665" y="1158"/>
                    </a:moveTo>
                    <a:lnTo>
                      <a:pt x="1665" y="1158"/>
                    </a:lnTo>
                    <a:lnTo>
                      <a:pt x="1663" y="1158"/>
                    </a:lnTo>
                    <a:lnTo>
                      <a:pt x="1663" y="1160"/>
                    </a:lnTo>
                    <a:lnTo>
                      <a:pt x="1663" y="1184"/>
                    </a:lnTo>
                    <a:lnTo>
                      <a:pt x="1665" y="1184"/>
                    </a:lnTo>
                    <a:lnTo>
                      <a:pt x="1665" y="1158"/>
                    </a:lnTo>
                    <a:moveTo>
                      <a:pt x="1689" y="1132"/>
                    </a:moveTo>
                    <a:lnTo>
                      <a:pt x="1686" y="1132"/>
                    </a:lnTo>
                    <a:lnTo>
                      <a:pt x="1686" y="1134"/>
                    </a:lnTo>
                    <a:lnTo>
                      <a:pt x="1686" y="1141"/>
                    </a:lnTo>
                    <a:lnTo>
                      <a:pt x="1689" y="1141"/>
                    </a:lnTo>
                    <a:lnTo>
                      <a:pt x="1689" y="1132"/>
                    </a:lnTo>
                    <a:moveTo>
                      <a:pt x="5855" y="1129"/>
                    </a:moveTo>
                    <a:lnTo>
                      <a:pt x="5855" y="1129"/>
                    </a:lnTo>
                    <a:lnTo>
                      <a:pt x="5855" y="1129"/>
                    </a:lnTo>
                    <a:lnTo>
                      <a:pt x="5855" y="1132"/>
                    </a:lnTo>
                    <a:lnTo>
                      <a:pt x="5855" y="1193"/>
                    </a:lnTo>
                    <a:lnTo>
                      <a:pt x="5855" y="1193"/>
                    </a:lnTo>
                    <a:lnTo>
                      <a:pt x="5855" y="1129"/>
                    </a:lnTo>
                    <a:moveTo>
                      <a:pt x="6323" y="1129"/>
                    </a:moveTo>
                    <a:lnTo>
                      <a:pt x="6321" y="1129"/>
                    </a:lnTo>
                    <a:lnTo>
                      <a:pt x="6321" y="1129"/>
                    </a:lnTo>
                    <a:lnTo>
                      <a:pt x="6321" y="1132"/>
                    </a:lnTo>
                    <a:lnTo>
                      <a:pt x="6321" y="1347"/>
                    </a:lnTo>
                    <a:lnTo>
                      <a:pt x="6323" y="1347"/>
                    </a:lnTo>
                    <a:lnTo>
                      <a:pt x="6323" y="1129"/>
                    </a:lnTo>
                    <a:moveTo>
                      <a:pt x="1447" y="1127"/>
                    </a:moveTo>
                    <a:lnTo>
                      <a:pt x="1445" y="1127"/>
                    </a:lnTo>
                    <a:lnTo>
                      <a:pt x="1445" y="1127"/>
                    </a:lnTo>
                    <a:lnTo>
                      <a:pt x="1445" y="1129"/>
                    </a:lnTo>
                    <a:lnTo>
                      <a:pt x="1445" y="1184"/>
                    </a:lnTo>
                    <a:lnTo>
                      <a:pt x="1447" y="1184"/>
                    </a:lnTo>
                    <a:lnTo>
                      <a:pt x="1447" y="1127"/>
                    </a:lnTo>
                    <a:moveTo>
                      <a:pt x="1464" y="1084"/>
                    </a:moveTo>
                    <a:lnTo>
                      <a:pt x="1462" y="1084"/>
                    </a:lnTo>
                    <a:lnTo>
                      <a:pt x="1462" y="1087"/>
                    </a:lnTo>
                    <a:lnTo>
                      <a:pt x="1462" y="1110"/>
                    </a:lnTo>
                    <a:lnTo>
                      <a:pt x="1464" y="1110"/>
                    </a:lnTo>
                    <a:lnTo>
                      <a:pt x="1464" y="1084"/>
                    </a:lnTo>
                    <a:moveTo>
                      <a:pt x="2859" y="1063"/>
                    </a:moveTo>
                    <a:lnTo>
                      <a:pt x="2859" y="1063"/>
                    </a:lnTo>
                    <a:lnTo>
                      <a:pt x="2859" y="1063"/>
                    </a:lnTo>
                    <a:lnTo>
                      <a:pt x="2859" y="1065"/>
                    </a:lnTo>
                    <a:lnTo>
                      <a:pt x="2859" y="1224"/>
                    </a:lnTo>
                    <a:lnTo>
                      <a:pt x="2859" y="1224"/>
                    </a:lnTo>
                    <a:lnTo>
                      <a:pt x="2859" y="1063"/>
                    </a:lnTo>
                    <a:moveTo>
                      <a:pt x="5930" y="1042"/>
                    </a:moveTo>
                    <a:lnTo>
                      <a:pt x="5930" y="1042"/>
                    </a:lnTo>
                    <a:lnTo>
                      <a:pt x="5928" y="1042"/>
                    </a:lnTo>
                    <a:lnTo>
                      <a:pt x="5928" y="1044"/>
                    </a:lnTo>
                    <a:lnTo>
                      <a:pt x="5928" y="1113"/>
                    </a:lnTo>
                    <a:lnTo>
                      <a:pt x="5930" y="1113"/>
                    </a:lnTo>
                    <a:lnTo>
                      <a:pt x="5930" y="1042"/>
                    </a:lnTo>
                    <a:moveTo>
                      <a:pt x="2878" y="1013"/>
                    </a:moveTo>
                    <a:lnTo>
                      <a:pt x="2876" y="1013"/>
                    </a:lnTo>
                    <a:lnTo>
                      <a:pt x="2876" y="1013"/>
                    </a:lnTo>
                    <a:lnTo>
                      <a:pt x="2876" y="1046"/>
                    </a:lnTo>
                    <a:lnTo>
                      <a:pt x="2878" y="1046"/>
                    </a:lnTo>
                    <a:lnTo>
                      <a:pt x="2878" y="1013"/>
                    </a:lnTo>
                    <a:moveTo>
                      <a:pt x="3769" y="994"/>
                    </a:moveTo>
                    <a:lnTo>
                      <a:pt x="3769" y="994"/>
                    </a:lnTo>
                    <a:lnTo>
                      <a:pt x="3769" y="997"/>
                    </a:lnTo>
                    <a:lnTo>
                      <a:pt x="3769" y="1207"/>
                    </a:lnTo>
                    <a:lnTo>
                      <a:pt x="3769" y="1207"/>
                    </a:lnTo>
                    <a:lnTo>
                      <a:pt x="3769" y="994"/>
                    </a:lnTo>
                    <a:moveTo>
                      <a:pt x="5949" y="990"/>
                    </a:moveTo>
                    <a:lnTo>
                      <a:pt x="5947" y="990"/>
                    </a:lnTo>
                    <a:lnTo>
                      <a:pt x="5947" y="992"/>
                    </a:lnTo>
                    <a:lnTo>
                      <a:pt x="5947" y="1025"/>
                    </a:lnTo>
                    <a:lnTo>
                      <a:pt x="5949" y="1025"/>
                    </a:lnTo>
                    <a:lnTo>
                      <a:pt x="5949" y="990"/>
                    </a:lnTo>
                    <a:moveTo>
                      <a:pt x="6340" y="937"/>
                    </a:moveTo>
                    <a:lnTo>
                      <a:pt x="6340" y="937"/>
                    </a:lnTo>
                    <a:lnTo>
                      <a:pt x="6337" y="937"/>
                    </a:lnTo>
                    <a:lnTo>
                      <a:pt x="6337" y="937"/>
                    </a:lnTo>
                    <a:lnTo>
                      <a:pt x="6337" y="1113"/>
                    </a:lnTo>
                    <a:lnTo>
                      <a:pt x="6340" y="1113"/>
                    </a:lnTo>
                    <a:lnTo>
                      <a:pt x="6340" y="937"/>
                    </a:lnTo>
                    <a:moveTo>
                      <a:pt x="3845" y="928"/>
                    </a:moveTo>
                    <a:lnTo>
                      <a:pt x="3843" y="928"/>
                    </a:lnTo>
                    <a:lnTo>
                      <a:pt x="3843" y="930"/>
                    </a:lnTo>
                    <a:lnTo>
                      <a:pt x="3843" y="978"/>
                    </a:lnTo>
                    <a:lnTo>
                      <a:pt x="3845" y="978"/>
                    </a:lnTo>
                    <a:lnTo>
                      <a:pt x="3845" y="928"/>
                    </a:lnTo>
                    <a:moveTo>
                      <a:pt x="6384" y="895"/>
                    </a:moveTo>
                    <a:lnTo>
                      <a:pt x="6384" y="895"/>
                    </a:lnTo>
                    <a:lnTo>
                      <a:pt x="6382" y="895"/>
                    </a:lnTo>
                    <a:lnTo>
                      <a:pt x="6382" y="897"/>
                    </a:lnTo>
                    <a:lnTo>
                      <a:pt x="6377" y="918"/>
                    </a:lnTo>
                    <a:lnTo>
                      <a:pt x="6380" y="918"/>
                    </a:lnTo>
                    <a:lnTo>
                      <a:pt x="6384" y="895"/>
                    </a:lnTo>
                    <a:moveTo>
                      <a:pt x="6389" y="878"/>
                    </a:moveTo>
                    <a:lnTo>
                      <a:pt x="6387" y="878"/>
                    </a:lnTo>
                    <a:lnTo>
                      <a:pt x="6387" y="878"/>
                    </a:lnTo>
                    <a:lnTo>
                      <a:pt x="6387" y="881"/>
                    </a:lnTo>
                    <a:lnTo>
                      <a:pt x="6387" y="892"/>
                    </a:lnTo>
                    <a:lnTo>
                      <a:pt x="6389" y="892"/>
                    </a:lnTo>
                    <a:lnTo>
                      <a:pt x="6389" y="890"/>
                    </a:lnTo>
                    <a:lnTo>
                      <a:pt x="6389" y="890"/>
                    </a:lnTo>
                    <a:lnTo>
                      <a:pt x="6389" y="878"/>
                    </a:lnTo>
                    <a:moveTo>
                      <a:pt x="6396" y="850"/>
                    </a:moveTo>
                    <a:lnTo>
                      <a:pt x="6396" y="850"/>
                    </a:lnTo>
                    <a:lnTo>
                      <a:pt x="6396" y="852"/>
                    </a:lnTo>
                    <a:lnTo>
                      <a:pt x="6396" y="871"/>
                    </a:lnTo>
                    <a:lnTo>
                      <a:pt x="6396" y="871"/>
                    </a:lnTo>
                    <a:lnTo>
                      <a:pt x="6396" y="869"/>
                    </a:lnTo>
                    <a:lnTo>
                      <a:pt x="6396" y="869"/>
                    </a:lnTo>
                    <a:lnTo>
                      <a:pt x="6396" y="850"/>
                    </a:lnTo>
                    <a:moveTo>
                      <a:pt x="804" y="829"/>
                    </a:moveTo>
                    <a:lnTo>
                      <a:pt x="804" y="829"/>
                    </a:lnTo>
                    <a:lnTo>
                      <a:pt x="804" y="829"/>
                    </a:lnTo>
                    <a:lnTo>
                      <a:pt x="804" y="1053"/>
                    </a:lnTo>
                    <a:lnTo>
                      <a:pt x="804" y="1053"/>
                    </a:lnTo>
                    <a:lnTo>
                      <a:pt x="804" y="829"/>
                    </a:lnTo>
                    <a:moveTo>
                      <a:pt x="3100" y="762"/>
                    </a:moveTo>
                    <a:lnTo>
                      <a:pt x="3100" y="762"/>
                    </a:lnTo>
                    <a:lnTo>
                      <a:pt x="3098" y="762"/>
                    </a:lnTo>
                    <a:lnTo>
                      <a:pt x="3098" y="765"/>
                    </a:lnTo>
                    <a:lnTo>
                      <a:pt x="3098" y="963"/>
                    </a:lnTo>
                    <a:lnTo>
                      <a:pt x="3100" y="963"/>
                    </a:lnTo>
                    <a:lnTo>
                      <a:pt x="3100" y="762"/>
                    </a:lnTo>
                    <a:moveTo>
                      <a:pt x="1008" y="753"/>
                    </a:moveTo>
                    <a:lnTo>
                      <a:pt x="1008" y="753"/>
                    </a:lnTo>
                    <a:lnTo>
                      <a:pt x="1008" y="755"/>
                    </a:lnTo>
                    <a:lnTo>
                      <a:pt x="1008" y="812"/>
                    </a:lnTo>
                    <a:lnTo>
                      <a:pt x="1008" y="812"/>
                    </a:lnTo>
                    <a:lnTo>
                      <a:pt x="1008" y="753"/>
                    </a:lnTo>
                    <a:moveTo>
                      <a:pt x="5131" y="731"/>
                    </a:moveTo>
                    <a:lnTo>
                      <a:pt x="5129" y="731"/>
                    </a:lnTo>
                    <a:lnTo>
                      <a:pt x="5129" y="734"/>
                    </a:lnTo>
                    <a:lnTo>
                      <a:pt x="5129" y="956"/>
                    </a:lnTo>
                    <a:lnTo>
                      <a:pt x="5131" y="956"/>
                    </a:lnTo>
                    <a:lnTo>
                      <a:pt x="5131" y="731"/>
                    </a:lnTo>
                    <a:moveTo>
                      <a:pt x="3138" y="658"/>
                    </a:moveTo>
                    <a:lnTo>
                      <a:pt x="3136" y="658"/>
                    </a:lnTo>
                    <a:lnTo>
                      <a:pt x="3136" y="660"/>
                    </a:lnTo>
                    <a:lnTo>
                      <a:pt x="3136" y="746"/>
                    </a:lnTo>
                    <a:lnTo>
                      <a:pt x="3138" y="746"/>
                    </a:lnTo>
                    <a:lnTo>
                      <a:pt x="3138" y="658"/>
                    </a:lnTo>
                    <a:moveTo>
                      <a:pt x="97" y="618"/>
                    </a:moveTo>
                    <a:lnTo>
                      <a:pt x="95" y="618"/>
                    </a:lnTo>
                    <a:lnTo>
                      <a:pt x="95" y="620"/>
                    </a:lnTo>
                    <a:lnTo>
                      <a:pt x="95" y="1437"/>
                    </a:lnTo>
                    <a:lnTo>
                      <a:pt x="97" y="1437"/>
                    </a:lnTo>
                    <a:lnTo>
                      <a:pt x="97" y="618"/>
                    </a:lnTo>
                    <a:moveTo>
                      <a:pt x="5252" y="611"/>
                    </a:moveTo>
                    <a:lnTo>
                      <a:pt x="5252" y="611"/>
                    </a:lnTo>
                    <a:lnTo>
                      <a:pt x="5252" y="611"/>
                    </a:lnTo>
                    <a:lnTo>
                      <a:pt x="5252" y="715"/>
                    </a:lnTo>
                    <a:lnTo>
                      <a:pt x="5252" y="715"/>
                    </a:lnTo>
                    <a:lnTo>
                      <a:pt x="5252" y="611"/>
                    </a:lnTo>
                    <a:moveTo>
                      <a:pt x="3282" y="582"/>
                    </a:moveTo>
                    <a:lnTo>
                      <a:pt x="3282" y="582"/>
                    </a:lnTo>
                    <a:lnTo>
                      <a:pt x="3280" y="582"/>
                    </a:lnTo>
                    <a:lnTo>
                      <a:pt x="3280" y="585"/>
                    </a:lnTo>
                    <a:lnTo>
                      <a:pt x="3280" y="641"/>
                    </a:lnTo>
                    <a:lnTo>
                      <a:pt x="3282" y="641"/>
                    </a:lnTo>
                    <a:lnTo>
                      <a:pt x="3282" y="582"/>
                    </a:lnTo>
                    <a:moveTo>
                      <a:pt x="303" y="547"/>
                    </a:moveTo>
                    <a:lnTo>
                      <a:pt x="301" y="547"/>
                    </a:lnTo>
                    <a:lnTo>
                      <a:pt x="301" y="549"/>
                    </a:lnTo>
                    <a:lnTo>
                      <a:pt x="301" y="601"/>
                    </a:lnTo>
                    <a:lnTo>
                      <a:pt x="303" y="601"/>
                    </a:lnTo>
                    <a:lnTo>
                      <a:pt x="303" y="547"/>
                    </a:lnTo>
                    <a:moveTo>
                      <a:pt x="7025" y="509"/>
                    </a:moveTo>
                    <a:lnTo>
                      <a:pt x="7023" y="509"/>
                    </a:lnTo>
                    <a:lnTo>
                      <a:pt x="7023" y="511"/>
                    </a:lnTo>
                    <a:lnTo>
                      <a:pt x="7023" y="1676"/>
                    </a:lnTo>
                    <a:lnTo>
                      <a:pt x="7025" y="1676"/>
                    </a:lnTo>
                    <a:lnTo>
                      <a:pt x="7025" y="509"/>
                    </a:lnTo>
                    <a:moveTo>
                      <a:pt x="4193" y="504"/>
                    </a:moveTo>
                    <a:lnTo>
                      <a:pt x="4193" y="504"/>
                    </a:lnTo>
                    <a:lnTo>
                      <a:pt x="4190" y="507"/>
                    </a:lnTo>
                    <a:lnTo>
                      <a:pt x="4136" y="582"/>
                    </a:lnTo>
                    <a:lnTo>
                      <a:pt x="4136" y="585"/>
                    </a:lnTo>
                    <a:lnTo>
                      <a:pt x="4193" y="504"/>
                    </a:lnTo>
                    <a:moveTo>
                      <a:pt x="3299" y="502"/>
                    </a:moveTo>
                    <a:lnTo>
                      <a:pt x="3299" y="502"/>
                    </a:lnTo>
                    <a:lnTo>
                      <a:pt x="3299" y="502"/>
                    </a:lnTo>
                    <a:lnTo>
                      <a:pt x="3299" y="504"/>
                    </a:lnTo>
                    <a:lnTo>
                      <a:pt x="3299" y="566"/>
                    </a:lnTo>
                    <a:lnTo>
                      <a:pt x="3299" y="566"/>
                    </a:lnTo>
                    <a:lnTo>
                      <a:pt x="3299" y="502"/>
                    </a:lnTo>
                    <a:moveTo>
                      <a:pt x="4037" y="454"/>
                    </a:moveTo>
                    <a:lnTo>
                      <a:pt x="4034" y="454"/>
                    </a:lnTo>
                    <a:lnTo>
                      <a:pt x="4034" y="454"/>
                    </a:lnTo>
                    <a:lnTo>
                      <a:pt x="4034" y="457"/>
                    </a:lnTo>
                    <a:lnTo>
                      <a:pt x="4034" y="492"/>
                    </a:lnTo>
                    <a:lnTo>
                      <a:pt x="3954" y="644"/>
                    </a:lnTo>
                    <a:lnTo>
                      <a:pt x="3954" y="911"/>
                    </a:lnTo>
                    <a:lnTo>
                      <a:pt x="3954" y="911"/>
                    </a:lnTo>
                    <a:lnTo>
                      <a:pt x="3954" y="641"/>
                    </a:lnTo>
                    <a:lnTo>
                      <a:pt x="4037" y="490"/>
                    </a:lnTo>
                    <a:lnTo>
                      <a:pt x="4037" y="454"/>
                    </a:lnTo>
                    <a:moveTo>
                      <a:pt x="3330" y="435"/>
                    </a:moveTo>
                    <a:lnTo>
                      <a:pt x="3327" y="435"/>
                    </a:lnTo>
                    <a:lnTo>
                      <a:pt x="3327" y="435"/>
                    </a:lnTo>
                    <a:lnTo>
                      <a:pt x="3327" y="485"/>
                    </a:lnTo>
                    <a:lnTo>
                      <a:pt x="3330" y="485"/>
                    </a:lnTo>
                    <a:lnTo>
                      <a:pt x="3330" y="435"/>
                    </a:lnTo>
                    <a:moveTo>
                      <a:pt x="4041" y="391"/>
                    </a:moveTo>
                    <a:lnTo>
                      <a:pt x="4041" y="391"/>
                    </a:lnTo>
                    <a:lnTo>
                      <a:pt x="4041" y="391"/>
                    </a:lnTo>
                    <a:lnTo>
                      <a:pt x="4041" y="393"/>
                    </a:lnTo>
                    <a:lnTo>
                      <a:pt x="4041" y="450"/>
                    </a:lnTo>
                    <a:lnTo>
                      <a:pt x="4041" y="450"/>
                    </a:lnTo>
                    <a:lnTo>
                      <a:pt x="4041" y="447"/>
                    </a:lnTo>
                    <a:lnTo>
                      <a:pt x="4041" y="447"/>
                    </a:lnTo>
                    <a:lnTo>
                      <a:pt x="4041" y="391"/>
                    </a:lnTo>
                    <a:moveTo>
                      <a:pt x="1809" y="369"/>
                    </a:moveTo>
                    <a:lnTo>
                      <a:pt x="1807" y="369"/>
                    </a:lnTo>
                    <a:lnTo>
                      <a:pt x="1807" y="372"/>
                    </a:lnTo>
                    <a:lnTo>
                      <a:pt x="1807" y="1115"/>
                    </a:lnTo>
                    <a:lnTo>
                      <a:pt x="1809" y="1115"/>
                    </a:lnTo>
                    <a:lnTo>
                      <a:pt x="1809" y="369"/>
                    </a:lnTo>
                    <a:moveTo>
                      <a:pt x="1939" y="334"/>
                    </a:moveTo>
                    <a:lnTo>
                      <a:pt x="1937" y="334"/>
                    </a:lnTo>
                    <a:lnTo>
                      <a:pt x="1937" y="336"/>
                    </a:lnTo>
                    <a:lnTo>
                      <a:pt x="1937" y="353"/>
                    </a:lnTo>
                    <a:lnTo>
                      <a:pt x="1939" y="353"/>
                    </a:lnTo>
                    <a:lnTo>
                      <a:pt x="1939" y="334"/>
                    </a:lnTo>
                    <a:moveTo>
                      <a:pt x="4051" y="329"/>
                    </a:moveTo>
                    <a:lnTo>
                      <a:pt x="4048" y="329"/>
                    </a:lnTo>
                    <a:lnTo>
                      <a:pt x="4048" y="329"/>
                    </a:lnTo>
                    <a:lnTo>
                      <a:pt x="4048" y="383"/>
                    </a:lnTo>
                    <a:lnTo>
                      <a:pt x="4048" y="383"/>
                    </a:lnTo>
                    <a:lnTo>
                      <a:pt x="4048" y="381"/>
                    </a:lnTo>
                    <a:lnTo>
                      <a:pt x="4051" y="381"/>
                    </a:lnTo>
                    <a:lnTo>
                      <a:pt x="4051" y="329"/>
                    </a:lnTo>
                    <a:moveTo>
                      <a:pt x="2029" y="293"/>
                    </a:moveTo>
                    <a:lnTo>
                      <a:pt x="2027" y="293"/>
                    </a:lnTo>
                    <a:lnTo>
                      <a:pt x="2027" y="296"/>
                    </a:lnTo>
                    <a:lnTo>
                      <a:pt x="2027" y="317"/>
                    </a:lnTo>
                    <a:lnTo>
                      <a:pt x="2029" y="317"/>
                    </a:lnTo>
                    <a:lnTo>
                      <a:pt x="2029" y="293"/>
                    </a:lnTo>
                    <a:moveTo>
                      <a:pt x="4703" y="232"/>
                    </a:moveTo>
                    <a:lnTo>
                      <a:pt x="4701" y="232"/>
                    </a:lnTo>
                    <a:lnTo>
                      <a:pt x="4701" y="234"/>
                    </a:lnTo>
                    <a:lnTo>
                      <a:pt x="4637" y="466"/>
                    </a:lnTo>
                    <a:lnTo>
                      <a:pt x="4639" y="464"/>
                    </a:lnTo>
                    <a:lnTo>
                      <a:pt x="4703" y="232"/>
                    </a:lnTo>
                    <a:moveTo>
                      <a:pt x="4803" y="173"/>
                    </a:moveTo>
                    <a:lnTo>
                      <a:pt x="4803" y="173"/>
                    </a:lnTo>
                    <a:lnTo>
                      <a:pt x="4803" y="173"/>
                    </a:lnTo>
                    <a:lnTo>
                      <a:pt x="4803" y="175"/>
                    </a:lnTo>
                    <a:lnTo>
                      <a:pt x="4803" y="215"/>
                    </a:lnTo>
                    <a:lnTo>
                      <a:pt x="4803" y="215"/>
                    </a:lnTo>
                    <a:lnTo>
                      <a:pt x="4803" y="173"/>
                    </a:lnTo>
                    <a:moveTo>
                      <a:pt x="4852" y="0"/>
                    </a:moveTo>
                    <a:lnTo>
                      <a:pt x="4850" y="0"/>
                    </a:lnTo>
                    <a:lnTo>
                      <a:pt x="4850" y="2"/>
                    </a:lnTo>
                    <a:lnTo>
                      <a:pt x="4850" y="156"/>
                    </a:lnTo>
                    <a:lnTo>
                      <a:pt x="4852" y="156"/>
                    </a:lnTo>
                    <a:lnTo>
                      <a:pt x="4852" y="0"/>
                    </a:lnTo>
                    <a:moveTo>
                      <a:pt x="4909" y="0"/>
                    </a:moveTo>
                    <a:lnTo>
                      <a:pt x="4909" y="0"/>
                    </a:lnTo>
                    <a:lnTo>
                      <a:pt x="4909" y="2"/>
                    </a:lnTo>
                    <a:lnTo>
                      <a:pt x="4909" y="156"/>
                    </a:lnTo>
                    <a:lnTo>
                      <a:pt x="4909" y="156"/>
                    </a:lnTo>
                    <a:lnTo>
                      <a:pt x="49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3" name="Freeform 128"/>
              <p:cNvSpPr>
                <a:spLocks noEditPoints="1"/>
              </p:cNvSpPr>
              <p:nvPr/>
            </p:nvSpPr>
            <p:spPr bwMode="auto">
              <a:xfrm>
                <a:off x="30" y="1677"/>
                <a:ext cx="7028" cy="1676"/>
              </a:xfrm>
              <a:custGeom>
                <a:avLst/>
                <a:gdLst>
                  <a:gd name="T0" fmla="*/ 3 w 7028"/>
                  <a:gd name="T1" fmla="*/ 1517 h 1676"/>
                  <a:gd name="T2" fmla="*/ 5666 w 7028"/>
                  <a:gd name="T3" fmla="*/ 1432 h 1676"/>
                  <a:gd name="T4" fmla="*/ 3710 w 7028"/>
                  <a:gd name="T5" fmla="*/ 1222 h 1676"/>
                  <a:gd name="T6" fmla="*/ 5834 w 7028"/>
                  <a:gd name="T7" fmla="*/ 1207 h 1676"/>
                  <a:gd name="T8" fmla="*/ 5834 w 7028"/>
                  <a:gd name="T9" fmla="*/ 1309 h 1676"/>
                  <a:gd name="T10" fmla="*/ 1665 w 7028"/>
                  <a:gd name="T11" fmla="*/ 1158 h 1676"/>
                  <a:gd name="T12" fmla="*/ 1689 w 7028"/>
                  <a:gd name="T13" fmla="*/ 1132 h 1676"/>
                  <a:gd name="T14" fmla="*/ 5857 w 7028"/>
                  <a:gd name="T15" fmla="*/ 1127 h 1676"/>
                  <a:gd name="T16" fmla="*/ 5857 w 7028"/>
                  <a:gd name="T17" fmla="*/ 1193 h 1676"/>
                  <a:gd name="T18" fmla="*/ 6323 w 7028"/>
                  <a:gd name="T19" fmla="*/ 1129 h 1676"/>
                  <a:gd name="T20" fmla="*/ 1447 w 7028"/>
                  <a:gd name="T21" fmla="*/ 1124 h 1676"/>
                  <a:gd name="T22" fmla="*/ 1447 w 7028"/>
                  <a:gd name="T23" fmla="*/ 1124 h 1676"/>
                  <a:gd name="T24" fmla="*/ 1466 w 7028"/>
                  <a:gd name="T25" fmla="*/ 1110 h 1676"/>
                  <a:gd name="T26" fmla="*/ 2859 w 7028"/>
                  <a:gd name="T27" fmla="*/ 1063 h 1676"/>
                  <a:gd name="T28" fmla="*/ 5933 w 7028"/>
                  <a:gd name="T29" fmla="*/ 1039 h 1676"/>
                  <a:gd name="T30" fmla="*/ 5933 w 7028"/>
                  <a:gd name="T31" fmla="*/ 1039 h 1676"/>
                  <a:gd name="T32" fmla="*/ 2878 w 7028"/>
                  <a:gd name="T33" fmla="*/ 1046 h 1676"/>
                  <a:gd name="T34" fmla="*/ 3769 w 7028"/>
                  <a:gd name="T35" fmla="*/ 1207 h 1676"/>
                  <a:gd name="T36" fmla="*/ 5949 w 7028"/>
                  <a:gd name="T37" fmla="*/ 990 h 1676"/>
                  <a:gd name="T38" fmla="*/ 6342 w 7028"/>
                  <a:gd name="T39" fmla="*/ 935 h 1676"/>
                  <a:gd name="T40" fmla="*/ 6342 w 7028"/>
                  <a:gd name="T41" fmla="*/ 935 h 1676"/>
                  <a:gd name="T42" fmla="*/ 3847 w 7028"/>
                  <a:gd name="T43" fmla="*/ 978 h 1676"/>
                  <a:gd name="T44" fmla="*/ 6384 w 7028"/>
                  <a:gd name="T45" fmla="*/ 895 h 1676"/>
                  <a:gd name="T46" fmla="*/ 6389 w 7028"/>
                  <a:gd name="T47" fmla="*/ 878 h 1676"/>
                  <a:gd name="T48" fmla="*/ 6389 w 7028"/>
                  <a:gd name="T49" fmla="*/ 888 h 1676"/>
                  <a:gd name="T50" fmla="*/ 6396 w 7028"/>
                  <a:gd name="T51" fmla="*/ 850 h 1676"/>
                  <a:gd name="T52" fmla="*/ 6399 w 7028"/>
                  <a:gd name="T53" fmla="*/ 850 h 1676"/>
                  <a:gd name="T54" fmla="*/ 807 w 7028"/>
                  <a:gd name="T55" fmla="*/ 1053 h 1676"/>
                  <a:gd name="T56" fmla="*/ 3100 w 7028"/>
                  <a:gd name="T57" fmla="*/ 762 h 1676"/>
                  <a:gd name="T58" fmla="*/ 1008 w 7028"/>
                  <a:gd name="T59" fmla="*/ 753 h 1676"/>
                  <a:gd name="T60" fmla="*/ 5134 w 7028"/>
                  <a:gd name="T61" fmla="*/ 731 h 1676"/>
                  <a:gd name="T62" fmla="*/ 5134 w 7028"/>
                  <a:gd name="T63" fmla="*/ 731 h 1676"/>
                  <a:gd name="T64" fmla="*/ 3140 w 7028"/>
                  <a:gd name="T65" fmla="*/ 746 h 1676"/>
                  <a:gd name="T66" fmla="*/ 97 w 7028"/>
                  <a:gd name="T67" fmla="*/ 1437 h 1676"/>
                  <a:gd name="T68" fmla="*/ 5252 w 7028"/>
                  <a:gd name="T69" fmla="*/ 611 h 1676"/>
                  <a:gd name="T70" fmla="*/ 3282 w 7028"/>
                  <a:gd name="T71" fmla="*/ 580 h 1676"/>
                  <a:gd name="T72" fmla="*/ 3285 w 7028"/>
                  <a:gd name="T73" fmla="*/ 580 h 1676"/>
                  <a:gd name="T74" fmla="*/ 303 w 7028"/>
                  <a:gd name="T75" fmla="*/ 601 h 1676"/>
                  <a:gd name="T76" fmla="*/ 7025 w 7028"/>
                  <a:gd name="T77" fmla="*/ 1676 h 1676"/>
                  <a:gd name="T78" fmla="*/ 4193 w 7028"/>
                  <a:gd name="T79" fmla="*/ 504 h 1676"/>
                  <a:gd name="T80" fmla="*/ 3301 w 7028"/>
                  <a:gd name="T81" fmla="*/ 499 h 1676"/>
                  <a:gd name="T82" fmla="*/ 3301 w 7028"/>
                  <a:gd name="T83" fmla="*/ 499 h 1676"/>
                  <a:gd name="T84" fmla="*/ 4037 w 7028"/>
                  <a:gd name="T85" fmla="*/ 490 h 1676"/>
                  <a:gd name="T86" fmla="*/ 4039 w 7028"/>
                  <a:gd name="T87" fmla="*/ 488 h 1676"/>
                  <a:gd name="T88" fmla="*/ 3330 w 7028"/>
                  <a:gd name="T89" fmla="*/ 485 h 1676"/>
                  <a:gd name="T90" fmla="*/ 4041 w 7028"/>
                  <a:gd name="T91" fmla="*/ 391 h 1676"/>
                  <a:gd name="T92" fmla="*/ 4044 w 7028"/>
                  <a:gd name="T93" fmla="*/ 445 h 1676"/>
                  <a:gd name="T94" fmla="*/ 1809 w 7028"/>
                  <a:gd name="T95" fmla="*/ 1115 h 1676"/>
                  <a:gd name="T96" fmla="*/ 1939 w 7028"/>
                  <a:gd name="T97" fmla="*/ 334 h 1676"/>
                  <a:gd name="T98" fmla="*/ 4051 w 7028"/>
                  <a:gd name="T99" fmla="*/ 327 h 1676"/>
                  <a:gd name="T100" fmla="*/ 4051 w 7028"/>
                  <a:gd name="T101" fmla="*/ 381 h 1676"/>
                  <a:gd name="T102" fmla="*/ 2029 w 7028"/>
                  <a:gd name="T103" fmla="*/ 317 h 1676"/>
                  <a:gd name="T104" fmla="*/ 4703 w 7028"/>
                  <a:gd name="T105" fmla="*/ 232 h 1676"/>
                  <a:gd name="T106" fmla="*/ 4805 w 7028"/>
                  <a:gd name="T107" fmla="*/ 170 h 1676"/>
                  <a:gd name="T108" fmla="*/ 4805 w 7028"/>
                  <a:gd name="T109" fmla="*/ 170 h 1676"/>
                  <a:gd name="T110" fmla="*/ 4855 w 7028"/>
                  <a:gd name="T111" fmla="*/ 156 h 1676"/>
                  <a:gd name="T112" fmla="*/ 4909 w 7028"/>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8" h="1676">
                    <a:moveTo>
                      <a:pt x="3" y="1451"/>
                    </a:moveTo>
                    <a:lnTo>
                      <a:pt x="0" y="1451"/>
                    </a:lnTo>
                    <a:lnTo>
                      <a:pt x="0" y="1454"/>
                    </a:lnTo>
                    <a:lnTo>
                      <a:pt x="0" y="1517"/>
                    </a:lnTo>
                    <a:lnTo>
                      <a:pt x="3" y="1517"/>
                    </a:lnTo>
                    <a:lnTo>
                      <a:pt x="3" y="1451"/>
                    </a:lnTo>
                    <a:close/>
                    <a:moveTo>
                      <a:pt x="5668" y="1326"/>
                    </a:moveTo>
                    <a:lnTo>
                      <a:pt x="5666" y="1326"/>
                    </a:lnTo>
                    <a:lnTo>
                      <a:pt x="5666" y="1326"/>
                    </a:lnTo>
                    <a:lnTo>
                      <a:pt x="5666" y="1432"/>
                    </a:lnTo>
                    <a:lnTo>
                      <a:pt x="5668" y="1432"/>
                    </a:lnTo>
                    <a:lnTo>
                      <a:pt x="5668" y="1326"/>
                    </a:lnTo>
                    <a:close/>
                    <a:moveTo>
                      <a:pt x="3713" y="1222"/>
                    </a:moveTo>
                    <a:lnTo>
                      <a:pt x="3710" y="1222"/>
                    </a:lnTo>
                    <a:lnTo>
                      <a:pt x="3710" y="1222"/>
                    </a:lnTo>
                    <a:lnTo>
                      <a:pt x="3710" y="1224"/>
                    </a:lnTo>
                    <a:lnTo>
                      <a:pt x="3710" y="1375"/>
                    </a:lnTo>
                    <a:lnTo>
                      <a:pt x="3713" y="1375"/>
                    </a:lnTo>
                    <a:lnTo>
                      <a:pt x="3713" y="1222"/>
                    </a:lnTo>
                    <a:close/>
                    <a:moveTo>
                      <a:pt x="5834" y="1207"/>
                    </a:moveTo>
                    <a:lnTo>
                      <a:pt x="5831" y="1207"/>
                    </a:lnTo>
                    <a:lnTo>
                      <a:pt x="5831" y="1207"/>
                    </a:lnTo>
                    <a:lnTo>
                      <a:pt x="5831" y="1210"/>
                    </a:lnTo>
                    <a:lnTo>
                      <a:pt x="5831" y="1309"/>
                    </a:lnTo>
                    <a:lnTo>
                      <a:pt x="5834" y="1309"/>
                    </a:lnTo>
                    <a:lnTo>
                      <a:pt x="5834" y="1207"/>
                    </a:lnTo>
                    <a:close/>
                    <a:moveTo>
                      <a:pt x="1667" y="1155"/>
                    </a:moveTo>
                    <a:lnTo>
                      <a:pt x="1667" y="1155"/>
                    </a:lnTo>
                    <a:lnTo>
                      <a:pt x="1665" y="1155"/>
                    </a:lnTo>
                    <a:lnTo>
                      <a:pt x="1665" y="1158"/>
                    </a:lnTo>
                    <a:lnTo>
                      <a:pt x="1665" y="1184"/>
                    </a:lnTo>
                    <a:lnTo>
                      <a:pt x="1667" y="1184"/>
                    </a:lnTo>
                    <a:lnTo>
                      <a:pt x="1667" y="1155"/>
                    </a:lnTo>
                    <a:close/>
                    <a:moveTo>
                      <a:pt x="1691" y="1132"/>
                    </a:moveTo>
                    <a:lnTo>
                      <a:pt x="1689" y="1132"/>
                    </a:lnTo>
                    <a:lnTo>
                      <a:pt x="1689" y="1132"/>
                    </a:lnTo>
                    <a:lnTo>
                      <a:pt x="1689" y="1141"/>
                    </a:lnTo>
                    <a:lnTo>
                      <a:pt x="1691" y="1141"/>
                    </a:lnTo>
                    <a:lnTo>
                      <a:pt x="1691" y="1132"/>
                    </a:lnTo>
                    <a:close/>
                    <a:moveTo>
                      <a:pt x="5857" y="1127"/>
                    </a:moveTo>
                    <a:lnTo>
                      <a:pt x="5857" y="1127"/>
                    </a:lnTo>
                    <a:lnTo>
                      <a:pt x="5855" y="1127"/>
                    </a:lnTo>
                    <a:lnTo>
                      <a:pt x="5855" y="1129"/>
                    </a:lnTo>
                    <a:lnTo>
                      <a:pt x="5855" y="1193"/>
                    </a:lnTo>
                    <a:lnTo>
                      <a:pt x="5857" y="1193"/>
                    </a:lnTo>
                    <a:lnTo>
                      <a:pt x="5857" y="1127"/>
                    </a:lnTo>
                    <a:close/>
                    <a:moveTo>
                      <a:pt x="6325" y="1127"/>
                    </a:moveTo>
                    <a:lnTo>
                      <a:pt x="6323" y="1127"/>
                    </a:lnTo>
                    <a:lnTo>
                      <a:pt x="6323" y="1127"/>
                    </a:lnTo>
                    <a:lnTo>
                      <a:pt x="6323" y="1129"/>
                    </a:lnTo>
                    <a:lnTo>
                      <a:pt x="6323" y="1347"/>
                    </a:lnTo>
                    <a:lnTo>
                      <a:pt x="6325" y="1347"/>
                    </a:lnTo>
                    <a:lnTo>
                      <a:pt x="6325" y="1127"/>
                    </a:lnTo>
                    <a:close/>
                    <a:moveTo>
                      <a:pt x="1447" y="1124"/>
                    </a:moveTo>
                    <a:lnTo>
                      <a:pt x="1447" y="1124"/>
                    </a:lnTo>
                    <a:lnTo>
                      <a:pt x="1447" y="1124"/>
                    </a:lnTo>
                    <a:lnTo>
                      <a:pt x="1447" y="1127"/>
                    </a:lnTo>
                    <a:lnTo>
                      <a:pt x="1447" y="1184"/>
                    </a:lnTo>
                    <a:lnTo>
                      <a:pt x="1447" y="1184"/>
                    </a:lnTo>
                    <a:lnTo>
                      <a:pt x="1447" y="1124"/>
                    </a:lnTo>
                    <a:close/>
                    <a:moveTo>
                      <a:pt x="1466" y="1082"/>
                    </a:moveTo>
                    <a:lnTo>
                      <a:pt x="1464" y="1082"/>
                    </a:lnTo>
                    <a:lnTo>
                      <a:pt x="1464" y="1084"/>
                    </a:lnTo>
                    <a:lnTo>
                      <a:pt x="1464" y="1110"/>
                    </a:lnTo>
                    <a:lnTo>
                      <a:pt x="1466" y="1110"/>
                    </a:lnTo>
                    <a:lnTo>
                      <a:pt x="1466" y="1082"/>
                    </a:lnTo>
                    <a:close/>
                    <a:moveTo>
                      <a:pt x="2861" y="1061"/>
                    </a:moveTo>
                    <a:lnTo>
                      <a:pt x="2861" y="1061"/>
                    </a:lnTo>
                    <a:lnTo>
                      <a:pt x="2859" y="1061"/>
                    </a:lnTo>
                    <a:lnTo>
                      <a:pt x="2859" y="1063"/>
                    </a:lnTo>
                    <a:lnTo>
                      <a:pt x="2859" y="1224"/>
                    </a:lnTo>
                    <a:lnTo>
                      <a:pt x="2861" y="1224"/>
                    </a:lnTo>
                    <a:lnTo>
                      <a:pt x="2861" y="1061"/>
                    </a:lnTo>
                    <a:close/>
                    <a:moveTo>
                      <a:pt x="5933" y="1039"/>
                    </a:moveTo>
                    <a:lnTo>
                      <a:pt x="5933" y="1039"/>
                    </a:lnTo>
                    <a:lnTo>
                      <a:pt x="5930" y="1039"/>
                    </a:lnTo>
                    <a:lnTo>
                      <a:pt x="5930" y="1042"/>
                    </a:lnTo>
                    <a:lnTo>
                      <a:pt x="5930" y="1113"/>
                    </a:lnTo>
                    <a:lnTo>
                      <a:pt x="5933" y="1113"/>
                    </a:lnTo>
                    <a:lnTo>
                      <a:pt x="5933" y="1039"/>
                    </a:lnTo>
                    <a:close/>
                    <a:moveTo>
                      <a:pt x="2878" y="1011"/>
                    </a:moveTo>
                    <a:lnTo>
                      <a:pt x="2878" y="1011"/>
                    </a:lnTo>
                    <a:lnTo>
                      <a:pt x="2878" y="1013"/>
                    </a:lnTo>
                    <a:lnTo>
                      <a:pt x="2878" y="1046"/>
                    </a:lnTo>
                    <a:lnTo>
                      <a:pt x="2878" y="1046"/>
                    </a:lnTo>
                    <a:lnTo>
                      <a:pt x="2878" y="1011"/>
                    </a:lnTo>
                    <a:close/>
                    <a:moveTo>
                      <a:pt x="3772" y="992"/>
                    </a:moveTo>
                    <a:lnTo>
                      <a:pt x="3769" y="992"/>
                    </a:lnTo>
                    <a:lnTo>
                      <a:pt x="3769" y="994"/>
                    </a:lnTo>
                    <a:lnTo>
                      <a:pt x="3769" y="1207"/>
                    </a:lnTo>
                    <a:lnTo>
                      <a:pt x="3772" y="1207"/>
                    </a:lnTo>
                    <a:lnTo>
                      <a:pt x="3772" y="992"/>
                    </a:lnTo>
                    <a:close/>
                    <a:moveTo>
                      <a:pt x="5952" y="990"/>
                    </a:moveTo>
                    <a:lnTo>
                      <a:pt x="5949" y="990"/>
                    </a:lnTo>
                    <a:lnTo>
                      <a:pt x="5949" y="990"/>
                    </a:lnTo>
                    <a:lnTo>
                      <a:pt x="5949" y="1025"/>
                    </a:lnTo>
                    <a:lnTo>
                      <a:pt x="5952" y="1025"/>
                    </a:lnTo>
                    <a:lnTo>
                      <a:pt x="5952" y="990"/>
                    </a:lnTo>
                    <a:close/>
                    <a:moveTo>
                      <a:pt x="6342" y="935"/>
                    </a:moveTo>
                    <a:lnTo>
                      <a:pt x="6342" y="935"/>
                    </a:lnTo>
                    <a:lnTo>
                      <a:pt x="6340" y="935"/>
                    </a:lnTo>
                    <a:lnTo>
                      <a:pt x="6340" y="937"/>
                    </a:lnTo>
                    <a:lnTo>
                      <a:pt x="6340" y="1113"/>
                    </a:lnTo>
                    <a:lnTo>
                      <a:pt x="6342" y="1113"/>
                    </a:lnTo>
                    <a:lnTo>
                      <a:pt x="6342" y="935"/>
                    </a:lnTo>
                    <a:close/>
                    <a:moveTo>
                      <a:pt x="3847" y="928"/>
                    </a:moveTo>
                    <a:lnTo>
                      <a:pt x="3845" y="928"/>
                    </a:lnTo>
                    <a:lnTo>
                      <a:pt x="3845" y="928"/>
                    </a:lnTo>
                    <a:lnTo>
                      <a:pt x="3845" y="978"/>
                    </a:lnTo>
                    <a:lnTo>
                      <a:pt x="3847" y="978"/>
                    </a:lnTo>
                    <a:lnTo>
                      <a:pt x="3847" y="928"/>
                    </a:lnTo>
                    <a:close/>
                    <a:moveTo>
                      <a:pt x="6387" y="895"/>
                    </a:moveTo>
                    <a:lnTo>
                      <a:pt x="6384" y="895"/>
                    </a:lnTo>
                    <a:lnTo>
                      <a:pt x="6384" y="895"/>
                    </a:lnTo>
                    <a:lnTo>
                      <a:pt x="6384" y="895"/>
                    </a:lnTo>
                    <a:lnTo>
                      <a:pt x="6380" y="918"/>
                    </a:lnTo>
                    <a:lnTo>
                      <a:pt x="6380" y="918"/>
                    </a:lnTo>
                    <a:lnTo>
                      <a:pt x="6387" y="895"/>
                    </a:lnTo>
                    <a:close/>
                    <a:moveTo>
                      <a:pt x="6392" y="878"/>
                    </a:moveTo>
                    <a:lnTo>
                      <a:pt x="6389" y="878"/>
                    </a:lnTo>
                    <a:lnTo>
                      <a:pt x="6389" y="878"/>
                    </a:lnTo>
                    <a:lnTo>
                      <a:pt x="6389" y="878"/>
                    </a:lnTo>
                    <a:lnTo>
                      <a:pt x="6389" y="890"/>
                    </a:lnTo>
                    <a:lnTo>
                      <a:pt x="6389" y="890"/>
                    </a:lnTo>
                    <a:lnTo>
                      <a:pt x="6389" y="888"/>
                    </a:lnTo>
                    <a:lnTo>
                      <a:pt x="6392" y="888"/>
                    </a:lnTo>
                    <a:lnTo>
                      <a:pt x="6392" y="878"/>
                    </a:lnTo>
                    <a:close/>
                    <a:moveTo>
                      <a:pt x="6399" y="850"/>
                    </a:moveTo>
                    <a:lnTo>
                      <a:pt x="6396" y="850"/>
                    </a:lnTo>
                    <a:lnTo>
                      <a:pt x="6396" y="850"/>
                    </a:lnTo>
                    <a:lnTo>
                      <a:pt x="6396" y="869"/>
                    </a:lnTo>
                    <a:lnTo>
                      <a:pt x="6399" y="869"/>
                    </a:lnTo>
                    <a:lnTo>
                      <a:pt x="6399" y="869"/>
                    </a:lnTo>
                    <a:lnTo>
                      <a:pt x="6399" y="869"/>
                    </a:lnTo>
                    <a:lnTo>
                      <a:pt x="6399" y="850"/>
                    </a:lnTo>
                    <a:close/>
                    <a:moveTo>
                      <a:pt x="807" y="826"/>
                    </a:moveTo>
                    <a:lnTo>
                      <a:pt x="804" y="826"/>
                    </a:lnTo>
                    <a:lnTo>
                      <a:pt x="804" y="829"/>
                    </a:lnTo>
                    <a:lnTo>
                      <a:pt x="804" y="1053"/>
                    </a:lnTo>
                    <a:lnTo>
                      <a:pt x="807" y="1053"/>
                    </a:lnTo>
                    <a:lnTo>
                      <a:pt x="807" y="826"/>
                    </a:lnTo>
                    <a:close/>
                    <a:moveTo>
                      <a:pt x="3103" y="762"/>
                    </a:moveTo>
                    <a:lnTo>
                      <a:pt x="3100" y="762"/>
                    </a:lnTo>
                    <a:lnTo>
                      <a:pt x="3100" y="762"/>
                    </a:lnTo>
                    <a:lnTo>
                      <a:pt x="3100" y="762"/>
                    </a:lnTo>
                    <a:lnTo>
                      <a:pt x="3100" y="963"/>
                    </a:lnTo>
                    <a:lnTo>
                      <a:pt x="3103" y="963"/>
                    </a:lnTo>
                    <a:lnTo>
                      <a:pt x="3103" y="762"/>
                    </a:lnTo>
                    <a:close/>
                    <a:moveTo>
                      <a:pt x="1010" y="753"/>
                    </a:moveTo>
                    <a:lnTo>
                      <a:pt x="1008" y="753"/>
                    </a:lnTo>
                    <a:lnTo>
                      <a:pt x="1008" y="753"/>
                    </a:lnTo>
                    <a:lnTo>
                      <a:pt x="1008" y="812"/>
                    </a:lnTo>
                    <a:lnTo>
                      <a:pt x="1010" y="812"/>
                    </a:lnTo>
                    <a:lnTo>
                      <a:pt x="1010" y="753"/>
                    </a:lnTo>
                    <a:close/>
                    <a:moveTo>
                      <a:pt x="5134" y="731"/>
                    </a:moveTo>
                    <a:lnTo>
                      <a:pt x="5131" y="731"/>
                    </a:lnTo>
                    <a:lnTo>
                      <a:pt x="5131" y="731"/>
                    </a:lnTo>
                    <a:lnTo>
                      <a:pt x="5131" y="956"/>
                    </a:lnTo>
                    <a:lnTo>
                      <a:pt x="5134" y="956"/>
                    </a:lnTo>
                    <a:lnTo>
                      <a:pt x="5134" y="731"/>
                    </a:lnTo>
                    <a:close/>
                    <a:moveTo>
                      <a:pt x="3140" y="656"/>
                    </a:moveTo>
                    <a:lnTo>
                      <a:pt x="3138" y="656"/>
                    </a:lnTo>
                    <a:lnTo>
                      <a:pt x="3138" y="658"/>
                    </a:lnTo>
                    <a:lnTo>
                      <a:pt x="3138" y="746"/>
                    </a:lnTo>
                    <a:lnTo>
                      <a:pt x="3140" y="746"/>
                    </a:lnTo>
                    <a:lnTo>
                      <a:pt x="3140" y="656"/>
                    </a:lnTo>
                    <a:close/>
                    <a:moveTo>
                      <a:pt x="97" y="615"/>
                    </a:moveTo>
                    <a:lnTo>
                      <a:pt x="97" y="615"/>
                    </a:lnTo>
                    <a:lnTo>
                      <a:pt x="97" y="618"/>
                    </a:lnTo>
                    <a:lnTo>
                      <a:pt x="97" y="1437"/>
                    </a:lnTo>
                    <a:lnTo>
                      <a:pt x="97" y="1437"/>
                    </a:lnTo>
                    <a:lnTo>
                      <a:pt x="97" y="615"/>
                    </a:lnTo>
                    <a:close/>
                    <a:moveTo>
                      <a:pt x="5254" y="608"/>
                    </a:moveTo>
                    <a:lnTo>
                      <a:pt x="5252" y="608"/>
                    </a:lnTo>
                    <a:lnTo>
                      <a:pt x="5252" y="611"/>
                    </a:lnTo>
                    <a:lnTo>
                      <a:pt x="5252" y="715"/>
                    </a:lnTo>
                    <a:lnTo>
                      <a:pt x="5254" y="715"/>
                    </a:lnTo>
                    <a:lnTo>
                      <a:pt x="5254" y="608"/>
                    </a:lnTo>
                    <a:close/>
                    <a:moveTo>
                      <a:pt x="3285" y="580"/>
                    </a:moveTo>
                    <a:lnTo>
                      <a:pt x="3282" y="580"/>
                    </a:lnTo>
                    <a:lnTo>
                      <a:pt x="3282" y="580"/>
                    </a:lnTo>
                    <a:lnTo>
                      <a:pt x="3282" y="582"/>
                    </a:lnTo>
                    <a:lnTo>
                      <a:pt x="3282" y="641"/>
                    </a:lnTo>
                    <a:lnTo>
                      <a:pt x="3285" y="641"/>
                    </a:lnTo>
                    <a:lnTo>
                      <a:pt x="3285" y="580"/>
                    </a:lnTo>
                    <a:close/>
                    <a:moveTo>
                      <a:pt x="303" y="547"/>
                    </a:moveTo>
                    <a:lnTo>
                      <a:pt x="303" y="547"/>
                    </a:lnTo>
                    <a:lnTo>
                      <a:pt x="303" y="547"/>
                    </a:lnTo>
                    <a:lnTo>
                      <a:pt x="303" y="601"/>
                    </a:lnTo>
                    <a:lnTo>
                      <a:pt x="303" y="601"/>
                    </a:lnTo>
                    <a:lnTo>
                      <a:pt x="303" y="547"/>
                    </a:lnTo>
                    <a:close/>
                    <a:moveTo>
                      <a:pt x="7028" y="507"/>
                    </a:moveTo>
                    <a:lnTo>
                      <a:pt x="7025" y="507"/>
                    </a:lnTo>
                    <a:lnTo>
                      <a:pt x="7025" y="509"/>
                    </a:lnTo>
                    <a:lnTo>
                      <a:pt x="7025" y="1676"/>
                    </a:lnTo>
                    <a:lnTo>
                      <a:pt x="7028" y="1676"/>
                    </a:lnTo>
                    <a:lnTo>
                      <a:pt x="7028" y="507"/>
                    </a:lnTo>
                    <a:close/>
                    <a:moveTo>
                      <a:pt x="4195" y="502"/>
                    </a:moveTo>
                    <a:lnTo>
                      <a:pt x="4195" y="502"/>
                    </a:lnTo>
                    <a:lnTo>
                      <a:pt x="4193" y="504"/>
                    </a:lnTo>
                    <a:lnTo>
                      <a:pt x="4136" y="585"/>
                    </a:lnTo>
                    <a:lnTo>
                      <a:pt x="4136" y="585"/>
                    </a:lnTo>
                    <a:lnTo>
                      <a:pt x="4195" y="502"/>
                    </a:lnTo>
                    <a:close/>
                    <a:moveTo>
                      <a:pt x="3301" y="499"/>
                    </a:moveTo>
                    <a:lnTo>
                      <a:pt x="3301" y="499"/>
                    </a:lnTo>
                    <a:lnTo>
                      <a:pt x="3299" y="499"/>
                    </a:lnTo>
                    <a:lnTo>
                      <a:pt x="3299" y="502"/>
                    </a:lnTo>
                    <a:lnTo>
                      <a:pt x="3299" y="566"/>
                    </a:lnTo>
                    <a:lnTo>
                      <a:pt x="3301" y="566"/>
                    </a:lnTo>
                    <a:lnTo>
                      <a:pt x="3301" y="499"/>
                    </a:lnTo>
                    <a:close/>
                    <a:moveTo>
                      <a:pt x="4039" y="452"/>
                    </a:moveTo>
                    <a:lnTo>
                      <a:pt x="4037" y="452"/>
                    </a:lnTo>
                    <a:lnTo>
                      <a:pt x="4037" y="452"/>
                    </a:lnTo>
                    <a:lnTo>
                      <a:pt x="4037" y="454"/>
                    </a:lnTo>
                    <a:lnTo>
                      <a:pt x="4037" y="490"/>
                    </a:lnTo>
                    <a:lnTo>
                      <a:pt x="3954" y="641"/>
                    </a:lnTo>
                    <a:lnTo>
                      <a:pt x="3954" y="911"/>
                    </a:lnTo>
                    <a:lnTo>
                      <a:pt x="3956" y="911"/>
                    </a:lnTo>
                    <a:lnTo>
                      <a:pt x="3956" y="641"/>
                    </a:lnTo>
                    <a:lnTo>
                      <a:pt x="4039" y="488"/>
                    </a:lnTo>
                    <a:lnTo>
                      <a:pt x="4039" y="452"/>
                    </a:lnTo>
                    <a:close/>
                    <a:moveTo>
                      <a:pt x="3330" y="433"/>
                    </a:moveTo>
                    <a:lnTo>
                      <a:pt x="3330" y="433"/>
                    </a:lnTo>
                    <a:lnTo>
                      <a:pt x="3330" y="435"/>
                    </a:lnTo>
                    <a:lnTo>
                      <a:pt x="3330" y="485"/>
                    </a:lnTo>
                    <a:lnTo>
                      <a:pt x="3330" y="485"/>
                    </a:lnTo>
                    <a:lnTo>
                      <a:pt x="3330" y="433"/>
                    </a:lnTo>
                    <a:close/>
                    <a:moveTo>
                      <a:pt x="4044" y="391"/>
                    </a:moveTo>
                    <a:lnTo>
                      <a:pt x="4044" y="391"/>
                    </a:lnTo>
                    <a:lnTo>
                      <a:pt x="4041" y="391"/>
                    </a:lnTo>
                    <a:lnTo>
                      <a:pt x="4041" y="391"/>
                    </a:lnTo>
                    <a:lnTo>
                      <a:pt x="4041" y="447"/>
                    </a:lnTo>
                    <a:lnTo>
                      <a:pt x="4044" y="447"/>
                    </a:lnTo>
                    <a:lnTo>
                      <a:pt x="4044" y="445"/>
                    </a:lnTo>
                    <a:lnTo>
                      <a:pt x="4044" y="445"/>
                    </a:lnTo>
                    <a:lnTo>
                      <a:pt x="4044" y="391"/>
                    </a:lnTo>
                    <a:close/>
                    <a:moveTo>
                      <a:pt x="1812" y="367"/>
                    </a:moveTo>
                    <a:lnTo>
                      <a:pt x="1809" y="367"/>
                    </a:lnTo>
                    <a:lnTo>
                      <a:pt x="1809" y="369"/>
                    </a:lnTo>
                    <a:lnTo>
                      <a:pt x="1809" y="1115"/>
                    </a:lnTo>
                    <a:lnTo>
                      <a:pt x="1812" y="1115"/>
                    </a:lnTo>
                    <a:lnTo>
                      <a:pt x="1812" y="367"/>
                    </a:lnTo>
                    <a:close/>
                    <a:moveTo>
                      <a:pt x="1939" y="334"/>
                    </a:moveTo>
                    <a:lnTo>
                      <a:pt x="1939" y="334"/>
                    </a:lnTo>
                    <a:lnTo>
                      <a:pt x="1939" y="334"/>
                    </a:lnTo>
                    <a:lnTo>
                      <a:pt x="1939" y="353"/>
                    </a:lnTo>
                    <a:lnTo>
                      <a:pt x="1939" y="353"/>
                    </a:lnTo>
                    <a:lnTo>
                      <a:pt x="1939" y="334"/>
                    </a:lnTo>
                    <a:close/>
                    <a:moveTo>
                      <a:pt x="4051" y="327"/>
                    </a:moveTo>
                    <a:lnTo>
                      <a:pt x="4051" y="327"/>
                    </a:lnTo>
                    <a:lnTo>
                      <a:pt x="4051" y="329"/>
                    </a:lnTo>
                    <a:lnTo>
                      <a:pt x="4051" y="381"/>
                    </a:lnTo>
                    <a:lnTo>
                      <a:pt x="4051" y="381"/>
                    </a:lnTo>
                    <a:lnTo>
                      <a:pt x="4051" y="381"/>
                    </a:lnTo>
                    <a:lnTo>
                      <a:pt x="4051" y="381"/>
                    </a:lnTo>
                    <a:lnTo>
                      <a:pt x="4051" y="327"/>
                    </a:lnTo>
                    <a:close/>
                    <a:moveTo>
                      <a:pt x="2029" y="293"/>
                    </a:moveTo>
                    <a:lnTo>
                      <a:pt x="2029" y="293"/>
                    </a:lnTo>
                    <a:lnTo>
                      <a:pt x="2029" y="293"/>
                    </a:lnTo>
                    <a:lnTo>
                      <a:pt x="2029" y="317"/>
                    </a:lnTo>
                    <a:lnTo>
                      <a:pt x="2029" y="317"/>
                    </a:lnTo>
                    <a:lnTo>
                      <a:pt x="2029" y="293"/>
                    </a:lnTo>
                    <a:close/>
                    <a:moveTo>
                      <a:pt x="4706" y="232"/>
                    </a:moveTo>
                    <a:lnTo>
                      <a:pt x="4703" y="232"/>
                    </a:lnTo>
                    <a:lnTo>
                      <a:pt x="4703" y="232"/>
                    </a:lnTo>
                    <a:lnTo>
                      <a:pt x="4639" y="464"/>
                    </a:lnTo>
                    <a:lnTo>
                      <a:pt x="4642" y="464"/>
                    </a:lnTo>
                    <a:lnTo>
                      <a:pt x="4706" y="232"/>
                    </a:lnTo>
                    <a:close/>
                    <a:moveTo>
                      <a:pt x="4805" y="170"/>
                    </a:moveTo>
                    <a:lnTo>
                      <a:pt x="4805" y="170"/>
                    </a:lnTo>
                    <a:lnTo>
                      <a:pt x="4803" y="170"/>
                    </a:lnTo>
                    <a:lnTo>
                      <a:pt x="4803" y="173"/>
                    </a:lnTo>
                    <a:lnTo>
                      <a:pt x="4803" y="215"/>
                    </a:lnTo>
                    <a:lnTo>
                      <a:pt x="4805" y="215"/>
                    </a:lnTo>
                    <a:lnTo>
                      <a:pt x="4805" y="170"/>
                    </a:lnTo>
                    <a:close/>
                    <a:moveTo>
                      <a:pt x="4855" y="0"/>
                    </a:moveTo>
                    <a:lnTo>
                      <a:pt x="4852" y="0"/>
                    </a:lnTo>
                    <a:lnTo>
                      <a:pt x="4852" y="0"/>
                    </a:lnTo>
                    <a:lnTo>
                      <a:pt x="4852" y="156"/>
                    </a:lnTo>
                    <a:lnTo>
                      <a:pt x="4855" y="156"/>
                    </a:lnTo>
                    <a:lnTo>
                      <a:pt x="4855" y="0"/>
                    </a:lnTo>
                    <a:close/>
                    <a:moveTo>
                      <a:pt x="4911" y="0"/>
                    </a:moveTo>
                    <a:lnTo>
                      <a:pt x="4909" y="0"/>
                    </a:lnTo>
                    <a:lnTo>
                      <a:pt x="4909" y="0"/>
                    </a:lnTo>
                    <a:lnTo>
                      <a:pt x="4909" y="156"/>
                    </a:lnTo>
                    <a:lnTo>
                      <a:pt x="4911" y="156"/>
                    </a:lnTo>
                    <a:lnTo>
                      <a:pt x="4911"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4" name="Freeform 129"/>
              <p:cNvSpPr>
                <a:spLocks noEditPoints="1"/>
              </p:cNvSpPr>
              <p:nvPr/>
            </p:nvSpPr>
            <p:spPr bwMode="auto">
              <a:xfrm>
                <a:off x="30" y="1677"/>
                <a:ext cx="7028" cy="1676"/>
              </a:xfrm>
              <a:custGeom>
                <a:avLst/>
                <a:gdLst>
                  <a:gd name="T0" fmla="*/ 3 w 7028"/>
                  <a:gd name="T1" fmla="*/ 1517 h 1676"/>
                  <a:gd name="T2" fmla="*/ 5666 w 7028"/>
                  <a:gd name="T3" fmla="*/ 1432 h 1676"/>
                  <a:gd name="T4" fmla="*/ 3710 w 7028"/>
                  <a:gd name="T5" fmla="*/ 1222 h 1676"/>
                  <a:gd name="T6" fmla="*/ 5834 w 7028"/>
                  <a:gd name="T7" fmla="*/ 1207 h 1676"/>
                  <a:gd name="T8" fmla="*/ 5834 w 7028"/>
                  <a:gd name="T9" fmla="*/ 1309 h 1676"/>
                  <a:gd name="T10" fmla="*/ 1665 w 7028"/>
                  <a:gd name="T11" fmla="*/ 1158 h 1676"/>
                  <a:gd name="T12" fmla="*/ 1689 w 7028"/>
                  <a:gd name="T13" fmla="*/ 1132 h 1676"/>
                  <a:gd name="T14" fmla="*/ 5857 w 7028"/>
                  <a:gd name="T15" fmla="*/ 1127 h 1676"/>
                  <a:gd name="T16" fmla="*/ 5857 w 7028"/>
                  <a:gd name="T17" fmla="*/ 1193 h 1676"/>
                  <a:gd name="T18" fmla="*/ 6323 w 7028"/>
                  <a:gd name="T19" fmla="*/ 1129 h 1676"/>
                  <a:gd name="T20" fmla="*/ 1447 w 7028"/>
                  <a:gd name="T21" fmla="*/ 1124 h 1676"/>
                  <a:gd name="T22" fmla="*/ 1447 w 7028"/>
                  <a:gd name="T23" fmla="*/ 1124 h 1676"/>
                  <a:gd name="T24" fmla="*/ 1466 w 7028"/>
                  <a:gd name="T25" fmla="*/ 1110 h 1676"/>
                  <a:gd name="T26" fmla="*/ 2859 w 7028"/>
                  <a:gd name="T27" fmla="*/ 1063 h 1676"/>
                  <a:gd name="T28" fmla="*/ 5933 w 7028"/>
                  <a:gd name="T29" fmla="*/ 1039 h 1676"/>
                  <a:gd name="T30" fmla="*/ 5933 w 7028"/>
                  <a:gd name="T31" fmla="*/ 1039 h 1676"/>
                  <a:gd name="T32" fmla="*/ 2878 w 7028"/>
                  <a:gd name="T33" fmla="*/ 1046 h 1676"/>
                  <a:gd name="T34" fmla="*/ 3769 w 7028"/>
                  <a:gd name="T35" fmla="*/ 1207 h 1676"/>
                  <a:gd name="T36" fmla="*/ 5949 w 7028"/>
                  <a:gd name="T37" fmla="*/ 990 h 1676"/>
                  <a:gd name="T38" fmla="*/ 6342 w 7028"/>
                  <a:gd name="T39" fmla="*/ 935 h 1676"/>
                  <a:gd name="T40" fmla="*/ 6342 w 7028"/>
                  <a:gd name="T41" fmla="*/ 935 h 1676"/>
                  <a:gd name="T42" fmla="*/ 3847 w 7028"/>
                  <a:gd name="T43" fmla="*/ 978 h 1676"/>
                  <a:gd name="T44" fmla="*/ 6384 w 7028"/>
                  <a:gd name="T45" fmla="*/ 895 h 1676"/>
                  <a:gd name="T46" fmla="*/ 6389 w 7028"/>
                  <a:gd name="T47" fmla="*/ 878 h 1676"/>
                  <a:gd name="T48" fmla="*/ 6389 w 7028"/>
                  <a:gd name="T49" fmla="*/ 888 h 1676"/>
                  <a:gd name="T50" fmla="*/ 6396 w 7028"/>
                  <a:gd name="T51" fmla="*/ 850 h 1676"/>
                  <a:gd name="T52" fmla="*/ 6399 w 7028"/>
                  <a:gd name="T53" fmla="*/ 850 h 1676"/>
                  <a:gd name="T54" fmla="*/ 807 w 7028"/>
                  <a:gd name="T55" fmla="*/ 1053 h 1676"/>
                  <a:gd name="T56" fmla="*/ 3100 w 7028"/>
                  <a:gd name="T57" fmla="*/ 762 h 1676"/>
                  <a:gd name="T58" fmla="*/ 1008 w 7028"/>
                  <a:gd name="T59" fmla="*/ 753 h 1676"/>
                  <a:gd name="T60" fmla="*/ 5134 w 7028"/>
                  <a:gd name="T61" fmla="*/ 731 h 1676"/>
                  <a:gd name="T62" fmla="*/ 5134 w 7028"/>
                  <a:gd name="T63" fmla="*/ 731 h 1676"/>
                  <a:gd name="T64" fmla="*/ 3140 w 7028"/>
                  <a:gd name="T65" fmla="*/ 746 h 1676"/>
                  <a:gd name="T66" fmla="*/ 97 w 7028"/>
                  <a:gd name="T67" fmla="*/ 1437 h 1676"/>
                  <a:gd name="T68" fmla="*/ 5252 w 7028"/>
                  <a:gd name="T69" fmla="*/ 611 h 1676"/>
                  <a:gd name="T70" fmla="*/ 3282 w 7028"/>
                  <a:gd name="T71" fmla="*/ 580 h 1676"/>
                  <a:gd name="T72" fmla="*/ 3285 w 7028"/>
                  <a:gd name="T73" fmla="*/ 580 h 1676"/>
                  <a:gd name="T74" fmla="*/ 303 w 7028"/>
                  <a:gd name="T75" fmla="*/ 601 h 1676"/>
                  <a:gd name="T76" fmla="*/ 7025 w 7028"/>
                  <a:gd name="T77" fmla="*/ 1676 h 1676"/>
                  <a:gd name="T78" fmla="*/ 4193 w 7028"/>
                  <a:gd name="T79" fmla="*/ 504 h 1676"/>
                  <a:gd name="T80" fmla="*/ 3301 w 7028"/>
                  <a:gd name="T81" fmla="*/ 499 h 1676"/>
                  <a:gd name="T82" fmla="*/ 3301 w 7028"/>
                  <a:gd name="T83" fmla="*/ 499 h 1676"/>
                  <a:gd name="T84" fmla="*/ 4037 w 7028"/>
                  <a:gd name="T85" fmla="*/ 490 h 1676"/>
                  <a:gd name="T86" fmla="*/ 4039 w 7028"/>
                  <a:gd name="T87" fmla="*/ 488 h 1676"/>
                  <a:gd name="T88" fmla="*/ 3330 w 7028"/>
                  <a:gd name="T89" fmla="*/ 485 h 1676"/>
                  <a:gd name="T90" fmla="*/ 4041 w 7028"/>
                  <a:gd name="T91" fmla="*/ 391 h 1676"/>
                  <a:gd name="T92" fmla="*/ 4044 w 7028"/>
                  <a:gd name="T93" fmla="*/ 445 h 1676"/>
                  <a:gd name="T94" fmla="*/ 1809 w 7028"/>
                  <a:gd name="T95" fmla="*/ 1115 h 1676"/>
                  <a:gd name="T96" fmla="*/ 1939 w 7028"/>
                  <a:gd name="T97" fmla="*/ 334 h 1676"/>
                  <a:gd name="T98" fmla="*/ 4051 w 7028"/>
                  <a:gd name="T99" fmla="*/ 327 h 1676"/>
                  <a:gd name="T100" fmla="*/ 4051 w 7028"/>
                  <a:gd name="T101" fmla="*/ 381 h 1676"/>
                  <a:gd name="T102" fmla="*/ 2029 w 7028"/>
                  <a:gd name="T103" fmla="*/ 317 h 1676"/>
                  <a:gd name="T104" fmla="*/ 4703 w 7028"/>
                  <a:gd name="T105" fmla="*/ 232 h 1676"/>
                  <a:gd name="T106" fmla="*/ 4805 w 7028"/>
                  <a:gd name="T107" fmla="*/ 170 h 1676"/>
                  <a:gd name="T108" fmla="*/ 4805 w 7028"/>
                  <a:gd name="T109" fmla="*/ 170 h 1676"/>
                  <a:gd name="T110" fmla="*/ 4855 w 7028"/>
                  <a:gd name="T111" fmla="*/ 156 h 1676"/>
                  <a:gd name="T112" fmla="*/ 4909 w 7028"/>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8" h="1676">
                    <a:moveTo>
                      <a:pt x="3" y="1451"/>
                    </a:moveTo>
                    <a:lnTo>
                      <a:pt x="0" y="1451"/>
                    </a:lnTo>
                    <a:lnTo>
                      <a:pt x="0" y="1454"/>
                    </a:lnTo>
                    <a:lnTo>
                      <a:pt x="0" y="1517"/>
                    </a:lnTo>
                    <a:lnTo>
                      <a:pt x="3" y="1517"/>
                    </a:lnTo>
                    <a:lnTo>
                      <a:pt x="3" y="1451"/>
                    </a:lnTo>
                    <a:moveTo>
                      <a:pt x="5668" y="1326"/>
                    </a:moveTo>
                    <a:lnTo>
                      <a:pt x="5666" y="1326"/>
                    </a:lnTo>
                    <a:lnTo>
                      <a:pt x="5666" y="1326"/>
                    </a:lnTo>
                    <a:lnTo>
                      <a:pt x="5666" y="1432"/>
                    </a:lnTo>
                    <a:lnTo>
                      <a:pt x="5668" y="1432"/>
                    </a:lnTo>
                    <a:lnTo>
                      <a:pt x="5668" y="1326"/>
                    </a:lnTo>
                    <a:moveTo>
                      <a:pt x="3713" y="1222"/>
                    </a:moveTo>
                    <a:lnTo>
                      <a:pt x="3710" y="1222"/>
                    </a:lnTo>
                    <a:lnTo>
                      <a:pt x="3710" y="1222"/>
                    </a:lnTo>
                    <a:lnTo>
                      <a:pt x="3710" y="1224"/>
                    </a:lnTo>
                    <a:lnTo>
                      <a:pt x="3710" y="1375"/>
                    </a:lnTo>
                    <a:lnTo>
                      <a:pt x="3713" y="1375"/>
                    </a:lnTo>
                    <a:lnTo>
                      <a:pt x="3713" y="1222"/>
                    </a:lnTo>
                    <a:moveTo>
                      <a:pt x="5834" y="1207"/>
                    </a:moveTo>
                    <a:lnTo>
                      <a:pt x="5831" y="1207"/>
                    </a:lnTo>
                    <a:lnTo>
                      <a:pt x="5831" y="1207"/>
                    </a:lnTo>
                    <a:lnTo>
                      <a:pt x="5831" y="1210"/>
                    </a:lnTo>
                    <a:lnTo>
                      <a:pt x="5831" y="1309"/>
                    </a:lnTo>
                    <a:lnTo>
                      <a:pt x="5834" y="1309"/>
                    </a:lnTo>
                    <a:lnTo>
                      <a:pt x="5834" y="1207"/>
                    </a:lnTo>
                    <a:moveTo>
                      <a:pt x="1667" y="1155"/>
                    </a:moveTo>
                    <a:lnTo>
                      <a:pt x="1667" y="1155"/>
                    </a:lnTo>
                    <a:lnTo>
                      <a:pt x="1665" y="1155"/>
                    </a:lnTo>
                    <a:lnTo>
                      <a:pt x="1665" y="1158"/>
                    </a:lnTo>
                    <a:lnTo>
                      <a:pt x="1665" y="1184"/>
                    </a:lnTo>
                    <a:lnTo>
                      <a:pt x="1667" y="1184"/>
                    </a:lnTo>
                    <a:lnTo>
                      <a:pt x="1667" y="1155"/>
                    </a:lnTo>
                    <a:moveTo>
                      <a:pt x="1691" y="1132"/>
                    </a:moveTo>
                    <a:lnTo>
                      <a:pt x="1689" y="1132"/>
                    </a:lnTo>
                    <a:lnTo>
                      <a:pt x="1689" y="1132"/>
                    </a:lnTo>
                    <a:lnTo>
                      <a:pt x="1689" y="1141"/>
                    </a:lnTo>
                    <a:lnTo>
                      <a:pt x="1691" y="1141"/>
                    </a:lnTo>
                    <a:lnTo>
                      <a:pt x="1691" y="1132"/>
                    </a:lnTo>
                    <a:moveTo>
                      <a:pt x="5857" y="1127"/>
                    </a:moveTo>
                    <a:lnTo>
                      <a:pt x="5857" y="1127"/>
                    </a:lnTo>
                    <a:lnTo>
                      <a:pt x="5855" y="1127"/>
                    </a:lnTo>
                    <a:lnTo>
                      <a:pt x="5855" y="1129"/>
                    </a:lnTo>
                    <a:lnTo>
                      <a:pt x="5855" y="1193"/>
                    </a:lnTo>
                    <a:lnTo>
                      <a:pt x="5857" y="1193"/>
                    </a:lnTo>
                    <a:lnTo>
                      <a:pt x="5857" y="1127"/>
                    </a:lnTo>
                    <a:moveTo>
                      <a:pt x="6325" y="1127"/>
                    </a:moveTo>
                    <a:lnTo>
                      <a:pt x="6323" y="1127"/>
                    </a:lnTo>
                    <a:lnTo>
                      <a:pt x="6323" y="1127"/>
                    </a:lnTo>
                    <a:lnTo>
                      <a:pt x="6323" y="1129"/>
                    </a:lnTo>
                    <a:lnTo>
                      <a:pt x="6323" y="1347"/>
                    </a:lnTo>
                    <a:lnTo>
                      <a:pt x="6325" y="1347"/>
                    </a:lnTo>
                    <a:lnTo>
                      <a:pt x="6325" y="1127"/>
                    </a:lnTo>
                    <a:moveTo>
                      <a:pt x="1447" y="1124"/>
                    </a:moveTo>
                    <a:lnTo>
                      <a:pt x="1447" y="1124"/>
                    </a:lnTo>
                    <a:lnTo>
                      <a:pt x="1447" y="1124"/>
                    </a:lnTo>
                    <a:lnTo>
                      <a:pt x="1447" y="1127"/>
                    </a:lnTo>
                    <a:lnTo>
                      <a:pt x="1447" y="1184"/>
                    </a:lnTo>
                    <a:lnTo>
                      <a:pt x="1447" y="1184"/>
                    </a:lnTo>
                    <a:lnTo>
                      <a:pt x="1447" y="1124"/>
                    </a:lnTo>
                    <a:moveTo>
                      <a:pt x="1466" y="1082"/>
                    </a:moveTo>
                    <a:lnTo>
                      <a:pt x="1464" y="1082"/>
                    </a:lnTo>
                    <a:lnTo>
                      <a:pt x="1464" y="1084"/>
                    </a:lnTo>
                    <a:lnTo>
                      <a:pt x="1464" y="1110"/>
                    </a:lnTo>
                    <a:lnTo>
                      <a:pt x="1466" y="1110"/>
                    </a:lnTo>
                    <a:lnTo>
                      <a:pt x="1466" y="1082"/>
                    </a:lnTo>
                    <a:moveTo>
                      <a:pt x="2861" y="1061"/>
                    </a:moveTo>
                    <a:lnTo>
                      <a:pt x="2861" y="1061"/>
                    </a:lnTo>
                    <a:lnTo>
                      <a:pt x="2859" y="1061"/>
                    </a:lnTo>
                    <a:lnTo>
                      <a:pt x="2859" y="1063"/>
                    </a:lnTo>
                    <a:lnTo>
                      <a:pt x="2859" y="1224"/>
                    </a:lnTo>
                    <a:lnTo>
                      <a:pt x="2861" y="1224"/>
                    </a:lnTo>
                    <a:lnTo>
                      <a:pt x="2861" y="1061"/>
                    </a:lnTo>
                    <a:moveTo>
                      <a:pt x="5933" y="1039"/>
                    </a:moveTo>
                    <a:lnTo>
                      <a:pt x="5933" y="1039"/>
                    </a:lnTo>
                    <a:lnTo>
                      <a:pt x="5930" y="1039"/>
                    </a:lnTo>
                    <a:lnTo>
                      <a:pt x="5930" y="1042"/>
                    </a:lnTo>
                    <a:lnTo>
                      <a:pt x="5930" y="1113"/>
                    </a:lnTo>
                    <a:lnTo>
                      <a:pt x="5933" y="1113"/>
                    </a:lnTo>
                    <a:lnTo>
                      <a:pt x="5933" y="1039"/>
                    </a:lnTo>
                    <a:moveTo>
                      <a:pt x="2878" y="1011"/>
                    </a:moveTo>
                    <a:lnTo>
                      <a:pt x="2878" y="1011"/>
                    </a:lnTo>
                    <a:lnTo>
                      <a:pt x="2878" y="1013"/>
                    </a:lnTo>
                    <a:lnTo>
                      <a:pt x="2878" y="1046"/>
                    </a:lnTo>
                    <a:lnTo>
                      <a:pt x="2878" y="1046"/>
                    </a:lnTo>
                    <a:lnTo>
                      <a:pt x="2878" y="1011"/>
                    </a:lnTo>
                    <a:moveTo>
                      <a:pt x="3772" y="992"/>
                    </a:moveTo>
                    <a:lnTo>
                      <a:pt x="3769" y="992"/>
                    </a:lnTo>
                    <a:lnTo>
                      <a:pt x="3769" y="994"/>
                    </a:lnTo>
                    <a:lnTo>
                      <a:pt x="3769" y="1207"/>
                    </a:lnTo>
                    <a:lnTo>
                      <a:pt x="3772" y="1207"/>
                    </a:lnTo>
                    <a:lnTo>
                      <a:pt x="3772" y="992"/>
                    </a:lnTo>
                    <a:moveTo>
                      <a:pt x="5952" y="990"/>
                    </a:moveTo>
                    <a:lnTo>
                      <a:pt x="5949" y="990"/>
                    </a:lnTo>
                    <a:lnTo>
                      <a:pt x="5949" y="990"/>
                    </a:lnTo>
                    <a:lnTo>
                      <a:pt x="5949" y="1025"/>
                    </a:lnTo>
                    <a:lnTo>
                      <a:pt x="5952" y="1025"/>
                    </a:lnTo>
                    <a:lnTo>
                      <a:pt x="5952" y="990"/>
                    </a:lnTo>
                    <a:moveTo>
                      <a:pt x="6342" y="935"/>
                    </a:moveTo>
                    <a:lnTo>
                      <a:pt x="6342" y="935"/>
                    </a:lnTo>
                    <a:lnTo>
                      <a:pt x="6340" y="935"/>
                    </a:lnTo>
                    <a:lnTo>
                      <a:pt x="6340" y="937"/>
                    </a:lnTo>
                    <a:lnTo>
                      <a:pt x="6340" y="1113"/>
                    </a:lnTo>
                    <a:lnTo>
                      <a:pt x="6342" y="1113"/>
                    </a:lnTo>
                    <a:lnTo>
                      <a:pt x="6342" y="935"/>
                    </a:lnTo>
                    <a:moveTo>
                      <a:pt x="3847" y="928"/>
                    </a:moveTo>
                    <a:lnTo>
                      <a:pt x="3845" y="928"/>
                    </a:lnTo>
                    <a:lnTo>
                      <a:pt x="3845" y="928"/>
                    </a:lnTo>
                    <a:lnTo>
                      <a:pt x="3845" y="978"/>
                    </a:lnTo>
                    <a:lnTo>
                      <a:pt x="3847" y="978"/>
                    </a:lnTo>
                    <a:lnTo>
                      <a:pt x="3847" y="928"/>
                    </a:lnTo>
                    <a:moveTo>
                      <a:pt x="6387" y="895"/>
                    </a:moveTo>
                    <a:lnTo>
                      <a:pt x="6384" y="895"/>
                    </a:lnTo>
                    <a:lnTo>
                      <a:pt x="6384" y="895"/>
                    </a:lnTo>
                    <a:lnTo>
                      <a:pt x="6384" y="895"/>
                    </a:lnTo>
                    <a:lnTo>
                      <a:pt x="6380" y="918"/>
                    </a:lnTo>
                    <a:lnTo>
                      <a:pt x="6380" y="918"/>
                    </a:lnTo>
                    <a:lnTo>
                      <a:pt x="6387" y="895"/>
                    </a:lnTo>
                    <a:moveTo>
                      <a:pt x="6392" y="878"/>
                    </a:moveTo>
                    <a:lnTo>
                      <a:pt x="6389" y="878"/>
                    </a:lnTo>
                    <a:lnTo>
                      <a:pt x="6389" y="878"/>
                    </a:lnTo>
                    <a:lnTo>
                      <a:pt x="6389" y="878"/>
                    </a:lnTo>
                    <a:lnTo>
                      <a:pt x="6389" y="890"/>
                    </a:lnTo>
                    <a:lnTo>
                      <a:pt x="6389" y="890"/>
                    </a:lnTo>
                    <a:lnTo>
                      <a:pt x="6389" y="888"/>
                    </a:lnTo>
                    <a:lnTo>
                      <a:pt x="6392" y="888"/>
                    </a:lnTo>
                    <a:lnTo>
                      <a:pt x="6392" y="878"/>
                    </a:lnTo>
                    <a:moveTo>
                      <a:pt x="6399" y="850"/>
                    </a:moveTo>
                    <a:lnTo>
                      <a:pt x="6396" y="850"/>
                    </a:lnTo>
                    <a:lnTo>
                      <a:pt x="6396" y="850"/>
                    </a:lnTo>
                    <a:lnTo>
                      <a:pt x="6396" y="869"/>
                    </a:lnTo>
                    <a:lnTo>
                      <a:pt x="6399" y="869"/>
                    </a:lnTo>
                    <a:lnTo>
                      <a:pt x="6399" y="869"/>
                    </a:lnTo>
                    <a:lnTo>
                      <a:pt x="6399" y="869"/>
                    </a:lnTo>
                    <a:lnTo>
                      <a:pt x="6399" y="850"/>
                    </a:lnTo>
                    <a:moveTo>
                      <a:pt x="807" y="826"/>
                    </a:moveTo>
                    <a:lnTo>
                      <a:pt x="804" y="826"/>
                    </a:lnTo>
                    <a:lnTo>
                      <a:pt x="804" y="829"/>
                    </a:lnTo>
                    <a:lnTo>
                      <a:pt x="804" y="1053"/>
                    </a:lnTo>
                    <a:lnTo>
                      <a:pt x="807" y="1053"/>
                    </a:lnTo>
                    <a:lnTo>
                      <a:pt x="807" y="826"/>
                    </a:lnTo>
                    <a:moveTo>
                      <a:pt x="3103" y="762"/>
                    </a:moveTo>
                    <a:lnTo>
                      <a:pt x="3100" y="762"/>
                    </a:lnTo>
                    <a:lnTo>
                      <a:pt x="3100" y="762"/>
                    </a:lnTo>
                    <a:lnTo>
                      <a:pt x="3100" y="762"/>
                    </a:lnTo>
                    <a:lnTo>
                      <a:pt x="3100" y="963"/>
                    </a:lnTo>
                    <a:lnTo>
                      <a:pt x="3103" y="963"/>
                    </a:lnTo>
                    <a:lnTo>
                      <a:pt x="3103" y="762"/>
                    </a:lnTo>
                    <a:moveTo>
                      <a:pt x="1010" y="753"/>
                    </a:moveTo>
                    <a:lnTo>
                      <a:pt x="1008" y="753"/>
                    </a:lnTo>
                    <a:lnTo>
                      <a:pt x="1008" y="753"/>
                    </a:lnTo>
                    <a:lnTo>
                      <a:pt x="1008" y="812"/>
                    </a:lnTo>
                    <a:lnTo>
                      <a:pt x="1010" y="812"/>
                    </a:lnTo>
                    <a:lnTo>
                      <a:pt x="1010" y="753"/>
                    </a:lnTo>
                    <a:moveTo>
                      <a:pt x="5134" y="731"/>
                    </a:moveTo>
                    <a:lnTo>
                      <a:pt x="5131" y="731"/>
                    </a:lnTo>
                    <a:lnTo>
                      <a:pt x="5131" y="731"/>
                    </a:lnTo>
                    <a:lnTo>
                      <a:pt x="5131" y="956"/>
                    </a:lnTo>
                    <a:lnTo>
                      <a:pt x="5134" y="956"/>
                    </a:lnTo>
                    <a:lnTo>
                      <a:pt x="5134" y="731"/>
                    </a:lnTo>
                    <a:moveTo>
                      <a:pt x="3140" y="656"/>
                    </a:moveTo>
                    <a:lnTo>
                      <a:pt x="3138" y="656"/>
                    </a:lnTo>
                    <a:lnTo>
                      <a:pt x="3138" y="658"/>
                    </a:lnTo>
                    <a:lnTo>
                      <a:pt x="3138" y="746"/>
                    </a:lnTo>
                    <a:lnTo>
                      <a:pt x="3140" y="746"/>
                    </a:lnTo>
                    <a:lnTo>
                      <a:pt x="3140" y="656"/>
                    </a:lnTo>
                    <a:moveTo>
                      <a:pt x="97" y="615"/>
                    </a:moveTo>
                    <a:lnTo>
                      <a:pt x="97" y="615"/>
                    </a:lnTo>
                    <a:lnTo>
                      <a:pt x="97" y="618"/>
                    </a:lnTo>
                    <a:lnTo>
                      <a:pt x="97" y="1437"/>
                    </a:lnTo>
                    <a:lnTo>
                      <a:pt x="97" y="1437"/>
                    </a:lnTo>
                    <a:lnTo>
                      <a:pt x="97" y="615"/>
                    </a:lnTo>
                    <a:moveTo>
                      <a:pt x="5254" y="608"/>
                    </a:moveTo>
                    <a:lnTo>
                      <a:pt x="5252" y="608"/>
                    </a:lnTo>
                    <a:lnTo>
                      <a:pt x="5252" y="611"/>
                    </a:lnTo>
                    <a:lnTo>
                      <a:pt x="5252" y="715"/>
                    </a:lnTo>
                    <a:lnTo>
                      <a:pt x="5254" y="715"/>
                    </a:lnTo>
                    <a:lnTo>
                      <a:pt x="5254" y="608"/>
                    </a:lnTo>
                    <a:moveTo>
                      <a:pt x="3285" y="580"/>
                    </a:moveTo>
                    <a:lnTo>
                      <a:pt x="3282" y="580"/>
                    </a:lnTo>
                    <a:lnTo>
                      <a:pt x="3282" y="580"/>
                    </a:lnTo>
                    <a:lnTo>
                      <a:pt x="3282" y="582"/>
                    </a:lnTo>
                    <a:lnTo>
                      <a:pt x="3282" y="641"/>
                    </a:lnTo>
                    <a:lnTo>
                      <a:pt x="3285" y="641"/>
                    </a:lnTo>
                    <a:lnTo>
                      <a:pt x="3285" y="580"/>
                    </a:lnTo>
                    <a:moveTo>
                      <a:pt x="303" y="547"/>
                    </a:moveTo>
                    <a:lnTo>
                      <a:pt x="303" y="547"/>
                    </a:lnTo>
                    <a:lnTo>
                      <a:pt x="303" y="547"/>
                    </a:lnTo>
                    <a:lnTo>
                      <a:pt x="303" y="601"/>
                    </a:lnTo>
                    <a:lnTo>
                      <a:pt x="303" y="601"/>
                    </a:lnTo>
                    <a:lnTo>
                      <a:pt x="303" y="547"/>
                    </a:lnTo>
                    <a:moveTo>
                      <a:pt x="7028" y="507"/>
                    </a:moveTo>
                    <a:lnTo>
                      <a:pt x="7025" y="507"/>
                    </a:lnTo>
                    <a:lnTo>
                      <a:pt x="7025" y="509"/>
                    </a:lnTo>
                    <a:lnTo>
                      <a:pt x="7025" y="1676"/>
                    </a:lnTo>
                    <a:lnTo>
                      <a:pt x="7028" y="1676"/>
                    </a:lnTo>
                    <a:lnTo>
                      <a:pt x="7028" y="507"/>
                    </a:lnTo>
                    <a:moveTo>
                      <a:pt x="4195" y="502"/>
                    </a:moveTo>
                    <a:lnTo>
                      <a:pt x="4195" y="502"/>
                    </a:lnTo>
                    <a:lnTo>
                      <a:pt x="4193" y="504"/>
                    </a:lnTo>
                    <a:lnTo>
                      <a:pt x="4136" y="585"/>
                    </a:lnTo>
                    <a:lnTo>
                      <a:pt x="4136" y="585"/>
                    </a:lnTo>
                    <a:lnTo>
                      <a:pt x="4195" y="502"/>
                    </a:lnTo>
                    <a:moveTo>
                      <a:pt x="3301" y="499"/>
                    </a:moveTo>
                    <a:lnTo>
                      <a:pt x="3301" y="499"/>
                    </a:lnTo>
                    <a:lnTo>
                      <a:pt x="3299" y="499"/>
                    </a:lnTo>
                    <a:lnTo>
                      <a:pt x="3299" y="502"/>
                    </a:lnTo>
                    <a:lnTo>
                      <a:pt x="3299" y="566"/>
                    </a:lnTo>
                    <a:lnTo>
                      <a:pt x="3301" y="566"/>
                    </a:lnTo>
                    <a:lnTo>
                      <a:pt x="3301" y="499"/>
                    </a:lnTo>
                    <a:moveTo>
                      <a:pt x="4039" y="452"/>
                    </a:moveTo>
                    <a:lnTo>
                      <a:pt x="4037" y="452"/>
                    </a:lnTo>
                    <a:lnTo>
                      <a:pt x="4037" y="452"/>
                    </a:lnTo>
                    <a:lnTo>
                      <a:pt x="4037" y="454"/>
                    </a:lnTo>
                    <a:lnTo>
                      <a:pt x="4037" y="490"/>
                    </a:lnTo>
                    <a:lnTo>
                      <a:pt x="3954" y="641"/>
                    </a:lnTo>
                    <a:lnTo>
                      <a:pt x="3954" y="911"/>
                    </a:lnTo>
                    <a:lnTo>
                      <a:pt x="3956" y="911"/>
                    </a:lnTo>
                    <a:lnTo>
                      <a:pt x="3956" y="641"/>
                    </a:lnTo>
                    <a:lnTo>
                      <a:pt x="4039" y="488"/>
                    </a:lnTo>
                    <a:lnTo>
                      <a:pt x="4039" y="452"/>
                    </a:lnTo>
                    <a:moveTo>
                      <a:pt x="3330" y="433"/>
                    </a:moveTo>
                    <a:lnTo>
                      <a:pt x="3330" y="433"/>
                    </a:lnTo>
                    <a:lnTo>
                      <a:pt x="3330" y="435"/>
                    </a:lnTo>
                    <a:lnTo>
                      <a:pt x="3330" y="485"/>
                    </a:lnTo>
                    <a:lnTo>
                      <a:pt x="3330" y="485"/>
                    </a:lnTo>
                    <a:lnTo>
                      <a:pt x="3330" y="433"/>
                    </a:lnTo>
                    <a:moveTo>
                      <a:pt x="4044" y="391"/>
                    </a:moveTo>
                    <a:lnTo>
                      <a:pt x="4044" y="391"/>
                    </a:lnTo>
                    <a:lnTo>
                      <a:pt x="4041" y="391"/>
                    </a:lnTo>
                    <a:lnTo>
                      <a:pt x="4041" y="391"/>
                    </a:lnTo>
                    <a:lnTo>
                      <a:pt x="4041" y="447"/>
                    </a:lnTo>
                    <a:lnTo>
                      <a:pt x="4044" y="447"/>
                    </a:lnTo>
                    <a:lnTo>
                      <a:pt x="4044" y="445"/>
                    </a:lnTo>
                    <a:lnTo>
                      <a:pt x="4044" y="445"/>
                    </a:lnTo>
                    <a:lnTo>
                      <a:pt x="4044" y="391"/>
                    </a:lnTo>
                    <a:moveTo>
                      <a:pt x="1812" y="367"/>
                    </a:moveTo>
                    <a:lnTo>
                      <a:pt x="1809" y="367"/>
                    </a:lnTo>
                    <a:lnTo>
                      <a:pt x="1809" y="369"/>
                    </a:lnTo>
                    <a:lnTo>
                      <a:pt x="1809" y="1115"/>
                    </a:lnTo>
                    <a:lnTo>
                      <a:pt x="1812" y="1115"/>
                    </a:lnTo>
                    <a:lnTo>
                      <a:pt x="1812" y="367"/>
                    </a:lnTo>
                    <a:moveTo>
                      <a:pt x="1939" y="334"/>
                    </a:moveTo>
                    <a:lnTo>
                      <a:pt x="1939" y="334"/>
                    </a:lnTo>
                    <a:lnTo>
                      <a:pt x="1939" y="334"/>
                    </a:lnTo>
                    <a:lnTo>
                      <a:pt x="1939" y="353"/>
                    </a:lnTo>
                    <a:lnTo>
                      <a:pt x="1939" y="353"/>
                    </a:lnTo>
                    <a:lnTo>
                      <a:pt x="1939" y="334"/>
                    </a:lnTo>
                    <a:moveTo>
                      <a:pt x="4051" y="327"/>
                    </a:moveTo>
                    <a:lnTo>
                      <a:pt x="4051" y="327"/>
                    </a:lnTo>
                    <a:lnTo>
                      <a:pt x="4051" y="329"/>
                    </a:lnTo>
                    <a:lnTo>
                      <a:pt x="4051" y="381"/>
                    </a:lnTo>
                    <a:lnTo>
                      <a:pt x="4051" y="381"/>
                    </a:lnTo>
                    <a:lnTo>
                      <a:pt x="4051" y="381"/>
                    </a:lnTo>
                    <a:lnTo>
                      <a:pt x="4051" y="381"/>
                    </a:lnTo>
                    <a:lnTo>
                      <a:pt x="4051" y="327"/>
                    </a:lnTo>
                    <a:moveTo>
                      <a:pt x="2029" y="293"/>
                    </a:moveTo>
                    <a:lnTo>
                      <a:pt x="2029" y="293"/>
                    </a:lnTo>
                    <a:lnTo>
                      <a:pt x="2029" y="293"/>
                    </a:lnTo>
                    <a:lnTo>
                      <a:pt x="2029" y="317"/>
                    </a:lnTo>
                    <a:lnTo>
                      <a:pt x="2029" y="317"/>
                    </a:lnTo>
                    <a:lnTo>
                      <a:pt x="2029" y="293"/>
                    </a:lnTo>
                    <a:moveTo>
                      <a:pt x="4706" y="232"/>
                    </a:moveTo>
                    <a:lnTo>
                      <a:pt x="4703" y="232"/>
                    </a:lnTo>
                    <a:lnTo>
                      <a:pt x="4703" y="232"/>
                    </a:lnTo>
                    <a:lnTo>
                      <a:pt x="4639" y="464"/>
                    </a:lnTo>
                    <a:lnTo>
                      <a:pt x="4642" y="464"/>
                    </a:lnTo>
                    <a:lnTo>
                      <a:pt x="4706" y="232"/>
                    </a:lnTo>
                    <a:moveTo>
                      <a:pt x="4805" y="170"/>
                    </a:moveTo>
                    <a:lnTo>
                      <a:pt x="4805" y="170"/>
                    </a:lnTo>
                    <a:lnTo>
                      <a:pt x="4803" y="170"/>
                    </a:lnTo>
                    <a:lnTo>
                      <a:pt x="4803" y="173"/>
                    </a:lnTo>
                    <a:lnTo>
                      <a:pt x="4803" y="215"/>
                    </a:lnTo>
                    <a:lnTo>
                      <a:pt x="4805" y="215"/>
                    </a:lnTo>
                    <a:lnTo>
                      <a:pt x="4805" y="170"/>
                    </a:lnTo>
                    <a:moveTo>
                      <a:pt x="4855" y="0"/>
                    </a:moveTo>
                    <a:lnTo>
                      <a:pt x="4852" y="0"/>
                    </a:lnTo>
                    <a:lnTo>
                      <a:pt x="4852" y="0"/>
                    </a:lnTo>
                    <a:lnTo>
                      <a:pt x="4852" y="156"/>
                    </a:lnTo>
                    <a:lnTo>
                      <a:pt x="4855" y="156"/>
                    </a:lnTo>
                    <a:lnTo>
                      <a:pt x="4855" y="0"/>
                    </a:lnTo>
                    <a:moveTo>
                      <a:pt x="4911" y="0"/>
                    </a:moveTo>
                    <a:lnTo>
                      <a:pt x="4909" y="0"/>
                    </a:lnTo>
                    <a:lnTo>
                      <a:pt x="4909" y="0"/>
                    </a:lnTo>
                    <a:lnTo>
                      <a:pt x="4909" y="156"/>
                    </a:lnTo>
                    <a:lnTo>
                      <a:pt x="4911" y="156"/>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5" name="Freeform 130"/>
              <p:cNvSpPr>
                <a:spLocks noEditPoints="1"/>
              </p:cNvSpPr>
              <p:nvPr/>
            </p:nvSpPr>
            <p:spPr bwMode="auto">
              <a:xfrm>
                <a:off x="33" y="1674"/>
                <a:ext cx="7027" cy="1679"/>
              </a:xfrm>
              <a:custGeom>
                <a:avLst/>
                <a:gdLst>
                  <a:gd name="T0" fmla="*/ 2 w 7027"/>
                  <a:gd name="T1" fmla="*/ 1520 h 1679"/>
                  <a:gd name="T2" fmla="*/ 5665 w 7027"/>
                  <a:gd name="T3" fmla="*/ 1435 h 1679"/>
                  <a:gd name="T4" fmla="*/ 3710 w 7027"/>
                  <a:gd name="T5" fmla="*/ 1222 h 1679"/>
                  <a:gd name="T6" fmla="*/ 5831 w 7027"/>
                  <a:gd name="T7" fmla="*/ 1208 h 1679"/>
                  <a:gd name="T8" fmla="*/ 5831 w 7027"/>
                  <a:gd name="T9" fmla="*/ 1312 h 1679"/>
                  <a:gd name="T10" fmla="*/ 1664 w 7027"/>
                  <a:gd name="T11" fmla="*/ 1158 h 1679"/>
                  <a:gd name="T12" fmla="*/ 1688 w 7027"/>
                  <a:gd name="T13" fmla="*/ 1132 h 1679"/>
                  <a:gd name="T14" fmla="*/ 5857 w 7027"/>
                  <a:gd name="T15" fmla="*/ 1127 h 1679"/>
                  <a:gd name="T16" fmla="*/ 5857 w 7027"/>
                  <a:gd name="T17" fmla="*/ 1196 h 1679"/>
                  <a:gd name="T18" fmla="*/ 6322 w 7027"/>
                  <a:gd name="T19" fmla="*/ 1130 h 1679"/>
                  <a:gd name="T20" fmla="*/ 1447 w 7027"/>
                  <a:gd name="T21" fmla="*/ 1125 h 1679"/>
                  <a:gd name="T22" fmla="*/ 1447 w 7027"/>
                  <a:gd name="T23" fmla="*/ 1125 h 1679"/>
                  <a:gd name="T24" fmla="*/ 1463 w 7027"/>
                  <a:gd name="T25" fmla="*/ 1113 h 1679"/>
                  <a:gd name="T26" fmla="*/ 2858 w 7027"/>
                  <a:gd name="T27" fmla="*/ 1064 h 1679"/>
                  <a:gd name="T28" fmla="*/ 5930 w 7027"/>
                  <a:gd name="T29" fmla="*/ 1042 h 1679"/>
                  <a:gd name="T30" fmla="*/ 5932 w 7027"/>
                  <a:gd name="T31" fmla="*/ 1042 h 1679"/>
                  <a:gd name="T32" fmla="*/ 2877 w 7027"/>
                  <a:gd name="T33" fmla="*/ 1049 h 1679"/>
                  <a:gd name="T34" fmla="*/ 3769 w 7027"/>
                  <a:gd name="T35" fmla="*/ 1210 h 1679"/>
                  <a:gd name="T36" fmla="*/ 5949 w 7027"/>
                  <a:gd name="T37" fmla="*/ 993 h 1679"/>
                  <a:gd name="T38" fmla="*/ 6339 w 7027"/>
                  <a:gd name="T39" fmla="*/ 936 h 1679"/>
                  <a:gd name="T40" fmla="*/ 6341 w 7027"/>
                  <a:gd name="T41" fmla="*/ 936 h 1679"/>
                  <a:gd name="T42" fmla="*/ 3847 w 7027"/>
                  <a:gd name="T43" fmla="*/ 981 h 1679"/>
                  <a:gd name="T44" fmla="*/ 6384 w 7027"/>
                  <a:gd name="T45" fmla="*/ 898 h 1679"/>
                  <a:gd name="T46" fmla="*/ 6389 w 7027"/>
                  <a:gd name="T47" fmla="*/ 879 h 1679"/>
                  <a:gd name="T48" fmla="*/ 6389 w 7027"/>
                  <a:gd name="T49" fmla="*/ 888 h 1679"/>
                  <a:gd name="T50" fmla="*/ 6396 w 7027"/>
                  <a:gd name="T51" fmla="*/ 853 h 1679"/>
                  <a:gd name="T52" fmla="*/ 6398 w 7027"/>
                  <a:gd name="T53" fmla="*/ 850 h 1679"/>
                  <a:gd name="T54" fmla="*/ 806 w 7027"/>
                  <a:gd name="T55" fmla="*/ 1056 h 1679"/>
                  <a:gd name="T56" fmla="*/ 3100 w 7027"/>
                  <a:gd name="T57" fmla="*/ 765 h 1679"/>
                  <a:gd name="T58" fmla="*/ 1007 w 7027"/>
                  <a:gd name="T59" fmla="*/ 753 h 1679"/>
                  <a:gd name="T60" fmla="*/ 5133 w 7027"/>
                  <a:gd name="T61" fmla="*/ 732 h 1679"/>
                  <a:gd name="T62" fmla="*/ 5133 w 7027"/>
                  <a:gd name="T63" fmla="*/ 732 h 1679"/>
                  <a:gd name="T64" fmla="*/ 3140 w 7027"/>
                  <a:gd name="T65" fmla="*/ 749 h 1679"/>
                  <a:gd name="T66" fmla="*/ 94 w 7027"/>
                  <a:gd name="T67" fmla="*/ 1440 h 1679"/>
                  <a:gd name="T68" fmla="*/ 5251 w 7027"/>
                  <a:gd name="T69" fmla="*/ 611 h 1679"/>
                  <a:gd name="T70" fmla="*/ 3282 w 7027"/>
                  <a:gd name="T71" fmla="*/ 583 h 1679"/>
                  <a:gd name="T72" fmla="*/ 3284 w 7027"/>
                  <a:gd name="T73" fmla="*/ 583 h 1679"/>
                  <a:gd name="T74" fmla="*/ 302 w 7027"/>
                  <a:gd name="T75" fmla="*/ 604 h 1679"/>
                  <a:gd name="T76" fmla="*/ 7025 w 7027"/>
                  <a:gd name="T77" fmla="*/ 1679 h 1679"/>
                  <a:gd name="T78" fmla="*/ 4192 w 7027"/>
                  <a:gd name="T79" fmla="*/ 505 h 1679"/>
                  <a:gd name="T80" fmla="*/ 3301 w 7027"/>
                  <a:gd name="T81" fmla="*/ 500 h 1679"/>
                  <a:gd name="T82" fmla="*/ 3301 w 7027"/>
                  <a:gd name="T83" fmla="*/ 500 h 1679"/>
                  <a:gd name="T84" fmla="*/ 4036 w 7027"/>
                  <a:gd name="T85" fmla="*/ 491 h 1679"/>
                  <a:gd name="T86" fmla="*/ 4038 w 7027"/>
                  <a:gd name="T87" fmla="*/ 488 h 1679"/>
                  <a:gd name="T88" fmla="*/ 3327 w 7027"/>
                  <a:gd name="T89" fmla="*/ 488 h 1679"/>
                  <a:gd name="T90" fmla="*/ 4041 w 7027"/>
                  <a:gd name="T91" fmla="*/ 391 h 1679"/>
                  <a:gd name="T92" fmla="*/ 4043 w 7027"/>
                  <a:gd name="T93" fmla="*/ 448 h 1679"/>
                  <a:gd name="T94" fmla="*/ 1809 w 7027"/>
                  <a:gd name="T95" fmla="*/ 1118 h 1679"/>
                  <a:gd name="T96" fmla="*/ 1936 w 7027"/>
                  <a:gd name="T97" fmla="*/ 337 h 1679"/>
                  <a:gd name="T98" fmla="*/ 4048 w 7027"/>
                  <a:gd name="T99" fmla="*/ 327 h 1679"/>
                  <a:gd name="T100" fmla="*/ 4050 w 7027"/>
                  <a:gd name="T101" fmla="*/ 382 h 1679"/>
                  <a:gd name="T102" fmla="*/ 2026 w 7027"/>
                  <a:gd name="T103" fmla="*/ 320 h 1679"/>
                  <a:gd name="T104" fmla="*/ 4703 w 7027"/>
                  <a:gd name="T105" fmla="*/ 235 h 1679"/>
                  <a:gd name="T106" fmla="*/ 4802 w 7027"/>
                  <a:gd name="T107" fmla="*/ 173 h 1679"/>
                  <a:gd name="T108" fmla="*/ 4804 w 7027"/>
                  <a:gd name="T109" fmla="*/ 173 h 1679"/>
                  <a:gd name="T110" fmla="*/ 4854 w 7027"/>
                  <a:gd name="T111" fmla="*/ 159 h 1679"/>
                  <a:gd name="T112" fmla="*/ 4908 w 7027"/>
                  <a:gd name="T113" fmla="*/ 159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7" h="1679">
                    <a:moveTo>
                      <a:pt x="2" y="1452"/>
                    </a:moveTo>
                    <a:lnTo>
                      <a:pt x="0" y="1452"/>
                    </a:lnTo>
                    <a:lnTo>
                      <a:pt x="0" y="1454"/>
                    </a:lnTo>
                    <a:lnTo>
                      <a:pt x="0" y="1520"/>
                    </a:lnTo>
                    <a:lnTo>
                      <a:pt x="2" y="1520"/>
                    </a:lnTo>
                    <a:lnTo>
                      <a:pt x="2" y="1452"/>
                    </a:lnTo>
                    <a:close/>
                    <a:moveTo>
                      <a:pt x="5667" y="1326"/>
                    </a:moveTo>
                    <a:lnTo>
                      <a:pt x="5665" y="1326"/>
                    </a:lnTo>
                    <a:lnTo>
                      <a:pt x="5665" y="1329"/>
                    </a:lnTo>
                    <a:lnTo>
                      <a:pt x="5665" y="1435"/>
                    </a:lnTo>
                    <a:lnTo>
                      <a:pt x="5667" y="1435"/>
                    </a:lnTo>
                    <a:lnTo>
                      <a:pt x="5667" y="1326"/>
                    </a:lnTo>
                    <a:close/>
                    <a:moveTo>
                      <a:pt x="3712" y="1222"/>
                    </a:moveTo>
                    <a:lnTo>
                      <a:pt x="3710" y="1222"/>
                    </a:lnTo>
                    <a:lnTo>
                      <a:pt x="3710" y="1222"/>
                    </a:lnTo>
                    <a:lnTo>
                      <a:pt x="3710" y="1225"/>
                    </a:lnTo>
                    <a:lnTo>
                      <a:pt x="3710" y="1378"/>
                    </a:lnTo>
                    <a:lnTo>
                      <a:pt x="3712" y="1378"/>
                    </a:lnTo>
                    <a:lnTo>
                      <a:pt x="3712" y="1222"/>
                    </a:lnTo>
                    <a:close/>
                    <a:moveTo>
                      <a:pt x="5831" y="1208"/>
                    </a:moveTo>
                    <a:lnTo>
                      <a:pt x="5831" y="1208"/>
                    </a:lnTo>
                    <a:lnTo>
                      <a:pt x="5831" y="1208"/>
                    </a:lnTo>
                    <a:lnTo>
                      <a:pt x="5831" y="1210"/>
                    </a:lnTo>
                    <a:lnTo>
                      <a:pt x="5831" y="1312"/>
                    </a:lnTo>
                    <a:lnTo>
                      <a:pt x="5831" y="1312"/>
                    </a:lnTo>
                    <a:lnTo>
                      <a:pt x="5831" y="1208"/>
                    </a:lnTo>
                    <a:close/>
                    <a:moveTo>
                      <a:pt x="1667" y="1156"/>
                    </a:moveTo>
                    <a:lnTo>
                      <a:pt x="1664" y="1156"/>
                    </a:lnTo>
                    <a:lnTo>
                      <a:pt x="1664" y="1156"/>
                    </a:lnTo>
                    <a:lnTo>
                      <a:pt x="1664" y="1158"/>
                    </a:lnTo>
                    <a:lnTo>
                      <a:pt x="1664" y="1187"/>
                    </a:lnTo>
                    <a:lnTo>
                      <a:pt x="1667" y="1187"/>
                    </a:lnTo>
                    <a:lnTo>
                      <a:pt x="1667" y="1156"/>
                    </a:lnTo>
                    <a:close/>
                    <a:moveTo>
                      <a:pt x="1690" y="1132"/>
                    </a:moveTo>
                    <a:lnTo>
                      <a:pt x="1688" y="1132"/>
                    </a:lnTo>
                    <a:lnTo>
                      <a:pt x="1688" y="1135"/>
                    </a:lnTo>
                    <a:lnTo>
                      <a:pt x="1688" y="1144"/>
                    </a:lnTo>
                    <a:lnTo>
                      <a:pt x="1690" y="1144"/>
                    </a:lnTo>
                    <a:lnTo>
                      <a:pt x="1690" y="1132"/>
                    </a:lnTo>
                    <a:close/>
                    <a:moveTo>
                      <a:pt x="5857" y="1127"/>
                    </a:moveTo>
                    <a:lnTo>
                      <a:pt x="5854" y="1127"/>
                    </a:lnTo>
                    <a:lnTo>
                      <a:pt x="5854" y="1127"/>
                    </a:lnTo>
                    <a:lnTo>
                      <a:pt x="5854" y="1130"/>
                    </a:lnTo>
                    <a:lnTo>
                      <a:pt x="5854" y="1196"/>
                    </a:lnTo>
                    <a:lnTo>
                      <a:pt x="5857" y="1196"/>
                    </a:lnTo>
                    <a:lnTo>
                      <a:pt x="5857" y="1127"/>
                    </a:lnTo>
                    <a:close/>
                    <a:moveTo>
                      <a:pt x="6322" y="1127"/>
                    </a:moveTo>
                    <a:lnTo>
                      <a:pt x="6322" y="1127"/>
                    </a:lnTo>
                    <a:lnTo>
                      <a:pt x="6322" y="1127"/>
                    </a:lnTo>
                    <a:lnTo>
                      <a:pt x="6322" y="1130"/>
                    </a:lnTo>
                    <a:lnTo>
                      <a:pt x="6322" y="1350"/>
                    </a:lnTo>
                    <a:lnTo>
                      <a:pt x="6322" y="1350"/>
                    </a:lnTo>
                    <a:lnTo>
                      <a:pt x="6322" y="1127"/>
                    </a:lnTo>
                    <a:close/>
                    <a:moveTo>
                      <a:pt x="1447" y="1125"/>
                    </a:moveTo>
                    <a:lnTo>
                      <a:pt x="1447" y="1125"/>
                    </a:lnTo>
                    <a:lnTo>
                      <a:pt x="1444" y="1125"/>
                    </a:lnTo>
                    <a:lnTo>
                      <a:pt x="1444" y="1127"/>
                    </a:lnTo>
                    <a:lnTo>
                      <a:pt x="1444" y="1187"/>
                    </a:lnTo>
                    <a:lnTo>
                      <a:pt x="1447" y="1187"/>
                    </a:lnTo>
                    <a:lnTo>
                      <a:pt x="1447" y="1125"/>
                    </a:lnTo>
                    <a:close/>
                    <a:moveTo>
                      <a:pt x="1463" y="1085"/>
                    </a:moveTo>
                    <a:lnTo>
                      <a:pt x="1463" y="1085"/>
                    </a:lnTo>
                    <a:lnTo>
                      <a:pt x="1463" y="1085"/>
                    </a:lnTo>
                    <a:lnTo>
                      <a:pt x="1463" y="1113"/>
                    </a:lnTo>
                    <a:lnTo>
                      <a:pt x="1463" y="1113"/>
                    </a:lnTo>
                    <a:lnTo>
                      <a:pt x="1463" y="1085"/>
                    </a:lnTo>
                    <a:close/>
                    <a:moveTo>
                      <a:pt x="2861" y="1064"/>
                    </a:moveTo>
                    <a:lnTo>
                      <a:pt x="2858" y="1064"/>
                    </a:lnTo>
                    <a:lnTo>
                      <a:pt x="2858" y="1064"/>
                    </a:lnTo>
                    <a:lnTo>
                      <a:pt x="2858" y="1064"/>
                    </a:lnTo>
                    <a:lnTo>
                      <a:pt x="2858" y="1227"/>
                    </a:lnTo>
                    <a:lnTo>
                      <a:pt x="2861" y="1227"/>
                    </a:lnTo>
                    <a:lnTo>
                      <a:pt x="2861" y="1064"/>
                    </a:lnTo>
                    <a:close/>
                    <a:moveTo>
                      <a:pt x="5932" y="1042"/>
                    </a:moveTo>
                    <a:lnTo>
                      <a:pt x="5930" y="1042"/>
                    </a:lnTo>
                    <a:lnTo>
                      <a:pt x="5930" y="1042"/>
                    </a:lnTo>
                    <a:lnTo>
                      <a:pt x="5930" y="1042"/>
                    </a:lnTo>
                    <a:lnTo>
                      <a:pt x="5930" y="1116"/>
                    </a:lnTo>
                    <a:lnTo>
                      <a:pt x="5932" y="1116"/>
                    </a:lnTo>
                    <a:lnTo>
                      <a:pt x="5932" y="1042"/>
                    </a:lnTo>
                    <a:close/>
                    <a:moveTo>
                      <a:pt x="2877" y="1011"/>
                    </a:moveTo>
                    <a:lnTo>
                      <a:pt x="2875" y="1011"/>
                    </a:lnTo>
                    <a:lnTo>
                      <a:pt x="2875" y="1014"/>
                    </a:lnTo>
                    <a:lnTo>
                      <a:pt x="2875" y="1049"/>
                    </a:lnTo>
                    <a:lnTo>
                      <a:pt x="2877" y="1049"/>
                    </a:lnTo>
                    <a:lnTo>
                      <a:pt x="2877" y="1011"/>
                    </a:lnTo>
                    <a:close/>
                    <a:moveTo>
                      <a:pt x="3771" y="993"/>
                    </a:moveTo>
                    <a:lnTo>
                      <a:pt x="3769" y="993"/>
                    </a:lnTo>
                    <a:lnTo>
                      <a:pt x="3769" y="995"/>
                    </a:lnTo>
                    <a:lnTo>
                      <a:pt x="3769" y="1210"/>
                    </a:lnTo>
                    <a:lnTo>
                      <a:pt x="3771" y="1210"/>
                    </a:lnTo>
                    <a:lnTo>
                      <a:pt x="3771" y="993"/>
                    </a:lnTo>
                    <a:close/>
                    <a:moveTo>
                      <a:pt x="5949" y="990"/>
                    </a:moveTo>
                    <a:lnTo>
                      <a:pt x="5949" y="990"/>
                    </a:lnTo>
                    <a:lnTo>
                      <a:pt x="5949" y="993"/>
                    </a:lnTo>
                    <a:lnTo>
                      <a:pt x="5949" y="1028"/>
                    </a:lnTo>
                    <a:lnTo>
                      <a:pt x="5949" y="1028"/>
                    </a:lnTo>
                    <a:lnTo>
                      <a:pt x="5949" y="990"/>
                    </a:lnTo>
                    <a:close/>
                    <a:moveTo>
                      <a:pt x="6341" y="936"/>
                    </a:moveTo>
                    <a:lnTo>
                      <a:pt x="6339" y="936"/>
                    </a:lnTo>
                    <a:lnTo>
                      <a:pt x="6339" y="936"/>
                    </a:lnTo>
                    <a:lnTo>
                      <a:pt x="6339" y="938"/>
                    </a:lnTo>
                    <a:lnTo>
                      <a:pt x="6339" y="1116"/>
                    </a:lnTo>
                    <a:lnTo>
                      <a:pt x="6341" y="1116"/>
                    </a:lnTo>
                    <a:lnTo>
                      <a:pt x="6341" y="936"/>
                    </a:lnTo>
                    <a:close/>
                    <a:moveTo>
                      <a:pt x="3847" y="929"/>
                    </a:moveTo>
                    <a:lnTo>
                      <a:pt x="3844" y="929"/>
                    </a:lnTo>
                    <a:lnTo>
                      <a:pt x="3844" y="931"/>
                    </a:lnTo>
                    <a:lnTo>
                      <a:pt x="3844" y="981"/>
                    </a:lnTo>
                    <a:lnTo>
                      <a:pt x="3847" y="981"/>
                    </a:lnTo>
                    <a:lnTo>
                      <a:pt x="3847" y="929"/>
                    </a:lnTo>
                    <a:close/>
                    <a:moveTo>
                      <a:pt x="6386" y="895"/>
                    </a:moveTo>
                    <a:lnTo>
                      <a:pt x="6384" y="895"/>
                    </a:lnTo>
                    <a:lnTo>
                      <a:pt x="6384" y="895"/>
                    </a:lnTo>
                    <a:lnTo>
                      <a:pt x="6384" y="898"/>
                    </a:lnTo>
                    <a:lnTo>
                      <a:pt x="6377" y="921"/>
                    </a:lnTo>
                    <a:lnTo>
                      <a:pt x="6379" y="921"/>
                    </a:lnTo>
                    <a:lnTo>
                      <a:pt x="6386" y="895"/>
                    </a:lnTo>
                    <a:close/>
                    <a:moveTo>
                      <a:pt x="6391" y="879"/>
                    </a:moveTo>
                    <a:lnTo>
                      <a:pt x="6389" y="879"/>
                    </a:lnTo>
                    <a:lnTo>
                      <a:pt x="6389" y="879"/>
                    </a:lnTo>
                    <a:lnTo>
                      <a:pt x="6389" y="881"/>
                    </a:lnTo>
                    <a:lnTo>
                      <a:pt x="6389" y="891"/>
                    </a:lnTo>
                    <a:lnTo>
                      <a:pt x="6389" y="891"/>
                    </a:lnTo>
                    <a:lnTo>
                      <a:pt x="6389" y="888"/>
                    </a:lnTo>
                    <a:lnTo>
                      <a:pt x="6391" y="888"/>
                    </a:lnTo>
                    <a:lnTo>
                      <a:pt x="6391" y="879"/>
                    </a:lnTo>
                    <a:close/>
                    <a:moveTo>
                      <a:pt x="6398" y="850"/>
                    </a:moveTo>
                    <a:lnTo>
                      <a:pt x="6396" y="850"/>
                    </a:lnTo>
                    <a:lnTo>
                      <a:pt x="6396" y="853"/>
                    </a:lnTo>
                    <a:lnTo>
                      <a:pt x="6396" y="872"/>
                    </a:lnTo>
                    <a:lnTo>
                      <a:pt x="6398" y="872"/>
                    </a:lnTo>
                    <a:lnTo>
                      <a:pt x="6398" y="869"/>
                    </a:lnTo>
                    <a:lnTo>
                      <a:pt x="6398" y="869"/>
                    </a:lnTo>
                    <a:lnTo>
                      <a:pt x="6398" y="850"/>
                    </a:lnTo>
                    <a:close/>
                    <a:moveTo>
                      <a:pt x="806" y="827"/>
                    </a:moveTo>
                    <a:lnTo>
                      <a:pt x="804" y="827"/>
                    </a:lnTo>
                    <a:lnTo>
                      <a:pt x="804" y="829"/>
                    </a:lnTo>
                    <a:lnTo>
                      <a:pt x="804" y="1056"/>
                    </a:lnTo>
                    <a:lnTo>
                      <a:pt x="806" y="1056"/>
                    </a:lnTo>
                    <a:lnTo>
                      <a:pt x="806" y="827"/>
                    </a:lnTo>
                    <a:close/>
                    <a:moveTo>
                      <a:pt x="3100" y="763"/>
                    </a:moveTo>
                    <a:lnTo>
                      <a:pt x="3100" y="763"/>
                    </a:lnTo>
                    <a:lnTo>
                      <a:pt x="3100" y="763"/>
                    </a:lnTo>
                    <a:lnTo>
                      <a:pt x="3100" y="765"/>
                    </a:lnTo>
                    <a:lnTo>
                      <a:pt x="3100" y="966"/>
                    </a:lnTo>
                    <a:lnTo>
                      <a:pt x="3100" y="966"/>
                    </a:lnTo>
                    <a:lnTo>
                      <a:pt x="3100" y="763"/>
                    </a:lnTo>
                    <a:close/>
                    <a:moveTo>
                      <a:pt x="1009" y="753"/>
                    </a:moveTo>
                    <a:lnTo>
                      <a:pt x="1007" y="753"/>
                    </a:lnTo>
                    <a:lnTo>
                      <a:pt x="1007" y="756"/>
                    </a:lnTo>
                    <a:lnTo>
                      <a:pt x="1007" y="815"/>
                    </a:lnTo>
                    <a:lnTo>
                      <a:pt x="1009" y="815"/>
                    </a:lnTo>
                    <a:lnTo>
                      <a:pt x="1009" y="753"/>
                    </a:lnTo>
                    <a:close/>
                    <a:moveTo>
                      <a:pt x="5133" y="732"/>
                    </a:moveTo>
                    <a:lnTo>
                      <a:pt x="5131" y="732"/>
                    </a:lnTo>
                    <a:lnTo>
                      <a:pt x="5131" y="734"/>
                    </a:lnTo>
                    <a:lnTo>
                      <a:pt x="5131" y="959"/>
                    </a:lnTo>
                    <a:lnTo>
                      <a:pt x="5133" y="959"/>
                    </a:lnTo>
                    <a:lnTo>
                      <a:pt x="5133" y="732"/>
                    </a:lnTo>
                    <a:close/>
                    <a:moveTo>
                      <a:pt x="3140" y="656"/>
                    </a:moveTo>
                    <a:lnTo>
                      <a:pt x="3137" y="656"/>
                    </a:lnTo>
                    <a:lnTo>
                      <a:pt x="3137" y="659"/>
                    </a:lnTo>
                    <a:lnTo>
                      <a:pt x="3137" y="749"/>
                    </a:lnTo>
                    <a:lnTo>
                      <a:pt x="3140" y="749"/>
                    </a:lnTo>
                    <a:lnTo>
                      <a:pt x="3140" y="656"/>
                    </a:lnTo>
                    <a:close/>
                    <a:moveTo>
                      <a:pt x="97" y="616"/>
                    </a:moveTo>
                    <a:lnTo>
                      <a:pt x="94" y="616"/>
                    </a:lnTo>
                    <a:lnTo>
                      <a:pt x="94" y="618"/>
                    </a:lnTo>
                    <a:lnTo>
                      <a:pt x="94" y="1440"/>
                    </a:lnTo>
                    <a:lnTo>
                      <a:pt x="97" y="1440"/>
                    </a:lnTo>
                    <a:lnTo>
                      <a:pt x="97" y="616"/>
                    </a:lnTo>
                    <a:close/>
                    <a:moveTo>
                      <a:pt x="5254" y="609"/>
                    </a:moveTo>
                    <a:lnTo>
                      <a:pt x="5251" y="609"/>
                    </a:lnTo>
                    <a:lnTo>
                      <a:pt x="5251" y="611"/>
                    </a:lnTo>
                    <a:lnTo>
                      <a:pt x="5251" y="718"/>
                    </a:lnTo>
                    <a:lnTo>
                      <a:pt x="5254" y="718"/>
                    </a:lnTo>
                    <a:lnTo>
                      <a:pt x="5254" y="609"/>
                    </a:lnTo>
                    <a:close/>
                    <a:moveTo>
                      <a:pt x="3284" y="583"/>
                    </a:moveTo>
                    <a:lnTo>
                      <a:pt x="3282" y="583"/>
                    </a:lnTo>
                    <a:lnTo>
                      <a:pt x="3282" y="583"/>
                    </a:lnTo>
                    <a:lnTo>
                      <a:pt x="3282" y="583"/>
                    </a:lnTo>
                    <a:lnTo>
                      <a:pt x="3282" y="644"/>
                    </a:lnTo>
                    <a:lnTo>
                      <a:pt x="3284" y="644"/>
                    </a:lnTo>
                    <a:lnTo>
                      <a:pt x="3284" y="583"/>
                    </a:lnTo>
                    <a:close/>
                    <a:moveTo>
                      <a:pt x="302" y="547"/>
                    </a:moveTo>
                    <a:lnTo>
                      <a:pt x="300" y="547"/>
                    </a:lnTo>
                    <a:lnTo>
                      <a:pt x="300" y="550"/>
                    </a:lnTo>
                    <a:lnTo>
                      <a:pt x="300" y="604"/>
                    </a:lnTo>
                    <a:lnTo>
                      <a:pt x="302" y="604"/>
                    </a:lnTo>
                    <a:lnTo>
                      <a:pt x="302" y="547"/>
                    </a:lnTo>
                    <a:close/>
                    <a:moveTo>
                      <a:pt x="7027" y="510"/>
                    </a:moveTo>
                    <a:lnTo>
                      <a:pt x="7025" y="510"/>
                    </a:lnTo>
                    <a:lnTo>
                      <a:pt x="7025" y="510"/>
                    </a:lnTo>
                    <a:lnTo>
                      <a:pt x="7025" y="1679"/>
                    </a:lnTo>
                    <a:lnTo>
                      <a:pt x="7027" y="1679"/>
                    </a:lnTo>
                    <a:lnTo>
                      <a:pt x="7027" y="510"/>
                    </a:lnTo>
                    <a:close/>
                    <a:moveTo>
                      <a:pt x="4194" y="502"/>
                    </a:moveTo>
                    <a:lnTo>
                      <a:pt x="4194" y="502"/>
                    </a:lnTo>
                    <a:lnTo>
                      <a:pt x="4192" y="505"/>
                    </a:lnTo>
                    <a:lnTo>
                      <a:pt x="4133" y="588"/>
                    </a:lnTo>
                    <a:lnTo>
                      <a:pt x="4133" y="588"/>
                    </a:lnTo>
                    <a:lnTo>
                      <a:pt x="4194" y="502"/>
                    </a:lnTo>
                    <a:close/>
                    <a:moveTo>
                      <a:pt x="3301" y="500"/>
                    </a:moveTo>
                    <a:lnTo>
                      <a:pt x="3301" y="500"/>
                    </a:lnTo>
                    <a:lnTo>
                      <a:pt x="3298" y="500"/>
                    </a:lnTo>
                    <a:lnTo>
                      <a:pt x="3298" y="502"/>
                    </a:lnTo>
                    <a:lnTo>
                      <a:pt x="3298" y="569"/>
                    </a:lnTo>
                    <a:lnTo>
                      <a:pt x="3301" y="569"/>
                    </a:lnTo>
                    <a:lnTo>
                      <a:pt x="3301" y="500"/>
                    </a:lnTo>
                    <a:close/>
                    <a:moveTo>
                      <a:pt x="4038" y="455"/>
                    </a:moveTo>
                    <a:lnTo>
                      <a:pt x="4036" y="455"/>
                    </a:lnTo>
                    <a:lnTo>
                      <a:pt x="4036" y="455"/>
                    </a:lnTo>
                    <a:lnTo>
                      <a:pt x="4036" y="455"/>
                    </a:lnTo>
                    <a:lnTo>
                      <a:pt x="4036" y="491"/>
                    </a:lnTo>
                    <a:lnTo>
                      <a:pt x="3953" y="644"/>
                    </a:lnTo>
                    <a:lnTo>
                      <a:pt x="3953" y="914"/>
                    </a:lnTo>
                    <a:lnTo>
                      <a:pt x="3955" y="914"/>
                    </a:lnTo>
                    <a:lnTo>
                      <a:pt x="3955" y="642"/>
                    </a:lnTo>
                    <a:lnTo>
                      <a:pt x="4038" y="488"/>
                    </a:lnTo>
                    <a:lnTo>
                      <a:pt x="4038" y="455"/>
                    </a:lnTo>
                    <a:close/>
                    <a:moveTo>
                      <a:pt x="3329" y="434"/>
                    </a:moveTo>
                    <a:lnTo>
                      <a:pt x="3327" y="434"/>
                    </a:lnTo>
                    <a:lnTo>
                      <a:pt x="3327" y="436"/>
                    </a:lnTo>
                    <a:lnTo>
                      <a:pt x="3327" y="488"/>
                    </a:lnTo>
                    <a:lnTo>
                      <a:pt x="3329" y="488"/>
                    </a:lnTo>
                    <a:lnTo>
                      <a:pt x="3329" y="434"/>
                    </a:lnTo>
                    <a:close/>
                    <a:moveTo>
                      <a:pt x="4043" y="391"/>
                    </a:moveTo>
                    <a:lnTo>
                      <a:pt x="4041" y="391"/>
                    </a:lnTo>
                    <a:lnTo>
                      <a:pt x="4041" y="391"/>
                    </a:lnTo>
                    <a:lnTo>
                      <a:pt x="4041" y="394"/>
                    </a:lnTo>
                    <a:lnTo>
                      <a:pt x="4041" y="448"/>
                    </a:lnTo>
                    <a:lnTo>
                      <a:pt x="4043" y="448"/>
                    </a:lnTo>
                    <a:lnTo>
                      <a:pt x="4043" y="448"/>
                    </a:lnTo>
                    <a:lnTo>
                      <a:pt x="4043" y="448"/>
                    </a:lnTo>
                    <a:lnTo>
                      <a:pt x="4043" y="391"/>
                    </a:lnTo>
                    <a:close/>
                    <a:moveTo>
                      <a:pt x="1811" y="367"/>
                    </a:moveTo>
                    <a:lnTo>
                      <a:pt x="1809" y="367"/>
                    </a:lnTo>
                    <a:lnTo>
                      <a:pt x="1809" y="370"/>
                    </a:lnTo>
                    <a:lnTo>
                      <a:pt x="1809" y="1118"/>
                    </a:lnTo>
                    <a:lnTo>
                      <a:pt x="1811" y="1118"/>
                    </a:lnTo>
                    <a:lnTo>
                      <a:pt x="1811" y="367"/>
                    </a:lnTo>
                    <a:close/>
                    <a:moveTo>
                      <a:pt x="1939" y="334"/>
                    </a:moveTo>
                    <a:lnTo>
                      <a:pt x="1936" y="334"/>
                    </a:lnTo>
                    <a:lnTo>
                      <a:pt x="1936" y="337"/>
                    </a:lnTo>
                    <a:lnTo>
                      <a:pt x="1936" y="356"/>
                    </a:lnTo>
                    <a:lnTo>
                      <a:pt x="1939" y="356"/>
                    </a:lnTo>
                    <a:lnTo>
                      <a:pt x="1939" y="334"/>
                    </a:lnTo>
                    <a:close/>
                    <a:moveTo>
                      <a:pt x="4050" y="327"/>
                    </a:moveTo>
                    <a:lnTo>
                      <a:pt x="4048" y="327"/>
                    </a:lnTo>
                    <a:lnTo>
                      <a:pt x="4048" y="330"/>
                    </a:lnTo>
                    <a:lnTo>
                      <a:pt x="4048" y="384"/>
                    </a:lnTo>
                    <a:lnTo>
                      <a:pt x="4050" y="384"/>
                    </a:lnTo>
                    <a:lnTo>
                      <a:pt x="4050" y="382"/>
                    </a:lnTo>
                    <a:lnTo>
                      <a:pt x="4050" y="382"/>
                    </a:lnTo>
                    <a:lnTo>
                      <a:pt x="4050" y="327"/>
                    </a:lnTo>
                    <a:close/>
                    <a:moveTo>
                      <a:pt x="2028" y="294"/>
                    </a:moveTo>
                    <a:lnTo>
                      <a:pt x="2026" y="294"/>
                    </a:lnTo>
                    <a:lnTo>
                      <a:pt x="2026" y="296"/>
                    </a:lnTo>
                    <a:lnTo>
                      <a:pt x="2026" y="320"/>
                    </a:lnTo>
                    <a:lnTo>
                      <a:pt x="2028" y="320"/>
                    </a:lnTo>
                    <a:lnTo>
                      <a:pt x="2028" y="294"/>
                    </a:lnTo>
                    <a:close/>
                    <a:moveTo>
                      <a:pt x="4703" y="233"/>
                    </a:moveTo>
                    <a:lnTo>
                      <a:pt x="4703" y="233"/>
                    </a:lnTo>
                    <a:lnTo>
                      <a:pt x="4703" y="235"/>
                    </a:lnTo>
                    <a:lnTo>
                      <a:pt x="4639" y="467"/>
                    </a:lnTo>
                    <a:lnTo>
                      <a:pt x="4641" y="465"/>
                    </a:lnTo>
                    <a:lnTo>
                      <a:pt x="4703" y="233"/>
                    </a:lnTo>
                    <a:close/>
                    <a:moveTo>
                      <a:pt x="4804" y="173"/>
                    </a:moveTo>
                    <a:lnTo>
                      <a:pt x="4802" y="173"/>
                    </a:lnTo>
                    <a:lnTo>
                      <a:pt x="4802" y="173"/>
                    </a:lnTo>
                    <a:lnTo>
                      <a:pt x="4802" y="173"/>
                    </a:lnTo>
                    <a:lnTo>
                      <a:pt x="4802" y="218"/>
                    </a:lnTo>
                    <a:lnTo>
                      <a:pt x="4804" y="218"/>
                    </a:lnTo>
                    <a:lnTo>
                      <a:pt x="4804" y="173"/>
                    </a:lnTo>
                    <a:close/>
                    <a:moveTo>
                      <a:pt x="4854" y="0"/>
                    </a:moveTo>
                    <a:lnTo>
                      <a:pt x="4852" y="0"/>
                    </a:lnTo>
                    <a:lnTo>
                      <a:pt x="4852" y="3"/>
                    </a:lnTo>
                    <a:lnTo>
                      <a:pt x="4852" y="159"/>
                    </a:lnTo>
                    <a:lnTo>
                      <a:pt x="4854" y="159"/>
                    </a:lnTo>
                    <a:lnTo>
                      <a:pt x="4854" y="0"/>
                    </a:lnTo>
                    <a:close/>
                    <a:moveTo>
                      <a:pt x="4911" y="0"/>
                    </a:moveTo>
                    <a:lnTo>
                      <a:pt x="4908" y="0"/>
                    </a:lnTo>
                    <a:lnTo>
                      <a:pt x="4908" y="3"/>
                    </a:lnTo>
                    <a:lnTo>
                      <a:pt x="4908" y="159"/>
                    </a:lnTo>
                    <a:lnTo>
                      <a:pt x="4911" y="159"/>
                    </a:lnTo>
                    <a:lnTo>
                      <a:pt x="4911"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6" name="Freeform 131"/>
              <p:cNvSpPr>
                <a:spLocks noEditPoints="1"/>
              </p:cNvSpPr>
              <p:nvPr/>
            </p:nvSpPr>
            <p:spPr bwMode="auto">
              <a:xfrm>
                <a:off x="33" y="1674"/>
                <a:ext cx="7027" cy="1679"/>
              </a:xfrm>
              <a:custGeom>
                <a:avLst/>
                <a:gdLst>
                  <a:gd name="T0" fmla="*/ 2 w 7027"/>
                  <a:gd name="T1" fmla="*/ 1520 h 1679"/>
                  <a:gd name="T2" fmla="*/ 5665 w 7027"/>
                  <a:gd name="T3" fmla="*/ 1435 h 1679"/>
                  <a:gd name="T4" fmla="*/ 3710 w 7027"/>
                  <a:gd name="T5" fmla="*/ 1222 h 1679"/>
                  <a:gd name="T6" fmla="*/ 5831 w 7027"/>
                  <a:gd name="T7" fmla="*/ 1208 h 1679"/>
                  <a:gd name="T8" fmla="*/ 5831 w 7027"/>
                  <a:gd name="T9" fmla="*/ 1312 h 1679"/>
                  <a:gd name="T10" fmla="*/ 1664 w 7027"/>
                  <a:gd name="T11" fmla="*/ 1158 h 1679"/>
                  <a:gd name="T12" fmla="*/ 1688 w 7027"/>
                  <a:gd name="T13" fmla="*/ 1132 h 1679"/>
                  <a:gd name="T14" fmla="*/ 5857 w 7027"/>
                  <a:gd name="T15" fmla="*/ 1127 h 1679"/>
                  <a:gd name="T16" fmla="*/ 5857 w 7027"/>
                  <a:gd name="T17" fmla="*/ 1196 h 1679"/>
                  <a:gd name="T18" fmla="*/ 6322 w 7027"/>
                  <a:gd name="T19" fmla="*/ 1130 h 1679"/>
                  <a:gd name="T20" fmla="*/ 1447 w 7027"/>
                  <a:gd name="T21" fmla="*/ 1125 h 1679"/>
                  <a:gd name="T22" fmla="*/ 1447 w 7027"/>
                  <a:gd name="T23" fmla="*/ 1125 h 1679"/>
                  <a:gd name="T24" fmla="*/ 1463 w 7027"/>
                  <a:gd name="T25" fmla="*/ 1113 h 1679"/>
                  <a:gd name="T26" fmla="*/ 2858 w 7027"/>
                  <a:gd name="T27" fmla="*/ 1064 h 1679"/>
                  <a:gd name="T28" fmla="*/ 5930 w 7027"/>
                  <a:gd name="T29" fmla="*/ 1042 h 1679"/>
                  <a:gd name="T30" fmla="*/ 5932 w 7027"/>
                  <a:gd name="T31" fmla="*/ 1042 h 1679"/>
                  <a:gd name="T32" fmla="*/ 2877 w 7027"/>
                  <a:gd name="T33" fmla="*/ 1049 h 1679"/>
                  <a:gd name="T34" fmla="*/ 3769 w 7027"/>
                  <a:gd name="T35" fmla="*/ 1210 h 1679"/>
                  <a:gd name="T36" fmla="*/ 5949 w 7027"/>
                  <a:gd name="T37" fmla="*/ 993 h 1679"/>
                  <a:gd name="T38" fmla="*/ 6339 w 7027"/>
                  <a:gd name="T39" fmla="*/ 936 h 1679"/>
                  <a:gd name="T40" fmla="*/ 6341 w 7027"/>
                  <a:gd name="T41" fmla="*/ 936 h 1679"/>
                  <a:gd name="T42" fmla="*/ 3847 w 7027"/>
                  <a:gd name="T43" fmla="*/ 981 h 1679"/>
                  <a:gd name="T44" fmla="*/ 6384 w 7027"/>
                  <a:gd name="T45" fmla="*/ 898 h 1679"/>
                  <a:gd name="T46" fmla="*/ 6389 w 7027"/>
                  <a:gd name="T47" fmla="*/ 879 h 1679"/>
                  <a:gd name="T48" fmla="*/ 6389 w 7027"/>
                  <a:gd name="T49" fmla="*/ 888 h 1679"/>
                  <a:gd name="T50" fmla="*/ 6396 w 7027"/>
                  <a:gd name="T51" fmla="*/ 853 h 1679"/>
                  <a:gd name="T52" fmla="*/ 6398 w 7027"/>
                  <a:gd name="T53" fmla="*/ 850 h 1679"/>
                  <a:gd name="T54" fmla="*/ 806 w 7027"/>
                  <a:gd name="T55" fmla="*/ 1056 h 1679"/>
                  <a:gd name="T56" fmla="*/ 3100 w 7027"/>
                  <a:gd name="T57" fmla="*/ 765 h 1679"/>
                  <a:gd name="T58" fmla="*/ 1007 w 7027"/>
                  <a:gd name="T59" fmla="*/ 753 h 1679"/>
                  <a:gd name="T60" fmla="*/ 5133 w 7027"/>
                  <a:gd name="T61" fmla="*/ 732 h 1679"/>
                  <a:gd name="T62" fmla="*/ 5133 w 7027"/>
                  <a:gd name="T63" fmla="*/ 732 h 1679"/>
                  <a:gd name="T64" fmla="*/ 3140 w 7027"/>
                  <a:gd name="T65" fmla="*/ 749 h 1679"/>
                  <a:gd name="T66" fmla="*/ 94 w 7027"/>
                  <a:gd name="T67" fmla="*/ 1440 h 1679"/>
                  <a:gd name="T68" fmla="*/ 5251 w 7027"/>
                  <a:gd name="T69" fmla="*/ 611 h 1679"/>
                  <a:gd name="T70" fmla="*/ 3282 w 7027"/>
                  <a:gd name="T71" fmla="*/ 583 h 1679"/>
                  <a:gd name="T72" fmla="*/ 3284 w 7027"/>
                  <a:gd name="T73" fmla="*/ 583 h 1679"/>
                  <a:gd name="T74" fmla="*/ 302 w 7027"/>
                  <a:gd name="T75" fmla="*/ 604 h 1679"/>
                  <a:gd name="T76" fmla="*/ 7025 w 7027"/>
                  <a:gd name="T77" fmla="*/ 1679 h 1679"/>
                  <a:gd name="T78" fmla="*/ 4192 w 7027"/>
                  <a:gd name="T79" fmla="*/ 505 h 1679"/>
                  <a:gd name="T80" fmla="*/ 3301 w 7027"/>
                  <a:gd name="T81" fmla="*/ 500 h 1679"/>
                  <a:gd name="T82" fmla="*/ 3301 w 7027"/>
                  <a:gd name="T83" fmla="*/ 500 h 1679"/>
                  <a:gd name="T84" fmla="*/ 4036 w 7027"/>
                  <a:gd name="T85" fmla="*/ 491 h 1679"/>
                  <a:gd name="T86" fmla="*/ 4038 w 7027"/>
                  <a:gd name="T87" fmla="*/ 488 h 1679"/>
                  <a:gd name="T88" fmla="*/ 3327 w 7027"/>
                  <a:gd name="T89" fmla="*/ 488 h 1679"/>
                  <a:gd name="T90" fmla="*/ 4041 w 7027"/>
                  <a:gd name="T91" fmla="*/ 391 h 1679"/>
                  <a:gd name="T92" fmla="*/ 4043 w 7027"/>
                  <a:gd name="T93" fmla="*/ 448 h 1679"/>
                  <a:gd name="T94" fmla="*/ 1809 w 7027"/>
                  <a:gd name="T95" fmla="*/ 1118 h 1679"/>
                  <a:gd name="T96" fmla="*/ 1936 w 7027"/>
                  <a:gd name="T97" fmla="*/ 337 h 1679"/>
                  <a:gd name="T98" fmla="*/ 4048 w 7027"/>
                  <a:gd name="T99" fmla="*/ 327 h 1679"/>
                  <a:gd name="T100" fmla="*/ 4050 w 7027"/>
                  <a:gd name="T101" fmla="*/ 382 h 1679"/>
                  <a:gd name="T102" fmla="*/ 2026 w 7027"/>
                  <a:gd name="T103" fmla="*/ 320 h 1679"/>
                  <a:gd name="T104" fmla="*/ 4703 w 7027"/>
                  <a:gd name="T105" fmla="*/ 235 h 1679"/>
                  <a:gd name="T106" fmla="*/ 4802 w 7027"/>
                  <a:gd name="T107" fmla="*/ 173 h 1679"/>
                  <a:gd name="T108" fmla="*/ 4804 w 7027"/>
                  <a:gd name="T109" fmla="*/ 173 h 1679"/>
                  <a:gd name="T110" fmla="*/ 4854 w 7027"/>
                  <a:gd name="T111" fmla="*/ 159 h 1679"/>
                  <a:gd name="T112" fmla="*/ 4908 w 7027"/>
                  <a:gd name="T113" fmla="*/ 159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7" h="1679">
                    <a:moveTo>
                      <a:pt x="2" y="1452"/>
                    </a:moveTo>
                    <a:lnTo>
                      <a:pt x="0" y="1452"/>
                    </a:lnTo>
                    <a:lnTo>
                      <a:pt x="0" y="1454"/>
                    </a:lnTo>
                    <a:lnTo>
                      <a:pt x="0" y="1520"/>
                    </a:lnTo>
                    <a:lnTo>
                      <a:pt x="2" y="1520"/>
                    </a:lnTo>
                    <a:lnTo>
                      <a:pt x="2" y="1452"/>
                    </a:lnTo>
                    <a:moveTo>
                      <a:pt x="5667" y="1326"/>
                    </a:moveTo>
                    <a:lnTo>
                      <a:pt x="5665" y="1326"/>
                    </a:lnTo>
                    <a:lnTo>
                      <a:pt x="5665" y="1329"/>
                    </a:lnTo>
                    <a:lnTo>
                      <a:pt x="5665" y="1435"/>
                    </a:lnTo>
                    <a:lnTo>
                      <a:pt x="5667" y="1435"/>
                    </a:lnTo>
                    <a:lnTo>
                      <a:pt x="5667" y="1326"/>
                    </a:lnTo>
                    <a:moveTo>
                      <a:pt x="3712" y="1222"/>
                    </a:moveTo>
                    <a:lnTo>
                      <a:pt x="3710" y="1222"/>
                    </a:lnTo>
                    <a:lnTo>
                      <a:pt x="3710" y="1222"/>
                    </a:lnTo>
                    <a:lnTo>
                      <a:pt x="3710" y="1225"/>
                    </a:lnTo>
                    <a:lnTo>
                      <a:pt x="3710" y="1378"/>
                    </a:lnTo>
                    <a:lnTo>
                      <a:pt x="3712" y="1378"/>
                    </a:lnTo>
                    <a:lnTo>
                      <a:pt x="3712" y="1222"/>
                    </a:lnTo>
                    <a:moveTo>
                      <a:pt x="5831" y="1208"/>
                    </a:moveTo>
                    <a:lnTo>
                      <a:pt x="5831" y="1208"/>
                    </a:lnTo>
                    <a:lnTo>
                      <a:pt x="5831" y="1208"/>
                    </a:lnTo>
                    <a:lnTo>
                      <a:pt x="5831" y="1210"/>
                    </a:lnTo>
                    <a:lnTo>
                      <a:pt x="5831" y="1312"/>
                    </a:lnTo>
                    <a:lnTo>
                      <a:pt x="5831" y="1312"/>
                    </a:lnTo>
                    <a:lnTo>
                      <a:pt x="5831" y="1208"/>
                    </a:lnTo>
                    <a:moveTo>
                      <a:pt x="1667" y="1156"/>
                    </a:moveTo>
                    <a:lnTo>
                      <a:pt x="1664" y="1156"/>
                    </a:lnTo>
                    <a:lnTo>
                      <a:pt x="1664" y="1156"/>
                    </a:lnTo>
                    <a:lnTo>
                      <a:pt x="1664" y="1158"/>
                    </a:lnTo>
                    <a:lnTo>
                      <a:pt x="1664" y="1187"/>
                    </a:lnTo>
                    <a:lnTo>
                      <a:pt x="1667" y="1187"/>
                    </a:lnTo>
                    <a:lnTo>
                      <a:pt x="1667" y="1156"/>
                    </a:lnTo>
                    <a:moveTo>
                      <a:pt x="1690" y="1132"/>
                    </a:moveTo>
                    <a:lnTo>
                      <a:pt x="1688" y="1132"/>
                    </a:lnTo>
                    <a:lnTo>
                      <a:pt x="1688" y="1135"/>
                    </a:lnTo>
                    <a:lnTo>
                      <a:pt x="1688" y="1144"/>
                    </a:lnTo>
                    <a:lnTo>
                      <a:pt x="1690" y="1144"/>
                    </a:lnTo>
                    <a:lnTo>
                      <a:pt x="1690" y="1132"/>
                    </a:lnTo>
                    <a:moveTo>
                      <a:pt x="5857" y="1127"/>
                    </a:moveTo>
                    <a:lnTo>
                      <a:pt x="5854" y="1127"/>
                    </a:lnTo>
                    <a:lnTo>
                      <a:pt x="5854" y="1127"/>
                    </a:lnTo>
                    <a:lnTo>
                      <a:pt x="5854" y="1130"/>
                    </a:lnTo>
                    <a:lnTo>
                      <a:pt x="5854" y="1196"/>
                    </a:lnTo>
                    <a:lnTo>
                      <a:pt x="5857" y="1196"/>
                    </a:lnTo>
                    <a:lnTo>
                      <a:pt x="5857" y="1127"/>
                    </a:lnTo>
                    <a:moveTo>
                      <a:pt x="6322" y="1127"/>
                    </a:moveTo>
                    <a:lnTo>
                      <a:pt x="6322" y="1127"/>
                    </a:lnTo>
                    <a:lnTo>
                      <a:pt x="6322" y="1127"/>
                    </a:lnTo>
                    <a:lnTo>
                      <a:pt x="6322" y="1130"/>
                    </a:lnTo>
                    <a:lnTo>
                      <a:pt x="6322" y="1350"/>
                    </a:lnTo>
                    <a:lnTo>
                      <a:pt x="6322" y="1350"/>
                    </a:lnTo>
                    <a:lnTo>
                      <a:pt x="6322" y="1127"/>
                    </a:lnTo>
                    <a:moveTo>
                      <a:pt x="1447" y="1125"/>
                    </a:moveTo>
                    <a:lnTo>
                      <a:pt x="1447" y="1125"/>
                    </a:lnTo>
                    <a:lnTo>
                      <a:pt x="1444" y="1125"/>
                    </a:lnTo>
                    <a:lnTo>
                      <a:pt x="1444" y="1127"/>
                    </a:lnTo>
                    <a:lnTo>
                      <a:pt x="1444" y="1187"/>
                    </a:lnTo>
                    <a:lnTo>
                      <a:pt x="1447" y="1187"/>
                    </a:lnTo>
                    <a:lnTo>
                      <a:pt x="1447" y="1125"/>
                    </a:lnTo>
                    <a:moveTo>
                      <a:pt x="1463" y="1085"/>
                    </a:moveTo>
                    <a:lnTo>
                      <a:pt x="1463" y="1085"/>
                    </a:lnTo>
                    <a:lnTo>
                      <a:pt x="1463" y="1085"/>
                    </a:lnTo>
                    <a:lnTo>
                      <a:pt x="1463" y="1113"/>
                    </a:lnTo>
                    <a:lnTo>
                      <a:pt x="1463" y="1113"/>
                    </a:lnTo>
                    <a:lnTo>
                      <a:pt x="1463" y="1085"/>
                    </a:lnTo>
                    <a:moveTo>
                      <a:pt x="2861" y="1064"/>
                    </a:moveTo>
                    <a:lnTo>
                      <a:pt x="2858" y="1064"/>
                    </a:lnTo>
                    <a:lnTo>
                      <a:pt x="2858" y="1064"/>
                    </a:lnTo>
                    <a:lnTo>
                      <a:pt x="2858" y="1064"/>
                    </a:lnTo>
                    <a:lnTo>
                      <a:pt x="2858" y="1227"/>
                    </a:lnTo>
                    <a:lnTo>
                      <a:pt x="2861" y="1227"/>
                    </a:lnTo>
                    <a:lnTo>
                      <a:pt x="2861" y="1064"/>
                    </a:lnTo>
                    <a:moveTo>
                      <a:pt x="5932" y="1042"/>
                    </a:moveTo>
                    <a:lnTo>
                      <a:pt x="5930" y="1042"/>
                    </a:lnTo>
                    <a:lnTo>
                      <a:pt x="5930" y="1042"/>
                    </a:lnTo>
                    <a:lnTo>
                      <a:pt x="5930" y="1042"/>
                    </a:lnTo>
                    <a:lnTo>
                      <a:pt x="5930" y="1116"/>
                    </a:lnTo>
                    <a:lnTo>
                      <a:pt x="5932" y="1116"/>
                    </a:lnTo>
                    <a:lnTo>
                      <a:pt x="5932" y="1042"/>
                    </a:lnTo>
                    <a:moveTo>
                      <a:pt x="2877" y="1011"/>
                    </a:moveTo>
                    <a:lnTo>
                      <a:pt x="2875" y="1011"/>
                    </a:lnTo>
                    <a:lnTo>
                      <a:pt x="2875" y="1014"/>
                    </a:lnTo>
                    <a:lnTo>
                      <a:pt x="2875" y="1049"/>
                    </a:lnTo>
                    <a:lnTo>
                      <a:pt x="2877" y="1049"/>
                    </a:lnTo>
                    <a:lnTo>
                      <a:pt x="2877" y="1011"/>
                    </a:lnTo>
                    <a:moveTo>
                      <a:pt x="3771" y="993"/>
                    </a:moveTo>
                    <a:lnTo>
                      <a:pt x="3769" y="993"/>
                    </a:lnTo>
                    <a:lnTo>
                      <a:pt x="3769" y="995"/>
                    </a:lnTo>
                    <a:lnTo>
                      <a:pt x="3769" y="1210"/>
                    </a:lnTo>
                    <a:lnTo>
                      <a:pt x="3771" y="1210"/>
                    </a:lnTo>
                    <a:lnTo>
                      <a:pt x="3771" y="993"/>
                    </a:lnTo>
                    <a:moveTo>
                      <a:pt x="5949" y="990"/>
                    </a:moveTo>
                    <a:lnTo>
                      <a:pt x="5949" y="990"/>
                    </a:lnTo>
                    <a:lnTo>
                      <a:pt x="5949" y="993"/>
                    </a:lnTo>
                    <a:lnTo>
                      <a:pt x="5949" y="1028"/>
                    </a:lnTo>
                    <a:lnTo>
                      <a:pt x="5949" y="1028"/>
                    </a:lnTo>
                    <a:lnTo>
                      <a:pt x="5949" y="990"/>
                    </a:lnTo>
                    <a:moveTo>
                      <a:pt x="6341" y="936"/>
                    </a:moveTo>
                    <a:lnTo>
                      <a:pt x="6339" y="936"/>
                    </a:lnTo>
                    <a:lnTo>
                      <a:pt x="6339" y="936"/>
                    </a:lnTo>
                    <a:lnTo>
                      <a:pt x="6339" y="938"/>
                    </a:lnTo>
                    <a:lnTo>
                      <a:pt x="6339" y="1116"/>
                    </a:lnTo>
                    <a:lnTo>
                      <a:pt x="6341" y="1116"/>
                    </a:lnTo>
                    <a:lnTo>
                      <a:pt x="6341" y="936"/>
                    </a:lnTo>
                    <a:moveTo>
                      <a:pt x="3847" y="929"/>
                    </a:moveTo>
                    <a:lnTo>
                      <a:pt x="3844" y="929"/>
                    </a:lnTo>
                    <a:lnTo>
                      <a:pt x="3844" y="931"/>
                    </a:lnTo>
                    <a:lnTo>
                      <a:pt x="3844" y="981"/>
                    </a:lnTo>
                    <a:lnTo>
                      <a:pt x="3847" y="981"/>
                    </a:lnTo>
                    <a:lnTo>
                      <a:pt x="3847" y="929"/>
                    </a:lnTo>
                    <a:moveTo>
                      <a:pt x="6386" y="895"/>
                    </a:moveTo>
                    <a:lnTo>
                      <a:pt x="6384" y="895"/>
                    </a:lnTo>
                    <a:lnTo>
                      <a:pt x="6384" y="895"/>
                    </a:lnTo>
                    <a:lnTo>
                      <a:pt x="6384" y="898"/>
                    </a:lnTo>
                    <a:lnTo>
                      <a:pt x="6377" y="921"/>
                    </a:lnTo>
                    <a:lnTo>
                      <a:pt x="6379" y="921"/>
                    </a:lnTo>
                    <a:lnTo>
                      <a:pt x="6386" y="895"/>
                    </a:lnTo>
                    <a:moveTo>
                      <a:pt x="6391" y="879"/>
                    </a:moveTo>
                    <a:lnTo>
                      <a:pt x="6389" y="879"/>
                    </a:lnTo>
                    <a:lnTo>
                      <a:pt x="6389" y="879"/>
                    </a:lnTo>
                    <a:lnTo>
                      <a:pt x="6389" y="881"/>
                    </a:lnTo>
                    <a:lnTo>
                      <a:pt x="6389" y="891"/>
                    </a:lnTo>
                    <a:lnTo>
                      <a:pt x="6389" y="891"/>
                    </a:lnTo>
                    <a:lnTo>
                      <a:pt x="6389" y="888"/>
                    </a:lnTo>
                    <a:lnTo>
                      <a:pt x="6391" y="888"/>
                    </a:lnTo>
                    <a:lnTo>
                      <a:pt x="6391" y="879"/>
                    </a:lnTo>
                    <a:moveTo>
                      <a:pt x="6398" y="850"/>
                    </a:moveTo>
                    <a:lnTo>
                      <a:pt x="6396" y="850"/>
                    </a:lnTo>
                    <a:lnTo>
                      <a:pt x="6396" y="853"/>
                    </a:lnTo>
                    <a:lnTo>
                      <a:pt x="6396" y="872"/>
                    </a:lnTo>
                    <a:lnTo>
                      <a:pt x="6398" y="872"/>
                    </a:lnTo>
                    <a:lnTo>
                      <a:pt x="6398" y="869"/>
                    </a:lnTo>
                    <a:lnTo>
                      <a:pt x="6398" y="869"/>
                    </a:lnTo>
                    <a:lnTo>
                      <a:pt x="6398" y="850"/>
                    </a:lnTo>
                    <a:moveTo>
                      <a:pt x="806" y="827"/>
                    </a:moveTo>
                    <a:lnTo>
                      <a:pt x="804" y="827"/>
                    </a:lnTo>
                    <a:lnTo>
                      <a:pt x="804" y="829"/>
                    </a:lnTo>
                    <a:lnTo>
                      <a:pt x="804" y="1056"/>
                    </a:lnTo>
                    <a:lnTo>
                      <a:pt x="806" y="1056"/>
                    </a:lnTo>
                    <a:lnTo>
                      <a:pt x="806" y="827"/>
                    </a:lnTo>
                    <a:moveTo>
                      <a:pt x="3100" y="763"/>
                    </a:moveTo>
                    <a:lnTo>
                      <a:pt x="3100" y="763"/>
                    </a:lnTo>
                    <a:lnTo>
                      <a:pt x="3100" y="763"/>
                    </a:lnTo>
                    <a:lnTo>
                      <a:pt x="3100" y="765"/>
                    </a:lnTo>
                    <a:lnTo>
                      <a:pt x="3100" y="966"/>
                    </a:lnTo>
                    <a:lnTo>
                      <a:pt x="3100" y="966"/>
                    </a:lnTo>
                    <a:lnTo>
                      <a:pt x="3100" y="763"/>
                    </a:lnTo>
                    <a:moveTo>
                      <a:pt x="1009" y="753"/>
                    </a:moveTo>
                    <a:lnTo>
                      <a:pt x="1007" y="753"/>
                    </a:lnTo>
                    <a:lnTo>
                      <a:pt x="1007" y="756"/>
                    </a:lnTo>
                    <a:lnTo>
                      <a:pt x="1007" y="815"/>
                    </a:lnTo>
                    <a:lnTo>
                      <a:pt x="1009" y="815"/>
                    </a:lnTo>
                    <a:lnTo>
                      <a:pt x="1009" y="753"/>
                    </a:lnTo>
                    <a:moveTo>
                      <a:pt x="5133" y="732"/>
                    </a:moveTo>
                    <a:lnTo>
                      <a:pt x="5131" y="732"/>
                    </a:lnTo>
                    <a:lnTo>
                      <a:pt x="5131" y="734"/>
                    </a:lnTo>
                    <a:lnTo>
                      <a:pt x="5131" y="959"/>
                    </a:lnTo>
                    <a:lnTo>
                      <a:pt x="5133" y="959"/>
                    </a:lnTo>
                    <a:lnTo>
                      <a:pt x="5133" y="732"/>
                    </a:lnTo>
                    <a:moveTo>
                      <a:pt x="3140" y="656"/>
                    </a:moveTo>
                    <a:lnTo>
                      <a:pt x="3137" y="656"/>
                    </a:lnTo>
                    <a:lnTo>
                      <a:pt x="3137" y="659"/>
                    </a:lnTo>
                    <a:lnTo>
                      <a:pt x="3137" y="749"/>
                    </a:lnTo>
                    <a:lnTo>
                      <a:pt x="3140" y="749"/>
                    </a:lnTo>
                    <a:lnTo>
                      <a:pt x="3140" y="656"/>
                    </a:lnTo>
                    <a:moveTo>
                      <a:pt x="97" y="616"/>
                    </a:moveTo>
                    <a:lnTo>
                      <a:pt x="94" y="616"/>
                    </a:lnTo>
                    <a:lnTo>
                      <a:pt x="94" y="618"/>
                    </a:lnTo>
                    <a:lnTo>
                      <a:pt x="94" y="1440"/>
                    </a:lnTo>
                    <a:lnTo>
                      <a:pt x="97" y="1440"/>
                    </a:lnTo>
                    <a:lnTo>
                      <a:pt x="97" y="616"/>
                    </a:lnTo>
                    <a:moveTo>
                      <a:pt x="5254" y="609"/>
                    </a:moveTo>
                    <a:lnTo>
                      <a:pt x="5251" y="609"/>
                    </a:lnTo>
                    <a:lnTo>
                      <a:pt x="5251" y="611"/>
                    </a:lnTo>
                    <a:lnTo>
                      <a:pt x="5251" y="718"/>
                    </a:lnTo>
                    <a:lnTo>
                      <a:pt x="5254" y="718"/>
                    </a:lnTo>
                    <a:lnTo>
                      <a:pt x="5254" y="609"/>
                    </a:lnTo>
                    <a:moveTo>
                      <a:pt x="3284" y="583"/>
                    </a:moveTo>
                    <a:lnTo>
                      <a:pt x="3282" y="583"/>
                    </a:lnTo>
                    <a:lnTo>
                      <a:pt x="3282" y="583"/>
                    </a:lnTo>
                    <a:lnTo>
                      <a:pt x="3282" y="583"/>
                    </a:lnTo>
                    <a:lnTo>
                      <a:pt x="3282" y="644"/>
                    </a:lnTo>
                    <a:lnTo>
                      <a:pt x="3284" y="644"/>
                    </a:lnTo>
                    <a:lnTo>
                      <a:pt x="3284" y="583"/>
                    </a:lnTo>
                    <a:moveTo>
                      <a:pt x="302" y="547"/>
                    </a:moveTo>
                    <a:lnTo>
                      <a:pt x="300" y="547"/>
                    </a:lnTo>
                    <a:lnTo>
                      <a:pt x="300" y="550"/>
                    </a:lnTo>
                    <a:lnTo>
                      <a:pt x="300" y="604"/>
                    </a:lnTo>
                    <a:lnTo>
                      <a:pt x="302" y="604"/>
                    </a:lnTo>
                    <a:lnTo>
                      <a:pt x="302" y="547"/>
                    </a:lnTo>
                    <a:moveTo>
                      <a:pt x="7027" y="510"/>
                    </a:moveTo>
                    <a:lnTo>
                      <a:pt x="7025" y="510"/>
                    </a:lnTo>
                    <a:lnTo>
                      <a:pt x="7025" y="510"/>
                    </a:lnTo>
                    <a:lnTo>
                      <a:pt x="7025" y="1679"/>
                    </a:lnTo>
                    <a:lnTo>
                      <a:pt x="7027" y="1679"/>
                    </a:lnTo>
                    <a:lnTo>
                      <a:pt x="7027" y="510"/>
                    </a:lnTo>
                    <a:moveTo>
                      <a:pt x="4194" y="502"/>
                    </a:moveTo>
                    <a:lnTo>
                      <a:pt x="4194" y="502"/>
                    </a:lnTo>
                    <a:lnTo>
                      <a:pt x="4192" y="505"/>
                    </a:lnTo>
                    <a:lnTo>
                      <a:pt x="4133" y="588"/>
                    </a:lnTo>
                    <a:lnTo>
                      <a:pt x="4133" y="588"/>
                    </a:lnTo>
                    <a:lnTo>
                      <a:pt x="4194" y="502"/>
                    </a:lnTo>
                    <a:moveTo>
                      <a:pt x="3301" y="500"/>
                    </a:moveTo>
                    <a:lnTo>
                      <a:pt x="3301" y="500"/>
                    </a:lnTo>
                    <a:lnTo>
                      <a:pt x="3298" y="500"/>
                    </a:lnTo>
                    <a:lnTo>
                      <a:pt x="3298" y="502"/>
                    </a:lnTo>
                    <a:lnTo>
                      <a:pt x="3298" y="569"/>
                    </a:lnTo>
                    <a:lnTo>
                      <a:pt x="3301" y="569"/>
                    </a:lnTo>
                    <a:lnTo>
                      <a:pt x="3301" y="500"/>
                    </a:lnTo>
                    <a:moveTo>
                      <a:pt x="4038" y="455"/>
                    </a:moveTo>
                    <a:lnTo>
                      <a:pt x="4036" y="455"/>
                    </a:lnTo>
                    <a:lnTo>
                      <a:pt x="4036" y="455"/>
                    </a:lnTo>
                    <a:lnTo>
                      <a:pt x="4036" y="455"/>
                    </a:lnTo>
                    <a:lnTo>
                      <a:pt x="4036" y="491"/>
                    </a:lnTo>
                    <a:lnTo>
                      <a:pt x="3953" y="644"/>
                    </a:lnTo>
                    <a:lnTo>
                      <a:pt x="3953" y="914"/>
                    </a:lnTo>
                    <a:lnTo>
                      <a:pt x="3955" y="914"/>
                    </a:lnTo>
                    <a:lnTo>
                      <a:pt x="3955" y="642"/>
                    </a:lnTo>
                    <a:lnTo>
                      <a:pt x="4038" y="488"/>
                    </a:lnTo>
                    <a:lnTo>
                      <a:pt x="4038" y="455"/>
                    </a:lnTo>
                    <a:moveTo>
                      <a:pt x="3329" y="434"/>
                    </a:moveTo>
                    <a:lnTo>
                      <a:pt x="3327" y="434"/>
                    </a:lnTo>
                    <a:lnTo>
                      <a:pt x="3327" y="436"/>
                    </a:lnTo>
                    <a:lnTo>
                      <a:pt x="3327" y="488"/>
                    </a:lnTo>
                    <a:lnTo>
                      <a:pt x="3329" y="488"/>
                    </a:lnTo>
                    <a:lnTo>
                      <a:pt x="3329" y="434"/>
                    </a:lnTo>
                    <a:moveTo>
                      <a:pt x="4043" y="391"/>
                    </a:moveTo>
                    <a:lnTo>
                      <a:pt x="4041" y="391"/>
                    </a:lnTo>
                    <a:lnTo>
                      <a:pt x="4041" y="391"/>
                    </a:lnTo>
                    <a:lnTo>
                      <a:pt x="4041" y="394"/>
                    </a:lnTo>
                    <a:lnTo>
                      <a:pt x="4041" y="448"/>
                    </a:lnTo>
                    <a:lnTo>
                      <a:pt x="4043" y="448"/>
                    </a:lnTo>
                    <a:lnTo>
                      <a:pt x="4043" y="448"/>
                    </a:lnTo>
                    <a:lnTo>
                      <a:pt x="4043" y="448"/>
                    </a:lnTo>
                    <a:lnTo>
                      <a:pt x="4043" y="391"/>
                    </a:lnTo>
                    <a:moveTo>
                      <a:pt x="1811" y="367"/>
                    </a:moveTo>
                    <a:lnTo>
                      <a:pt x="1809" y="367"/>
                    </a:lnTo>
                    <a:lnTo>
                      <a:pt x="1809" y="370"/>
                    </a:lnTo>
                    <a:lnTo>
                      <a:pt x="1809" y="1118"/>
                    </a:lnTo>
                    <a:lnTo>
                      <a:pt x="1811" y="1118"/>
                    </a:lnTo>
                    <a:lnTo>
                      <a:pt x="1811" y="367"/>
                    </a:lnTo>
                    <a:moveTo>
                      <a:pt x="1939" y="334"/>
                    </a:moveTo>
                    <a:lnTo>
                      <a:pt x="1936" y="334"/>
                    </a:lnTo>
                    <a:lnTo>
                      <a:pt x="1936" y="337"/>
                    </a:lnTo>
                    <a:lnTo>
                      <a:pt x="1936" y="356"/>
                    </a:lnTo>
                    <a:lnTo>
                      <a:pt x="1939" y="356"/>
                    </a:lnTo>
                    <a:lnTo>
                      <a:pt x="1939" y="334"/>
                    </a:lnTo>
                    <a:moveTo>
                      <a:pt x="4050" y="327"/>
                    </a:moveTo>
                    <a:lnTo>
                      <a:pt x="4048" y="327"/>
                    </a:lnTo>
                    <a:lnTo>
                      <a:pt x="4048" y="330"/>
                    </a:lnTo>
                    <a:lnTo>
                      <a:pt x="4048" y="384"/>
                    </a:lnTo>
                    <a:lnTo>
                      <a:pt x="4050" y="384"/>
                    </a:lnTo>
                    <a:lnTo>
                      <a:pt x="4050" y="382"/>
                    </a:lnTo>
                    <a:lnTo>
                      <a:pt x="4050" y="382"/>
                    </a:lnTo>
                    <a:lnTo>
                      <a:pt x="4050" y="327"/>
                    </a:lnTo>
                    <a:moveTo>
                      <a:pt x="2028" y="294"/>
                    </a:moveTo>
                    <a:lnTo>
                      <a:pt x="2026" y="294"/>
                    </a:lnTo>
                    <a:lnTo>
                      <a:pt x="2026" y="296"/>
                    </a:lnTo>
                    <a:lnTo>
                      <a:pt x="2026" y="320"/>
                    </a:lnTo>
                    <a:lnTo>
                      <a:pt x="2028" y="320"/>
                    </a:lnTo>
                    <a:lnTo>
                      <a:pt x="2028" y="294"/>
                    </a:lnTo>
                    <a:moveTo>
                      <a:pt x="4703" y="233"/>
                    </a:moveTo>
                    <a:lnTo>
                      <a:pt x="4703" y="233"/>
                    </a:lnTo>
                    <a:lnTo>
                      <a:pt x="4703" y="235"/>
                    </a:lnTo>
                    <a:lnTo>
                      <a:pt x="4639" y="467"/>
                    </a:lnTo>
                    <a:lnTo>
                      <a:pt x="4641" y="465"/>
                    </a:lnTo>
                    <a:lnTo>
                      <a:pt x="4703" y="233"/>
                    </a:lnTo>
                    <a:moveTo>
                      <a:pt x="4804" y="173"/>
                    </a:moveTo>
                    <a:lnTo>
                      <a:pt x="4802" y="173"/>
                    </a:lnTo>
                    <a:lnTo>
                      <a:pt x="4802" y="173"/>
                    </a:lnTo>
                    <a:lnTo>
                      <a:pt x="4802" y="173"/>
                    </a:lnTo>
                    <a:lnTo>
                      <a:pt x="4802" y="218"/>
                    </a:lnTo>
                    <a:lnTo>
                      <a:pt x="4804" y="218"/>
                    </a:lnTo>
                    <a:lnTo>
                      <a:pt x="4804" y="173"/>
                    </a:lnTo>
                    <a:moveTo>
                      <a:pt x="4854" y="0"/>
                    </a:moveTo>
                    <a:lnTo>
                      <a:pt x="4852" y="0"/>
                    </a:lnTo>
                    <a:lnTo>
                      <a:pt x="4852" y="3"/>
                    </a:lnTo>
                    <a:lnTo>
                      <a:pt x="4852" y="159"/>
                    </a:lnTo>
                    <a:lnTo>
                      <a:pt x="4854" y="159"/>
                    </a:lnTo>
                    <a:lnTo>
                      <a:pt x="4854" y="0"/>
                    </a:lnTo>
                    <a:moveTo>
                      <a:pt x="4911" y="0"/>
                    </a:moveTo>
                    <a:lnTo>
                      <a:pt x="4908" y="0"/>
                    </a:lnTo>
                    <a:lnTo>
                      <a:pt x="4908" y="3"/>
                    </a:lnTo>
                    <a:lnTo>
                      <a:pt x="4908" y="159"/>
                    </a:lnTo>
                    <a:lnTo>
                      <a:pt x="4911" y="159"/>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7" name="Freeform 132"/>
              <p:cNvSpPr>
                <a:spLocks noEditPoints="1"/>
              </p:cNvSpPr>
              <p:nvPr/>
            </p:nvSpPr>
            <p:spPr bwMode="auto">
              <a:xfrm>
                <a:off x="35" y="1672"/>
                <a:ext cx="7025" cy="1681"/>
              </a:xfrm>
              <a:custGeom>
                <a:avLst/>
                <a:gdLst>
                  <a:gd name="T0" fmla="*/ 2 w 7025"/>
                  <a:gd name="T1" fmla="*/ 1522 h 1681"/>
                  <a:gd name="T2" fmla="*/ 5665 w 7025"/>
                  <a:gd name="T3" fmla="*/ 1437 h 1681"/>
                  <a:gd name="T4" fmla="*/ 3710 w 7025"/>
                  <a:gd name="T5" fmla="*/ 1222 h 1681"/>
                  <a:gd name="T6" fmla="*/ 5831 w 7025"/>
                  <a:gd name="T7" fmla="*/ 1210 h 1681"/>
                  <a:gd name="T8" fmla="*/ 5831 w 7025"/>
                  <a:gd name="T9" fmla="*/ 1314 h 1681"/>
                  <a:gd name="T10" fmla="*/ 1665 w 7025"/>
                  <a:gd name="T11" fmla="*/ 1158 h 1681"/>
                  <a:gd name="T12" fmla="*/ 1688 w 7025"/>
                  <a:gd name="T13" fmla="*/ 1132 h 1681"/>
                  <a:gd name="T14" fmla="*/ 5857 w 7025"/>
                  <a:gd name="T15" fmla="*/ 1127 h 1681"/>
                  <a:gd name="T16" fmla="*/ 5857 w 7025"/>
                  <a:gd name="T17" fmla="*/ 1198 h 1681"/>
                  <a:gd name="T18" fmla="*/ 6320 w 7025"/>
                  <a:gd name="T19" fmla="*/ 1129 h 1681"/>
                  <a:gd name="T20" fmla="*/ 1445 w 7025"/>
                  <a:gd name="T21" fmla="*/ 1125 h 1681"/>
                  <a:gd name="T22" fmla="*/ 1447 w 7025"/>
                  <a:gd name="T23" fmla="*/ 1125 h 1681"/>
                  <a:gd name="T24" fmla="*/ 1464 w 7025"/>
                  <a:gd name="T25" fmla="*/ 1115 h 1681"/>
                  <a:gd name="T26" fmla="*/ 2859 w 7025"/>
                  <a:gd name="T27" fmla="*/ 1066 h 1681"/>
                  <a:gd name="T28" fmla="*/ 5930 w 7025"/>
                  <a:gd name="T29" fmla="*/ 1042 h 1681"/>
                  <a:gd name="T30" fmla="*/ 5930 w 7025"/>
                  <a:gd name="T31" fmla="*/ 1042 h 1681"/>
                  <a:gd name="T32" fmla="*/ 2878 w 7025"/>
                  <a:gd name="T33" fmla="*/ 1051 h 1681"/>
                  <a:gd name="T34" fmla="*/ 3769 w 7025"/>
                  <a:gd name="T35" fmla="*/ 1212 h 1681"/>
                  <a:gd name="T36" fmla="*/ 5947 w 7025"/>
                  <a:gd name="T37" fmla="*/ 992 h 1681"/>
                  <a:gd name="T38" fmla="*/ 6339 w 7025"/>
                  <a:gd name="T39" fmla="*/ 935 h 1681"/>
                  <a:gd name="T40" fmla="*/ 6339 w 7025"/>
                  <a:gd name="T41" fmla="*/ 935 h 1681"/>
                  <a:gd name="T42" fmla="*/ 3845 w 7025"/>
                  <a:gd name="T43" fmla="*/ 983 h 1681"/>
                  <a:gd name="T44" fmla="*/ 6384 w 7025"/>
                  <a:gd name="T45" fmla="*/ 897 h 1681"/>
                  <a:gd name="T46" fmla="*/ 6389 w 7025"/>
                  <a:gd name="T47" fmla="*/ 879 h 1681"/>
                  <a:gd name="T48" fmla="*/ 6389 w 7025"/>
                  <a:gd name="T49" fmla="*/ 890 h 1681"/>
                  <a:gd name="T50" fmla="*/ 6396 w 7025"/>
                  <a:gd name="T51" fmla="*/ 852 h 1681"/>
                  <a:gd name="T52" fmla="*/ 6398 w 7025"/>
                  <a:gd name="T53" fmla="*/ 850 h 1681"/>
                  <a:gd name="T54" fmla="*/ 806 w 7025"/>
                  <a:gd name="T55" fmla="*/ 1058 h 1681"/>
                  <a:gd name="T56" fmla="*/ 3098 w 7025"/>
                  <a:gd name="T57" fmla="*/ 765 h 1681"/>
                  <a:gd name="T58" fmla="*/ 1007 w 7025"/>
                  <a:gd name="T59" fmla="*/ 753 h 1681"/>
                  <a:gd name="T60" fmla="*/ 5133 w 7025"/>
                  <a:gd name="T61" fmla="*/ 732 h 1681"/>
                  <a:gd name="T62" fmla="*/ 5133 w 7025"/>
                  <a:gd name="T63" fmla="*/ 732 h 1681"/>
                  <a:gd name="T64" fmla="*/ 3138 w 7025"/>
                  <a:gd name="T65" fmla="*/ 751 h 1681"/>
                  <a:gd name="T66" fmla="*/ 95 w 7025"/>
                  <a:gd name="T67" fmla="*/ 1442 h 1681"/>
                  <a:gd name="T68" fmla="*/ 5252 w 7025"/>
                  <a:gd name="T69" fmla="*/ 611 h 1681"/>
                  <a:gd name="T70" fmla="*/ 3282 w 7025"/>
                  <a:gd name="T71" fmla="*/ 583 h 1681"/>
                  <a:gd name="T72" fmla="*/ 3282 w 7025"/>
                  <a:gd name="T73" fmla="*/ 583 h 1681"/>
                  <a:gd name="T74" fmla="*/ 303 w 7025"/>
                  <a:gd name="T75" fmla="*/ 606 h 1681"/>
                  <a:gd name="T76" fmla="*/ 7025 w 7025"/>
                  <a:gd name="T77" fmla="*/ 1681 h 1681"/>
                  <a:gd name="T78" fmla="*/ 4192 w 7025"/>
                  <a:gd name="T79" fmla="*/ 504 h 1681"/>
                  <a:gd name="T80" fmla="*/ 3299 w 7025"/>
                  <a:gd name="T81" fmla="*/ 502 h 1681"/>
                  <a:gd name="T82" fmla="*/ 3301 w 7025"/>
                  <a:gd name="T83" fmla="*/ 502 h 1681"/>
                  <a:gd name="T84" fmla="*/ 4036 w 7025"/>
                  <a:gd name="T85" fmla="*/ 490 h 1681"/>
                  <a:gd name="T86" fmla="*/ 4036 w 7025"/>
                  <a:gd name="T87" fmla="*/ 490 h 1681"/>
                  <a:gd name="T88" fmla="*/ 3327 w 7025"/>
                  <a:gd name="T89" fmla="*/ 490 h 1681"/>
                  <a:gd name="T90" fmla="*/ 4041 w 7025"/>
                  <a:gd name="T91" fmla="*/ 391 h 1681"/>
                  <a:gd name="T92" fmla="*/ 4043 w 7025"/>
                  <a:gd name="T93" fmla="*/ 448 h 1681"/>
                  <a:gd name="T94" fmla="*/ 1809 w 7025"/>
                  <a:gd name="T95" fmla="*/ 1120 h 1681"/>
                  <a:gd name="T96" fmla="*/ 1937 w 7025"/>
                  <a:gd name="T97" fmla="*/ 336 h 1681"/>
                  <a:gd name="T98" fmla="*/ 4048 w 7025"/>
                  <a:gd name="T99" fmla="*/ 327 h 1681"/>
                  <a:gd name="T100" fmla="*/ 4050 w 7025"/>
                  <a:gd name="T101" fmla="*/ 381 h 1681"/>
                  <a:gd name="T102" fmla="*/ 2026 w 7025"/>
                  <a:gd name="T103" fmla="*/ 322 h 1681"/>
                  <a:gd name="T104" fmla="*/ 4701 w 7025"/>
                  <a:gd name="T105" fmla="*/ 235 h 1681"/>
                  <a:gd name="T106" fmla="*/ 4802 w 7025"/>
                  <a:gd name="T107" fmla="*/ 173 h 1681"/>
                  <a:gd name="T108" fmla="*/ 4805 w 7025"/>
                  <a:gd name="T109" fmla="*/ 173 h 1681"/>
                  <a:gd name="T110" fmla="*/ 4852 w 7025"/>
                  <a:gd name="T111" fmla="*/ 161 h 1681"/>
                  <a:gd name="T112" fmla="*/ 4909 w 7025"/>
                  <a:gd name="T113" fmla="*/ 161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1">
                    <a:moveTo>
                      <a:pt x="2" y="1454"/>
                    </a:moveTo>
                    <a:lnTo>
                      <a:pt x="0" y="1454"/>
                    </a:lnTo>
                    <a:lnTo>
                      <a:pt x="0" y="1454"/>
                    </a:lnTo>
                    <a:lnTo>
                      <a:pt x="0" y="1522"/>
                    </a:lnTo>
                    <a:lnTo>
                      <a:pt x="2" y="1522"/>
                    </a:lnTo>
                    <a:lnTo>
                      <a:pt x="2" y="1454"/>
                    </a:lnTo>
                    <a:close/>
                    <a:moveTo>
                      <a:pt x="5665" y="1326"/>
                    </a:moveTo>
                    <a:lnTo>
                      <a:pt x="5665" y="1326"/>
                    </a:lnTo>
                    <a:lnTo>
                      <a:pt x="5665" y="1328"/>
                    </a:lnTo>
                    <a:lnTo>
                      <a:pt x="5665" y="1437"/>
                    </a:lnTo>
                    <a:lnTo>
                      <a:pt x="5665" y="1437"/>
                    </a:lnTo>
                    <a:lnTo>
                      <a:pt x="5665" y="1326"/>
                    </a:lnTo>
                    <a:close/>
                    <a:moveTo>
                      <a:pt x="3712" y="1222"/>
                    </a:moveTo>
                    <a:lnTo>
                      <a:pt x="3710" y="1222"/>
                    </a:lnTo>
                    <a:lnTo>
                      <a:pt x="3710" y="1222"/>
                    </a:lnTo>
                    <a:lnTo>
                      <a:pt x="3710" y="1224"/>
                    </a:lnTo>
                    <a:lnTo>
                      <a:pt x="3710" y="1380"/>
                    </a:lnTo>
                    <a:lnTo>
                      <a:pt x="3712" y="1380"/>
                    </a:lnTo>
                    <a:lnTo>
                      <a:pt x="3712" y="1222"/>
                    </a:lnTo>
                    <a:close/>
                    <a:moveTo>
                      <a:pt x="5831" y="1210"/>
                    </a:moveTo>
                    <a:lnTo>
                      <a:pt x="5831" y="1210"/>
                    </a:lnTo>
                    <a:lnTo>
                      <a:pt x="5829" y="1210"/>
                    </a:lnTo>
                    <a:lnTo>
                      <a:pt x="5829" y="1210"/>
                    </a:lnTo>
                    <a:lnTo>
                      <a:pt x="5829" y="1314"/>
                    </a:lnTo>
                    <a:lnTo>
                      <a:pt x="5831" y="1314"/>
                    </a:lnTo>
                    <a:lnTo>
                      <a:pt x="5831" y="1210"/>
                    </a:lnTo>
                    <a:close/>
                    <a:moveTo>
                      <a:pt x="1667" y="1158"/>
                    </a:moveTo>
                    <a:lnTo>
                      <a:pt x="1665" y="1158"/>
                    </a:lnTo>
                    <a:lnTo>
                      <a:pt x="1665" y="1158"/>
                    </a:lnTo>
                    <a:lnTo>
                      <a:pt x="1665" y="1158"/>
                    </a:lnTo>
                    <a:lnTo>
                      <a:pt x="1665" y="1189"/>
                    </a:lnTo>
                    <a:lnTo>
                      <a:pt x="1667" y="1189"/>
                    </a:lnTo>
                    <a:lnTo>
                      <a:pt x="1667" y="1158"/>
                    </a:lnTo>
                    <a:close/>
                    <a:moveTo>
                      <a:pt x="1688" y="1132"/>
                    </a:moveTo>
                    <a:lnTo>
                      <a:pt x="1688" y="1132"/>
                    </a:lnTo>
                    <a:lnTo>
                      <a:pt x="1688" y="1134"/>
                    </a:lnTo>
                    <a:lnTo>
                      <a:pt x="1688" y="1146"/>
                    </a:lnTo>
                    <a:lnTo>
                      <a:pt x="1688" y="1146"/>
                    </a:lnTo>
                    <a:lnTo>
                      <a:pt x="1688" y="1132"/>
                    </a:lnTo>
                    <a:close/>
                    <a:moveTo>
                      <a:pt x="5857" y="1127"/>
                    </a:moveTo>
                    <a:lnTo>
                      <a:pt x="5855" y="1127"/>
                    </a:lnTo>
                    <a:lnTo>
                      <a:pt x="5855" y="1127"/>
                    </a:lnTo>
                    <a:lnTo>
                      <a:pt x="5855" y="1129"/>
                    </a:lnTo>
                    <a:lnTo>
                      <a:pt x="5855" y="1198"/>
                    </a:lnTo>
                    <a:lnTo>
                      <a:pt x="5857" y="1198"/>
                    </a:lnTo>
                    <a:lnTo>
                      <a:pt x="5857" y="1127"/>
                    </a:lnTo>
                    <a:close/>
                    <a:moveTo>
                      <a:pt x="6323" y="1127"/>
                    </a:moveTo>
                    <a:lnTo>
                      <a:pt x="6323" y="1127"/>
                    </a:lnTo>
                    <a:lnTo>
                      <a:pt x="6320" y="1127"/>
                    </a:lnTo>
                    <a:lnTo>
                      <a:pt x="6320" y="1129"/>
                    </a:lnTo>
                    <a:lnTo>
                      <a:pt x="6320" y="1352"/>
                    </a:lnTo>
                    <a:lnTo>
                      <a:pt x="6323" y="1352"/>
                    </a:lnTo>
                    <a:lnTo>
                      <a:pt x="6323" y="1127"/>
                    </a:lnTo>
                    <a:close/>
                    <a:moveTo>
                      <a:pt x="1447" y="1125"/>
                    </a:moveTo>
                    <a:lnTo>
                      <a:pt x="1445" y="1125"/>
                    </a:lnTo>
                    <a:lnTo>
                      <a:pt x="1445" y="1125"/>
                    </a:lnTo>
                    <a:lnTo>
                      <a:pt x="1445" y="1127"/>
                    </a:lnTo>
                    <a:lnTo>
                      <a:pt x="1445" y="1189"/>
                    </a:lnTo>
                    <a:lnTo>
                      <a:pt x="1447" y="1189"/>
                    </a:lnTo>
                    <a:lnTo>
                      <a:pt x="1447" y="1125"/>
                    </a:lnTo>
                    <a:close/>
                    <a:moveTo>
                      <a:pt x="1464" y="1084"/>
                    </a:moveTo>
                    <a:lnTo>
                      <a:pt x="1461" y="1084"/>
                    </a:lnTo>
                    <a:lnTo>
                      <a:pt x="1461" y="1087"/>
                    </a:lnTo>
                    <a:lnTo>
                      <a:pt x="1461" y="1115"/>
                    </a:lnTo>
                    <a:lnTo>
                      <a:pt x="1464" y="1115"/>
                    </a:lnTo>
                    <a:lnTo>
                      <a:pt x="1464" y="1084"/>
                    </a:lnTo>
                    <a:close/>
                    <a:moveTo>
                      <a:pt x="2861" y="1063"/>
                    </a:moveTo>
                    <a:lnTo>
                      <a:pt x="2859" y="1063"/>
                    </a:lnTo>
                    <a:lnTo>
                      <a:pt x="2859" y="1063"/>
                    </a:lnTo>
                    <a:lnTo>
                      <a:pt x="2859" y="1066"/>
                    </a:lnTo>
                    <a:lnTo>
                      <a:pt x="2859" y="1229"/>
                    </a:lnTo>
                    <a:lnTo>
                      <a:pt x="2861" y="1229"/>
                    </a:lnTo>
                    <a:lnTo>
                      <a:pt x="2861" y="1063"/>
                    </a:lnTo>
                    <a:close/>
                    <a:moveTo>
                      <a:pt x="5930" y="1042"/>
                    </a:moveTo>
                    <a:lnTo>
                      <a:pt x="5930" y="1042"/>
                    </a:lnTo>
                    <a:lnTo>
                      <a:pt x="5930" y="1042"/>
                    </a:lnTo>
                    <a:lnTo>
                      <a:pt x="5930" y="1044"/>
                    </a:lnTo>
                    <a:lnTo>
                      <a:pt x="5930" y="1118"/>
                    </a:lnTo>
                    <a:lnTo>
                      <a:pt x="5930" y="1118"/>
                    </a:lnTo>
                    <a:lnTo>
                      <a:pt x="5930" y="1042"/>
                    </a:lnTo>
                    <a:close/>
                    <a:moveTo>
                      <a:pt x="2878" y="1011"/>
                    </a:moveTo>
                    <a:lnTo>
                      <a:pt x="2875" y="1013"/>
                    </a:lnTo>
                    <a:lnTo>
                      <a:pt x="2875" y="1013"/>
                    </a:lnTo>
                    <a:lnTo>
                      <a:pt x="2875" y="1051"/>
                    </a:lnTo>
                    <a:lnTo>
                      <a:pt x="2878" y="1051"/>
                    </a:lnTo>
                    <a:lnTo>
                      <a:pt x="2878" y="1011"/>
                    </a:lnTo>
                    <a:close/>
                    <a:moveTo>
                      <a:pt x="3771" y="995"/>
                    </a:moveTo>
                    <a:lnTo>
                      <a:pt x="3769" y="995"/>
                    </a:lnTo>
                    <a:lnTo>
                      <a:pt x="3769" y="995"/>
                    </a:lnTo>
                    <a:lnTo>
                      <a:pt x="3769" y="1212"/>
                    </a:lnTo>
                    <a:lnTo>
                      <a:pt x="3771" y="1212"/>
                    </a:lnTo>
                    <a:lnTo>
                      <a:pt x="3771" y="995"/>
                    </a:lnTo>
                    <a:close/>
                    <a:moveTo>
                      <a:pt x="5949" y="990"/>
                    </a:moveTo>
                    <a:lnTo>
                      <a:pt x="5947" y="990"/>
                    </a:lnTo>
                    <a:lnTo>
                      <a:pt x="5947" y="992"/>
                    </a:lnTo>
                    <a:lnTo>
                      <a:pt x="5947" y="1030"/>
                    </a:lnTo>
                    <a:lnTo>
                      <a:pt x="5949" y="1030"/>
                    </a:lnTo>
                    <a:lnTo>
                      <a:pt x="5949" y="990"/>
                    </a:lnTo>
                    <a:close/>
                    <a:moveTo>
                      <a:pt x="6339" y="935"/>
                    </a:moveTo>
                    <a:lnTo>
                      <a:pt x="6339" y="935"/>
                    </a:lnTo>
                    <a:lnTo>
                      <a:pt x="6339" y="935"/>
                    </a:lnTo>
                    <a:lnTo>
                      <a:pt x="6339" y="938"/>
                    </a:lnTo>
                    <a:lnTo>
                      <a:pt x="6339" y="1118"/>
                    </a:lnTo>
                    <a:lnTo>
                      <a:pt x="6339" y="1118"/>
                    </a:lnTo>
                    <a:lnTo>
                      <a:pt x="6339" y="935"/>
                    </a:lnTo>
                    <a:close/>
                    <a:moveTo>
                      <a:pt x="3845" y="928"/>
                    </a:moveTo>
                    <a:lnTo>
                      <a:pt x="3845" y="928"/>
                    </a:lnTo>
                    <a:lnTo>
                      <a:pt x="3845" y="931"/>
                    </a:lnTo>
                    <a:lnTo>
                      <a:pt x="3845" y="983"/>
                    </a:lnTo>
                    <a:lnTo>
                      <a:pt x="3845" y="983"/>
                    </a:lnTo>
                    <a:lnTo>
                      <a:pt x="3845" y="928"/>
                    </a:lnTo>
                    <a:close/>
                    <a:moveTo>
                      <a:pt x="6384" y="895"/>
                    </a:moveTo>
                    <a:lnTo>
                      <a:pt x="6384" y="895"/>
                    </a:lnTo>
                    <a:lnTo>
                      <a:pt x="6384" y="895"/>
                    </a:lnTo>
                    <a:lnTo>
                      <a:pt x="6384" y="897"/>
                    </a:lnTo>
                    <a:lnTo>
                      <a:pt x="6377" y="923"/>
                    </a:lnTo>
                    <a:lnTo>
                      <a:pt x="6379" y="923"/>
                    </a:lnTo>
                    <a:lnTo>
                      <a:pt x="6384" y="895"/>
                    </a:lnTo>
                    <a:close/>
                    <a:moveTo>
                      <a:pt x="6389" y="879"/>
                    </a:moveTo>
                    <a:lnTo>
                      <a:pt x="6389" y="879"/>
                    </a:lnTo>
                    <a:lnTo>
                      <a:pt x="6389" y="879"/>
                    </a:lnTo>
                    <a:lnTo>
                      <a:pt x="6389" y="881"/>
                    </a:lnTo>
                    <a:lnTo>
                      <a:pt x="6389" y="890"/>
                    </a:lnTo>
                    <a:lnTo>
                      <a:pt x="6389" y="890"/>
                    </a:lnTo>
                    <a:lnTo>
                      <a:pt x="6389" y="890"/>
                    </a:lnTo>
                    <a:lnTo>
                      <a:pt x="6389" y="890"/>
                    </a:lnTo>
                    <a:lnTo>
                      <a:pt x="6389" y="879"/>
                    </a:lnTo>
                    <a:close/>
                    <a:moveTo>
                      <a:pt x="6398" y="850"/>
                    </a:moveTo>
                    <a:lnTo>
                      <a:pt x="6396" y="850"/>
                    </a:lnTo>
                    <a:lnTo>
                      <a:pt x="6396" y="852"/>
                    </a:lnTo>
                    <a:lnTo>
                      <a:pt x="6396" y="871"/>
                    </a:lnTo>
                    <a:lnTo>
                      <a:pt x="6398" y="871"/>
                    </a:lnTo>
                    <a:lnTo>
                      <a:pt x="6398" y="869"/>
                    </a:lnTo>
                    <a:lnTo>
                      <a:pt x="6398" y="869"/>
                    </a:lnTo>
                    <a:lnTo>
                      <a:pt x="6398" y="850"/>
                    </a:lnTo>
                    <a:close/>
                    <a:moveTo>
                      <a:pt x="806" y="826"/>
                    </a:moveTo>
                    <a:lnTo>
                      <a:pt x="804" y="826"/>
                    </a:lnTo>
                    <a:lnTo>
                      <a:pt x="804" y="829"/>
                    </a:lnTo>
                    <a:lnTo>
                      <a:pt x="804" y="1058"/>
                    </a:lnTo>
                    <a:lnTo>
                      <a:pt x="806" y="1058"/>
                    </a:lnTo>
                    <a:lnTo>
                      <a:pt x="806" y="826"/>
                    </a:lnTo>
                    <a:close/>
                    <a:moveTo>
                      <a:pt x="3100" y="762"/>
                    </a:moveTo>
                    <a:lnTo>
                      <a:pt x="3100" y="762"/>
                    </a:lnTo>
                    <a:lnTo>
                      <a:pt x="3098" y="762"/>
                    </a:lnTo>
                    <a:lnTo>
                      <a:pt x="3098" y="765"/>
                    </a:lnTo>
                    <a:lnTo>
                      <a:pt x="3098" y="968"/>
                    </a:lnTo>
                    <a:lnTo>
                      <a:pt x="3100" y="968"/>
                    </a:lnTo>
                    <a:lnTo>
                      <a:pt x="3100" y="762"/>
                    </a:lnTo>
                    <a:close/>
                    <a:moveTo>
                      <a:pt x="1010" y="753"/>
                    </a:moveTo>
                    <a:lnTo>
                      <a:pt x="1007" y="753"/>
                    </a:lnTo>
                    <a:lnTo>
                      <a:pt x="1007" y="755"/>
                    </a:lnTo>
                    <a:lnTo>
                      <a:pt x="1007" y="817"/>
                    </a:lnTo>
                    <a:lnTo>
                      <a:pt x="1010" y="817"/>
                    </a:lnTo>
                    <a:lnTo>
                      <a:pt x="1010" y="753"/>
                    </a:lnTo>
                    <a:close/>
                    <a:moveTo>
                      <a:pt x="5133" y="732"/>
                    </a:moveTo>
                    <a:lnTo>
                      <a:pt x="5131" y="732"/>
                    </a:lnTo>
                    <a:lnTo>
                      <a:pt x="5131" y="734"/>
                    </a:lnTo>
                    <a:lnTo>
                      <a:pt x="5131" y="961"/>
                    </a:lnTo>
                    <a:lnTo>
                      <a:pt x="5133" y="961"/>
                    </a:lnTo>
                    <a:lnTo>
                      <a:pt x="5133" y="732"/>
                    </a:lnTo>
                    <a:close/>
                    <a:moveTo>
                      <a:pt x="3138" y="656"/>
                    </a:moveTo>
                    <a:lnTo>
                      <a:pt x="3138" y="656"/>
                    </a:lnTo>
                    <a:lnTo>
                      <a:pt x="3138" y="658"/>
                    </a:lnTo>
                    <a:lnTo>
                      <a:pt x="3138" y="751"/>
                    </a:lnTo>
                    <a:lnTo>
                      <a:pt x="3138" y="751"/>
                    </a:lnTo>
                    <a:lnTo>
                      <a:pt x="3138" y="656"/>
                    </a:lnTo>
                    <a:close/>
                    <a:moveTo>
                      <a:pt x="97" y="616"/>
                    </a:moveTo>
                    <a:lnTo>
                      <a:pt x="95" y="616"/>
                    </a:lnTo>
                    <a:lnTo>
                      <a:pt x="95" y="618"/>
                    </a:lnTo>
                    <a:lnTo>
                      <a:pt x="95" y="1442"/>
                    </a:lnTo>
                    <a:lnTo>
                      <a:pt x="97" y="1442"/>
                    </a:lnTo>
                    <a:lnTo>
                      <a:pt x="97" y="616"/>
                    </a:lnTo>
                    <a:close/>
                    <a:moveTo>
                      <a:pt x="5254" y="609"/>
                    </a:moveTo>
                    <a:lnTo>
                      <a:pt x="5252" y="609"/>
                    </a:lnTo>
                    <a:lnTo>
                      <a:pt x="5252" y="611"/>
                    </a:lnTo>
                    <a:lnTo>
                      <a:pt x="5252" y="720"/>
                    </a:lnTo>
                    <a:lnTo>
                      <a:pt x="5254" y="720"/>
                    </a:lnTo>
                    <a:lnTo>
                      <a:pt x="5254" y="609"/>
                    </a:lnTo>
                    <a:close/>
                    <a:moveTo>
                      <a:pt x="3282" y="583"/>
                    </a:moveTo>
                    <a:lnTo>
                      <a:pt x="3282" y="583"/>
                    </a:lnTo>
                    <a:lnTo>
                      <a:pt x="3282" y="583"/>
                    </a:lnTo>
                    <a:lnTo>
                      <a:pt x="3282" y="585"/>
                    </a:lnTo>
                    <a:lnTo>
                      <a:pt x="3282" y="646"/>
                    </a:lnTo>
                    <a:lnTo>
                      <a:pt x="3282" y="646"/>
                    </a:lnTo>
                    <a:lnTo>
                      <a:pt x="3282" y="583"/>
                    </a:lnTo>
                    <a:close/>
                    <a:moveTo>
                      <a:pt x="303" y="547"/>
                    </a:moveTo>
                    <a:lnTo>
                      <a:pt x="300" y="547"/>
                    </a:lnTo>
                    <a:lnTo>
                      <a:pt x="300" y="549"/>
                    </a:lnTo>
                    <a:lnTo>
                      <a:pt x="300" y="606"/>
                    </a:lnTo>
                    <a:lnTo>
                      <a:pt x="303" y="606"/>
                    </a:lnTo>
                    <a:lnTo>
                      <a:pt x="303" y="547"/>
                    </a:lnTo>
                    <a:close/>
                    <a:moveTo>
                      <a:pt x="7025" y="509"/>
                    </a:moveTo>
                    <a:lnTo>
                      <a:pt x="7025" y="509"/>
                    </a:lnTo>
                    <a:lnTo>
                      <a:pt x="7025" y="512"/>
                    </a:lnTo>
                    <a:lnTo>
                      <a:pt x="7025" y="1681"/>
                    </a:lnTo>
                    <a:lnTo>
                      <a:pt x="7025" y="1681"/>
                    </a:lnTo>
                    <a:lnTo>
                      <a:pt x="7025" y="509"/>
                    </a:lnTo>
                    <a:close/>
                    <a:moveTo>
                      <a:pt x="4195" y="502"/>
                    </a:moveTo>
                    <a:lnTo>
                      <a:pt x="4192" y="502"/>
                    </a:lnTo>
                    <a:lnTo>
                      <a:pt x="4192" y="504"/>
                    </a:lnTo>
                    <a:lnTo>
                      <a:pt x="4131" y="590"/>
                    </a:lnTo>
                    <a:lnTo>
                      <a:pt x="4131" y="590"/>
                    </a:lnTo>
                    <a:lnTo>
                      <a:pt x="4195" y="502"/>
                    </a:lnTo>
                    <a:close/>
                    <a:moveTo>
                      <a:pt x="3301" y="502"/>
                    </a:moveTo>
                    <a:lnTo>
                      <a:pt x="3299" y="502"/>
                    </a:lnTo>
                    <a:lnTo>
                      <a:pt x="3299" y="502"/>
                    </a:lnTo>
                    <a:lnTo>
                      <a:pt x="3299" y="502"/>
                    </a:lnTo>
                    <a:lnTo>
                      <a:pt x="3299" y="571"/>
                    </a:lnTo>
                    <a:lnTo>
                      <a:pt x="3301" y="571"/>
                    </a:lnTo>
                    <a:lnTo>
                      <a:pt x="3301" y="502"/>
                    </a:lnTo>
                    <a:close/>
                    <a:moveTo>
                      <a:pt x="4036" y="455"/>
                    </a:moveTo>
                    <a:lnTo>
                      <a:pt x="4036" y="455"/>
                    </a:lnTo>
                    <a:lnTo>
                      <a:pt x="4036" y="455"/>
                    </a:lnTo>
                    <a:lnTo>
                      <a:pt x="4036" y="457"/>
                    </a:lnTo>
                    <a:lnTo>
                      <a:pt x="4036" y="490"/>
                    </a:lnTo>
                    <a:lnTo>
                      <a:pt x="3953" y="644"/>
                    </a:lnTo>
                    <a:lnTo>
                      <a:pt x="3953" y="916"/>
                    </a:lnTo>
                    <a:lnTo>
                      <a:pt x="3956" y="916"/>
                    </a:lnTo>
                    <a:lnTo>
                      <a:pt x="3956" y="642"/>
                    </a:lnTo>
                    <a:lnTo>
                      <a:pt x="4036" y="490"/>
                    </a:lnTo>
                    <a:lnTo>
                      <a:pt x="4036" y="455"/>
                    </a:lnTo>
                    <a:close/>
                    <a:moveTo>
                      <a:pt x="3329" y="433"/>
                    </a:moveTo>
                    <a:lnTo>
                      <a:pt x="3327" y="433"/>
                    </a:lnTo>
                    <a:lnTo>
                      <a:pt x="3327" y="436"/>
                    </a:lnTo>
                    <a:lnTo>
                      <a:pt x="3327" y="490"/>
                    </a:lnTo>
                    <a:lnTo>
                      <a:pt x="3329" y="490"/>
                    </a:lnTo>
                    <a:lnTo>
                      <a:pt x="3329" y="433"/>
                    </a:lnTo>
                    <a:close/>
                    <a:moveTo>
                      <a:pt x="4043" y="391"/>
                    </a:moveTo>
                    <a:lnTo>
                      <a:pt x="4041" y="391"/>
                    </a:lnTo>
                    <a:lnTo>
                      <a:pt x="4041" y="391"/>
                    </a:lnTo>
                    <a:lnTo>
                      <a:pt x="4041" y="393"/>
                    </a:lnTo>
                    <a:lnTo>
                      <a:pt x="4041" y="450"/>
                    </a:lnTo>
                    <a:lnTo>
                      <a:pt x="4043" y="450"/>
                    </a:lnTo>
                    <a:lnTo>
                      <a:pt x="4043" y="448"/>
                    </a:lnTo>
                    <a:lnTo>
                      <a:pt x="4043" y="448"/>
                    </a:lnTo>
                    <a:lnTo>
                      <a:pt x="4043" y="391"/>
                    </a:lnTo>
                    <a:close/>
                    <a:moveTo>
                      <a:pt x="1809" y="369"/>
                    </a:moveTo>
                    <a:lnTo>
                      <a:pt x="1809" y="369"/>
                    </a:lnTo>
                    <a:lnTo>
                      <a:pt x="1809" y="369"/>
                    </a:lnTo>
                    <a:lnTo>
                      <a:pt x="1809" y="1120"/>
                    </a:lnTo>
                    <a:lnTo>
                      <a:pt x="1809" y="1120"/>
                    </a:lnTo>
                    <a:lnTo>
                      <a:pt x="1809" y="369"/>
                    </a:lnTo>
                    <a:close/>
                    <a:moveTo>
                      <a:pt x="1939" y="334"/>
                    </a:moveTo>
                    <a:lnTo>
                      <a:pt x="1937" y="334"/>
                    </a:lnTo>
                    <a:lnTo>
                      <a:pt x="1937" y="336"/>
                    </a:lnTo>
                    <a:lnTo>
                      <a:pt x="1937" y="358"/>
                    </a:lnTo>
                    <a:lnTo>
                      <a:pt x="1939" y="358"/>
                    </a:lnTo>
                    <a:lnTo>
                      <a:pt x="1939" y="334"/>
                    </a:lnTo>
                    <a:close/>
                    <a:moveTo>
                      <a:pt x="4050" y="327"/>
                    </a:moveTo>
                    <a:lnTo>
                      <a:pt x="4048" y="327"/>
                    </a:lnTo>
                    <a:lnTo>
                      <a:pt x="4048" y="329"/>
                    </a:lnTo>
                    <a:lnTo>
                      <a:pt x="4048" y="384"/>
                    </a:lnTo>
                    <a:lnTo>
                      <a:pt x="4050" y="384"/>
                    </a:lnTo>
                    <a:lnTo>
                      <a:pt x="4050" y="381"/>
                    </a:lnTo>
                    <a:lnTo>
                      <a:pt x="4050" y="381"/>
                    </a:lnTo>
                    <a:lnTo>
                      <a:pt x="4050" y="327"/>
                    </a:lnTo>
                    <a:close/>
                    <a:moveTo>
                      <a:pt x="2029" y="294"/>
                    </a:moveTo>
                    <a:lnTo>
                      <a:pt x="2026" y="294"/>
                    </a:lnTo>
                    <a:lnTo>
                      <a:pt x="2026" y="296"/>
                    </a:lnTo>
                    <a:lnTo>
                      <a:pt x="2026" y="322"/>
                    </a:lnTo>
                    <a:lnTo>
                      <a:pt x="2029" y="322"/>
                    </a:lnTo>
                    <a:lnTo>
                      <a:pt x="2029" y="294"/>
                    </a:lnTo>
                    <a:close/>
                    <a:moveTo>
                      <a:pt x="4703" y="232"/>
                    </a:moveTo>
                    <a:lnTo>
                      <a:pt x="4703" y="232"/>
                    </a:lnTo>
                    <a:lnTo>
                      <a:pt x="4701" y="235"/>
                    </a:lnTo>
                    <a:lnTo>
                      <a:pt x="4639" y="467"/>
                    </a:lnTo>
                    <a:lnTo>
                      <a:pt x="4639" y="467"/>
                    </a:lnTo>
                    <a:lnTo>
                      <a:pt x="4703" y="232"/>
                    </a:lnTo>
                    <a:close/>
                    <a:moveTo>
                      <a:pt x="4805" y="173"/>
                    </a:moveTo>
                    <a:lnTo>
                      <a:pt x="4802" y="173"/>
                    </a:lnTo>
                    <a:lnTo>
                      <a:pt x="4802" y="173"/>
                    </a:lnTo>
                    <a:lnTo>
                      <a:pt x="4802" y="175"/>
                    </a:lnTo>
                    <a:lnTo>
                      <a:pt x="4802" y="220"/>
                    </a:lnTo>
                    <a:lnTo>
                      <a:pt x="4805" y="220"/>
                    </a:lnTo>
                    <a:lnTo>
                      <a:pt x="4805" y="173"/>
                    </a:lnTo>
                    <a:close/>
                    <a:moveTo>
                      <a:pt x="4852" y="0"/>
                    </a:moveTo>
                    <a:lnTo>
                      <a:pt x="4852" y="0"/>
                    </a:lnTo>
                    <a:lnTo>
                      <a:pt x="4852" y="2"/>
                    </a:lnTo>
                    <a:lnTo>
                      <a:pt x="4852" y="161"/>
                    </a:lnTo>
                    <a:lnTo>
                      <a:pt x="4852" y="161"/>
                    </a:lnTo>
                    <a:lnTo>
                      <a:pt x="4852" y="0"/>
                    </a:lnTo>
                    <a:close/>
                    <a:moveTo>
                      <a:pt x="4911" y="0"/>
                    </a:moveTo>
                    <a:lnTo>
                      <a:pt x="4909" y="0"/>
                    </a:lnTo>
                    <a:lnTo>
                      <a:pt x="4909" y="2"/>
                    </a:lnTo>
                    <a:lnTo>
                      <a:pt x="4909" y="161"/>
                    </a:lnTo>
                    <a:lnTo>
                      <a:pt x="4911" y="161"/>
                    </a:lnTo>
                    <a:lnTo>
                      <a:pt x="4911" y="0"/>
                    </a:lnTo>
                    <a:close/>
                  </a:path>
                </a:pathLst>
              </a:custGeom>
              <a:solidFill>
                <a:srgbClr val="C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8" name="Freeform 133"/>
              <p:cNvSpPr>
                <a:spLocks noEditPoints="1"/>
              </p:cNvSpPr>
              <p:nvPr/>
            </p:nvSpPr>
            <p:spPr bwMode="auto">
              <a:xfrm>
                <a:off x="35" y="1672"/>
                <a:ext cx="7025" cy="1681"/>
              </a:xfrm>
              <a:custGeom>
                <a:avLst/>
                <a:gdLst>
                  <a:gd name="T0" fmla="*/ 2 w 7025"/>
                  <a:gd name="T1" fmla="*/ 1522 h 1681"/>
                  <a:gd name="T2" fmla="*/ 5665 w 7025"/>
                  <a:gd name="T3" fmla="*/ 1437 h 1681"/>
                  <a:gd name="T4" fmla="*/ 3710 w 7025"/>
                  <a:gd name="T5" fmla="*/ 1222 h 1681"/>
                  <a:gd name="T6" fmla="*/ 5831 w 7025"/>
                  <a:gd name="T7" fmla="*/ 1210 h 1681"/>
                  <a:gd name="T8" fmla="*/ 5831 w 7025"/>
                  <a:gd name="T9" fmla="*/ 1314 h 1681"/>
                  <a:gd name="T10" fmla="*/ 1665 w 7025"/>
                  <a:gd name="T11" fmla="*/ 1158 h 1681"/>
                  <a:gd name="T12" fmla="*/ 1688 w 7025"/>
                  <a:gd name="T13" fmla="*/ 1132 h 1681"/>
                  <a:gd name="T14" fmla="*/ 5857 w 7025"/>
                  <a:gd name="T15" fmla="*/ 1127 h 1681"/>
                  <a:gd name="T16" fmla="*/ 5857 w 7025"/>
                  <a:gd name="T17" fmla="*/ 1198 h 1681"/>
                  <a:gd name="T18" fmla="*/ 6320 w 7025"/>
                  <a:gd name="T19" fmla="*/ 1129 h 1681"/>
                  <a:gd name="T20" fmla="*/ 1445 w 7025"/>
                  <a:gd name="T21" fmla="*/ 1125 h 1681"/>
                  <a:gd name="T22" fmla="*/ 1447 w 7025"/>
                  <a:gd name="T23" fmla="*/ 1125 h 1681"/>
                  <a:gd name="T24" fmla="*/ 1464 w 7025"/>
                  <a:gd name="T25" fmla="*/ 1115 h 1681"/>
                  <a:gd name="T26" fmla="*/ 2859 w 7025"/>
                  <a:gd name="T27" fmla="*/ 1066 h 1681"/>
                  <a:gd name="T28" fmla="*/ 5930 w 7025"/>
                  <a:gd name="T29" fmla="*/ 1042 h 1681"/>
                  <a:gd name="T30" fmla="*/ 5930 w 7025"/>
                  <a:gd name="T31" fmla="*/ 1042 h 1681"/>
                  <a:gd name="T32" fmla="*/ 2878 w 7025"/>
                  <a:gd name="T33" fmla="*/ 1051 h 1681"/>
                  <a:gd name="T34" fmla="*/ 3769 w 7025"/>
                  <a:gd name="T35" fmla="*/ 1212 h 1681"/>
                  <a:gd name="T36" fmla="*/ 5947 w 7025"/>
                  <a:gd name="T37" fmla="*/ 992 h 1681"/>
                  <a:gd name="T38" fmla="*/ 6339 w 7025"/>
                  <a:gd name="T39" fmla="*/ 935 h 1681"/>
                  <a:gd name="T40" fmla="*/ 6339 w 7025"/>
                  <a:gd name="T41" fmla="*/ 935 h 1681"/>
                  <a:gd name="T42" fmla="*/ 3845 w 7025"/>
                  <a:gd name="T43" fmla="*/ 983 h 1681"/>
                  <a:gd name="T44" fmla="*/ 6384 w 7025"/>
                  <a:gd name="T45" fmla="*/ 897 h 1681"/>
                  <a:gd name="T46" fmla="*/ 6389 w 7025"/>
                  <a:gd name="T47" fmla="*/ 879 h 1681"/>
                  <a:gd name="T48" fmla="*/ 6389 w 7025"/>
                  <a:gd name="T49" fmla="*/ 890 h 1681"/>
                  <a:gd name="T50" fmla="*/ 6396 w 7025"/>
                  <a:gd name="T51" fmla="*/ 852 h 1681"/>
                  <a:gd name="T52" fmla="*/ 6398 w 7025"/>
                  <a:gd name="T53" fmla="*/ 850 h 1681"/>
                  <a:gd name="T54" fmla="*/ 806 w 7025"/>
                  <a:gd name="T55" fmla="*/ 1058 h 1681"/>
                  <a:gd name="T56" fmla="*/ 3098 w 7025"/>
                  <a:gd name="T57" fmla="*/ 765 h 1681"/>
                  <a:gd name="T58" fmla="*/ 1007 w 7025"/>
                  <a:gd name="T59" fmla="*/ 753 h 1681"/>
                  <a:gd name="T60" fmla="*/ 5133 w 7025"/>
                  <a:gd name="T61" fmla="*/ 732 h 1681"/>
                  <a:gd name="T62" fmla="*/ 5133 w 7025"/>
                  <a:gd name="T63" fmla="*/ 732 h 1681"/>
                  <a:gd name="T64" fmla="*/ 3138 w 7025"/>
                  <a:gd name="T65" fmla="*/ 751 h 1681"/>
                  <a:gd name="T66" fmla="*/ 95 w 7025"/>
                  <a:gd name="T67" fmla="*/ 1442 h 1681"/>
                  <a:gd name="T68" fmla="*/ 5252 w 7025"/>
                  <a:gd name="T69" fmla="*/ 611 h 1681"/>
                  <a:gd name="T70" fmla="*/ 3282 w 7025"/>
                  <a:gd name="T71" fmla="*/ 583 h 1681"/>
                  <a:gd name="T72" fmla="*/ 3282 w 7025"/>
                  <a:gd name="T73" fmla="*/ 583 h 1681"/>
                  <a:gd name="T74" fmla="*/ 303 w 7025"/>
                  <a:gd name="T75" fmla="*/ 606 h 1681"/>
                  <a:gd name="T76" fmla="*/ 7025 w 7025"/>
                  <a:gd name="T77" fmla="*/ 1681 h 1681"/>
                  <a:gd name="T78" fmla="*/ 4192 w 7025"/>
                  <a:gd name="T79" fmla="*/ 504 h 1681"/>
                  <a:gd name="T80" fmla="*/ 3299 w 7025"/>
                  <a:gd name="T81" fmla="*/ 502 h 1681"/>
                  <a:gd name="T82" fmla="*/ 3301 w 7025"/>
                  <a:gd name="T83" fmla="*/ 502 h 1681"/>
                  <a:gd name="T84" fmla="*/ 4036 w 7025"/>
                  <a:gd name="T85" fmla="*/ 490 h 1681"/>
                  <a:gd name="T86" fmla="*/ 4036 w 7025"/>
                  <a:gd name="T87" fmla="*/ 490 h 1681"/>
                  <a:gd name="T88" fmla="*/ 3327 w 7025"/>
                  <a:gd name="T89" fmla="*/ 490 h 1681"/>
                  <a:gd name="T90" fmla="*/ 4041 w 7025"/>
                  <a:gd name="T91" fmla="*/ 391 h 1681"/>
                  <a:gd name="T92" fmla="*/ 4043 w 7025"/>
                  <a:gd name="T93" fmla="*/ 448 h 1681"/>
                  <a:gd name="T94" fmla="*/ 1809 w 7025"/>
                  <a:gd name="T95" fmla="*/ 1120 h 1681"/>
                  <a:gd name="T96" fmla="*/ 1937 w 7025"/>
                  <a:gd name="T97" fmla="*/ 336 h 1681"/>
                  <a:gd name="T98" fmla="*/ 4048 w 7025"/>
                  <a:gd name="T99" fmla="*/ 327 h 1681"/>
                  <a:gd name="T100" fmla="*/ 4050 w 7025"/>
                  <a:gd name="T101" fmla="*/ 381 h 1681"/>
                  <a:gd name="T102" fmla="*/ 2026 w 7025"/>
                  <a:gd name="T103" fmla="*/ 322 h 1681"/>
                  <a:gd name="T104" fmla="*/ 4701 w 7025"/>
                  <a:gd name="T105" fmla="*/ 235 h 1681"/>
                  <a:gd name="T106" fmla="*/ 4802 w 7025"/>
                  <a:gd name="T107" fmla="*/ 173 h 1681"/>
                  <a:gd name="T108" fmla="*/ 4805 w 7025"/>
                  <a:gd name="T109" fmla="*/ 173 h 1681"/>
                  <a:gd name="T110" fmla="*/ 4852 w 7025"/>
                  <a:gd name="T111" fmla="*/ 161 h 1681"/>
                  <a:gd name="T112" fmla="*/ 4909 w 7025"/>
                  <a:gd name="T113" fmla="*/ 161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1">
                    <a:moveTo>
                      <a:pt x="2" y="1454"/>
                    </a:moveTo>
                    <a:lnTo>
                      <a:pt x="0" y="1454"/>
                    </a:lnTo>
                    <a:lnTo>
                      <a:pt x="0" y="1454"/>
                    </a:lnTo>
                    <a:lnTo>
                      <a:pt x="0" y="1522"/>
                    </a:lnTo>
                    <a:lnTo>
                      <a:pt x="2" y="1522"/>
                    </a:lnTo>
                    <a:lnTo>
                      <a:pt x="2" y="1454"/>
                    </a:lnTo>
                    <a:moveTo>
                      <a:pt x="5665" y="1326"/>
                    </a:moveTo>
                    <a:lnTo>
                      <a:pt x="5665" y="1326"/>
                    </a:lnTo>
                    <a:lnTo>
                      <a:pt x="5665" y="1328"/>
                    </a:lnTo>
                    <a:lnTo>
                      <a:pt x="5665" y="1437"/>
                    </a:lnTo>
                    <a:lnTo>
                      <a:pt x="5665" y="1437"/>
                    </a:lnTo>
                    <a:lnTo>
                      <a:pt x="5665" y="1326"/>
                    </a:lnTo>
                    <a:moveTo>
                      <a:pt x="3712" y="1222"/>
                    </a:moveTo>
                    <a:lnTo>
                      <a:pt x="3710" y="1222"/>
                    </a:lnTo>
                    <a:lnTo>
                      <a:pt x="3710" y="1222"/>
                    </a:lnTo>
                    <a:lnTo>
                      <a:pt x="3710" y="1224"/>
                    </a:lnTo>
                    <a:lnTo>
                      <a:pt x="3710" y="1380"/>
                    </a:lnTo>
                    <a:lnTo>
                      <a:pt x="3712" y="1380"/>
                    </a:lnTo>
                    <a:lnTo>
                      <a:pt x="3712" y="1222"/>
                    </a:lnTo>
                    <a:moveTo>
                      <a:pt x="5831" y="1210"/>
                    </a:moveTo>
                    <a:lnTo>
                      <a:pt x="5831" y="1210"/>
                    </a:lnTo>
                    <a:lnTo>
                      <a:pt x="5829" y="1210"/>
                    </a:lnTo>
                    <a:lnTo>
                      <a:pt x="5829" y="1210"/>
                    </a:lnTo>
                    <a:lnTo>
                      <a:pt x="5829" y="1314"/>
                    </a:lnTo>
                    <a:lnTo>
                      <a:pt x="5831" y="1314"/>
                    </a:lnTo>
                    <a:lnTo>
                      <a:pt x="5831" y="1210"/>
                    </a:lnTo>
                    <a:moveTo>
                      <a:pt x="1667" y="1158"/>
                    </a:moveTo>
                    <a:lnTo>
                      <a:pt x="1665" y="1158"/>
                    </a:lnTo>
                    <a:lnTo>
                      <a:pt x="1665" y="1158"/>
                    </a:lnTo>
                    <a:lnTo>
                      <a:pt x="1665" y="1158"/>
                    </a:lnTo>
                    <a:lnTo>
                      <a:pt x="1665" y="1189"/>
                    </a:lnTo>
                    <a:lnTo>
                      <a:pt x="1667" y="1189"/>
                    </a:lnTo>
                    <a:lnTo>
                      <a:pt x="1667" y="1158"/>
                    </a:lnTo>
                    <a:moveTo>
                      <a:pt x="1688" y="1132"/>
                    </a:moveTo>
                    <a:lnTo>
                      <a:pt x="1688" y="1132"/>
                    </a:lnTo>
                    <a:lnTo>
                      <a:pt x="1688" y="1134"/>
                    </a:lnTo>
                    <a:lnTo>
                      <a:pt x="1688" y="1146"/>
                    </a:lnTo>
                    <a:lnTo>
                      <a:pt x="1688" y="1146"/>
                    </a:lnTo>
                    <a:lnTo>
                      <a:pt x="1688" y="1132"/>
                    </a:lnTo>
                    <a:moveTo>
                      <a:pt x="5857" y="1127"/>
                    </a:moveTo>
                    <a:lnTo>
                      <a:pt x="5855" y="1127"/>
                    </a:lnTo>
                    <a:lnTo>
                      <a:pt x="5855" y="1127"/>
                    </a:lnTo>
                    <a:lnTo>
                      <a:pt x="5855" y="1129"/>
                    </a:lnTo>
                    <a:lnTo>
                      <a:pt x="5855" y="1198"/>
                    </a:lnTo>
                    <a:lnTo>
                      <a:pt x="5857" y="1198"/>
                    </a:lnTo>
                    <a:lnTo>
                      <a:pt x="5857" y="1127"/>
                    </a:lnTo>
                    <a:moveTo>
                      <a:pt x="6323" y="1127"/>
                    </a:moveTo>
                    <a:lnTo>
                      <a:pt x="6323" y="1127"/>
                    </a:lnTo>
                    <a:lnTo>
                      <a:pt x="6320" y="1127"/>
                    </a:lnTo>
                    <a:lnTo>
                      <a:pt x="6320" y="1129"/>
                    </a:lnTo>
                    <a:lnTo>
                      <a:pt x="6320" y="1352"/>
                    </a:lnTo>
                    <a:lnTo>
                      <a:pt x="6323" y="1352"/>
                    </a:lnTo>
                    <a:lnTo>
                      <a:pt x="6323" y="1127"/>
                    </a:lnTo>
                    <a:moveTo>
                      <a:pt x="1447" y="1125"/>
                    </a:moveTo>
                    <a:lnTo>
                      <a:pt x="1445" y="1125"/>
                    </a:lnTo>
                    <a:lnTo>
                      <a:pt x="1445" y="1125"/>
                    </a:lnTo>
                    <a:lnTo>
                      <a:pt x="1445" y="1127"/>
                    </a:lnTo>
                    <a:lnTo>
                      <a:pt x="1445" y="1189"/>
                    </a:lnTo>
                    <a:lnTo>
                      <a:pt x="1447" y="1189"/>
                    </a:lnTo>
                    <a:lnTo>
                      <a:pt x="1447" y="1125"/>
                    </a:lnTo>
                    <a:moveTo>
                      <a:pt x="1464" y="1084"/>
                    </a:moveTo>
                    <a:lnTo>
                      <a:pt x="1461" y="1084"/>
                    </a:lnTo>
                    <a:lnTo>
                      <a:pt x="1461" y="1087"/>
                    </a:lnTo>
                    <a:lnTo>
                      <a:pt x="1461" y="1115"/>
                    </a:lnTo>
                    <a:lnTo>
                      <a:pt x="1464" y="1115"/>
                    </a:lnTo>
                    <a:lnTo>
                      <a:pt x="1464" y="1084"/>
                    </a:lnTo>
                    <a:moveTo>
                      <a:pt x="2861" y="1063"/>
                    </a:moveTo>
                    <a:lnTo>
                      <a:pt x="2859" y="1063"/>
                    </a:lnTo>
                    <a:lnTo>
                      <a:pt x="2859" y="1063"/>
                    </a:lnTo>
                    <a:lnTo>
                      <a:pt x="2859" y="1066"/>
                    </a:lnTo>
                    <a:lnTo>
                      <a:pt x="2859" y="1229"/>
                    </a:lnTo>
                    <a:lnTo>
                      <a:pt x="2861" y="1229"/>
                    </a:lnTo>
                    <a:lnTo>
                      <a:pt x="2861" y="1063"/>
                    </a:lnTo>
                    <a:moveTo>
                      <a:pt x="5930" y="1042"/>
                    </a:moveTo>
                    <a:lnTo>
                      <a:pt x="5930" y="1042"/>
                    </a:lnTo>
                    <a:lnTo>
                      <a:pt x="5930" y="1042"/>
                    </a:lnTo>
                    <a:lnTo>
                      <a:pt x="5930" y="1044"/>
                    </a:lnTo>
                    <a:lnTo>
                      <a:pt x="5930" y="1118"/>
                    </a:lnTo>
                    <a:lnTo>
                      <a:pt x="5930" y="1118"/>
                    </a:lnTo>
                    <a:lnTo>
                      <a:pt x="5930" y="1042"/>
                    </a:lnTo>
                    <a:moveTo>
                      <a:pt x="2878" y="1011"/>
                    </a:moveTo>
                    <a:lnTo>
                      <a:pt x="2875" y="1013"/>
                    </a:lnTo>
                    <a:lnTo>
                      <a:pt x="2875" y="1013"/>
                    </a:lnTo>
                    <a:lnTo>
                      <a:pt x="2875" y="1051"/>
                    </a:lnTo>
                    <a:lnTo>
                      <a:pt x="2878" y="1051"/>
                    </a:lnTo>
                    <a:lnTo>
                      <a:pt x="2878" y="1011"/>
                    </a:lnTo>
                    <a:moveTo>
                      <a:pt x="3771" y="995"/>
                    </a:moveTo>
                    <a:lnTo>
                      <a:pt x="3769" y="995"/>
                    </a:lnTo>
                    <a:lnTo>
                      <a:pt x="3769" y="995"/>
                    </a:lnTo>
                    <a:lnTo>
                      <a:pt x="3769" y="1212"/>
                    </a:lnTo>
                    <a:lnTo>
                      <a:pt x="3771" y="1212"/>
                    </a:lnTo>
                    <a:lnTo>
                      <a:pt x="3771" y="995"/>
                    </a:lnTo>
                    <a:moveTo>
                      <a:pt x="5949" y="990"/>
                    </a:moveTo>
                    <a:lnTo>
                      <a:pt x="5947" y="990"/>
                    </a:lnTo>
                    <a:lnTo>
                      <a:pt x="5947" y="992"/>
                    </a:lnTo>
                    <a:lnTo>
                      <a:pt x="5947" y="1030"/>
                    </a:lnTo>
                    <a:lnTo>
                      <a:pt x="5949" y="1030"/>
                    </a:lnTo>
                    <a:lnTo>
                      <a:pt x="5949" y="990"/>
                    </a:lnTo>
                    <a:moveTo>
                      <a:pt x="6339" y="935"/>
                    </a:moveTo>
                    <a:lnTo>
                      <a:pt x="6339" y="935"/>
                    </a:lnTo>
                    <a:lnTo>
                      <a:pt x="6339" y="935"/>
                    </a:lnTo>
                    <a:lnTo>
                      <a:pt x="6339" y="938"/>
                    </a:lnTo>
                    <a:lnTo>
                      <a:pt x="6339" y="1118"/>
                    </a:lnTo>
                    <a:lnTo>
                      <a:pt x="6339" y="1118"/>
                    </a:lnTo>
                    <a:lnTo>
                      <a:pt x="6339" y="935"/>
                    </a:lnTo>
                    <a:moveTo>
                      <a:pt x="3845" y="928"/>
                    </a:moveTo>
                    <a:lnTo>
                      <a:pt x="3845" y="928"/>
                    </a:lnTo>
                    <a:lnTo>
                      <a:pt x="3845" y="931"/>
                    </a:lnTo>
                    <a:lnTo>
                      <a:pt x="3845" y="983"/>
                    </a:lnTo>
                    <a:lnTo>
                      <a:pt x="3845" y="983"/>
                    </a:lnTo>
                    <a:lnTo>
                      <a:pt x="3845" y="928"/>
                    </a:lnTo>
                    <a:moveTo>
                      <a:pt x="6384" y="895"/>
                    </a:moveTo>
                    <a:lnTo>
                      <a:pt x="6384" y="895"/>
                    </a:lnTo>
                    <a:lnTo>
                      <a:pt x="6384" y="895"/>
                    </a:lnTo>
                    <a:lnTo>
                      <a:pt x="6384" y="897"/>
                    </a:lnTo>
                    <a:lnTo>
                      <a:pt x="6377" y="923"/>
                    </a:lnTo>
                    <a:lnTo>
                      <a:pt x="6379" y="923"/>
                    </a:lnTo>
                    <a:lnTo>
                      <a:pt x="6384" y="895"/>
                    </a:lnTo>
                    <a:moveTo>
                      <a:pt x="6389" y="879"/>
                    </a:moveTo>
                    <a:lnTo>
                      <a:pt x="6389" y="879"/>
                    </a:lnTo>
                    <a:lnTo>
                      <a:pt x="6389" y="879"/>
                    </a:lnTo>
                    <a:lnTo>
                      <a:pt x="6389" y="881"/>
                    </a:lnTo>
                    <a:lnTo>
                      <a:pt x="6389" y="890"/>
                    </a:lnTo>
                    <a:lnTo>
                      <a:pt x="6389" y="890"/>
                    </a:lnTo>
                    <a:lnTo>
                      <a:pt x="6389" y="890"/>
                    </a:lnTo>
                    <a:lnTo>
                      <a:pt x="6389" y="890"/>
                    </a:lnTo>
                    <a:lnTo>
                      <a:pt x="6389" y="879"/>
                    </a:lnTo>
                    <a:moveTo>
                      <a:pt x="6398" y="850"/>
                    </a:moveTo>
                    <a:lnTo>
                      <a:pt x="6396" y="850"/>
                    </a:lnTo>
                    <a:lnTo>
                      <a:pt x="6396" y="852"/>
                    </a:lnTo>
                    <a:lnTo>
                      <a:pt x="6396" y="871"/>
                    </a:lnTo>
                    <a:lnTo>
                      <a:pt x="6398" y="871"/>
                    </a:lnTo>
                    <a:lnTo>
                      <a:pt x="6398" y="869"/>
                    </a:lnTo>
                    <a:lnTo>
                      <a:pt x="6398" y="869"/>
                    </a:lnTo>
                    <a:lnTo>
                      <a:pt x="6398" y="850"/>
                    </a:lnTo>
                    <a:moveTo>
                      <a:pt x="806" y="826"/>
                    </a:moveTo>
                    <a:lnTo>
                      <a:pt x="804" y="826"/>
                    </a:lnTo>
                    <a:lnTo>
                      <a:pt x="804" y="829"/>
                    </a:lnTo>
                    <a:lnTo>
                      <a:pt x="804" y="1058"/>
                    </a:lnTo>
                    <a:lnTo>
                      <a:pt x="806" y="1058"/>
                    </a:lnTo>
                    <a:lnTo>
                      <a:pt x="806" y="826"/>
                    </a:lnTo>
                    <a:moveTo>
                      <a:pt x="3100" y="762"/>
                    </a:moveTo>
                    <a:lnTo>
                      <a:pt x="3100" y="762"/>
                    </a:lnTo>
                    <a:lnTo>
                      <a:pt x="3098" y="762"/>
                    </a:lnTo>
                    <a:lnTo>
                      <a:pt x="3098" y="765"/>
                    </a:lnTo>
                    <a:lnTo>
                      <a:pt x="3098" y="968"/>
                    </a:lnTo>
                    <a:lnTo>
                      <a:pt x="3100" y="968"/>
                    </a:lnTo>
                    <a:lnTo>
                      <a:pt x="3100" y="762"/>
                    </a:lnTo>
                    <a:moveTo>
                      <a:pt x="1010" y="753"/>
                    </a:moveTo>
                    <a:lnTo>
                      <a:pt x="1007" y="753"/>
                    </a:lnTo>
                    <a:lnTo>
                      <a:pt x="1007" y="755"/>
                    </a:lnTo>
                    <a:lnTo>
                      <a:pt x="1007" y="817"/>
                    </a:lnTo>
                    <a:lnTo>
                      <a:pt x="1010" y="817"/>
                    </a:lnTo>
                    <a:lnTo>
                      <a:pt x="1010" y="753"/>
                    </a:lnTo>
                    <a:moveTo>
                      <a:pt x="5133" y="732"/>
                    </a:moveTo>
                    <a:lnTo>
                      <a:pt x="5131" y="732"/>
                    </a:lnTo>
                    <a:lnTo>
                      <a:pt x="5131" y="734"/>
                    </a:lnTo>
                    <a:lnTo>
                      <a:pt x="5131" y="961"/>
                    </a:lnTo>
                    <a:lnTo>
                      <a:pt x="5133" y="961"/>
                    </a:lnTo>
                    <a:lnTo>
                      <a:pt x="5133" y="732"/>
                    </a:lnTo>
                    <a:moveTo>
                      <a:pt x="3138" y="656"/>
                    </a:moveTo>
                    <a:lnTo>
                      <a:pt x="3138" y="656"/>
                    </a:lnTo>
                    <a:lnTo>
                      <a:pt x="3138" y="658"/>
                    </a:lnTo>
                    <a:lnTo>
                      <a:pt x="3138" y="751"/>
                    </a:lnTo>
                    <a:lnTo>
                      <a:pt x="3138" y="751"/>
                    </a:lnTo>
                    <a:lnTo>
                      <a:pt x="3138" y="656"/>
                    </a:lnTo>
                    <a:moveTo>
                      <a:pt x="97" y="616"/>
                    </a:moveTo>
                    <a:lnTo>
                      <a:pt x="95" y="616"/>
                    </a:lnTo>
                    <a:lnTo>
                      <a:pt x="95" y="618"/>
                    </a:lnTo>
                    <a:lnTo>
                      <a:pt x="95" y="1442"/>
                    </a:lnTo>
                    <a:lnTo>
                      <a:pt x="97" y="1442"/>
                    </a:lnTo>
                    <a:lnTo>
                      <a:pt x="97" y="616"/>
                    </a:lnTo>
                    <a:moveTo>
                      <a:pt x="5254" y="609"/>
                    </a:moveTo>
                    <a:lnTo>
                      <a:pt x="5252" y="609"/>
                    </a:lnTo>
                    <a:lnTo>
                      <a:pt x="5252" y="611"/>
                    </a:lnTo>
                    <a:lnTo>
                      <a:pt x="5252" y="720"/>
                    </a:lnTo>
                    <a:lnTo>
                      <a:pt x="5254" y="720"/>
                    </a:lnTo>
                    <a:lnTo>
                      <a:pt x="5254" y="609"/>
                    </a:lnTo>
                    <a:moveTo>
                      <a:pt x="3282" y="583"/>
                    </a:moveTo>
                    <a:lnTo>
                      <a:pt x="3282" y="583"/>
                    </a:lnTo>
                    <a:lnTo>
                      <a:pt x="3282" y="583"/>
                    </a:lnTo>
                    <a:lnTo>
                      <a:pt x="3282" y="585"/>
                    </a:lnTo>
                    <a:lnTo>
                      <a:pt x="3282" y="646"/>
                    </a:lnTo>
                    <a:lnTo>
                      <a:pt x="3282" y="646"/>
                    </a:lnTo>
                    <a:lnTo>
                      <a:pt x="3282" y="583"/>
                    </a:lnTo>
                    <a:moveTo>
                      <a:pt x="303" y="547"/>
                    </a:moveTo>
                    <a:lnTo>
                      <a:pt x="300" y="547"/>
                    </a:lnTo>
                    <a:lnTo>
                      <a:pt x="300" y="549"/>
                    </a:lnTo>
                    <a:lnTo>
                      <a:pt x="300" y="606"/>
                    </a:lnTo>
                    <a:lnTo>
                      <a:pt x="303" y="606"/>
                    </a:lnTo>
                    <a:lnTo>
                      <a:pt x="303" y="547"/>
                    </a:lnTo>
                    <a:moveTo>
                      <a:pt x="7025" y="509"/>
                    </a:moveTo>
                    <a:lnTo>
                      <a:pt x="7025" y="509"/>
                    </a:lnTo>
                    <a:lnTo>
                      <a:pt x="7025" y="512"/>
                    </a:lnTo>
                    <a:lnTo>
                      <a:pt x="7025" y="1681"/>
                    </a:lnTo>
                    <a:lnTo>
                      <a:pt x="7025" y="1681"/>
                    </a:lnTo>
                    <a:lnTo>
                      <a:pt x="7025" y="509"/>
                    </a:lnTo>
                    <a:moveTo>
                      <a:pt x="4195" y="502"/>
                    </a:moveTo>
                    <a:lnTo>
                      <a:pt x="4192" y="502"/>
                    </a:lnTo>
                    <a:lnTo>
                      <a:pt x="4192" y="504"/>
                    </a:lnTo>
                    <a:lnTo>
                      <a:pt x="4131" y="590"/>
                    </a:lnTo>
                    <a:lnTo>
                      <a:pt x="4131" y="590"/>
                    </a:lnTo>
                    <a:lnTo>
                      <a:pt x="4195" y="502"/>
                    </a:lnTo>
                    <a:moveTo>
                      <a:pt x="3301" y="502"/>
                    </a:moveTo>
                    <a:lnTo>
                      <a:pt x="3299" y="502"/>
                    </a:lnTo>
                    <a:lnTo>
                      <a:pt x="3299" y="502"/>
                    </a:lnTo>
                    <a:lnTo>
                      <a:pt x="3299" y="502"/>
                    </a:lnTo>
                    <a:lnTo>
                      <a:pt x="3299" y="571"/>
                    </a:lnTo>
                    <a:lnTo>
                      <a:pt x="3301" y="571"/>
                    </a:lnTo>
                    <a:lnTo>
                      <a:pt x="3301" y="502"/>
                    </a:lnTo>
                    <a:moveTo>
                      <a:pt x="4036" y="455"/>
                    </a:moveTo>
                    <a:lnTo>
                      <a:pt x="4036" y="455"/>
                    </a:lnTo>
                    <a:lnTo>
                      <a:pt x="4036" y="455"/>
                    </a:lnTo>
                    <a:lnTo>
                      <a:pt x="4036" y="457"/>
                    </a:lnTo>
                    <a:lnTo>
                      <a:pt x="4036" y="490"/>
                    </a:lnTo>
                    <a:lnTo>
                      <a:pt x="3953" y="644"/>
                    </a:lnTo>
                    <a:lnTo>
                      <a:pt x="3953" y="916"/>
                    </a:lnTo>
                    <a:lnTo>
                      <a:pt x="3956" y="916"/>
                    </a:lnTo>
                    <a:lnTo>
                      <a:pt x="3956" y="642"/>
                    </a:lnTo>
                    <a:lnTo>
                      <a:pt x="4036" y="490"/>
                    </a:lnTo>
                    <a:lnTo>
                      <a:pt x="4036" y="455"/>
                    </a:lnTo>
                    <a:moveTo>
                      <a:pt x="3329" y="433"/>
                    </a:moveTo>
                    <a:lnTo>
                      <a:pt x="3327" y="433"/>
                    </a:lnTo>
                    <a:lnTo>
                      <a:pt x="3327" y="436"/>
                    </a:lnTo>
                    <a:lnTo>
                      <a:pt x="3327" y="490"/>
                    </a:lnTo>
                    <a:lnTo>
                      <a:pt x="3329" y="490"/>
                    </a:lnTo>
                    <a:lnTo>
                      <a:pt x="3329" y="433"/>
                    </a:lnTo>
                    <a:moveTo>
                      <a:pt x="4043" y="391"/>
                    </a:moveTo>
                    <a:lnTo>
                      <a:pt x="4041" y="391"/>
                    </a:lnTo>
                    <a:lnTo>
                      <a:pt x="4041" y="391"/>
                    </a:lnTo>
                    <a:lnTo>
                      <a:pt x="4041" y="393"/>
                    </a:lnTo>
                    <a:lnTo>
                      <a:pt x="4041" y="450"/>
                    </a:lnTo>
                    <a:lnTo>
                      <a:pt x="4043" y="450"/>
                    </a:lnTo>
                    <a:lnTo>
                      <a:pt x="4043" y="448"/>
                    </a:lnTo>
                    <a:lnTo>
                      <a:pt x="4043" y="448"/>
                    </a:lnTo>
                    <a:lnTo>
                      <a:pt x="4043" y="391"/>
                    </a:lnTo>
                    <a:moveTo>
                      <a:pt x="1809" y="369"/>
                    </a:moveTo>
                    <a:lnTo>
                      <a:pt x="1809" y="369"/>
                    </a:lnTo>
                    <a:lnTo>
                      <a:pt x="1809" y="369"/>
                    </a:lnTo>
                    <a:lnTo>
                      <a:pt x="1809" y="1120"/>
                    </a:lnTo>
                    <a:lnTo>
                      <a:pt x="1809" y="1120"/>
                    </a:lnTo>
                    <a:lnTo>
                      <a:pt x="1809" y="369"/>
                    </a:lnTo>
                    <a:moveTo>
                      <a:pt x="1939" y="334"/>
                    </a:moveTo>
                    <a:lnTo>
                      <a:pt x="1937" y="334"/>
                    </a:lnTo>
                    <a:lnTo>
                      <a:pt x="1937" y="336"/>
                    </a:lnTo>
                    <a:lnTo>
                      <a:pt x="1937" y="358"/>
                    </a:lnTo>
                    <a:lnTo>
                      <a:pt x="1939" y="358"/>
                    </a:lnTo>
                    <a:lnTo>
                      <a:pt x="1939" y="334"/>
                    </a:lnTo>
                    <a:moveTo>
                      <a:pt x="4050" y="327"/>
                    </a:moveTo>
                    <a:lnTo>
                      <a:pt x="4048" y="327"/>
                    </a:lnTo>
                    <a:lnTo>
                      <a:pt x="4048" y="329"/>
                    </a:lnTo>
                    <a:lnTo>
                      <a:pt x="4048" y="384"/>
                    </a:lnTo>
                    <a:lnTo>
                      <a:pt x="4050" y="384"/>
                    </a:lnTo>
                    <a:lnTo>
                      <a:pt x="4050" y="381"/>
                    </a:lnTo>
                    <a:lnTo>
                      <a:pt x="4050" y="381"/>
                    </a:lnTo>
                    <a:lnTo>
                      <a:pt x="4050" y="327"/>
                    </a:lnTo>
                    <a:moveTo>
                      <a:pt x="2029" y="294"/>
                    </a:moveTo>
                    <a:lnTo>
                      <a:pt x="2026" y="294"/>
                    </a:lnTo>
                    <a:lnTo>
                      <a:pt x="2026" y="296"/>
                    </a:lnTo>
                    <a:lnTo>
                      <a:pt x="2026" y="322"/>
                    </a:lnTo>
                    <a:lnTo>
                      <a:pt x="2029" y="322"/>
                    </a:lnTo>
                    <a:lnTo>
                      <a:pt x="2029" y="294"/>
                    </a:lnTo>
                    <a:moveTo>
                      <a:pt x="4703" y="232"/>
                    </a:moveTo>
                    <a:lnTo>
                      <a:pt x="4703" y="232"/>
                    </a:lnTo>
                    <a:lnTo>
                      <a:pt x="4701" y="235"/>
                    </a:lnTo>
                    <a:lnTo>
                      <a:pt x="4639" y="467"/>
                    </a:lnTo>
                    <a:lnTo>
                      <a:pt x="4639" y="467"/>
                    </a:lnTo>
                    <a:lnTo>
                      <a:pt x="4703" y="232"/>
                    </a:lnTo>
                    <a:moveTo>
                      <a:pt x="4805" y="173"/>
                    </a:moveTo>
                    <a:lnTo>
                      <a:pt x="4802" y="173"/>
                    </a:lnTo>
                    <a:lnTo>
                      <a:pt x="4802" y="173"/>
                    </a:lnTo>
                    <a:lnTo>
                      <a:pt x="4802" y="175"/>
                    </a:lnTo>
                    <a:lnTo>
                      <a:pt x="4802" y="220"/>
                    </a:lnTo>
                    <a:lnTo>
                      <a:pt x="4805" y="220"/>
                    </a:lnTo>
                    <a:lnTo>
                      <a:pt x="4805" y="173"/>
                    </a:lnTo>
                    <a:moveTo>
                      <a:pt x="4852" y="0"/>
                    </a:moveTo>
                    <a:lnTo>
                      <a:pt x="4852" y="0"/>
                    </a:lnTo>
                    <a:lnTo>
                      <a:pt x="4852" y="2"/>
                    </a:lnTo>
                    <a:lnTo>
                      <a:pt x="4852" y="161"/>
                    </a:lnTo>
                    <a:lnTo>
                      <a:pt x="4852" y="161"/>
                    </a:lnTo>
                    <a:lnTo>
                      <a:pt x="4852" y="0"/>
                    </a:lnTo>
                    <a:moveTo>
                      <a:pt x="4911" y="0"/>
                    </a:moveTo>
                    <a:lnTo>
                      <a:pt x="4909" y="0"/>
                    </a:lnTo>
                    <a:lnTo>
                      <a:pt x="4909" y="2"/>
                    </a:lnTo>
                    <a:lnTo>
                      <a:pt x="4909" y="161"/>
                    </a:lnTo>
                    <a:lnTo>
                      <a:pt x="4911" y="161"/>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9" name="Freeform 134"/>
              <p:cNvSpPr>
                <a:spLocks noEditPoints="1"/>
              </p:cNvSpPr>
              <p:nvPr/>
            </p:nvSpPr>
            <p:spPr bwMode="auto">
              <a:xfrm>
                <a:off x="37" y="1670"/>
                <a:ext cx="7025" cy="1683"/>
              </a:xfrm>
              <a:custGeom>
                <a:avLst/>
                <a:gdLst>
                  <a:gd name="T0" fmla="*/ 3 w 7025"/>
                  <a:gd name="T1" fmla="*/ 1524 h 1683"/>
                  <a:gd name="T2" fmla="*/ 5663 w 7025"/>
                  <a:gd name="T3" fmla="*/ 1439 h 1683"/>
                  <a:gd name="T4" fmla="*/ 3710 w 7025"/>
                  <a:gd name="T5" fmla="*/ 1221 h 1683"/>
                  <a:gd name="T6" fmla="*/ 5831 w 7025"/>
                  <a:gd name="T7" fmla="*/ 1210 h 1683"/>
                  <a:gd name="T8" fmla="*/ 5831 w 7025"/>
                  <a:gd name="T9" fmla="*/ 1316 h 1683"/>
                  <a:gd name="T10" fmla="*/ 1665 w 7025"/>
                  <a:gd name="T11" fmla="*/ 1160 h 1683"/>
                  <a:gd name="T12" fmla="*/ 1686 w 7025"/>
                  <a:gd name="T13" fmla="*/ 1131 h 1683"/>
                  <a:gd name="T14" fmla="*/ 5857 w 7025"/>
                  <a:gd name="T15" fmla="*/ 1129 h 1683"/>
                  <a:gd name="T16" fmla="*/ 5857 w 7025"/>
                  <a:gd name="T17" fmla="*/ 1200 h 1683"/>
                  <a:gd name="T18" fmla="*/ 6321 w 7025"/>
                  <a:gd name="T19" fmla="*/ 1129 h 1683"/>
                  <a:gd name="T20" fmla="*/ 1445 w 7025"/>
                  <a:gd name="T21" fmla="*/ 1127 h 1683"/>
                  <a:gd name="T22" fmla="*/ 1447 w 7025"/>
                  <a:gd name="T23" fmla="*/ 1127 h 1683"/>
                  <a:gd name="T24" fmla="*/ 1464 w 7025"/>
                  <a:gd name="T25" fmla="*/ 1117 h 1683"/>
                  <a:gd name="T26" fmla="*/ 2859 w 7025"/>
                  <a:gd name="T27" fmla="*/ 1065 h 1683"/>
                  <a:gd name="T28" fmla="*/ 5931 w 7025"/>
                  <a:gd name="T29" fmla="*/ 1041 h 1683"/>
                  <a:gd name="T30" fmla="*/ 5931 w 7025"/>
                  <a:gd name="T31" fmla="*/ 1041 h 1683"/>
                  <a:gd name="T32" fmla="*/ 2878 w 7025"/>
                  <a:gd name="T33" fmla="*/ 1053 h 1683"/>
                  <a:gd name="T34" fmla="*/ 3769 w 7025"/>
                  <a:gd name="T35" fmla="*/ 1214 h 1683"/>
                  <a:gd name="T36" fmla="*/ 5947 w 7025"/>
                  <a:gd name="T37" fmla="*/ 992 h 1683"/>
                  <a:gd name="T38" fmla="*/ 6340 w 7025"/>
                  <a:gd name="T39" fmla="*/ 935 h 1683"/>
                  <a:gd name="T40" fmla="*/ 6340 w 7025"/>
                  <a:gd name="T41" fmla="*/ 935 h 1683"/>
                  <a:gd name="T42" fmla="*/ 3845 w 7025"/>
                  <a:gd name="T43" fmla="*/ 985 h 1683"/>
                  <a:gd name="T44" fmla="*/ 6382 w 7025"/>
                  <a:gd name="T45" fmla="*/ 897 h 1683"/>
                  <a:gd name="T46" fmla="*/ 6389 w 7025"/>
                  <a:gd name="T47" fmla="*/ 878 h 1683"/>
                  <a:gd name="T48" fmla="*/ 6389 w 7025"/>
                  <a:gd name="T49" fmla="*/ 890 h 1683"/>
                  <a:gd name="T50" fmla="*/ 6396 w 7025"/>
                  <a:gd name="T51" fmla="*/ 852 h 1683"/>
                  <a:gd name="T52" fmla="*/ 6399 w 7025"/>
                  <a:gd name="T53" fmla="*/ 850 h 1683"/>
                  <a:gd name="T54" fmla="*/ 804 w 7025"/>
                  <a:gd name="T55" fmla="*/ 1060 h 1683"/>
                  <a:gd name="T56" fmla="*/ 3098 w 7025"/>
                  <a:gd name="T57" fmla="*/ 764 h 1683"/>
                  <a:gd name="T58" fmla="*/ 1008 w 7025"/>
                  <a:gd name="T59" fmla="*/ 753 h 1683"/>
                  <a:gd name="T60" fmla="*/ 5131 w 7025"/>
                  <a:gd name="T61" fmla="*/ 731 h 1683"/>
                  <a:gd name="T62" fmla="*/ 5131 w 7025"/>
                  <a:gd name="T63" fmla="*/ 731 h 1683"/>
                  <a:gd name="T64" fmla="*/ 3138 w 7025"/>
                  <a:gd name="T65" fmla="*/ 753 h 1683"/>
                  <a:gd name="T66" fmla="*/ 95 w 7025"/>
                  <a:gd name="T67" fmla="*/ 1444 h 1683"/>
                  <a:gd name="T68" fmla="*/ 5252 w 7025"/>
                  <a:gd name="T69" fmla="*/ 611 h 1683"/>
                  <a:gd name="T70" fmla="*/ 3282 w 7025"/>
                  <a:gd name="T71" fmla="*/ 582 h 1683"/>
                  <a:gd name="T72" fmla="*/ 3282 w 7025"/>
                  <a:gd name="T73" fmla="*/ 582 h 1683"/>
                  <a:gd name="T74" fmla="*/ 303 w 7025"/>
                  <a:gd name="T75" fmla="*/ 608 h 1683"/>
                  <a:gd name="T76" fmla="*/ 7023 w 7025"/>
                  <a:gd name="T77" fmla="*/ 1683 h 1683"/>
                  <a:gd name="T78" fmla="*/ 4193 w 7025"/>
                  <a:gd name="T79" fmla="*/ 504 h 1683"/>
                  <a:gd name="T80" fmla="*/ 3299 w 7025"/>
                  <a:gd name="T81" fmla="*/ 502 h 1683"/>
                  <a:gd name="T82" fmla="*/ 3301 w 7025"/>
                  <a:gd name="T83" fmla="*/ 502 h 1683"/>
                  <a:gd name="T84" fmla="*/ 4034 w 7025"/>
                  <a:gd name="T85" fmla="*/ 492 h 1683"/>
                  <a:gd name="T86" fmla="*/ 4037 w 7025"/>
                  <a:gd name="T87" fmla="*/ 490 h 1683"/>
                  <a:gd name="T88" fmla="*/ 3327 w 7025"/>
                  <a:gd name="T89" fmla="*/ 492 h 1683"/>
                  <a:gd name="T90" fmla="*/ 4041 w 7025"/>
                  <a:gd name="T91" fmla="*/ 390 h 1683"/>
                  <a:gd name="T92" fmla="*/ 4041 w 7025"/>
                  <a:gd name="T93" fmla="*/ 447 h 1683"/>
                  <a:gd name="T94" fmla="*/ 1807 w 7025"/>
                  <a:gd name="T95" fmla="*/ 1122 h 1683"/>
                  <a:gd name="T96" fmla="*/ 1937 w 7025"/>
                  <a:gd name="T97" fmla="*/ 336 h 1683"/>
                  <a:gd name="T98" fmla="*/ 4048 w 7025"/>
                  <a:gd name="T99" fmla="*/ 326 h 1683"/>
                  <a:gd name="T100" fmla="*/ 4051 w 7025"/>
                  <a:gd name="T101" fmla="*/ 381 h 1683"/>
                  <a:gd name="T102" fmla="*/ 2027 w 7025"/>
                  <a:gd name="T103" fmla="*/ 324 h 1683"/>
                  <a:gd name="T104" fmla="*/ 4701 w 7025"/>
                  <a:gd name="T105" fmla="*/ 234 h 1683"/>
                  <a:gd name="T106" fmla="*/ 4803 w 7025"/>
                  <a:gd name="T107" fmla="*/ 173 h 1683"/>
                  <a:gd name="T108" fmla="*/ 4803 w 7025"/>
                  <a:gd name="T109" fmla="*/ 173 h 1683"/>
                  <a:gd name="T110" fmla="*/ 4852 w 7025"/>
                  <a:gd name="T111" fmla="*/ 163 h 1683"/>
                  <a:gd name="T112" fmla="*/ 4909 w 7025"/>
                  <a:gd name="T113" fmla="*/ 163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3">
                    <a:moveTo>
                      <a:pt x="3" y="1453"/>
                    </a:moveTo>
                    <a:lnTo>
                      <a:pt x="0" y="1453"/>
                    </a:lnTo>
                    <a:lnTo>
                      <a:pt x="0" y="1456"/>
                    </a:lnTo>
                    <a:lnTo>
                      <a:pt x="0" y="1524"/>
                    </a:lnTo>
                    <a:lnTo>
                      <a:pt x="3" y="1524"/>
                    </a:lnTo>
                    <a:lnTo>
                      <a:pt x="3" y="1453"/>
                    </a:lnTo>
                    <a:close/>
                    <a:moveTo>
                      <a:pt x="5666" y="1326"/>
                    </a:moveTo>
                    <a:lnTo>
                      <a:pt x="5663" y="1326"/>
                    </a:lnTo>
                    <a:lnTo>
                      <a:pt x="5663" y="1328"/>
                    </a:lnTo>
                    <a:lnTo>
                      <a:pt x="5663" y="1439"/>
                    </a:lnTo>
                    <a:lnTo>
                      <a:pt x="5666" y="1439"/>
                    </a:lnTo>
                    <a:lnTo>
                      <a:pt x="5666" y="1326"/>
                    </a:lnTo>
                    <a:close/>
                    <a:moveTo>
                      <a:pt x="3710" y="1221"/>
                    </a:moveTo>
                    <a:lnTo>
                      <a:pt x="3710" y="1221"/>
                    </a:lnTo>
                    <a:lnTo>
                      <a:pt x="3710" y="1221"/>
                    </a:lnTo>
                    <a:lnTo>
                      <a:pt x="3710" y="1224"/>
                    </a:lnTo>
                    <a:lnTo>
                      <a:pt x="3710" y="1382"/>
                    </a:lnTo>
                    <a:lnTo>
                      <a:pt x="3710" y="1382"/>
                    </a:lnTo>
                    <a:lnTo>
                      <a:pt x="3710" y="1221"/>
                    </a:lnTo>
                    <a:close/>
                    <a:moveTo>
                      <a:pt x="5831" y="1210"/>
                    </a:moveTo>
                    <a:lnTo>
                      <a:pt x="5831" y="1210"/>
                    </a:lnTo>
                    <a:lnTo>
                      <a:pt x="5829" y="1210"/>
                    </a:lnTo>
                    <a:lnTo>
                      <a:pt x="5829" y="1212"/>
                    </a:lnTo>
                    <a:lnTo>
                      <a:pt x="5829" y="1316"/>
                    </a:lnTo>
                    <a:lnTo>
                      <a:pt x="5831" y="1316"/>
                    </a:lnTo>
                    <a:lnTo>
                      <a:pt x="5831" y="1210"/>
                    </a:lnTo>
                    <a:close/>
                    <a:moveTo>
                      <a:pt x="1665" y="1158"/>
                    </a:moveTo>
                    <a:lnTo>
                      <a:pt x="1665" y="1158"/>
                    </a:lnTo>
                    <a:lnTo>
                      <a:pt x="1665" y="1158"/>
                    </a:lnTo>
                    <a:lnTo>
                      <a:pt x="1665" y="1160"/>
                    </a:lnTo>
                    <a:lnTo>
                      <a:pt x="1665" y="1191"/>
                    </a:lnTo>
                    <a:lnTo>
                      <a:pt x="1665" y="1191"/>
                    </a:lnTo>
                    <a:lnTo>
                      <a:pt x="1665" y="1158"/>
                    </a:lnTo>
                    <a:close/>
                    <a:moveTo>
                      <a:pt x="1689" y="1131"/>
                    </a:moveTo>
                    <a:lnTo>
                      <a:pt x="1686" y="1131"/>
                    </a:lnTo>
                    <a:lnTo>
                      <a:pt x="1686" y="1134"/>
                    </a:lnTo>
                    <a:lnTo>
                      <a:pt x="1686" y="1148"/>
                    </a:lnTo>
                    <a:lnTo>
                      <a:pt x="1689" y="1148"/>
                    </a:lnTo>
                    <a:lnTo>
                      <a:pt x="1689" y="1131"/>
                    </a:lnTo>
                    <a:close/>
                    <a:moveTo>
                      <a:pt x="5857" y="1129"/>
                    </a:moveTo>
                    <a:lnTo>
                      <a:pt x="5855" y="1129"/>
                    </a:lnTo>
                    <a:lnTo>
                      <a:pt x="5855" y="1129"/>
                    </a:lnTo>
                    <a:lnTo>
                      <a:pt x="5855" y="1129"/>
                    </a:lnTo>
                    <a:lnTo>
                      <a:pt x="5855" y="1200"/>
                    </a:lnTo>
                    <a:lnTo>
                      <a:pt x="5857" y="1200"/>
                    </a:lnTo>
                    <a:lnTo>
                      <a:pt x="5857" y="1129"/>
                    </a:lnTo>
                    <a:close/>
                    <a:moveTo>
                      <a:pt x="6323" y="1129"/>
                    </a:moveTo>
                    <a:lnTo>
                      <a:pt x="6321" y="1129"/>
                    </a:lnTo>
                    <a:lnTo>
                      <a:pt x="6321" y="1129"/>
                    </a:lnTo>
                    <a:lnTo>
                      <a:pt x="6321" y="1129"/>
                    </a:lnTo>
                    <a:lnTo>
                      <a:pt x="6321" y="1354"/>
                    </a:lnTo>
                    <a:lnTo>
                      <a:pt x="6323" y="1354"/>
                    </a:lnTo>
                    <a:lnTo>
                      <a:pt x="6323" y="1129"/>
                    </a:lnTo>
                    <a:close/>
                    <a:moveTo>
                      <a:pt x="1447" y="1127"/>
                    </a:moveTo>
                    <a:lnTo>
                      <a:pt x="1445" y="1127"/>
                    </a:lnTo>
                    <a:lnTo>
                      <a:pt x="1445" y="1127"/>
                    </a:lnTo>
                    <a:lnTo>
                      <a:pt x="1445" y="1127"/>
                    </a:lnTo>
                    <a:lnTo>
                      <a:pt x="1445" y="1191"/>
                    </a:lnTo>
                    <a:lnTo>
                      <a:pt x="1447" y="1191"/>
                    </a:lnTo>
                    <a:lnTo>
                      <a:pt x="1447" y="1127"/>
                    </a:lnTo>
                    <a:close/>
                    <a:moveTo>
                      <a:pt x="1464" y="1084"/>
                    </a:moveTo>
                    <a:lnTo>
                      <a:pt x="1462" y="1084"/>
                    </a:lnTo>
                    <a:lnTo>
                      <a:pt x="1462" y="1086"/>
                    </a:lnTo>
                    <a:lnTo>
                      <a:pt x="1462" y="1117"/>
                    </a:lnTo>
                    <a:lnTo>
                      <a:pt x="1464" y="1117"/>
                    </a:lnTo>
                    <a:lnTo>
                      <a:pt x="1464" y="1084"/>
                    </a:lnTo>
                    <a:close/>
                    <a:moveTo>
                      <a:pt x="2861" y="1063"/>
                    </a:moveTo>
                    <a:lnTo>
                      <a:pt x="2859" y="1063"/>
                    </a:lnTo>
                    <a:lnTo>
                      <a:pt x="2859" y="1063"/>
                    </a:lnTo>
                    <a:lnTo>
                      <a:pt x="2859" y="1065"/>
                    </a:lnTo>
                    <a:lnTo>
                      <a:pt x="2859" y="1231"/>
                    </a:lnTo>
                    <a:lnTo>
                      <a:pt x="2861" y="1231"/>
                    </a:lnTo>
                    <a:lnTo>
                      <a:pt x="2861" y="1063"/>
                    </a:lnTo>
                    <a:close/>
                    <a:moveTo>
                      <a:pt x="5931" y="1041"/>
                    </a:moveTo>
                    <a:lnTo>
                      <a:pt x="5931" y="1041"/>
                    </a:lnTo>
                    <a:lnTo>
                      <a:pt x="5928" y="1041"/>
                    </a:lnTo>
                    <a:lnTo>
                      <a:pt x="5928" y="1044"/>
                    </a:lnTo>
                    <a:lnTo>
                      <a:pt x="5928" y="1120"/>
                    </a:lnTo>
                    <a:lnTo>
                      <a:pt x="5931" y="1120"/>
                    </a:lnTo>
                    <a:lnTo>
                      <a:pt x="5931" y="1041"/>
                    </a:lnTo>
                    <a:close/>
                    <a:moveTo>
                      <a:pt x="2878" y="1013"/>
                    </a:moveTo>
                    <a:lnTo>
                      <a:pt x="2876" y="1013"/>
                    </a:lnTo>
                    <a:lnTo>
                      <a:pt x="2876" y="1013"/>
                    </a:lnTo>
                    <a:lnTo>
                      <a:pt x="2876" y="1053"/>
                    </a:lnTo>
                    <a:lnTo>
                      <a:pt x="2878" y="1053"/>
                    </a:lnTo>
                    <a:lnTo>
                      <a:pt x="2878" y="1013"/>
                    </a:lnTo>
                    <a:close/>
                    <a:moveTo>
                      <a:pt x="3769" y="994"/>
                    </a:moveTo>
                    <a:lnTo>
                      <a:pt x="3769" y="994"/>
                    </a:lnTo>
                    <a:lnTo>
                      <a:pt x="3769" y="997"/>
                    </a:lnTo>
                    <a:lnTo>
                      <a:pt x="3769" y="1214"/>
                    </a:lnTo>
                    <a:lnTo>
                      <a:pt x="3769" y="1214"/>
                    </a:lnTo>
                    <a:lnTo>
                      <a:pt x="3769" y="994"/>
                    </a:lnTo>
                    <a:close/>
                    <a:moveTo>
                      <a:pt x="5949" y="989"/>
                    </a:moveTo>
                    <a:lnTo>
                      <a:pt x="5947" y="989"/>
                    </a:lnTo>
                    <a:lnTo>
                      <a:pt x="5947" y="992"/>
                    </a:lnTo>
                    <a:lnTo>
                      <a:pt x="5947" y="1032"/>
                    </a:lnTo>
                    <a:lnTo>
                      <a:pt x="5949" y="1032"/>
                    </a:lnTo>
                    <a:lnTo>
                      <a:pt x="5949" y="989"/>
                    </a:lnTo>
                    <a:close/>
                    <a:moveTo>
                      <a:pt x="6340" y="935"/>
                    </a:moveTo>
                    <a:lnTo>
                      <a:pt x="6340" y="935"/>
                    </a:lnTo>
                    <a:lnTo>
                      <a:pt x="6337" y="935"/>
                    </a:lnTo>
                    <a:lnTo>
                      <a:pt x="6337" y="937"/>
                    </a:lnTo>
                    <a:lnTo>
                      <a:pt x="6337" y="1120"/>
                    </a:lnTo>
                    <a:lnTo>
                      <a:pt x="6340" y="1120"/>
                    </a:lnTo>
                    <a:lnTo>
                      <a:pt x="6340" y="935"/>
                    </a:lnTo>
                    <a:close/>
                    <a:moveTo>
                      <a:pt x="3845" y="928"/>
                    </a:moveTo>
                    <a:lnTo>
                      <a:pt x="3843" y="928"/>
                    </a:lnTo>
                    <a:lnTo>
                      <a:pt x="3843" y="930"/>
                    </a:lnTo>
                    <a:lnTo>
                      <a:pt x="3843" y="985"/>
                    </a:lnTo>
                    <a:lnTo>
                      <a:pt x="3845" y="985"/>
                    </a:lnTo>
                    <a:lnTo>
                      <a:pt x="3845" y="928"/>
                    </a:lnTo>
                    <a:close/>
                    <a:moveTo>
                      <a:pt x="6385" y="895"/>
                    </a:moveTo>
                    <a:lnTo>
                      <a:pt x="6385" y="895"/>
                    </a:lnTo>
                    <a:lnTo>
                      <a:pt x="6382" y="895"/>
                    </a:lnTo>
                    <a:lnTo>
                      <a:pt x="6382" y="897"/>
                    </a:lnTo>
                    <a:lnTo>
                      <a:pt x="6377" y="925"/>
                    </a:lnTo>
                    <a:lnTo>
                      <a:pt x="6377" y="925"/>
                    </a:lnTo>
                    <a:lnTo>
                      <a:pt x="6385" y="895"/>
                    </a:lnTo>
                    <a:close/>
                    <a:moveTo>
                      <a:pt x="6389" y="878"/>
                    </a:moveTo>
                    <a:lnTo>
                      <a:pt x="6389" y="878"/>
                    </a:lnTo>
                    <a:lnTo>
                      <a:pt x="6387" y="878"/>
                    </a:lnTo>
                    <a:lnTo>
                      <a:pt x="6387" y="881"/>
                    </a:lnTo>
                    <a:lnTo>
                      <a:pt x="6387" y="892"/>
                    </a:lnTo>
                    <a:lnTo>
                      <a:pt x="6389" y="892"/>
                    </a:lnTo>
                    <a:lnTo>
                      <a:pt x="6389" y="890"/>
                    </a:lnTo>
                    <a:lnTo>
                      <a:pt x="6389" y="890"/>
                    </a:lnTo>
                    <a:lnTo>
                      <a:pt x="6389" y="878"/>
                    </a:lnTo>
                    <a:close/>
                    <a:moveTo>
                      <a:pt x="6399" y="850"/>
                    </a:moveTo>
                    <a:lnTo>
                      <a:pt x="6396" y="850"/>
                    </a:lnTo>
                    <a:lnTo>
                      <a:pt x="6396" y="852"/>
                    </a:lnTo>
                    <a:lnTo>
                      <a:pt x="6396" y="871"/>
                    </a:lnTo>
                    <a:lnTo>
                      <a:pt x="6396" y="871"/>
                    </a:lnTo>
                    <a:lnTo>
                      <a:pt x="6396" y="869"/>
                    </a:lnTo>
                    <a:lnTo>
                      <a:pt x="6399" y="869"/>
                    </a:lnTo>
                    <a:lnTo>
                      <a:pt x="6399" y="850"/>
                    </a:lnTo>
                    <a:close/>
                    <a:moveTo>
                      <a:pt x="804" y="828"/>
                    </a:moveTo>
                    <a:lnTo>
                      <a:pt x="804" y="828"/>
                    </a:lnTo>
                    <a:lnTo>
                      <a:pt x="804" y="828"/>
                    </a:lnTo>
                    <a:lnTo>
                      <a:pt x="804" y="1060"/>
                    </a:lnTo>
                    <a:lnTo>
                      <a:pt x="804" y="1060"/>
                    </a:lnTo>
                    <a:lnTo>
                      <a:pt x="804" y="828"/>
                    </a:lnTo>
                    <a:close/>
                    <a:moveTo>
                      <a:pt x="3100" y="762"/>
                    </a:moveTo>
                    <a:lnTo>
                      <a:pt x="3100" y="762"/>
                    </a:lnTo>
                    <a:lnTo>
                      <a:pt x="3098" y="762"/>
                    </a:lnTo>
                    <a:lnTo>
                      <a:pt x="3098" y="764"/>
                    </a:lnTo>
                    <a:lnTo>
                      <a:pt x="3098" y="970"/>
                    </a:lnTo>
                    <a:lnTo>
                      <a:pt x="3100" y="970"/>
                    </a:lnTo>
                    <a:lnTo>
                      <a:pt x="3100" y="762"/>
                    </a:lnTo>
                    <a:close/>
                    <a:moveTo>
                      <a:pt x="1010" y="753"/>
                    </a:moveTo>
                    <a:lnTo>
                      <a:pt x="1008" y="753"/>
                    </a:lnTo>
                    <a:lnTo>
                      <a:pt x="1008" y="755"/>
                    </a:lnTo>
                    <a:lnTo>
                      <a:pt x="1008" y="819"/>
                    </a:lnTo>
                    <a:lnTo>
                      <a:pt x="1010" y="819"/>
                    </a:lnTo>
                    <a:lnTo>
                      <a:pt x="1010" y="753"/>
                    </a:lnTo>
                    <a:close/>
                    <a:moveTo>
                      <a:pt x="5131" y="731"/>
                    </a:moveTo>
                    <a:lnTo>
                      <a:pt x="5131" y="731"/>
                    </a:lnTo>
                    <a:lnTo>
                      <a:pt x="5131" y="734"/>
                    </a:lnTo>
                    <a:lnTo>
                      <a:pt x="5131" y="963"/>
                    </a:lnTo>
                    <a:lnTo>
                      <a:pt x="5131" y="963"/>
                    </a:lnTo>
                    <a:lnTo>
                      <a:pt x="5131" y="731"/>
                    </a:lnTo>
                    <a:close/>
                    <a:moveTo>
                      <a:pt x="3138" y="658"/>
                    </a:moveTo>
                    <a:lnTo>
                      <a:pt x="3136" y="658"/>
                    </a:lnTo>
                    <a:lnTo>
                      <a:pt x="3136" y="658"/>
                    </a:lnTo>
                    <a:lnTo>
                      <a:pt x="3136" y="753"/>
                    </a:lnTo>
                    <a:lnTo>
                      <a:pt x="3138" y="753"/>
                    </a:lnTo>
                    <a:lnTo>
                      <a:pt x="3138" y="658"/>
                    </a:lnTo>
                    <a:close/>
                    <a:moveTo>
                      <a:pt x="97" y="618"/>
                    </a:moveTo>
                    <a:lnTo>
                      <a:pt x="95" y="618"/>
                    </a:lnTo>
                    <a:lnTo>
                      <a:pt x="95" y="618"/>
                    </a:lnTo>
                    <a:lnTo>
                      <a:pt x="95" y="1444"/>
                    </a:lnTo>
                    <a:lnTo>
                      <a:pt x="97" y="1444"/>
                    </a:lnTo>
                    <a:lnTo>
                      <a:pt x="97" y="618"/>
                    </a:lnTo>
                    <a:close/>
                    <a:moveTo>
                      <a:pt x="5252" y="611"/>
                    </a:moveTo>
                    <a:lnTo>
                      <a:pt x="5252" y="611"/>
                    </a:lnTo>
                    <a:lnTo>
                      <a:pt x="5252" y="611"/>
                    </a:lnTo>
                    <a:lnTo>
                      <a:pt x="5252" y="722"/>
                    </a:lnTo>
                    <a:lnTo>
                      <a:pt x="5252" y="722"/>
                    </a:lnTo>
                    <a:lnTo>
                      <a:pt x="5252" y="611"/>
                    </a:lnTo>
                    <a:close/>
                    <a:moveTo>
                      <a:pt x="3282" y="582"/>
                    </a:moveTo>
                    <a:lnTo>
                      <a:pt x="3282" y="582"/>
                    </a:lnTo>
                    <a:lnTo>
                      <a:pt x="3280" y="582"/>
                    </a:lnTo>
                    <a:lnTo>
                      <a:pt x="3280" y="585"/>
                    </a:lnTo>
                    <a:lnTo>
                      <a:pt x="3280" y="648"/>
                    </a:lnTo>
                    <a:lnTo>
                      <a:pt x="3282" y="648"/>
                    </a:lnTo>
                    <a:lnTo>
                      <a:pt x="3282" y="582"/>
                    </a:lnTo>
                    <a:close/>
                    <a:moveTo>
                      <a:pt x="303" y="547"/>
                    </a:moveTo>
                    <a:lnTo>
                      <a:pt x="301" y="547"/>
                    </a:lnTo>
                    <a:lnTo>
                      <a:pt x="301" y="549"/>
                    </a:lnTo>
                    <a:lnTo>
                      <a:pt x="301" y="608"/>
                    </a:lnTo>
                    <a:lnTo>
                      <a:pt x="303" y="608"/>
                    </a:lnTo>
                    <a:lnTo>
                      <a:pt x="303" y="547"/>
                    </a:lnTo>
                    <a:close/>
                    <a:moveTo>
                      <a:pt x="7025" y="509"/>
                    </a:moveTo>
                    <a:lnTo>
                      <a:pt x="7023" y="509"/>
                    </a:lnTo>
                    <a:lnTo>
                      <a:pt x="7023" y="511"/>
                    </a:lnTo>
                    <a:lnTo>
                      <a:pt x="7023" y="1683"/>
                    </a:lnTo>
                    <a:lnTo>
                      <a:pt x="7025" y="1683"/>
                    </a:lnTo>
                    <a:lnTo>
                      <a:pt x="7025" y="509"/>
                    </a:lnTo>
                    <a:close/>
                    <a:moveTo>
                      <a:pt x="4193" y="504"/>
                    </a:moveTo>
                    <a:lnTo>
                      <a:pt x="4193" y="504"/>
                    </a:lnTo>
                    <a:lnTo>
                      <a:pt x="4193" y="504"/>
                    </a:lnTo>
                    <a:lnTo>
                      <a:pt x="4129" y="592"/>
                    </a:lnTo>
                    <a:lnTo>
                      <a:pt x="4129" y="592"/>
                    </a:lnTo>
                    <a:lnTo>
                      <a:pt x="4193" y="504"/>
                    </a:lnTo>
                    <a:close/>
                    <a:moveTo>
                      <a:pt x="3301" y="502"/>
                    </a:moveTo>
                    <a:lnTo>
                      <a:pt x="3299" y="502"/>
                    </a:lnTo>
                    <a:lnTo>
                      <a:pt x="3299" y="502"/>
                    </a:lnTo>
                    <a:lnTo>
                      <a:pt x="3299" y="504"/>
                    </a:lnTo>
                    <a:lnTo>
                      <a:pt x="3299" y="573"/>
                    </a:lnTo>
                    <a:lnTo>
                      <a:pt x="3301" y="573"/>
                    </a:lnTo>
                    <a:lnTo>
                      <a:pt x="3301" y="502"/>
                    </a:lnTo>
                    <a:close/>
                    <a:moveTo>
                      <a:pt x="4037" y="454"/>
                    </a:moveTo>
                    <a:lnTo>
                      <a:pt x="4034" y="454"/>
                    </a:lnTo>
                    <a:lnTo>
                      <a:pt x="4034" y="454"/>
                    </a:lnTo>
                    <a:lnTo>
                      <a:pt x="4034" y="457"/>
                    </a:lnTo>
                    <a:lnTo>
                      <a:pt x="4034" y="492"/>
                    </a:lnTo>
                    <a:lnTo>
                      <a:pt x="3954" y="644"/>
                    </a:lnTo>
                    <a:lnTo>
                      <a:pt x="3954" y="918"/>
                    </a:lnTo>
                    <a:lnTo>
                      <a:pt x="3954" y="918"/>
                    </a:lnTo>
                    <a:lnTo>
                      <a:pt x="3954" y="641"/>
                    </a:lnTo>
                    <a:lnTo>
                      <a:pt x="4037" y="490"/>
                    </a:lnTo>
                    <a:lnTo>
                      <a:pt x="4037" y="454"/>
                    </a:lnTo>
                    <a:close/>
                    <a:moveTo>
                      <a:pt x="3330" y="433"/>
                    </a:moveTo>
                    <a:lnTo>
                      <a:pt x="3327" y="433"/>
                    </a:lnTo>
                    <a:lnTo>
                      <a:pt x="3327" y="435"/>
                    </a:lnTo>
                    <a:lnTo>
                      <a:pt x="3327" y="492"/>
                    </a:lnTo>
                    <a:lnTo>
                      <a:pt x="3330" y="492"/>
                    </a:lnTo>
                    <a:lnTo>
                      <a:pt x="3330" y="433"/>
                    </a:lnTo>
                    <a:close/>
                    <a:moveTo>
                      <a:pt x="4041" y="390"/>
                    </a:moveTo>
                    <a:lnTo>
                      <a:pt x="4041" y="390"/>
                    </a:lnTo>
                    <a:lnTo>
                      <a:pt x="4041" y="390"/>
                    </a:lnTo>
                    <a:lnTo>
                      <a:pt x="4041" y="393"/>
                    </a:lnTo>
                    <a:lnTo>
                      <a:pt x="4041" y="450"/>
                    </a:lnTo>
                    <a:lnTo>
                      <a:pt x="4041" y="450"/>
                    </a:lnTo>
                    <a:lnTo>
                      <a:pt x="4041" y="447"/>
                    </a:lnTo>
                    <a:lnTo>
                      <a:pt x="4041" y="447"/>
                    </a:lnTo>
                    <a:lnTo>
                      <a:pt x="4041" y="390"/>
                    </a:lnTo>
                    <a:close/>
                    <a:moveTo>
                      <a:pt x="1809" y="369"/>
                    </a:moveTo>
                    <a:lnTo>
                      <a:pt x="1807" y="369"/>
                    </a:lnTo>
                    <a:lnTo>
                      <a:pt x="1807" y="371"/>
                    </a:lnTo>
                    <a:lnTo>
                      <a:pt x="1807" y="1122"/>
                    </a:lnTo>
                    <a:lnTo>
                      <a:pt x="1809" y="1122"/>
                    </a:lnTo>
                    <a:lnTo>
                      <a:pt x="1809" y="369"/>
                    </a:lnTo>
                    <a:close/>
                    <a:moveTo>
                      <a:pt x="1939" y="334"/>
                    </a:moveTo>
                    <a:lnTo>
                      <a:pt x="1937" y="334"/>
                    </a:lnTo>
                    <a:lnTo>
                      <a:pt x="1937" y="336"/>
                    </a:lnTo>
                    <a:lnTo>
                      <a:pt x="1937" y="360"/>
                    </a:lnTo>
                    <a:lnTo>
                      <a:pt x="1939" y="360"/>
                    </a:lnTo>
                    <a:lnTo>
                      <a:pt x="1939" y="334"/>
                    </a:lnTo>
                    <a:close/>
                    <a:moveTo>
                      <a:pt x="4051" y="326"/>
                    </a:moveTo>
                    <a:lnTo>
                      <a:pt x="4048" y="326"/>
                    </a:lnTo>
                    <a:lnTo>
                      <a:pt x="4048" y="329"/>
                    </a:lnTo>
                    <a:lnTo>
                      <a:pt x="4048" y="383"/>
                    </a:lnTo>
                    <a:lnTo>
                      <a:pt x="4051" y="383"/>
                    </a:lnTo>
                    <a:lnTo>
                      <a:pt x="4051" y="381"/>
                    </a:lnTo>
                    <a:lnTo>
                      <a:pt x="4051" y="381"/>
                    </a:lnTo>
                    <a:lnTo>
                      <a:pt x="4051" y="326"/>
                    </a:lnTo>
                    <a:close/>
                    <a:moveTo>
                      <a:pt x="2029" y="293"/>
                    </a:moveTo>
                    <a:lnTo>
                      <a:pt x="2027" y="293"/>
                    </a:lnTo>
                    <a:lnTo>
                      <a:pt x="2027" y="296"/>
                    </a:lnTo>
                    <a:lnTo>
                      <a:pt x="2027" y="324"/>
                    </a:lnTo>
                    <a:lnTo>
                      <a:pt x="2029" y="324"/>
                    </a:lnTo>
                    <a:lnTo>
                      <a:pt x="2029" y="293"/>
                    </a:lnTo>
                    <a:close/>
                    <a:moveTo>
                      <a:pt x="4703" y="232"/>
                    </a:moveTo>
                    <a:lnTo>
                      <a:pt x="4701" y="232"/>
                    </a:lnTo>
                    <a:lnTo>
                      <a:pt x="4701" y="234"/>
                    </a:lnTo>
                    <a:lnTo>
                      <a:pt x="4637" y="469"/>
                    </a:lnTo>
                    <a:lnTo>
                      <a:pt x="4640" y="469"/>
                    </a:lnTo>
                    <a:lnTo>
                      <a:pt x="4703" y="232"/>
                    </a:lnTo>
                    <a:close/>
                    <a:moveTo>
                      <a:pt x="4803" y="173"/>
                    </a:moveTo>
                    <a:lnTo>
                      <a:pt x="4803" y="173"/>
                    </a:lnTo>
                    <a:lnTo>
                      <a:pt x="4803" y="173"/>
                    </a:lnTo>
                    <a:lnTo>
                      <a:pt x="4803" y="175"/>
                    </a:lnTo>
                    <a:lnTo>
                      <a:pt x="4803" y="222"/>
                    </a:lnTo>
                    <a:lnTo>
                      <a:pt x="4803" y="222"/>
                    </a:lnTo>
                    <a:lnTo>
                      <a:pt x="4803" y="173"/>
                    </a:lnTo>
                    <a:close/>
                    <a:moveTo>
                      <a:pt x="4852" y="0"/>
                    </a:moveTo>
                    <a:lnTo>
                      <a:pt x="4850" y="0"/>
                    </a:lnTo>
                    <a:lnTo>
                      <a:pt x="4850" y="2"/>
                    </a:lnTo>
                    <a:lnTo>
                      <a:pt x="4850" y="163"/>
                    </a:lnTo>
                    <a:lnTo>
                      <a:pt x="4852" y="163"/>
                    </a:lnTo>
                    <a:lnTo>
                      <a:pt x="4852" y="0"/>
                    </a:lnTo>
                    <a:close/>
                    <a:moveTo>
                      <a:pt x="4911" y="0"/>
                    </a:moveTo>
                    <a:lnTo>
                      <a:pt x="4909" y="0"/>
                    </a:lnTo>
                    <a:lnTo>
                      <a:pt x="4909" y="2"/>
                    </a:lnTo>
                    <a:lnTo>
                      <a:pt x="4909" y="163"/>
                    </a:lnTo>
                    <a:lnTo>
                      <a:pt x="4911" y="163"/>
                    </a:lnTo>
                    <a:lnTo>
                      <a:pt x="4911"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0" name="Freeform 135"/>
              <p:cNvSpPr>
                <a:spLocks noEditPoints="1"/>
              </p:cNvSpPr>
              <p:nvPr/>
            </p:nvSpPr>
            <p:spPr bwMode="auto">
              <a:xfrm>
                <a:off x="37" y="1670"/>
                <a:ext cx="7025" cy="1683"/>
              </a:xfrm>
              <a:custGeom>
                <a:avLst/>
                <a:gdLst>
                  <a:gd name="T0" fmla="*/ 3 w 7025"/>
                  <a:gd name="T1" fmla="*/ 1524 h 1683"/>
                  <a:gd name="T2" fmla="*/ 5663 w 7025"/>
                  <a:gd name="T3" fmla="*/ 1439 h 1683"/>
                  <a:gd name="T4" fmla="*/ 3710 w 7025"/>
                  <a:gd name="T5" fmla="*/ 1221 h 1683"/>
                  <a:gd name="T6" fmla="*/ 5831 w 7025"/>
                  <a:gd name="T7" fmla="*/ 1210 h 1683"/>
                  <a:gd name="T8" fmla="*/ 5831 w 7025"/>
                  <a:gd name="T9" fmla="*/ 1316 h 1683"/>
                  <a:gd name="T10" fmla="*/ 1665 w 7025"/>
                  <a:gd name="T11" fmla="*/ 1160 h 1683"/>
                  <a:gd name="T12" fmla="*/ 1686 w 7025"/>
                  <a:gd name="T13" fmla="*/ 1131 h 1683"/>
                  <a:gd name="T14" fmla="*/ 5857 w 7025"/>
                  <a:gd name="T15" fmla="*/ 1129 h 1683"/>
                  <a:gd name="T16" fmla="*/ 5857 w 7025"/>
                  <a:gd name="T17" fmla="*/ 1200 h 1683"/>
                  <a:gd name="T18" fmla="*/ 6321 w 7025"/>
                  <a:gd name="T19" fmla="*/ 1129 h 1683"/>
                  <a:gd name="T20" fmla="*/ 1445 w 7025"/>
                  <a:gd name="T21" fmla="*/ 1127 h 1683"/>
                  <a:gd name="T22" fmla="*/ 1447 w 7025"/>
                  <a:gd name="T23" fmla="*/ 1127 h 1683"/>
                  <a:gd name="T24" fmla="*/ 1464 w 7025"/>
                  <a:gd name="T25" fmla="*/ 1117 h 1683"/>
                  <a:gd name="T26" fmla="*/ 2859 w 7025"/>
                  <a:gd name="T27" fmla="*/ 1065 h 1683"/>
                  <a:gd name="T28" fmla="*/ 5931 w 7025"/>
                  <a:gd name="T29" fmla="*/ 1041 h 1683"/>
                  <a:gd name="T30" fmla="*/ 5931 w 7025"/>
                  <a:gd name="T31" fmla="*/ 1041 h 1683"/>
                  <a:gd name="T32" fmla="*/ 2878 w 7025"/>
                  <a:gd name="T33" fmla="*/ 1053 h 1683"/>
                  <a:gd name="T34" fmla="*/ 3769 w 7025"/>
                  <a:gd name="T35" fmla="*/ 1214 h 1683"/>
                  <a:gd name="T36" fmla="*/ 5947 w 7025"/>
                  <a:gd name="T37" fmla="*/ 992 h 1683"/>
                  <a:gd name="T38" fmla="*/ 6340 w 7025"/>
                  <a:gd name="T39" fmla="*/ 935 h 1683"/>
                  <a:gd name="T40" fmla="*/ 6340 w 7025"/>
                  <a:gd name="T41" fmla="*/ 935 h 1683"/>
                  <a:gd name="T42" fmla="*/ 3845 w 7025"/>
                  <a:gd name="T43" fmla="*/ 985 h 1683"/>
                  <a:gd name="T44" fmla="*/ 6382 w 7025"/>
                  <a:gd name="T45" fmla="*/ 897 h 1683"/>
                  <a:gd name="T46" fmla="*/ 6389 w 7025"/>
                  <a:gd name="T47" fmla="*/ 878 h 1683"/>
                  <a:gd name="T48" fmla="*/ 6389 w 7025"/>
                  <a:gd name="T49" fmla="*/ 890 h 1683"/>
                  <a:gd name="T50" fmla="*/ 6396 w 7025"/>
                  <a:gd name="T51" fmla="*/ 852 h 1683"/>
                  <a:gd name="T52" fmla="*/ 6399 w 7025"/>
                  <a:gd name="T53" fmla="*/ 850 h 1683"/>
                  <a:gd name="T54" fmla="*/ 804 w 7025"/>
                  <a:gd name="T55" fmla="*/ 1060 h 1683"/>
                  <a:gd name="T56" fmla="*/ 3098 w 7025"/>
                  <a:gd name="T57" fmla="*/ 764 h 1683"/>
                  <a:gd name="T58" fmla="*/ 1008 w 7025"/>
                  <a:gd name="T59" fmla="*/ 753 h 1683"/>
                  <a:gd name="T60" fmla="*/ 5131 w 7025"/>
                  <a:gd name="T61" fmla="*/ 731 h 1683"/>
                  <a:gd name="T62" fmla="*/ 5131 w 7025"/>
                  <a:gd name="T63" fmla="*/ 731 h 1683"/>
                  <a:gd name="T64" fmla="*/ 3138 w 7025"/>
                  <a:gd name="T65" fmla="*/ 753 h 1683"/>
                  <a:gd name="T66" fmla="*/ 95 w 7025"/>
                  <a:gd name="T67" fmla="*/ 1444 h 1683"/>
                  <a:gd name="T68" fmla="*/ 5252 w 7025"/>
                  <a:gd name="T69" fmla="*/ 611 h 1683"/>
                  <a:gd name="T70" fmla="*/ 3282 w 7025"/>
                  <a:gd name="T71" fmla="*/ 582 h 1683"/>
                  <a:gd name="T72" fmla="*/ 3282 w 7025"/>
                  <a:gd name="T73" fmla="*/ 582 h 1683"/>
                  <a:gd name="T74" fmla="*/ 303 w 7025"/>
                  <a:gd name="T75" fmla="*/ 608 h 1683"/>
                  <a:gd name="T76" fmla="*/ 7023 w 7025"/>
                  <a:gd name="T77" fmla="*/ 1683 h 1683"/>
                  <a:gd name="T78" fmla="*/ 4193 w 7025"/>
                  <a:gd name="T79" fmla="*/ 504 h 1683"/>
                  <a:gd name="T80" fmla="*/ 3299 w 7025"/>
                  <a:gd name="T81" fmla="*/ 502 h 1683"/>
                  <a:gd name="T82" fmla="*/ 3301 w 7025"/>
                  <a:gd name="T83" fmla="*/ 502 h 1683"/>
                  <a:gd name="T84" fmla="*/ 4034 w 7025"/>
                  <a:gd name="T85" fmla="*/ 492 h 1683"/>
                  <a:gd name="T86" fmla="*/ 4037 w 7025"/>
                  <a:gd name="T87" fmla="*/ 490 h 1683"/>
                  <a:gd name="T88" fmla="*/ 3327 w 7025"/>
                  <a:gd name="T89" fmla="*/ 492 h 1683"/>
                  <a:gd name="T90" fmla="*/ 4041 w 7025"/>
                  <a:gd name="T91" fmla="*/ 390 h 1683"/>
                  <a:gd name="T92" fmla="*/ 4041 w 7025"/>
                  <a:gd name="T93" fmla="*/ 447 h 1683"/>
                  <a:gd name="T94" fmla="*/ 1807 w 7025"/>
                  <a:gd name="T95" fmla="*/ 1122 h 1683"/>
                  <a:gd name="T96" fmla="*/ 1937 w 7025"/>
                  <a:gd name="T97" fmla="*/ 336 h 1683"/>
                  <a:gd name="T98" fmla="*/ 4048 w 7025"/>
                  <a:gd name="T99" fmla="*/ 326 h 1683"/>
                  <a:gd name="T100" fmla="*/ 4051 w 7025"/>
                  <a:gd name="T101" fmla="*/ 381 h 1683"/>
                  <a:gd name="T102" fmla="*/ 2027 w 7025"/>
                  <a:gd name="T103" fmla="*/ 324 h 1683"/>
                  <a:gd name="T104" fmla="*/ 4701 w 7025"/>
                  <a:gd name="T105" fmla="*/ 234 h 1683"/>
                  <a:gd name="T106" fmla="*/ 4803 w 7025"/>
                  <a:gd name="T107" fmla="*/ 173 h 1683"/>
                  <a:gd name="T108" fmla="*/ 4803 w 7025"/>
                  <a:gd name="T109" fmla="*/ 173 h 1683"/>
                  <a:gd name="T110" fmla="*/ 4852 w 7025"/>
                  <a:gd name="T111" fmla="*/ 163 h 1683"/>
                  <a:gd name="T112" fmla="*/ 4909 w 7025"/>
                  <a:gd name="T113" fmla="*/ 163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3">
                    <a:moveTo>
                      <a:pt x="3" y="1453"/>
                    </a:moveTo>
                    <a:lnTo>
                      <a:pt x="0" y="1453"/>
                    </a:lnTo>
                    <a:lnTo>
                      <a:pt x="0" y="1456"/>
                    </a:lnTo>
                    <a:lnTo>
                      <a:pt x="0" y="1524"/>
                    </a:lnTo>
                    <a:lnTo>
                      <a:pt x="3" y="1524"/>
                    </a:lnTo>
                    <a:lnTo>
                      <a:pt x="3" y="1453"/>
                    </a:lnTo>
                    <a:moveTo>
                      <a:pt x="5666" y="1326"/>
                    </a:moveTo>
                    <a:lnTo>
                      <a:pt x="5663" y="1326"/>
                    </a:lnTo>
                    <a:lnTo>
                      <a:pt x="5663" y="1328"/>
                    </a:lnTo>
                    <a:lnTo>
                      <a:pt x="5663" y="1439"/>
                    </a:lnTo>
                    <a:lnTo>
                      <a:pt x="5666" y="1439"/>
                    </a:lnTo>
                    <a:lnTo>
                      <a:pt x="5666" y="1326"/>
                    </a:lnTo>
                    <a:moveTo>
                      <a:pt x="3710" y="1221"/>
                    </a:moveTo>
                    <a:lnTo>
                      <a:pt x="3710" y="1221"/>
                    </a:lnTo>
                    <a:lnTo>
                      <a:pt x="3710" y="1221"/>
                    </a:lnTo>
                    <a:lnTo>
                      <a:pt x="3710" y="1224"/>
                    </a:lnTo>
                    <a:lnTo>
                      <a:pt x="3710" y="1382"/>
                    </a:lnTo>
                    <a:lnTo>
                      <a:pt x="3710" y="1382"/>
                    </a:lnTo>
                    <a:lnTo>
                      <a:pt x="3710" y="1221"/>
                    </a:lnTo>
                    <a:moveTo>
                      <a:pt x="5831" y="1210"/>
                    </a:moveTo>
                    <a:lnTo>
                      <a:pt x="5831" y="1210"/>
                    </a:lnTo>
                    <a:lnTo>
                      <a:pt x="5829" y="1210"/>
                    </a:lnTo>
                    <a:lnTo>
                      <a:pt x="5829" y="1212"/>
                    </a:lnTo>
                    <a:lnTo>
                      <a:pt x="5829" y="1316"/>
                    </a:lnTo>
                    <a:lnTo>
                      <a:pt x="5831" y="1316"/>
                    </a:lnTo>
                    <a:lnTo>
                      <a:pt x="5831" y="1210"/>
                    </a:lnTo>
                    <a:moveTo>
                      <a:pt x="1665" y="1158"/>
                    </a:moveTo>
                    <a:lnTo>
                      <a:pt x="1665" y="1158"/>
                    </a:lnTo>
                    <a:lnTo>
                      <a:pt x="1665" y="1158"/>
                    </a:lnTo>
                    <a:lnTo>
                      <a:pt x="1665" y="1160"/>
                    </a:lnTo>
                    <a:lnTo>
                      <a:pt x="1665" y="1191"/>
                    </a:lnTo>
                    <a:lnTo>
                      <a:pt x="1665" y="1191"/>
                    </a:lnTo>
                    <a:lnTo>
                      <a:pt x="1665" y="1158"/>
                    </a:lnTo>
                    <a:moveTo>
                      <a:pt x="1689" y="1131"/>
                    </a:moveTo>
                    <a:lnTo>
                      <a:pt x="1686" y="1131"/>
                    </a:lnTo>
                    <a:lnTo>
                      <a:pt x="1686" y="1134"/>
                    </a:lnTo>
                    <a:lnTo>
                      <a:pt x="1686" y="1148"/>
                    </a:lnTo>
                    <a:lnTo>
                      <a:pt x="1689" y="1148"/>
                    </a:lnTo>
                    <a:lnTo>
                      <a:pt x="1689" y="1131"/>
                    </a:lnTo>
                    <a:moveTo>
                      <a:pt x="5857" y="1129"/>
                    </a:moveTo>
                    <a:lnTo>
                      <a:pt x="5855" y="1129"/>
                    </a:lnTo>
                    <a:lnTo>
                      <a:pt x="5855" y="1129"/>
                    </a:lnTo>
                    <a:lnTo>
                      <a:pt x="5855" y="1129"/>
                    </a:lnTo>
                    <a:lnTo>
                      <a:pt x="5855" y="1200"/>
                    </a:lnTo>
                    <a:lnTo>
                      <a:pt x="5857" y="1200"/>
                    </a:lnTo>
                    <a:lnTo>
                      <a:pt x="5857" y="1129"/>
                    </a:lnTo>
                    <a:moveTo>
                      <a:pt x="6323" y="1129"/>
                    </a:moveTo>
                    <a:lnTo>
                      <a:pt x="6321" y="1129"/>
                    </a:lnTo>
                    <a:lnTo>
                      <a:pt x="6321" y="1129"/>
                    </a:lnTo>
                    <a:lnTo>
                      <a:pt x="6321" y="1129"/>
                    </a:lnTo>
                    <a:lnTo>
                      <a:pt x="6321" y="1354"/>
                    </a:lnTo>
                    <a:lnTo>
                      <a:pt x="6323" y="1354"/>
                    </a:lnTo>
                    <a:lnTo>
                      <a:pt x="6323" y="1129"/>
                    </a:lnTo>
                    <a:moveTo>
                      <a:pt x="1447" y="1127"/>
                    </a:moveTo>
                    <a:lnTo>
                      <a:pt x="1445" y="1127"/>
                    </a:lnTo>
                    <a:lnTo>
                      <a:pt x="1445" y="1127"/>
                    </a:lnTo>
                    <a:lnTo>
                      <a:pt x="1445" y="1127"/>
                    </a:lnTo>
                    <a:lnTo>
                      <a:pt x="1445" y="1191"/>
                    </a:lnTo>
                    <a:lnTo>
                      <a:pt x="1447" y="1191"/>
                    </a:lnTo>
                    <a:lnTo>
                      <a:pt x="1447" y="1127"/>
                    </a:lnTo>
                    <a:moveTo>
                      <a:pt x="1464" y="1084"/>
                    </a:moveTo>
                    <a:lnTo>
                      <a:pt x="1462" y="1084"/>
                    </a:lnTo>
                    <a:lnTo>
                      <a:pt x="1462" y="1086"/>
                    </a:lnTo>
                    <a:lnTo>
                      <a:pt x="1462" y="1117"/>
                    </a:lnTo>
                    <a:lnTo>
                      <a:pt x="1464" y="1117"/>
                    </a:lnTo>
                    <a:lnTo>
                      <a:pt x="1464" y="1084"/>
                    </a:lnTo>
                    <a:moveTo>
                      <a:pt x="2861" y="1063"/>
                    </a:moveTo>
                    <a:lnTo>
                      <a:pt x="2859" y="1063"/>
                    </a:lnTo>
                    <a:lnTo>
                      <a:pt x="2859" y="1063"/>
                    </a:lnTo>
                    <a:lnTo>
                      <a:pt x="2859" y="1065"/>
                    </a:lnTo>
                    <a:lnTo>
                      <a:pt x="2859" y="1231"/>
                    </a:lnTo>
                    <a:lnTo>
                      <a:pt x="2861" y="1231"/>
                    </a:lnTo>
                    <a:lnTo>
                      <a:pt x="2861" y="1063"/>
                    </a:lnTo>
                    <a:moveTo>
                      <a:pt x="5931" y="1041"/>
                    </a:moveTo>
                    <a:lnTo>
                      <a:pt x="5931" y="1041"/>
                    </a:lnTo>
                    <a:lnTo>
                      <a:pt x="5928" y="1041"/>
                    </a:lnTo>
                    <a:lnTo>
                      <a:pt x="5928" y="1044"/>
                    </a:lnTo>
                    <a:lnTo>
                      <a:pt x="5928" y="1120"/>
                    </a:lnTo>
                    <a:lnTo>
                      <a:pt x="5931" y="1120"/>
                    </a:lnTo>
                    <a:lnTo>
                      <a:pt x="5931" y="1041"/>
                    </a:lnTo>
                    <a:moveTo>
                      <a:pt x="2878" y="1013"/>
                    </a:moveTo>
                    <a:lnTo>
                      <a:pt x="2876" y="1013"/>
                    </a:lnTo>
                    <a:lnTo>
                      <a:pt x="2876" y="1013"/>
                    </a:lnTo>
                    <a:lnTo>
                      <a:pt x="2876" y="1053"/>
                    </a:lnTo>
                    <a:lnTo>
                      <a:pt x="2878" y="1053"/>
                    </a:lnTo>
                    <a:lnTo>
                      <a:pt x="2878" y="1013"/>
                    </a:lnTo>
                    <a:moveTo>
                      <a:pt x="3769" y="994"/>
                    </a:moveTo>
                    <a:lnTo>
                      <a:pt x="3769" y="994"/>
                    </a:lnTo>
                    <a:lnTo>
                      <a:pt x="3769" y="997"/>
                    </a:lnTo>
                    <a:lnTo>
                      <a:pt x="3769" y="1214"/>
                    </a:lnTo>
                    <a:lnTo>
                      <a:pt x="3769" y="1214"/>
                    </a:lnTo>
                    <a:lnTo>
                      <a:pt x="3769" y="994"/>
                    </a:lnTo>
                    <a:moveTo>
                      <a:pt x="5949" y="989"/>
                    </a:moveTo>
                    <a:lnTo>
                      <a:pt x="5947" y="989"/>
                    </a:lnTo>
                    <a:lnTo>
                      <a:pt x="5947" y="992"/>
                    </a:lnTo>
                    <a:lnTo>
                      <a:pt x="5947" y="1032"/>
                    </a:lnTo>
                    <a:lnTo>
                      <a:pt x="5949" y="1032"/>
                    </a:lnTo>
                    <a:lnTo>
                      <a:pt x="5949" y="989"/>
                    </a:lnTo>
                    <a:moveTo>
                      <a:pt x="6340" y="935"/>
                    </a:moveTo>
                    <a:lnTo>
                      <a:pt x="6340" y="935"/>
                    </a:lnTo>
                    <a:lnTo>
                      <a:pt x="6337" y="935"/>
                    </a:lnTo>
                    <a:lnTo>
                      <a:pt x="6337" y="937"/>
                    </a:lnTo>
                    <a:lnTo>
                      <a:pt x="6337" y="1120"/>
                    </a:lnTo>
                    <a:lnTo>
                      <a:pt x="6340" y="1120"/>
                    </a:lnTo>
                    <a:lnTo>
                      <a:pt x="6340" y="935"/>
                    </a:lnTo>
                    <a:moveTo>
                      <a:pt x="3845" y="928"/>
                    </a:moveTo>
                    <a:lnTo>
                      <a:pt x="3843" y="928"/>
                    </a:lnTo>
                    <a:lnTo>
                      <a:pt x="3843" y="930"/>
                    </a:lnTo>
                    <a:lnTo>
                      <a:pt x="3843" y="985"/>
                    </a:lnTo>
                    <a:lnTo>
                      <a:pt x="3845" y="985"/>
                    </a:lnTo>
                    <a:lnTo>
                      <a:pt x="3845" y="928"/>
                    </a:lnTo>
                    <a:moveTo>
                      <a:pt x="6385" y="895"/>
                    </a:moveTo>
                    <a:lnTo>
                      <a:pt x="6385" y="895"/>
                    </a:lnTo>
                    <a:lnTo>
                      <a:pt x="6382" y="895"/>
                    </a:lnTo>
                    <a:lnTo>
                      <a:pt x="6382" y="897"/>
                    </a:lnTo>
                    <a:lnTo>
                      <a:pt x="6377" y="925"/>
                    </a:lnTo>
                    <a:lnTo>
                      <a:pt x="6377" y="925"/>
                    </a:lnTo>
                    <a:lnTo>
                      <a:pt x="6385" y="895"/>
                    </a:lnTo>
                    <a:moveTo>
                      <a:pt x="6389" y="878"/>
                    </a:moveTo>
                    <a:lnTo>
                      <a:pt x="6389" y="878"/>
                    </a:lnTo>
                    <a:lnTo>
                      <a:pt x="6387" y="878"/>
                    </a:lnTo>
                    <a:lnTo>
                      <a:pt x="6387" y="881"/>
                    </a:lnTo>
                    <a:lnTo>
                      <a:pt x="6387" y="892"/>
                    </a:lnTo>
                    <a:lnTo>
                      <a:pt x="6389" y="892"/>
                    </a:lnTo>
                    <a:lnTo>
                      <a:pt x="6389" y="890"/>
                    </a:lnTo>
                    <a:lnTo>
                      <a:pt x="6389" y="890"/>
                    </a:lnTo>
                    <a:lnTo>
                      <a:pt x="6389" y="878"/>
                    </a:lnTo>
                    <a:moveTo>
                      <a:pt x="6399" y="850"/>
                    </a:moveTo>
                    <a:lnTo>
                      <a:pt x="6396" y="850"/>
                    </a:lnTo>
                    <a:lnTo>
                      <a:pt x="6396" y="852"/>
                    </a:lnTo>
                    <a:lnTo>
                      <a:pt x="6396" y="871"/>
                    </a:lnTo>
                    <a:lnTo>
                      <a:pt x="6396" y="871"/>
                    </a:lnTo>
                    <a:lnTo>
                      <a:pt x="6396" y="869"/>
                    </a:lnTo>
                    <a:lnTo>
                      <a:pt x="6399" y="869"/>
                    </a:lnTo>
                    <a:lnTo>
                      <a:pt x="6399" y="850"/>
                    </a:lnTo>
                    <a:moveTo>
                      <a:pt x="804" y="828"/>
                    </a:moveTo>
                    <a:lnTo>
                      <a:pt x="804" y="828"/>
                    </a:lnTo>
                    <a:lnTo>
                      <a:pt x="804" y="828"/>
                    </a:lnTo>
                    <a:lnTo>
                      <a:pt x="804" y="1060"/>
                    </a:lnTo>
                    <a:lnTo>
                      <a:pt x="804" y="1060"/>
                    </a:lnTo>
                    <a:lnTo>
                      <a:pt x="804" y="828"/>
                    </a:lnTo>
                    <a:moveTo>
                      <a:pt x="3100" y="762"/>
                    </a:moveTo>
                    <a:lnTo>
                      <a:pt x="3100" y="762"/>
                    </a:lnTo>
                    <a:lnTo>
                      <a:pt x="3098" y="762"/>
                    </a:lnTo>
                    <a:lnTo>
                      <a:pt x="3098" y="764"/>
                    </a:lnTo>
                    <a:lnTo>
                      <a:pt x="3098" y="970"/>
                    </a:lnTo>
                    <a:lnTo>
                      <a:pt x="3100" y="970"/>
                    </a:lnTo>
                    <a:lnTo>
                      <a:pt x="3100" y="762"/>
                    </a:lnTo>
                    <a:moveTo>
                      <a:pt x="1010" y="753"/>
                    </a:moveTo>
                    <a:lnTo>
                      <a:pt x="1008" y="753"/>
                    </a:lnTo>
                    <a:lnTo>
                      <a:pt x="1008" y="755"/>
                    </a:lnTo>
                    <a:lnTo>
                      <a:pt x="1008" y="819"/>
                    </a:lnTo>
                    <a:lnTo>
                      <a:pt x="1010" y="819"/>
                    </a:lnTo>
                    <a:lnTo>
                      <a:pt x="1010" y="753"/>
                    </a:lnTo>
                    <a:moveTo>
                      <a:pt x="5131" y="731"/>
                    </a:moveTo>
                    <a:lnTo>
                      <a:pt x="5131" y="731"/>
                    </a:lnTo>
                    <a:lnTo>
                      <a:pt x="5131" y="734"/>
                    </a:lnTo>
                    <a:lnTo>
                      <a:pt x="5131" y="963"/>
                    </a:lnTo>
                    <a:lnTo>
                      <a:pt x="5131" y="963"/>
                    </a:lnTo>
                    <a:lnTo>
                      <a:pt x="5131" y="731"/>
                    </a:lnTo>
                    <a:moveTo>
                      <a:pt x="3138" y="658"/>
                    </a:moveTo>
                    <a:lnTo>
                      <a:pt x="3136" y="658"/>
                    </a:lnTo>
                    <a:lnTo>
                      <a:pt x="3136" y="658"/>
                    </a:lnTo>
                    <a:lnTo>
                      <a:pt x="3136" y="753"/>
                    </a:lnTo>
                    <a:lnTo>
                      <a:pt x="3138" y="753"/>
                    </a:lnTo>
                    <a:lnTo>
                      <a:pt x="3138" y="658"/>
                    </a:lnTo>
                    <a:moveTo>
                      <a:pt x="97" y="618"/>
                    </a:moveTo>
                    <a:lnTo>
                      <a:pt x="95" y="618"/>
                    </a:lnTo>
                    <a:lnTo>
                      <a:pt x="95" y="618"/>
                    </a:lnTo>
                    <a:lnTo>
                      <a:pt x="95" y="1444"/>
                    </a:lnTo>
                    <a:lnTo>
                      <a:pt x="97" y="1444"/>
                    </a:lnTo>
                    <a:lnTo>
                      <a:pt x="97" y="618"/>
                    </a:lnTo>
                    <a:moveTo>
                      <a:pt x="5252" y="611"/>
                    </a:moveTo>
                    <a:lnTo>
                      <a:pt x="5252" y="611"/>
                    </a:lnTo>
                    <a:lnTo>
                      <a:pt x="5252" y="611"/>
                    </a:lnTo>
                    <a:lnTo>
                      <a:pt x="5252" y="722"/>
                    </a:lnTo>
                    <a:lnTo>
                      <a:pt x="5252" y="722"/>
                    </a:lnTo>
                    <a:lnTo>
                      <a:pt x="5252" y="611"/>
                    </a:lnTo>
                    <a:moveTo>
                      <a:pt x="3282" y="582"/>
                    </a:moveTo>
                    <a:lnTo>
                      <a:pt x="3282" y="582"/>
                    </a:lnTo>
                    <a:lnTo>
                      <a:pt x="3280" y="582"/>
                    </a:lnTo>
                    <a:lnTo>
                      <a:pt x="3280" y="585"/>
                    </a:lnTo>
                    <a:lnTo>
                      <a:pt x="3280" y="648"/>
                    </a:lnTo>
                    <a:lnTo>
                      <a:pt x="3282" y="648"/>
                    </a:lnTo>
                    <a:lnTo>
                      <a:pt x="3282" y="582"/>
                    </a:lnTo>
                    <a:moveTo>
                      <a:pt x="303" y="547"/>
                    </a:moveTo>
                    <a:lnTo>
                      <a:pt x="301" y="547"/>
                    </a:lnTo>
                    <a:lnTo>
                      <a:pt x="301" y="549"/>
                    </a:lnTo>
                    <a:lnTo>
                      <a:pt x="301" y="608"/>
                    </a:lnTo>
                    <a:lnTo>
                      <a:pt x="303" y="608"/>
                    </a:lnTo>
                    <a:lnTo>
                      <a:pt x="303" y="547"/>
                    </a:lnTo>
                    <a:moveTo>
                      <a:pt x="7025" y="509"/>
                    </a:moveTo>
                    <a:lnTo>
                      <a:pt x="7023" y="509"/>
                    </a:lnTo>
                    <a:lnTo>
                      <a:pt x="7023" y="511"/>
                    </a:lnTo>
                    <a:lnTo>
                      <a:pt x="7023" y="1683"/>
                    </a:lnTo>
                    <a:lnTo>
                      <a:pt x="7025" y="1683"/>
                    </a:lnTo>
                    <a:lnTo>
                      <a:pt x="7025" y="509"/>
                    </a:lnTo>
                    <a:moveTo>
                      <a:pt x="4193" y="504"/>
                    </a:moveTo>
                    <a:lnTo>
                      <a:pt x="4193" y="504"/>
                    </a:lnTo>
                    <a:lnTo>
                      <a:pt x="4193" y="504"/>
                    </a:lnTo>
                    <a:lnTo>
                      <a:pt x="4129" y="592"/>
                    </a:lnTo>
                    <a:lnTo>
                      <a:pt x="4129" y="592"/>
                    </a:lnTo>
                    <a:lnTo>
                      <a:pt x="4193" y="504"/>
                    </a:lnTo>
                    <a:moveTo>
                      <a:pt x="3301" y="502"/>
                    </a:moveTo>
                    <a:lnTo>
                      <a:pt x="3299" y="502"/>
                    </a:lnTo>
                    <a:lnTo>
                      <a:pt x="3299" y="502"/>
                    </a:lnTo>
                    <a:lnTo>
                      <a:pt x="3299" y="504"/>
                    </a:lnTo>
                    <a:lnTo>
                      <a:pt x="3299" y="573"/>
                    </a:lnTo>
                    <a:lnTo>
                      <a:pt x="3301" y="573"/>
                    </a:lnTo>
                    <a:lnTo>
                      <a:pt x="3301" y="502"/>
                    </a:lnTo>
                    <a:moveTo>
                      <a:pt x="4037" y="454"/>
                    </a:moveTo>
                    <a:lnTo>
                      <a:pt x="4034" y="454"/>
                    </a:lnTo>
                    <a:lnTo>
                      <a:pt x="4034" y="454"/>
                    </a:lnTo>
                    <a:lnTo>
                      <a:pt x="4034" y="457"/>
                    </a:lnTo>
                    <a:lnTo>
                      <a:pt x="4034" y="492"/>
                    </a:lnTo>
                    <a:lnTo>
                      <a:pt x="3954" y="644"/>
                    </a:lnTo>
                    <a:lnTo>
                      <a:pt x="3954" y="918"/>
                    </a:lnTo>
                    <a:lnTo>
                      <a:pt x="3954" y="918"/>
                    </a:lnTo>
                    <a:lnTo>
                      <a:pt x="3954" y="641"/>
                    </a:lnTo>
                    <a:lnTo>
                      <a:pt x="4037" y="490"/>
                    </a:lnTo>
                    <a:lnTo>
                      <a:pt x="4037" y="454"/>
                    </a:lnTo>
                    <a:moveTo>
                      <a:pt x="3330" y="433"/>
                    </a:moveTo>
                    <a:lnTo>
                      <a:pt x="3327" y="433"/>
                    </a:lnTo>
                    <a:lnTo>
                      <a:pt x="3327" y="435"/>
                    </a:lnTo>
                    <a:lnTo>
                      <a:pt x="3327" y="492"/>
                    </a:lnTo>
                    <a:lnTo>
                      <a:pt x="3330" y="492"/>
                    </a:lnTo>
                    <a:lnTo>
                      <a:pt x="3330" y="433"/>
                    </a:lnTo>
                    <a:moveTo>
                      <a:pt x="4041" y="390"/>
                    </a:moveTo>
                    <a:lnTo>
                      <a:pt x="4041" y="390"/>
                    </a:lnTo>
                    <a:lnTo>
                      <a:pt x="4041" y="390"/>
                    </a:lnTo>
                    <a:lnTo>
                      <a:pt x="4041" y="393"/>
                    </a:lnTo>
                    <a:lnTo>
                      <a:pt x="4041" y="450"/>
                    </a:lnTo>
                    <a:lnTo>
                      <a:pt x="4041" y="450"/>
                    </a:lnTo>
                    <a:lnTo>
                      <a:pt x="4041" y="447"/>
                    </a:lnTo>
                    <a:lnTo>
                      <a:pt x="4041" y="447"/>
                    </a:lnTo>
                    <a:lnTo>
                      <a:pt x="4041" y="390"/>
                    </a:lnTo>
                    <a:moveTo>
                      <a:pt x="1809" y="369"/>
                    </a:moveTo>
                    <a:lnTo>
                      <a:pt x="1807" y="369"/>
                    </a:lnTo>
                    <a:lnTo>
                      <a:pt x="1807" y="371"/>
                    </a:lnTo>
                    <a:lnTo>
                      <a:pt x="1807" y="1122"/>
                    </a:lnTo>
                    <a:lnTo>
                      <a:pt x="1809" y="1122"/>
                    </a:lnTo>
                    <a:lnTo>
                      <a:pt x="1809" y="369"/>
                    </a:lnTo>
                    <a:moveTo>
                      <a:pt x="1939" y="334"/>
                    </a:moveTo>
                    <a:lnTo>
                      <a:pt x="1937" y="334"/>
                    </a:lnTo>
                    <a:lnTo>
                      <a:pt x="1937" y="336"/>
                    </a:lnTo>
                    <a:lnTo>
                      <a:pt x="1937" y="360"/>
                    </a:lnTo>
                    <a:lnTo>
                      <a:pt x="1939" y="360"/>
                    </a:lnTo>
                    <a:lnTo>
                      <a:pt x="1939" y="334"/>
                    </a:lnTo>
                    <a:moveTo>
                      <a:pt x="4051" y="326"/>
                    </a:moveTo>
                    <a:lnTo>
                      <a:pt x="4048" y="326"/>
                    </a:lnTo>
                    <a:lnTo>
                      <a:pt x="4048" y="329"/>
                    </a:lnTo>
                    <a:lnTo>
                      <a:pt x="4048" y="383"/>
                    </a:lnTo>
                    <a:lnTo>
                      <a:pt x="4051" y="383"/>
                    </a:lnTo>
                    <a:lnTo>
                      <a:pt x="4051" y="381"/>
                    </a:lnTo>
                    <a:lnTo>
                      <a:pt x="4051" y="381"/>
                    </a:lnTo>
                    <a:lnTo>
                      <a:pt x="4051" y="326"/>
                    </a:lnTo>
                    <a:moveTo>
                      <a:pt x="2029" y="293"/>
                    </a:moveTo>
                    <a:lnTo>
                      <a:pt x="2027" y="293"/>
                    </a:lnTo>
                    <a:lnTo>
                      <a:pt x="2027" y="296"/>
                    </a:lnTo>
                    <a:lnTo>
                      <a:pt x="2027" y="324"/>
                    </a:lnTo>
                    <a:lnTo>
                      <a:pt x="2029" y="324"/>
                    </a:lnTo>
                    <a:lnTo>
                      <a:pt x="2029" y="293"/>
                    </a:lnTo>
                    <a:moveTo>
                      <a:pt x="4703" y="232"/>
                    </a:moveTo>
                    <a:lnTo>
                      <a:pt x="4701" y="232"/>
                    </a:lnTo>
                    <a:lnTo>
                      <a:pt x="4701" y="234"/>
                    </a:lnTo>
                    <a:lnTo>
                      <a:pt x="4637" y="469"/>
                    </a:lnTo>
                    <a:lnTo>
                      <a:pt x="4640" y="469"/>
                    </a:lnTo>
                    <a:lnTo>
                      <a:pt x="4703" y="232"/>
                    </a:lnTo>
                    <a:moveTo>
                      <a:pt x="4803" y="173"/>
                    </a:moveTo>
                    <a:lnTo>
                      <a:pt x="4803" y="173"/>
                    </a:lnTo>
                    <a:lnTo>
                      <a:pt x="4803" y="173"/>
                    </a:lnTo>
                    <a:lnTo>
                      <a:pt x="4803" y="175"/>
                    </a:lnTo>
                    <a:lnTo>
                      <a:pt x="4803" y="222"/>
                    </a:lnTo>
                    <a:lnTo>
                      <a:pt x="4803" y="222"/>
                    </a:lnTo>
                    <a:lnTo>
                      <a:pt x="4803" y="173"/>
                    </a:lnTo>
                    <a:moveTo>
                      <a:pt x="4852" y="0"/>
                    </a:moveTo>
                    <a:lnTo>
                      <a:pt x="4850" y="0"/>
                    </a:lnTo>
                    <a:lnTo>
                      <a:pt x="4850" y="2"/>
                    </a:lnTo>
                    <a:lnTo>
                      <a:pt x="4850" y="163"/>
                    </a:lnTo>
                    <a:lnTo>
                      <a:pt x="4852" y="163"/>
                    </a:lnTo>
                    <a:lnTo>
                      <a:pt x="4852" y="0"/>
                    </a:lnTo>
                    <a:moveTo>
                      <a:pt x="4911" y="0"/>
                    </a:moveTo>
                    <a:lnTo>
                      <a:pt x="4909" y="0"/>
                    </a:lnTo>
                    <a:lnTo>
                      <a:pt x="4909" y="2"/>
                    </a:lnTo>
                    <a:lnTo>
                      <a:pt x="4909" y="163"/>
                    </a:lnTo>
                    <a:lnTo>
                      <a:pt x="4911" y="163"/>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1" name="Freeform 136"/>
              <p:cNvSpPr>
                <a:spLocks noEditPoints="1"/>
              </p:cNvSpPr>
              <p:nvPr/>
            </p:nvSpPr>
            <p:spPr bwMode="auto">
              <a:xfrm>
                <a:off x="40" y="1670"/>
                <a:ext cx="7025" cy="1683"/>
              </a:xfrm>
              <a:custGeom>
                <a:avLst/>
                <a:gdLst>
                  <a:gd name="T0" fmla="*/ 0 w 7025"/>
                  <a:gd name="T1" fmla="*/ 1524 h 1683"/>
                  <a:gd name="T2" fmla="*/ 5663 w 7025"/>
                  <a:gd name="T3" fmla="*/ 1439 h 1683"/>
                  <a:gd name="T4" fmla="*/ 3707 w 7025"/>
                  <a:gd name="T5" fmla="*/ 1221 h 1683"/>
                  <a:gd name="T6" fmla="*/ 5831 w 7025"/>
                  <a:gd name="T7" fmla="*/ 1207 h 1683"/>
                  <a:gd name="T8" fmla="*/ 5831 w 7025"/>
                  <a:gd name="T9" fmla="*/ 1316 h 1683"/>
                  <a:gd name="T10" fmla="*/ 1662 w 7025"/>
                  <a:gd name="T11" fmla="*/ 1158 h 1683"/>
                  <a:gd name="T12" fmla="*/ 1686 w 7025"/>
                  <a:gd name="T13" fmla="*/ 1129 h 1683"/>
                  <a:gd name="T14" fmla="*/ 5854 w 7025"/>
                  <a:gd name="T15" fmla="*/ 1127 h 1683"/>
                  <a:gd name="T16" fmla="*/ 5854 w 7025"/>
                  <a:gd name="T17" fmla="*/ 1200 h 1683"/>
                  <a:gd name="T18" fmla="*/ 6320 w 7025"/>
                  <a:gd name="T19" fmla="*/ 1129 h 1683"/>
                  <a:gd name="T20" fmla="*/ 1444 w 7025"/>
                  <a:gd name="T21" fmla="*/ 1124 h 1683"/>
                  <a:gd name="T22" fmla="*/ 1447 w 7025"/>
                  <a:gd name="T23" fmla="*/ 1124 h 1683"/>
                  <a:gd name="T24" fmla="*/ 1463 w 7025"/>
                  <a:gd name="T25" fmla="*/ 1117 h 1683"/>
                  <a:gd name="T26" fmla="*/ 2858 w 7025"/>
                  <a:gd name="T27" fmla="*/ 1063 h 1683"/>
                  <a:gd name="T28" fmla="*/ 5930 w 7025"/>
                  <a:gd name="T29" fmla="*/ 1039 h 1683"/>
                  <a:gd name="T30" fmla="*/ 5930 w 7025"/>
                  <a:gd name="T31" fmla="*/ 1039 h 1683"/>
                  <a:gd name="T32" fmla="*/ 2877 w 7025"/>
                  <a:gd name="T33" fmla="*/ 1053 h 1683"/>
                  <a:gd name="T34" fmla="*/ 3766 w 7025"/>
                  <a:gd name="T35" fmla="*/ 1214 h 1683"/>
                  <a:gd name="T36" fmla="*/ 5946 w 7025"/>
                  <a:gd name="T37" fmla="*/ 989 h 1683"/>
                  <a:gd name="T38" fmla="*/ 6339 w 7025"/>
                  <a:gd name="T39" fmla="*/ 935 h 1683"/>
                  <a:gd name="T40" fmla="*/ 6339 w 7025"/>
                  <a:gd name="T41" fmla="*/ 935 h 1683"/>
                  <a:gd name="T42" fmla="*/ 3844 w 7025"/>
                  <a:gd name="T43" fmla="*/ 985 h 1683"/>
                  <a:gd name="T44" fmla="*/ 6382 w 7025"/>
                  <a:gd name="T45" fmla="*/ 895 h 1683"/>
                  <a:gd name="T46" fmla="*/ 6386 w 7025"/>
                  <a:gd name="T47" fmla="*/ 876 h 1683"/>
                  <a:gd name="T48" fmla="*/ 6389 w 7025"/>
                  <a:gd name="T49" fmla="*/ 888 h 1683"/>
                  <a:gd name="T50" fmla="*/ 6396 w 7025"/>
                  <a:gd name="T51" fmla="*/ 850 h 1683"/>
                  <a:gd name="T52" fmla="*/ 801 w 7025"/>
                  <a:gd name="T53" fmla="*/ 826 h 1683"/>
                  <a:gd name="T54" fmla="*/ 3100 w 7025"/>
                  <a:gd name="T55" fmla="*/ 762 h 1683"/>
                  <a:gd name="T56" fmla="*/ 3100 w 7025"/>
                  <a:gd name="T57" fmla="*/ 970 h 1683"/>
                  <a:gd name="T58" fmla="*/ 1007 w 7025"/>
                  <a:gd name="T59" fmla="*/ 819 h 1683"/>
                  <a:gd name="T60" fmla="*/ 5128 w 7025"/>
                  <a:gd name="T61" fmla="*/ 731 h 1683"/>
                  <a:gd name="T62" fmla="*/ 3135 w 7025"/>
                  <a:gd name="T63" fmla="*/ 656 h 1683"/>
                  <a:gd name="T64" fmla="*/ 97 w 7025"/>
                  <a:gd name="T65" fmla="*/ 615 h 1683"/>
                  <a:gd name="T66" fmla="*/ 97 w 7025"/>
                  <a:gd name="T67" fmla="*/ 615 h 1683"/>
                  <a:gd name="T68" fmla="*/ 5251 w 7025"/>
                  <a:gd name="T69" fmla="*/ 722 h 1683"/>
                  <a:gd name="T70" fmla="*/ 3279 w 7025"/>
                  <a:gd name="T71" fmla="*/ 582 h 1683"/>
                  <a:gd name="T72" fmla="*/ 300 w 7025"/>
                  <a:gd name="T73" fmla="*/ 547 h 1683"/>
                  <a:gd name="T74" fmla="*/ 7025 w 7025"/>
                  <a:gd name="T75" fmla="*/ 506 h 1683"/>
                  <a:gd name="T76" fmla="*/ 7025 w 7025"/>
                  <a:gd name="T77" fmla="*/ 506 h 1683"/>
                  <a:gd name="T78" fmla="*/ 4126 w 7025"/>
                  <a:gd name="T79" fmla="*/ 592 h 1683"/>
                  <a:gd name="T80" fmla="*/ 3298 w 7025"/>
                  <a:gd name="T81" fmla="*/ 502 h 1683"/>
                  <a:gd name="T82" fmla="*/ 4034 w 7025"/>
                  <a:gd name="T83" fmla="*/ 452 h 1683"/>
                  <a:gd name="T84" fmla="*/ 3951 w 7025"/>
                  <a:gd name="T85" fmla="*/ 918 h 1683"/>
                  <a:gd name="T86" fmla="*/ 3327 w 7025"/>
                  <a:gd name="T87" fmla="*/ 433 h 1683"/>
                  <a:gd name="T88" fmla="*/ 3327 w 7025"/>
                  <a:gd name="T89" fmla="*/ 433 h 1683"/>
                  <a:gd name="T90" fmla="*/ 4038 w 7025"/>
                  <a:gd name="T91" fmla="*/ 447 h 1683"/>
                  <a:gd name="T92" fmla="*/ 1809 w 7025"/>
                  <a:gd name="T93" fmla="*/ 367 h 1683"/>
                  <a:gd name="T94" fmla="*/ 1809 w 7025"/>
                  <a:gd name="T95" fmla="*/ 367 h 1683"/>
                  <a:gd name="T96" fmla="*/ 1936 w 7025"/>
                  <a:gd name="T97" fmla="*/ 360 h 1683"/>
                  <a:gd name="T98" fmla="*/ 4048 w 7025"/>
                  <a:gd name="T99" fmla="*/ 381 h 1683"/>
                  <a:gd name="T100" fmla="*/ 2026 w 7025"/>
                  <a:gd name="T101" fmla="*/ 293 h 1683"/>
                  <a:gd name="T102" fmla="*/ 4700 w 7025"/>
                  <a:gd name="T103" fmla="*/ 229 h 1683"/>
                  <a:gd name="T104" fmla="*/ 4802 w 7025"/>
                  <a:gd name="T105" fmla="*/ 170 h 1683"/>
                  <a:gd name="T106" fmla="*/ 4802 w 7025"/>
                  <a:gd name="T107" fmla="*/ 222 h 1683"/>
                  <a:gd name="T108" fmla="*/ 4849 w 7025"/>
                  <a:gd name="T109" fmla="*/ 163 h 1683"/>
                  <a:gd name="T110" fmla="*/ 4908 w 7025"/>
                  <a:gd name="T111" fmla="*/ 0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5" h="1683">
                    <a:moveTo>
                      <a:pt x="0" y="1451"/>
                    </a:moveTo>
                    <a:lnTo>
                      <a:pt x="0" y="1451"/>
                    </a:lnTo>
                    <a:lnTo>
                      <a:pt x="0" y="1453"/>
                    </a:lnTo>
                    <a:lnTo>
                      <a:pt x="0" y="1524"/>
                    </a:lnTo>
                    <a:lnTo>
                      <a:pt x="0" y="1524"/>
                    </a:lnTo>
                    <a:lnTo>
                      <a:pt x="0" y="1451"/>
                    </a:lnTo>
                    <a:close/>
                    <a:moveTo>
                      <a:pt x="5665" y="1326"/>
                    </a:moveTo>
                    <a:lnTo>
                      <a:pt x="5663" y="1326"/>
                    </a:lnTo>
                    <a:lnTo>
                      <a:pt x="5663" y="1326"/>
                    </a:lnTo>
                    <a:lnTo>
                      <a:pt x="5663" y="1439"/>
                    </a:lnTo>
                    <a:lnTo>
                      <a:pt x="5665" y="1439"/>
                    </a:lnTo>
                    <a:lnTo>
                      <a:pt x="5665" y="1326"/>
                    </a:lnTo>
                    <a:close/>
                    <a:moveTo>
                      <a:pt x="3710" y="1221"/>
                    </a:moveTo>
                    <a:lnTo>
                      <a:pt x="3707" y="1221"/>
                    </a:lnTo>
                    <a:lnTo>
                      <a:pt x="3707" y="1221"/>
                    </a:lnTo>
                    <a:lnTo>
                      <a:pt x="3707" y="1221"/>
                    </a:lnTo>
                    <a:lnTo>
                      <a:pt x="3707" y="1382"/>
                    </a:lnTo>
                    <a:lnTo>
                      <a:pt x="3710" y="1382"/>
                    </a:lnTo>
                    <a:lnTo>
                      <a:pt x="3710" y="1221"/>
                    </a:lnTo>
                    <a:close/>
                    <a:moveTo>
                      <a:pt x="5831" y="1207"/>
                    </a:moveTo>
                    <a:lnTo>
                      <a:pt x="5828" y="1207"/>
                    </a:lnTo>
                    <a:lnTo>
                      <a:pt x="5828" y="1207"/>
                    </a:lnTo>
                    <a:lnTo>
                      <a:pt x="5828" y="1210"/>
                    </a:lnTo>
                    <a:lnTo>
                      <a:pt x="5828" y="1316"/>
                    </a:lnTo>
                    <a:lnTo>
                      <a:pt x="5831" y="1316"/>
                    </a:lnTo>
                    <a:lnTo>
                      <a:pt x="5831" y="1207"/>
                    </a:lnTo>
                    <a:close/>
                    <a:moveTo>
                      <a:pt x="1664" y="1155"/>
                    </a:moveTo>
                    <a:lnTo>
                      <a:pt x="1664" y="1155"/>
                    </a:lnTo>
                    <a:lnTo>
                      <a:pt x="1662" y="1155"/>
                    </a:lnTo>
                    <a:lnTo>
                      <a:pt x="1662" y="1158"/>
                    </a:lnTo>
                    <a:lnTo>
                      <a:pt x="1662" y="1191"/>
                    </a:lnTo>
                    <a:lnTo>
                      <a:pt x="1664" y="1191"/>
                    </a:lnTo>
                    <a:lnTo>
                      <a:pt x="1664" y="1155"/>
                    </a:lnTo>
                    <a:close/>
                    <a:moveTo>
                      <a:pt x="1688" y="1129"/>
                    </a:moveTo>
                    <a:lnTo>
                      <a:pt x="1686" y="1129"/>
                    </a:lnTo>
                    <a:lnTo>
                      <a:pt x="1686" y="1131"/>
                    </a:lnTo>
                    <a:lnTo>
                      <a:pt x="1686" y="1148"/>
                    </a:lnTo>
                    <a:lnTo>
                      <a:pt x="1688" y="1148"/>
                    </a:lnTo>
                    <a:lnTo>
                      <a:pt x="1688" y="1129"/>
                    </a:lnTo>
                    <a:close/>
                    <a:moveTo>
                      <a:pt x="5854" y="1127"/>
                    </a:moveTo>
                    <a:lnTo>
                      <a:pt x="5854" y="1127"/>
                    </a:lnTo>
                    <a:lnTo>
                      <a:pt x="5854" y="1127"/>
                    </a:lnTo>
                    <a:lnTo>
                      <a:pt x="5854" y="1129"/>
                    </a:lnTo>
                    <a:lnTo>
                      <a:pt x="5854" y="1200"/>
                    </a:lnTo>
                    <a:lnTo>
                      <a:pt x="5854" y="1200"/>
                    </a:lnTo>
                    <a:lnTo>
                      <a:pt x="5854" y="1127"/>
                    </a:lnTo>
                    <a:close/>
                    <a:moveTo>
                      <a:pt x="6322" y="1127"/>
                    </a:moveTo>
                    <a:lnTo>
                      <a:pt x="6320" y="1127"/>
                    </a:lnTo>
                    <a:lnTo>
                      <a:pt x="6320" y="1127"/>
                    </a:lnTo>
                    <a:lnTo>
                      <a:pt x="6320" y="1129"/>
                    </a:lnTo>
                    <a:lnTo>
                      <a:pt x="6320" y="1354"/>
                    </a:lnTo>
                    <a:lnTo>
                      <a:pt x="6322" y="1354"/>
                    </a:lnTo>
                    <a:lnTo>
                      <a:pt x="6322" y="1127"/>
                    </a:lnTo>
                    <a:close/>
                    <a:moveTo>
                      <a:pt x="1447" y="1124"/>
                    </a:moveTo>
                    <a:lnTo>
                      <a:pt x="1444" y="1124"/>
                    </a:lnTo>
                    <a:lnTo>
                      <a:pt x="1444" y="1124"/>
                    </a:lnTo>
                    <a:lnTo>
                      <a:pt x="1444" y="1127"/>
                    </a:lnTo>
                    <a:lnTo>
                      <a:pt x="1444" y="1191"/>
                    </a:lnTo>
                    <a:lnTo>
                      <a:pt x="1447" y="1191"/>
                    </a:lnTo>
                    <a:lnTo>
                      <a:pt x="1447" y="1124"/>
                    </a:lnTo>
                    <a:close/>
                    <a:moveTo>
                      <a:pt x="1463" y="1082"/>
                    </a:moveTo>
                    <a:lnTo>
                      <a:pt x="1461" y="1082"/>
                    </a:lnTo>
                    <a:lnTo>
                      <a:pt x="1461" y="1084"/>
                    </a:lnTo>
                    <a:lnTo>
                      <a:pt x="1461" y="1117"/>
                    </a:lnTo>
                    <a:lnTo>
                      <a:pt x="1463" y="1117"/>
                    </a:lnTo>
                    <a:lnTo>
                      <a:pt x="1463" y="1082"/>
                    </a:lnTo>
                    <a:close/>
                    <a:moveTo>
                      <a:pt x="2858" y="1060"/>
                    </a:moveTo>
                    <a:lnTo>
                      <a:pt x="2858" y="1060"/>
                    </a:lnTo>
                    <a:lnTo>
                      <a:pt x="2858" y="1060"/>
                    </a:lnTo>
                    <a:lnTo>
                      <a:pt x="2858" y="1063"/>
                    </a:lnTo>
                    <a:lnTo>
                      <a:pt x="2858" y="1231"/>
                    </a:lnTo>
                    <a:lnTo>
                      <a:pt x="2858" y="1231"/>
                    </a:lnTo>
                    <a:lnTo>
                      <a:pt x="2858" y="1060"/>
                    </a:lnTo>
                    <a:close/>
                    <a:moveTo>
                      <a:pt x="5930" y="1039"/>
                    </a:moveTo>
                    <a:lnTo>
                      <a:pt x="5930" y="1039"/>
                    </a:lnTo>
                    <a:lnTo>
                      <a:pt x="5928" y="1039"/>
                    </a:lnTo>
                    <a:lnTo>
                      <a:pt x="5928" y="1041"/>
                    </a:lnTo>
                    <a:lnTo>
                      <a:pt x="5928" y="1120"/>
                    </a:lnTo>
                    <a:lnTo>
                      <a:pt x="5930" y="1120"/>
                    </a:lnTo>
                    <a:lnTo>
                      <a:pt x="5930" y="1039"/>
                    </a:lnTo>
                    <a:close/>
                    <a:moveTo>
                      <a:pt x="2877" y="1011"/>
                    </a:moveTo>
                    <a:lnTo>
                      <a:pt x="2875" y="1011"/>
                    </a:lnTo>
                    <a:lnTo>
                      <a:pt x="2875" y="1013"/>
                    </a:lnTo>
                    <a:lnTo>
                      <a:pt x="2875" y="1053"/>
                    </a:lnTo>
                    <a:lnTo>
                      <a:pt x="2877" y="1053"/>
                    </a:lnTo>
                    <a:lnTo>
                      <a:pt x="2877" y="1011"/>
                    </a:lnTo>
                    <a:close/>
                    <a:moveTo>
                      <a:pt x="3769" y="992"/>
                    </a:moveTo>
                    <a:lnTo>
                      <a:pt x="3766" y="992"/>
                    </a:lnTo>
                    <a:lnTo>
                      <a:pt x="3766" y="994"/>
                    </a:lnTo>
                    <a:lnTo>
                      <a:pt x="3766" y="1214"/>
                    </a:lnTo>
                    <a:lnTo>
                      <a:pt x="3769" y="1214"/>
                    </a:lnTo>
                    <a:lnTo>
                      <a:pt x="3769" y="992"/>
                    </a:lnTo>
                    <a:close/>
                    <a:moveTo>
                      <a:pt x="5949" y="987"/>
                    </a:moveTo>
                    <a:lnTo>
                      <a:pt x="5946" y="987"/>
                    </a:lnTo>
                    <a:lnTo>
                      <a:pt x="5946" y="989"/>
                    </a:lnTo>
                    <a:lnTo>
                      <a:pt x="5946" y="1032"/>
                    </a:lnTo>
                    <a:lnTo>
                      <a:pt x="5949" y="1032"/>
                    </a:lnTo>
                    <a:lnTo>
                      <a:pt x="5949" y="987"/>
                    </a:lnTo>
                    <a:close/>
                    <a:moveTo>
                      <a:pt x="6339" y="935"/>
                    </a:moveTo>
                    <a:lnTo>
                      <a:pt x="6339" y="935"/>
                    </a:lnTo>
                    <a:lnTo>
                      <a:pt x="6337" y="935"/>
                    </a:lnTo>
                    <a:lnTo>
                      <a:pt x="6337" y="935"/>
                    </a:lnTo>
                    <a:lnTo>
                      <a:pt x="6337" y="1120"/>
                    </a:lnTo>
                    <a:lnTo>
                      <a:pt x="6339" y="1120"/>
                    </a:lnTo>
                    <a:lnTo>
                      <a:pt x="6339" y="935"/>
                    </a:lnTo>
                    <a:close/>
                    <a:moveTo>
                      <a:pt x="3844" y="925"/>
                    </a:moveTo>
                    <a:lnTo>
                      <a:pt x="3842" y="925"/>
                    </a:lnTo>
                    <a:lnTo>
                      <a:pt x="3842" y="928"/>
                    </a:lnTo>
                    <a:lnTo>
                      <a:pt x="3842" y="985"/>
                    </a:lnTo>
                    <a:lnTo>
                      <a:pt x="3844" y="985"/>
                    </a:lnTo>
                    <a:lnTo>
                      <a:pt x="3844" y="925"/>
                    </a:lnTo>
                    <a:close/>
                    <a:moveTo>
                      <a:pt x="6384" y="892"/>
                    </a:moveTo>
                    <a:lnTo>
                      <a:pt x="6384" y="892"/>
                    </a:lnTo>
                    <a:lnTo>
                      <a:pt x="6382" y="892"/>
                    </a:lnTo>
                    <a:lnTo>
                      <a:pt x="6382" y="895"/>
                    </a:lnTo>
                    <a:lnTo>
                      <a:pt x="6374" y="925"/>
                    </a:lnTo>
                    <a:lnTo>
                      <a:pt x="6377" y="925"/>
                    </a:lnTo>
                    <a:lnTo>
                      <a:pt x="6384" y="892"/>
                    </a:lnTo>
                    <a:close/>
                    <a:moveTo>
                      <a:pt x="6389" y="876"/>
                    </a:moveTo>
                    <a:lnTo>
                      <a:pt x="6386" y="876"/>
                    </a:lnTo>
                    <a:lnTo>
                      <a:pt x="6386" y="876"/>
                    </a:lnTo>
                    <a:lnTo>
                      <a:pt x="6386" y="878"/>
                    </a:lnTo>
                    <a:lnTo>
                      <a:pt x="6386" y="890"/>
                    </a:lnTo>
                    <a:lnTo>
                      <a:pt x="6386" y="890"/>
                    </a:lnTo>
                    <a:lnTo>
                      <a:pt x="6389" y="888"/>
                    </a:lnTo>
                    <a:lnTo>
                      <a:pt x="6389" y="888"/>
                    </a:lnTo>
                    <a:lnTo>
                      <a:pt x="6389" y="876"/>
                    </a:lnTo>
                    <a:close/>
                    <a:moveTo>
                      <a:pt x="6396" y="847"/>
                    </a:moveTo>
                    <a:lnTo>
                      <a:pt x="6396" y="847"/>
                    </a:lnTo>
                    <a:lnTo>
                      <a:pt x="6396" y="850"/>
                    </a:lnTo>
                    <a:lnTo>
                      <a:pt x="6396" y="869"/>
                    </a:lnTo>
                    <a:lnTo>
                      <a:pt x="6396" y="869"/>
                    </a:lnTo>
                    <a:lnTo>
                      <a:pt x="6396" y="847"/>
                    </a:lnTo>
                    <a:close/>
                    <a:moveTo>
                      <a:pt x="804" y="826"/>
                    </a:moveTo>
                    <a:lnTo>
                      <a:pt x="801" y="826"/>
                    </a:lnTo>
                    <a:lnTo>
                      <a:pt x="801" y="828"/>
                    </a:lnTo>
                    <a:lnTo>
                      <a:pt x="801" y="1060"/>
                    </a:lnTo>
                    <a:lnTo>
                      <a:pt x="804" y="1060"/>
                    </a:lnTo>
                    <a:lnTo>
                      <a:pt x="804" y="826"/>
                    </a:lnTo>
                    <a:close/>
                    <a:moveTo>
                      <a:pt x="3100" y="762"/>
                    </a:moveTo>
                    <a:lnTo>
                      <a:pt x="3100" y="762"/>
                    </a:lnTo>
                    <a:lnTo>
                      <a:pt x="3097" y="762"/>
                    </a:lnTo>
                    <a:lnTo>
                      <a:pt x="3097" y="762"/>
                    </a:lnTo>
                    <a:lnTo>
                      <a:pt x="3097" y="970"/>
                    </a:lnTo>
                    <a:lnTo>
                      <a:pt x="3100" y="970"/>
                    </a:lnTo>
                    <a:lnTo>
                      <a:pt x="3100" y="762"/>
                    </a:lnTo>
                    <a:close/>
                    <a:moveTo>
                      <a:pt x="1007" y="750"/>
                    </a:moveTo>
                    <a:lnTo>
                      <a:pt x="1007" y="750"/>
                    </a:lnTo>
                    <a:lnTo>
                      <a:pt x="1007" y="753"/>
                    </a:lnTo>
                    <a:lnTo>
                      <a:pt x="1007" y="819"/>
                    </a:lnTo>
                    <a:lnTo>
                      <a:pt x="1007" y="819"/>
                    </a:lnTo>
                    <a:lnTo>
                      <a:pt x="1007" y="750"/>
                    </a:lnTo>
                    <a:close/>
                    <a:moveTo>
                      <a:pt x="5131" y="731"/>
                    </a:moveTo>
                    <a:lnTo>
                      <a:pt x="5128" y="731"/>
                    </a:lnTo>
                    <a:lnTo>
                      <a:pt x="5128" y="731"/>
                    </a:lnTo>
                    <a:lnTo>
                      <a:pt x="5128" y="963"/>
                    </a:lnTo>
                    <a:lnTo>
                      <a:pt x="5131" y="963"/>
                    </a:lnTo>
                    <a:lnTo>
                      <a:pt x="5131" y="731"/>
                    </a:lnTo>
                    <a:close/>
                    <a:moveTo>
                      <a:pt x="3137" y="656"/>
                    </a:moveTo>
                    <a:lnTo>
                      <a:pt x="3135" y="656"/>
                    </a:lnTo>
                    <a:lnTo>
                      <a:pt x="3135" y="658"/>
                    </a:lnTo>
                    <a:lnTo>
                      <a:pt x="3135" y="753"/>
                    </a:lnTo>
                    <a:lnTo>
                      <a:pt x="3137" y="753"/>
                    </a:lnTo>
                    <a:lnTo>
                      <a:pt x="3137" y="656"/>
                    </a:lnTo>
                    <a:close/>
                    <a:moveTo>
                      <a:pt x="97" y="615"/>
                    </a:moveTo>
                    <a:lnTo>
                      <a:pt x="94" y="615"/>
                    </a:lnTo>
                    <a:lnTo>
                      <a:pt x="94" y="618"/>
                    </a:lnTo>
                    <a:lnTo>
                      <a:pt x="94" y="1444"/>
                    </a:lnTo>
                    <a:lnTo>
                      <a:pt x="97" y="1444"/>
                    </a:lnTo>
                    <a:lnTo>
                      <a:pt x="97" y="615"/>
                    </a:lnTo>
                    <a:close/>
                    <a:moveTo>
                      <a:pt x="5251" y="608"/>
                    </a:moveTo>
                    <a:lnTo>
                      <a:pt x="5249" y="608"/>
                    </a:lnTo>
                    <a:lnTo>
                      <a:pt x="5249" y="611"/>
                    </a:lnTo>
                    <a:lnTo>
                      <a:pt x="5249" y="722"/>
                    </a:lnTo>
                    <a:lnTo>
                      <a:pt x="5251" y="722"/>
                    </a:lnTo>
                    <a:lnTo>
                      <a:pt x="5251" y="608"/>
                    </a:lnTo>
                    <a:close/>
                    <a:moveTo>
                      <a:pt x="3282" y="580"/>
                    </a:moveTo>
                    <a:lnTo>
                      <a:pt x="3279" y="580"/>
                    </a:lnTo>
                    <a:lnTo>
                      <a:pt x="3279" y="580"/>
                    </a:lnTo>
                    <a:lnTo>
                      <a:pt x="3279" y="582"/>
                    </a:lnTo>
                    <a:lnTo>
                      <a:pt x="3279" y="648"/>
                    </a:lnTo>
                    <a:lnTo>
                      <a:pt x="3282" y="648"/>
                    </a:lnTo>
                    <a:lnTo>
                      <a:pt x="3282" y="580"/>
                    </a:lnTo>
                    <a:close/>
                    <a:moveTo>
                      <a:pt x="300" y="547"/>
                    </a:moveTo>
                    <a:lnTo>
                      <a:pt x="300" y="547"/>
                    </a:lnTo>
                    <a:lnTo>
                      <a:pt x="300" y="547"/>
                    </a:lnTo>
                    <a:lnTo>
                      <a:pt x="300" y="608"/>
                    </a:lnTo>
                    <a:lnTo>
                      <a:pt x="300" y="608"/>
                    </a:lnTo>
                    <a:lnTo>
                      <a:pt x="300" y="547"/>
                    </a:lnTo>
                    <a:close/>
                    <a:moveTo>
                      <a:pt x="7025" y="506"/>
                    </a:moveTo>
                    <a:lnTo>
                      <a:pt x="7022" y="506"/>
                    </a:lnTo>
                    <a:lnTo>
                      <a:pt x="7022" y="509"/>
                    </a:lnTo>
                    <a:lnTo>
                      <a:pt x="7022" y="1683"/>
                    </a:lnTo>
                    <a:lnTo>
                      <a:pt x="7025" y="1683"/>
                    </a:lnTo>
                    <a:lnTo>
                      <a:pt x="7025" y="506"/>
                    </a:lnTo>
                    <a:close/>
                    <a:moveTo>
                      <a:pt x="4192" y="502"/>
                    </a:moveTo>
                    <a:lnTo>
                      <a:pt x="4192" y="502"/>
                    </a:lnTo>
                    <a:lnTo>
                      <a:pt x="4190" y="504"/>
                    </a:lnTo>
                    <a:lnTo>
                      <a:pt x="4126" y="592"/>
                    </a:lnTo>
                    <a:lnTo>
                      <a:pt x="4126" y="592"/>
                    </a:lnTo>
                    <a:lnTo>
                      <a:pt x="4192" y="502"/>
                    </a:lnTo>
                    <a:close/>
                    <a:moveTo>
                      <a:pt x="3298" y="499"/>
                    </a:moveTo>
                    <a:lnTo>
                      <a:pt x="3298" y="499"/>
                    </a:lnTo>
                    <a:lnTo>
                      <a:pt x="3298" y="499"/>
                    </a:lnTo>
                    <a:lnTo>
                      <a:pt x="3298" y="502"/>
                    </a:lnTo>
                    <a:lnTo>
                      <a:pt x="3298" y="573"/>
                    </a:lnTo>
                    <a:lnTo>
                      <a:pt x="3298" y="573"/>
                    </a:lnTo>
                    <a:lnTo>
                      <a:pt x="3298" y="499"/>
                    </a:lnTo>
                    <a:close/>
                    <a:moveTo>
                      <a:pt x="4036" y="452"/>
                    </a:moveTo>
                    <a:lnTo>
                      <a:pt x="4034" y="452"/>
                    </a:lnTo>
                    <a:lnTo>
                      <a:pt x="4034" y="452"/>
                    </a:lnTo>
                    <a:lnTo>
                      <a:pt x="4034" y="454"/>
                    </a:lnTo>
                    <a:lnTo>
                      <a:pt x="4034" y="490"/>
                    </a:lnTo>
                    <a:lnTo>
                      <a:pt x="3951" y="641"/>
                    </a:lnTo>
                    <a:lnTo>
                      <a:pt x="3951" y="918"/>
                    </a:lnTo>
                    <a:lnTo>
                      <a:pt x="3953" y="918"/>
                    </a:lnTo>
                    <a:lnTo>
                      <a:pt x="3953" y="639"/>
                    </a:lnTo>
                    <a:lnTo>
                      <a:pt x="4036" y="487"/>
                    </a:lnTo>
                    <a:lnTo>
                      <a:pt x="4036" y="452"/>
                    </a:lnTo>
                    <a:close/>
                    <a:moveTo>
                      <a:pt x="3327" y="433"/>
                    </a:moveTo>
                    <a:lnTo>
                      <a:pt x="3327" y="433"/>
                    </a:lnTo>
                    <a:lnTo>
                      <a:pt x="3327" y="433"/>
                    </a:lnTo>
                    <a:lnTo>
                      <a:pt x="3327" y="492"/>
                    </a:lnTo>
                    <a:lnTo>
                      <a:pt x="3327" y="492"/>
                    </a:lnTo>
                    <a:lnTo>
                      <a:pt x="3327" y="433"/>
                    </a:lnTo>
                    <a:close/>
                    <a:moveTo>
                      <a:pt x="4041" y="388"/>
                    </a:moveTo>
                    <a:lnTo>
                      <a:pt x="4041" y="388"/>
                    </a:lnTo>
                    <a:lnTo>
                      <a:pt x="4038" y="388"/>
                    </a:lnTo>
                    <a:lnTo>
                      <a:pt x="4038" y="390"/>
                    </a:lnTo>
                    <a:lnTo>
                      <a:pt x="4038" y="447"/>
                    </a:lnTo>
                    <a:lnTo>
                      <a:pt x="4041" y="447"/>
                    </a:lnTo>
                    <a:lnTo>
                      <a:pt x="4041" y="445"/>
                    </a:lnTo>
                    <a:lnTo>
                      <a:pt x="4041" y="445"/>
                    </a:lnTo>
                    <a:lnTo>
                      <a:pt x="4041" y="388"/>
                    </a:lnTo>
                    <a:close/>
                    <a:moveTo>
                      <a:pt x="1809" y="367"/>
                    </a:moveTo>
                    <a:lnTo>
                      <a:pt x="1806" y="367"/>
                    </a:lnTo>
                    <a:lnTo>
                      <a:pt x="1806" y="369"/>
                    </a:lnTo>
                    <a:lnTo>
                      <a:pt x="1806" y="1122"/>
                    </a:lnTo>
                    <a:lnTo>
                      <a:pt x="1809" y="1122"/>
                    </a:lnTo>
                    <a:lnTo>
                      <a:pt x="1809" y="367"/>
                    </a:lnTo>
                    <a:close/>
                    <a:moveTo>
                      <a:pt x="1936" y="331"/>
                    </a:moveTo>
                    <a:lnTo>
                      <a:pt x="1936" y="331"/>
                    </a:lnTo>
                    <a:lnTo>
                      <a:pt x="1936" y="334"/>
                    </a:lnTo>
                    <a:lnTo>
                      <a:pt x="1936" y="360"/>
                    </a:lnTo>
                    <a:lnTo>
                      <a:pt x="1936" y="360"/>
                    </a:lnTo>
                    <a:lnTo>
                      <a:pt x="1936" y="331"/>
                    </a:lnTo>
                    <a:close/>
                    <a:moveTo>
                      <a:pt x="4050" y="326"/>
                    </a:moveTo>
                    <a:lnTo>
                      <a:pt x="4048" y="326"/>
                    </a:lnTo>
                    <a:lnTo>
                      <a:pt x="4048" y="326"/>
                    </a:lnTo>
                    <a:lnTo>
                      <a:pt x="4048" y="381"/>
                    </a:lnTo>
                    <a:lnTo>
                      <a:pt x="4050" y="381"/>
                    </a:lnTo>
                    <a:lnTo>
                      <a:pt x="4050" y="326"/>
                    </a:lnTo>
                    <a:close/>
                    <a:moveTo>
                      <a:pt x="2028" y="291"/>
                    </a:moveTo>
                    <a:lnTo>
                      <a:pt x="2026" y="291"/>
                    </a:lnTo>
                    <a:lnTo>
                      <a:pt x="2026" y="293"/>
                    </a:lnTo>
                    <a:lnTo>
                      <a:pt x="2026" y="324"/>
                    </a:lnTo>
                    <a:lnTo>
                      <a:pt x="2028" y="324"/>
                    </a:lnTo>
                    <a:lnTo>
                      <a:pt x="2028" y="291"/>
                    </a:lnTo>
                    <a:close/>
                    <a:moveTo>
                      <a:pt x="4703" y="229"/>
                    </a:moveTo>
                    <a:lnTo>
                      <a:pt x="4700" y="229"/>
                    </a:lnTo>
                    <a:lnTo>
                      <a:pt x="4700" y="232"/>
                    </a:lnTo>
                    <a:lnTo>
                      <a:pt x="4637" y="469"/>
                    </a:lnTo>
                    <a:lnTo>
                      <a:pt x="4639" y="466"/>
                    </a:lnTo>
                    <a:lnTo>
                      <a:pt x="4703" y="229"/>
                    </a:lnTo>
                    <a:close/>
                    <a:moveTo>
                      <a:pt x="4802" y="170"/>
                    </a:moveTo>
                    <a:lnTo>
                      <a:pt x="4802" y="170"/>
                    </a:lnTo>
                    <a:lnTo>
                      <a:pt x="4800" y="170"/>
                    </a:lnTo>
                    <a:lnTo>
                      <a:pt x="4800" y="173"/>
                    </a:lnTo>
                    <a:lnTo>
                      <a:pt x="4800" y="222"/>
                    </a:lnTo>
                    <a:lnTo>
                      <a:pt x="4802" y="222"/>
                    </a:lnTo>
                    <a:lnTo>
                      <a:pt x="4802" y="170"/>
                    </a:lnTo>
                    <a:close/>
                    <a:moveTo>
                      <a:pt x="4852" y="0"/>
                    </a:moveTo>
                    <a:lnTo>
                      <a:pt x="4849" y="0"/>
                    </a:lnTo>
                    <a:lnTo>
                      <a:pt x="4849" y="0"/>
                    </a:lnTo>
                    <a:lnTo>
                      <a:pt x="4849" y="163"/>
                    </a:lnTo>
                    <a:lnTo>
                      <a:pt x="4852" y="163"/>
                    </a:lnTo>
                    <a:lnTo>
                      <a:pt x="4852" y="0"/>
                    </a:lnTo>
                    <a:close/>
                    <a:moveTo>
                      <a:pt x="4908" y="0"/>
                    </a:moveTo>
                    <a:lnTo>
                      <a:pt x="4908" y="0"/>
                    </a:lnTo>
                    <a:lnTo>
                      <a:pt x="4908" y="0"/>
                    </a:lnTo>
                    <a:lnTo>
                      <a:pt x="4908" y="163"/>
                    </a:lnTo>
                    <a:lnTo>
                      <a:pt x="4908" y="163"/>
                    </a:lnTo>
                    <a:lnTo>
                      <a:pt x="4908" y="0"/>
                    </a:lnTo>
                    <a:close/>
                  </a:path>
                </a:pathLst>
              </a:custGeom>
              <a:solidFill>
                <a:srgbClr val="BD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2" name="Freeform 137"/>
              <p:cNvSpPr>
                <a:spLocks noEditPoints="1"/>
              </p:cNvSpPr>
              <p:nvPr/>
            </p:nvSpPr>
            <p:spPr bwMode="auto">
              <a:xfrm>
                <a:off x="40" y="1670"/>
                <a:ext cx="7025" cy="1683"/>
              </a:xfrm>
              <a:custGeom>
                <a:avLst/>
                <a:gdLst>
                  <a:gd name="T0" fmla="*/ 0 w 7025"/>
                  <a:gd name="T1" fmla="*/ 1524 h 1683"/>
                  <a:gd name="T2" fmla="*/ 5663 w 7025"/>
                  <a:gd name="T3" fmla="*/ 1439 h 1683"/>
                  <a:gd name="T4" fmla="*/ 3707 w 7025"/>
                  <a:gd name="T5" fmla="*/ 1221 h 1683"/>
                  <a:gd name="T6" fmla="*/ 5831 w 7025"/>
                  <a:gd name="T7" fmla="*/ 1207 h 1683"/>
                  <a:gd name="T8" fmla="*/ 5831 w 7025"/>
                  <a:gd name="T9" fmla="*/ 1316 h 1683"/>
                  <a:gd name="T10" fmla="*/ 1662 w 7025"/>
                  <a:gd name="T11" fmla="*/ 1158 h 1683"/>
                  <a:gd name="T12" fmla="*/ 1686 w 7025"/>
                  <a:gd name="T13" fmla="*/ 1129 h 1683"/>
                  <a:gd name="T14" fmla="*/ 5854 w 7025"/>
                  <a:gd name="T15" fmla="*/ 1127 h 1683"/>
                  <a:gd name="T16" fmla="*/ 5854 w 7025"/>
                  <a:gd name="T17" fmla="*/ 1200 h 1683"/>
                  <a:gd name="T18" fmla="*/ 6320 w 7025"/>
                  <a:gd name="T19" fmla="*/ 1129 h 1683"/>
                  <a:gd name="T20" fmla="*/ 1444 w 7025"/>
                  <a:gd name="T21" fmla="*/ 1124 h 1683"/>
                  <a:gd name="T22" fmla="*/ 1447 w 7025"/>
                  <a:gd name="T23" fmla="*/ 1124 h 1683"/>
                  <a:gd name="T24" fmla="*/ 1463 w 7025"/>
                  <a:gd name="T25" fmla="*/ 1117 h 1683"/>
                  <a:gd name="T26" fmla="*/ 2858 w 7025"/>
                  <a:gd name="T27" fmla="*/ 1063 h 1683"/>
                  <a:gd name="T28" fmla="*/ 5930 w 7025"/>
                  <a:gd name="T29" fmla="*/ 1039 h 1683"/>
                  <a:gd name="T30" fmla="*/ 5930 w 7025"/>
                  <a:gd name="T31" fmla="*/ 1039 h 1683"/>
                  <a:gd name="T32" fmla="*/ 2877 w 7025"/>
                  <a:gd name="T33" fmla="*/ 1053 h 1683"/>
                  <a:gd name="T34" fmla="*/ 3766 w 7025"/>
                  <a:gd name="T35" fmla="*/ 1214 h 1683"/>
                  <a:gd name="T36" fmla="*/ 5946 w 7025"/>
                  <a:gd name="T37" fmla="*/ 989 h 1683"/>
                  <a:gd name="T38" fmla="*/ 6339 w 7025"/>
                  <a:gd name="T39" fmla="*/ 935 h 1683"/>
                  <a:gd name="T40" fmla="*/ 6339 w 7025"/>
                  <a:gd name="T41" fmla="*/ 935 h 1683"/>
                  <a:gd name="T42" fmla="*/ 3844 w 7025"/>
                  <a:gd name="T43" fmla="*/ 985 h 1683"/>
                  <a:gd name="T44" fmla="*/ 6382 w 7025"/>
                  <a:gd name="T45" fmla="*/ 895 h 1683"/>
                  <a:gd name="T46" fmla="*/ 6386 w 7025"/>
                  <a:gd name="T47" fmla="*/ 876 h 1683"/>
                  <a:gd name="T48" fmla="*/ 6389 w 7025"/>
                  <a:gd name="T49" fmla="*/ 888 h 1683"/>
                  <a:gd name="T50" fmla="*/ 6396 w 7025"/>
                  <a:gd name="T51" fmla="*/ 850 h 1683"/>
                  <a:gd name="T52" fmla="*/ 801 w 7025"/>
                  <a:gd name="T53" fmla="*/ 826 h 1683"/>
                  <a:gd name="T54" fmla="*/ 3100 w 7025"/>
                  <a:gd name="T55" fmla="*/ 762 h 1683"/>
                  <a:gd name="T56" fmla="*/ 3100 w 7025"/>
                  <a:gd name="T57" fmla="*/ 970 h 1683"/>
                  <a:gd name="T58" fmla="*/ 1007 w 7025"/>
                  <a:gd name="T59" fmla="*/ 819 h 1683"/>
                  <a:gd name="T60" fmla="*/ 5128 w 7025"/>
                  <a:gd name="T61" fmla="*/ 731 h 1683"/>
                  <a:gd name="T62" fmla="*/ 3135 w 7025"/>
                  <a:gd name="T63" fmla="*/ 656 h 1683"/>
                  <a:gd name="T64" fmla="*/ 97 w 7025"/>
                  <a:gd name="T65" fmla="*/ 615 h 1683"/>
                  <a:gd name="T66" fmla="*/ 97 w 7025"/>
                  <a:gd name="T67" fmla="*/ 615 h 1683"/>
                  <a:gd name="T68" fmla="*/ 5251 w 7025"/>
                  <a:gd name="T69" fmla="*/ 722 h 1683"/>
                  <a:gd name="T70" fmla="*/ 3279 w 7025"/>
                  <a:gd name="T71" fmla="*/ 582 h 1683"/>
                  <a:gd name="T72" fmla="*/ 300 w 7025"/>
                  <a:gd name="T73" fmla="*/ 547 h 1683"/>
                  <a:gd name="T74" fmla="*/ 7025 w 7025"/>
                  <a:gd name="T75" fmla="*/ 506 h 1683"/>
                  <a:gd name="T76" fmla="*/ 7025 w 7025"/>
                  <a:gd name="T77" fmla="*/ 506 h 1683"/>
                  <a:gd name="T78" fmla="*/ 4126 w 7025"/>
                  <a:gd name="T79" fmla="*/ 592 h 1683"/>
                  <a:gd name="T80" fmla="*/ 3298 w 7025"/>
                  <a:gd name="T81" fmla="*/ 502 h 1683"/>
                  <a:gd name="T82" fmla="*/ 4034 w 7025"/>
                  <a:gd name="T83" fmla="*/ 452 h 1683"/>
                  <a:gd name="T84" fmla="*/ 3951 w 7025"/>
                  <a:gd name="T85" fmla="*/ 918 h 1683"/>
                  <a:gd name="T86" fmla="*/ 3327 w 7025"/>
                  <a:gd name="T87" fmla="*/ 433 h 1683"/>
                  <a:gd name="T88" fmla="*/ 3327 w 7025"/>
                  <a:gd name="T89" fmla="*/ 433 h 1683"/>
                  <a:gd name="T90" fmla="*/ 4038 w 7025"/>
                  <a:gd name="T91" fmla="*/ 447 h 1683"/>
                  <a:gd name="T92" fmla="*/ 1809 w 7025"/>
                  <a:gd name="T93" fmla="*/ 367 h 1683"/>
                  <a:gd name="T94" fmla="*/ 1809 w 7025"/>
                  <a:gd name="T95" fmla="*/ 367 h 1683"/>
                  <a:gd name="T96" fmla="*/ 1936 w 7025"/>
                  <a:gd name="T97" fmla="*/ 360 h 1683"/>
                  <a:gd name="T98" fmla="*/ 4048 w 7025"/>
                  <a:gd name="T99" fmla="*/ 381 h 1683"/>
                  <a:gd name="T100" fmla="*/ 2026 w 7025"/>
                  <a:gd name="T101" fmla="*/ 293 h 1683"/>
                  <a:gd name="T102" fmla="*/ 4700 w 7025"/>
                  <a:gd name="T103" fmla="*/ 229 h 1683"/>
                  <a:gd name="T104" fmla="*/ 4802 w 7025"/>
                  <a:gd name="T105" fmla="*/ 170 h 1683"/>
                  <a:gd name="T106" fmla="*/ 4802 w 7025"/>
                  <a:gd name="T107" fmla="*/ 222 h 1683"/>
                  <a:gd name="T108" fmla="*/ 4849 w 7025"/>
                  <a:gd name="T109" fmla="*/ 163 h 1683"/>
                  <a:gd name="T110" fmla="*/ 4908 w 7025"/>
                  <a:gd name="T111" fmla="*/ 0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5" h="1683">
                    <a:moveTo>
                      <a:pt x="0" y="1451"/>
                    </a:moveTo>
                    <a:lnTo>
                      <a:pt x="0" y="1451"/>
                    </a:lnTo>
                    <a:lnTo>
                      <a:pt x="0" y="1453"/>
                    </a:lnTo>
                    <a:lnTo>
                      <a:pt x="0" y="1524"/>
                    </a:lnTo>
                    <a:lnTo>
                      <a:pt x="0" y="1524"/>
                    </a:lnTo>
                    <a:lnTo>
                      <a:pt x="0" y="1451"/>
                    </a:lnTo>
                    <a:moveTo>
                      <a:pt x="5665" y="1326"/>
                    </a:moveTo>
                    <a:lnTo>
                      <a:pt x="5663" y="1326"/>
                    </a:lnTo>
                    <a:lnTo>
                      <a:pt x="5663" y="1326"/>
                    </a:lnTo>
                    <a:lnTo>
                      <a:pt x="5663" y="1439"/>
                    </a:lnTo>
                    <a:lnTo>
                      <a:pt x="5665" y="1439"/>
                    </a:lnTo>
                    <a:lnTo>
                      <a:pt x="5665" y="1326"/>
                    </a:lnTo>
                    <a:moveTo>
                      <a:pt x="3710" y="1221"/>
                    </a:moveTo>
                    <a:lnTo>
                      <a:pt x="3707" y="1221"/>
                    </a:lnTo>
                    <a:lnTo>
                      <a:pt x="3707" y="1221"/>
                    </a:lnTo>
                    <a:lnTo>
                      <a:pt x="3707" y="1221"/>
                    </a:lnTo>
                    <a:lnTo>
                      <a:pt x="3707" y="1382"/>
                    </a:lnTo>
                    <a:lnTo>
                      <a:pt x="3710" y="1382"/>
                    </a:lnTo>
                    <a:lnTo>
                      <a:pt x="3710" y="1221"/>
                    </a:lnTo>
                    <a:moveTo>
                      <a:pt x="5831" y="1207"/>
                    </a:moveTo>
                    <a:lnTo>
                      <a:pt x="5828" y="1207"/>
                    </a:lnTo>
                    <a:lnTo>
                      <a:pt x="5828" y="1207"/>
                    </a:lnTo>
                    <a:lnTo>
                      <a:pt x="5828" y="1210"/>
                    </a:lnTo>
                    <a:lnTo>
                      <a:pt x="5828" y="1316"/>
                    </a:lnTo>
                    <a:lnTo>
                      <a:pt x="5831" y="1316"/>
                    </a:lnTo>
                    <a:lnTo>
                      <a:pt x="5831" y="1207"/>
                    </a:lnTo>
                    <a:moveTo>
                      <a:pt x="1664" y="1155"/>
                    </a:moveTo>
                    <a:lnTo>
                      <a:pt x="1664" y="1155"/>
                    </a:lnTo>
                    <a:lnTo>
                      <a:pt x="1662" y="1155"/>
                    </a:lnTo>
                    <a:lnTo>
                      <a:pt x="1662" y="1158"/>
                    </a:lnTo>
                    <a:lnTo>
                      <a:pt x="1662" y="1191"/>
                    </a:lnTo>
                    <a:lnTo>
                      <a:pt x="1664" y="1191"/>
                    </a:lnTo>
                    <a:lnTo>
                      <a:pt x="1664" y="1155"/>
                    </a:lnTo>
                    <a:moveTo>
                      <a:pt x="1688" y="1129"/>
                    </a:moveTo>
                    <a:lnTo>
                      <a:pt x="1686" y="1129"/>
                    </a:lnTo>
                    <a:lnTo>
                      <a:pt x="1686" y="1131"/>
                    </a:lnTo>
                    <a:lnTo>
                      <a:pt x="1686" y="1148"/>
                    </a:lnTo>
                    <a:lnTo>
                      <a:pt x="1688" y="1148"/>
                    </a:lnTo>
                    <a:lnTo>
                      <a:pt x="1688" y="1129"/>
                    </a:lnTo>
                    <a:moveTo>
                      <a:pt x="5854" y="1127"/>
                    </a:moveTo>
                    <a:lnTo>
                      <a:pt x="5854" y="1127"/>
                    </a:lnTo>
                    <a:lnTo>
                      <a:pt x="5854" y="1127"/>
                    </a:lnTo>
                    <a:lnTo>
                      <a:pt x="5854" y="1129"/>
                    </a:lnTo>
                    <a:lnTo>
                      <a:pt x="5854" y="1200"/>
                    </a:lnTo>
                    <a:lnTo>
                      <a:pt x="5854" y="1200"/>
                    </a:lnTo>
                    <a:lnTo>
                      <a:pt x="5854" y="1127"/>
                    </a:lnTo>
                    <a:moveTo>
                      <a:pt x="6322" y="1127"/>
                    </a:moveTo>
                    <a:lnTo>
                      <a:pt x="6320" y="1127"/>
                    </a:lnTo>
                    <a:lnTo>
                      <a:pt x="6320" y="1127"/>
                    </a:lnTo>
                    <a:lnTo>
                      <a:pt x="6320" y="1129"/>
                    </a:lnTo>
                    <a:lnTo>
                      <a:pt x="6320" y="1354"/>
                    </a:lnTo>
                    <a:lnTo>
                      <a:pt x="6322" y="1354"/>
                    </a:lnTo>
                    <a:lnTo>
                      <a:pt x="6322" y="1127"/>
                    </a:lnTo>
                    <a:moveTo>
                      <a:pt x="1447" y="1124"/>
                    </a:moveTo>
                    <a:lnTo>
                      <a:pt x="1444" y="1124"/>
                    </a:lnTo>
                    <a:lnTo>
                      <a:pt x="1444" y="1124"/>
                    </a:lnTo>
                    <a:lnTo>
                      <a:pt x="1444" y="1127"/>
                    </a:lnTo>
                    <a:lnTo>
                      <a:pt x="1444" y="1191"/>
                    </a:lnTo>
                    <a:lnTo>
                      <a:pt x="1447" y="1191"/>
                    </a:lnTo>
                    <a:lnTo>
                      <a:pt x="1447" y="1124"/>
                    </a:lnTo>
                    <a:moveTo>
                      <a:pt x="1463" y="1082"/>
                    </a:moveTo>
                    <a:lnTo>
                      <a:pt x="1461" y="1082"/>
                    </a:lnTo>
                    <a:lnTo>
                      <a:pt x="1461" y="1084"/>
                    </a:lnTo>
                    <a:lnTo>
                      <a:pt x="1461" y="1117"/>
                    </a:lnTo>
                    <a:lnTo>
                      <a:pt x="1463" y="1117"/>
                    </a:lnTo>
                    <a:lnTo>
                      <a:pt x="1463" y="1082"/>
                    </a:lnTo>
                    <a:moveTo>
                      <a:pt x="2858" y="1060"/>
                    </a:moveTo>
                    <a:lnTo>
                      <a:pt x="2858" y="1060"/>
                    </a:lnTo>
                    <a:lnTo>
                      <a:pt x="2858" y="1060"/>
                    </a:lnTo>
                    <a:lnTo>
                      <a:pt x="2858" y="1063"/>
                    </a:lnTo>
                    <a:lnTo>
                      <a:pt x="2858" y="1231"/>
                    </a:lnTo>
                    <a:lnTo>
                      <a:pt x="2858" y="1231"/>
                    </a:lnTo>
                    <a:lnTo>
                      <a:pt x="2858" y="1060"/>
                    </a:lnTo>
                    <a:moveTo>
                      <a:pt x="5930" y="1039"/>
                    </a:moveTo>
                    <a:lnTo>
                      <a:pt x="5930" y="1039"/>
                    </a:lnTo>
                    <a:lnTo>
                      <a:pt x="5928" y="1039"/>
                    </a:lnTo>
                    <a:lnTo>
                      <a:pt x="5928" y="1041"/>
                    </a:lnTo>
                    <a:lnTo>
                      <a:pt x="5928" y="1120"/>
                    </a:lnTo>
                    <a:lnTo>
                      <a:pt x="5930" y="1120"/>
                    </a:lnTo>
                    <a:lnTo>
                      <a:pt x="5930" y="1039"/>
                    </a:lnTo>
                    <a:moveTo>
                      <a:pt x="2877" y="1011"/>
                    </a:moveTo>
                    <a:lnTo>
                      <a:pt x="2875" y="1011"/>
                    </a:lnTo>
                    <a:lnTo>
                      <a:pt x="2875" y="1013"/>
                    </a:lnTo>
                    <a:lnTo>
                      <a:pt x="2875" y="1053"/>
                    </a:lnTo>
                    <a:lnTo>
                      <a:pt x="2877" y="1053"/>
                    </a:lnTo>
                    <a:lnTo>
                      <a:pt x="2877" y="1011"/>
                    </a:lnTo>
                    <a:moveTo>
                      <a:pt x="3769" y="992"/>
                    </a:moveTo>
                    <a:lnTo>
                      <a:pt x="3766" y="992"/>
                    </a:lnTo>
                    <a:lnTo>
                      <a:pt x="3766" y="994"/>
                    </a:lnTo>
                    <a:lnTo>
                      <a:pt x="3766" y="1214"/>
                    </a:lnTo>
                    <a:lnTo>
                      <a:pt x="3769" y="1214"/>
                    </a:lnTo>
                    <a:lnTo>
                      <a:pt x="3769" y="992"/>
                    </a:lnTo>
                    <a:moveTo>
                      <a:pt x="5949" y="987"/>
                    </a:moveTo>
                    <a:lnTo>
                      <a:pt x="5946" y="987"/>
                    </a:lnTo>
                    <a:lnTo>
                      <a:pt x="5946" y="989"/>
                    </a:lnTo>
                    <a:lnTo>
                      <a:pt x="5946" y="1032"/>
                    </a:lnTo>
                    <a:lnTo>
                      <a:pt x="5949" y="1032"/>
                    </a:lnTo>
                    <a:lnTo>
                      <a:pt x="5949" y="987"/>
                    </a:lnTo>
                    <a:moveTo>
                      <a:pt x="6339" y="935"/>
                    </a:moveTo>
                    <a:lnTo>
                      <a:pt x="6339" y="935"/>
                    </a:lnTo>
                    <a:lnTo>
                      <a:pt x="6337" y="935"/>
                    </a:lnTo>
                    <a:lnTo>
                      <a:pt x="6337" y="935"/>
                    </a:lnTo>
                    <a:lnTo>
                      <a:pt x="6337" y="1120"/>
                    </a:lnTo>
                    <a:lnTo>
                      <a:pt x="6339" y="1120"/>
                    </a:lnTo>
                    <a:lnTo>
                      <a:pt x="6339" y="935"/>
                    </a:lnTo>
                    <a:moveTo>
                      <a:pt x="3844" y="925"/>
                    </a:moveTo>
                    <a:lnTo>
                      <a:pt x="3842" y="925"/>
                    </a:lnTo>
                    <a:lnTo>
                      <a:pt x="3842" y="928"/>
                    </a:lnTo>
                    <a:lnTo>
                      <a:pt x="3842" y="985"/>
                    </a:lnTo>
                    <a:lnTo>
                      <a:pt x="3844" y="985"/>
                    </a:lnTo>
                    <a:lnTo>
                      <a:pt x="3844" y="925"/>
                    </a:lnTo>
                    <a:moveTo>
                      <a:pt x="6384" y="892"/>
                    </a:moveTo>
                    <a:lnTo>
                      <a:pt x="6384" y="892"/>
                    </a:lnTo>
                    <a:lnTo>
                      <a:pt x="6382" y="892"/>
                    </a:lnTo>
                    <a:lnTo>
                      <a:pt x="6382" y="895"/>
                    </a:lnTo>
                    <a:lnTo>
                      <a:pt x="6374" y="925"/>
                    </a:lnTo>
                    <a:lnTo>
                      <a:pt x="6377" y="925"/>
                    </a:lnTo>
                    <a:lnTo>
                      <a:pt x="6384" y="892"/>
                    </a:lnTo>
                    <a:moveTo>
                      <a:pt x="6389" y="876"/>
                    </a:moveTo>
                    <a:lnTo>
                      <a:pt x="6386" y="876"/>
                    </a:lnTo>
                    <a:lnTo>
                      <a:pt x="6386" y="876"/>
                    </a:lnTo>
                    <a:lnTo>
                      <a:pt x="6386" y="878"/>
                    </a:lnTo>
                    <a:lnTo>
                      <a:pt x="6386" y="890"/>
                    </a:lnTo>
                    <a:lnTo>
                      <a:pt x="6386" y="890"/>
                    </a:lnTo>
                    <a:lnTo>
                      <a:pt x="6389" y="888"/>
                    </a:lnTo>
                    <a:lnTo>
                      <a:pt x="6389" y="888"/>
                    </a:lnTo>
                    <a:lnTo>
                      <a:pt x="6389" y="876"/>
                    </a:lnTo>
                    <a:moveTo>
                      <a:pt x="6396" y="847"/>
                    </a:moveTo>
                    <a:lnTo>
                      <a:pt x="6396" y="847"/>
                    </a:lnTo>
                    <a:lnTo>
                      <a:pt x="6396" y="850"/>
                    </a:lnTo>
                    <a:lnTo>
                      <a:pt x="6396" y="869"/>
                    </a:lnTo>
                    <a:lnTo>
                      <a:pt x="6396" y="869"/>
                    </a:lnTo>
                    <a:lnTo>
                      <a:pt x="6396" y="847"/>
                    </a:lnTo>
                    <a:moveTo>
                      <a:pt x="804" y="826"/>
                    </a:moveTo>
                    <a:lnTo>
                      <a:pt x="801" y="826"/>
                    </a:lnTo>
                    <a:lnTo>
                      <a:pt x="801" y="828"/>
                    </a:lnTo>
                    <a:lnTo>
                      <a:pt x="801" y="1060"/>
                    </a:lnTo>
                    <a:lnTo>
                      <a:pt x="804" y="1060"/>
                    </a:lnTo>
                    <a:lnTo>
                      <a:pt x="804" y="826"/>
                    </a:lnTo>
                    <a:moveTo>
                      <a:pt x="3100" y="762"/>
                    </a:moveTo>
                    <a:lnTo>
                      <a:pt x="3100" y="762"/>
                    </a:lnTo>
                    <a:lnTo>
                      <a:pt x="3097" y="762"/>
                    </a:lnTo>
                    <a:lnTo>
                      <a:pt x="3097" y="762"/>
                    </a:lnTo>
                    <a:lnTo>
                      <a:pt x="3097" y="970"/>
                    </a:lnTo>
                    <a:lnTo>
                      <a:pt x="3100" y="970"/>
                    </a:lnTo>
                    <a:lnTo>
                      <a:pt x="3100" y="762"/>
                    </a:lnTo>
                    <a:moveTo>
                      <a:pt x="1007" y="750"/>
                    </a:moveTo>
                    <a:lnTo>
                      <a:pt x="1007" y="750"/>
                    </a:lnTo>
                    <a:lnTo>
                      <a:pt x="1007" y="753"/>
                    </a:lnTo>
                    <a:lnTo>
                      <a:pt x="1007" y="819"/>
                    </a:lnTo>
                    <a:lnTo>
                      <a:pt x="1007" y="819"/>
                    </a:lnTo>
                    <a:lnTo>
                      <a:pt x="1007" y="750"/>
                    </a:lnTo>
                    <a:moveTo>
                      <a:pt x="5131" y="731"/>
                    </a:moveTo>
                    <a:lnTo>
                      <a:pt x="5128" y="731"/>
                    </a:lnTo>
                    <a:lnTo>
                      <a:pt x="5128" y="731"/>
                    </a:lnTo>
                    <a:lnTo>
                      <a:pt x="5128" y="963"/>
                    </a:lnTo>
                    <a:lnTo>
                      <a:pt x="5131" y="963"/>
                    </a:lnTo>
                    <a:lnTo>
                      <a:pt x="5131" y="731"/>
                    </a:lnTo>
                    <a:moveTo>
                      <a:pt x="3137" y="656"/>
                    </a:moveTo>
                    <a:lnTo>
                      <a:pt x="3135" y="656"/>
                    </a:lnTo>
                    <a:lnTo>
                      <a:pt x="3135" y="658"/>
                    </a:lnTo>
                    <a:lnTo>
                      <a:pt x="3135" y="753"/>
                    </a:lnTo>
                    <a:lnTo>
                      <a:pt x="3137" y="753"/>
                    </a:lnTo>
                    <a:lnTo>
                      <a:pt x="3137" y="656"/>
                    </a:lnTo>
                    <a:moveTo>
                      <a:pt x="97" y="615"/>
                    </a:moveTo>
                    <a:lnTo>
                      <a:pt x="94" y="615"/>
                    </a:lnTo>
                    <a:lnTo>
                      <a:pt x="94" y="618"/>
                    </a:lnTo>
                    <a:lnTo>
                      <a:pt x="94" y="1444"/>
                    </a:lnTo>
                    <a:lnTo>
                      <a:pt x="97" y="1444"/>
                    </a:lnTo>
                    <a:lnTo>
                      <a:pt x="97" y="615"/>
                    </a:lnTo>
                    <a:moveTo>
                      <a:pt x="5251" y="608"/>
                    </a:moveTo>
                    <a:lnTo>
                      <a:pt x="5249" y="608"/>
                    </a:lnTo>
                    <a:lnTo>
                      <a:pt x="5249" y="611"/>
                    </a:lnTo>
                    <a:lnTo>
                      <a:pt x="5249" y="722"/>
                    </a:lnTo>
                    <a:lnTo>
                      <a:pt x="5251" y="722"/>
                    </a:lnTo>
                    <a:lnTo>
                      <a:pt x="5251" y="608"/>
                    </a:lnTo>
                    <a:moveTo>
                      <a:pt x="3282" y="580"/>
                    </a:moveTo>
                    <a:lnTo>
                      <a:pt x="3279" y="580"/>
                    </a:lnTo>
                    <a:lnTo>
                      <a:pt x="3279" y="580"/>
                    </a:lnTo>
                    <a:lnTo>
                      <a:pt x="3279" y="582"/>
                    </a:lnTo>
                    <a:lnTo>
                      <a:pt x="3279" y="648"/>
                    </a:lnTo>
                    <a:lnTo>
                      <a:pt x="3282" y="648"/>
                    </a:lnTo>
                    <a:lnTo>
                      <a:pt x="3282" y="580"/>
                    </a:lnTo>
                    <a:moveTo>
                      <a:pt x="300" y="547"/>
                    </a:moveTo>
                    <a:lnTo>
                      <a:pt x="300" y="547"/>
                    </a:lnTo>
                    <a:lnTo>
                      <a:pt x="300" y="547"/>
                    </a:lnTo>
                    <a:lnTo>
                      <a:pt x="300" y="608"/>
                    </a:lnTo>
                    <a:lnTo>
                      <a:pt x="300" y="608"/>
                    </a:lnTo>
                    <a:lnTo>
                      <a:pt x="300" y="547"/>
                    </a:lnTo>
                    <a:moveTo>
                      <a:pt x="7025" y="506"/>
                    </a:moveTo>
                    <a:lnTo>
                      <a:pt x="7022" y="506"/>
                    </a:lnTo>
                    <a:lnTo>
                      <a:pt x="7022" y="509"/>
                    </a:lnTo>
                    <a:lnTo>
                      <a:pt x="7022" y="1683"/>
                    </a:lnTo>
                    <a:lnTo>
                      <a:pt x="7025" y="1683"/>
                    </a:lnTo>
                    <a:lnTo>
                      <a:pt x="7025" y="506"/>
                    </a:lnTo>
                    <a:moveTo>
                      <a:pt x="4192" y="502"/>
                    </a:moveTo>
                    <a:lnTo>
                      <a:pt x="4192" y="502"/>
                    </a:lnTo>
                    <a:lnTo>
                      <a:pt x="4190" y="504"/>
                    </a:lnTo>
                    <a:lnTo>
                      <a:pt x="4126" y="592"/>
                    </a:lnTo>
                    <a:lnTo>
                      <a:pt x="4126" y="592"/>
                    </a:lnTo>
                    <a:lnTo>
                      <a:pt x="4192" y="502"/>
                    </a:lnTo>
                    <a:moveTo>
                      <a:pt x="3298" y="499"/>
                    </a:moveTo>
                    <a:lnTo>
                      <a:pt x="3298" y="499"/>
                    </a:lnTo>
                    <a:lnTo>
                      <a:pt x="3298" y="499"/>
                    </a:lnTo>
                    <a:lnTo>
                      <a:pt x="3298" y="502"/>
                    </a:lnTo>
                    <a:lnTo>
                      <a:pt x="3298" y="573"/>
                    </a:lnTo>
                    <a:lnTo>
                      <a:pt x="3298" y="573"/>
                    </a:lnTo>
                    <a:lnTo>
                      <a:pt x="3298" y="499"/>
                    </a:lnTo>
                    <a:moveTo>
                      <a:pt x="4036" y="452"/>
                    </a:moveTo>
                    <a:lnTo>
                      <a:pt x="4034" y="452"/>
                    </a:lnTo>
                    <a:lnTo>
                      <a:pt x="4034" y="452"/>
                    </a:lnTo>
                    <a:lnTo>
                      <a:pt x="4034" y="454"/>
                    </a:lnTo>
                    <a:lnTo>
                      <a:pt x="4034" y="490"/>
                    </a:lnTo>
                    <a:lnTo>
                      <a:pt x="3951" y="641"/>
                    </a:lnTo>
                    <a:lnTo>
                      <a:pt x="3951" y="918"/>
                    </a:lnTo>
                    <a:lnTo>
                      <a:pt x="3953" y="918"/>
                    </a:lnTo>
                    <a:lnTo>
                      <a:pt x="3953" y="639"/>
                    </a:lnTo>
                    <a:lnTo>
                      <a:pt x="4036" y="487"/>
                    </a:lnTo>
                    <a:lnTo>
                      <a:pt x="4036" y="452"/>
                    </a:lnTo>
                    <a:moveTo>
                      <a:pt x="3327" y="433"/>
                    </a:moveTo>
                    <a:lnTo>
                      <a:pt x="3327" y="433"/>
                    </a:lnTo>
                    <a:lnTo>
                      <a:pt x="3327" y="433"/>
                    </a:lnTo>
                    <a:lnTo>
                      <a:pt x="3327" y="492"/>
                    </a:lnTo>
                    <a:lnTo>
                      <a:pt x="3327" y="492"/>
                    </a:lnTo>
                    <a:lnTo>
                      <a:pt x="3327" y="433"/>
                    </a:lnTo>
                    <a:moveTo>
                      <a:pt x="4041" y="388"/>
                    </a:moveTo>
                    <a:lnTo>
                      <a:pt x="4041" y="388"/>
                    </a:lnTo>
                    <a:lnTo>
                      <a:pt x="4038" y="388"/>
                    </a:lnTo>
                    <a:lnTo>
                      <a:pt x="4038" y="390"/>
                    </a:lnTo>
                    <a:lnTo>
                      <a:pt x="4038" y="447"/>
                    </a:lnTo>
                    <a:lnTo>
                      <a:pt x="4041" y="447"/>
                    </a:lnTo>
                    <a:lnTo>
                      <a:pt x="4041" y="445"/>
                    </a:lnTo>
                    <a:lnTo>
                      <a:pt x="4041" y="445"/>
                    </a:lnTo>
                    <a:lnTo>
                      <a:pt x="4041" y="388"/>
                    </a:lnTo>
                    <a:moveTo>
                      <a:pt x="1809" y="367"/>
                    </a:moveTo>
                    <a:lnTo>
                      <a:pt x="1806" y="367"/>
                    </a:lnTo>
                    <a:lnTo>
                      <a:pt x="1806" y="369"/>
                    </a:lnTo>
                    <a:lnTo>
                      <a:pt x="1806" y="1122"/>
                    </a:lnTo>
                    <a:lnTo>
                      <a:pt x="1809" y="1122"/>
                    </a:lnTo>
                    <a:lnTo>
                      <a:pt x="1809" y="367"/>
                    </a:lnTo>
                    <a:moveTo>
                      <a:pt x="1936" y="331"/>
                    </a:moveTo>
                    <a:lnTo>
                      <a:pt x="1936" y="331"/>
                    </a:lnTo>
                    <a:lnTo>
                      <a:pt x="1936" y="334"/>
                    </a:lnTo>
                    <a:lnTo>
                      <a:pt x="1936" y="360"/>
                    </a:lnTo>
                    <a:lnTo>
                      <a:pt x="1936" y="360"/>
                    </a:lnTo>
                    <a:lnTo>
                      <a:pt x="1936" y="331"/>
                    </a:lnTo>
                    <a:moveTo>
                      <a:pt x="4050" y="326"/>
                    </a:moveTo>
                    <a:lnTo>
                      <a:pt x="4048" y="326"/>
                    </a:lnTo>
                    <a:lnTo>
                      <a:pt x="4048" y="326"/>
                    </a:lnTo>
                    <a:lnTo>
                      <a:pt x="4048" y="381"/>
                    </a:lnTo>
                    <a:lnTo>
                      <a:pt x="4050" y="381"/>
                    </a:lnTo>
                    <a:lnTo>
                      <a:pt x="4050" y="326"/>
                    </a:lnTo>
                    <a:moveTo>
                      <a:pt x="2028" y="291"/>
                    </a:moveTo>
                    <a:lnTo>
                      <a:pt x="2026" y="291"/>
                    </a:lnTo>
                    <a:lnTo>
                      <a:pt x="2026" y="293"/>
                    </a:lnTo>
                    <a:lnTo>
                      <a:pt x="2026" y="324"/>
                    </a:lnTo>
                    <a:lnTo>
                      <a:pt x="2028" y="324"/>
                    </a:lnTo>
                    <a:lnTo>
                      <a:pt x="2028" y="291"/>
                    </a:lnTo>
                    <a:moveTo>
                      <a:pt x="4703" y="229"/>
                    </a:moveTo>
                    <a:lnTo>
                      <a:pt x="4700" y="229"/>
                    </a:lnTo>
                    <a:lnTo>
                      <a:pt x="4700" y="232"/>
                    </a:lnTo>
                    <a:lnTo>
                      <a:pt x="4637" y="469"/>
                    </a:lnTo>
                    <a:lnTo>
                      <a:pt x="4639" y="466"/>
                    </a:lnTo>
                    <a:lnTo>
                      <a:pt x="4703" y="229"/>
                    </a:lnTo>
                    <a:moveTo>
                      <a:pt x="4802" y="170"/>
                    </a:moveTo>
                    <a:lnTo>
                      <a:pt x="4802" y="170"/>
                    </a:lnTo>
                    <a:lnTo>
                      <a:pt x="4800" y="170"/>
                    </a:lnTo>
                    <a:lnTo>
                      <a:pt x="4800" y="173"/>
                    </a:lnTo>
                    <a:lnTo>
                      <a:pt x="4800" y="222"/>
                    </a:lnTo>
                    <a:lnTo>
                      <a:pt x="4802" y="222"/>
                    </a:lnTo>
                    <a:lnTo>
                      <a:pt x="4802" y="170"/>
                    </a:lnTo>
                    <a:moveTo>
                      <a:pt x="4852" y="0"/>
                    </a:moveTo>
                    <a:lnTo>
                      <a:pt x="4849" y="0"/>
                    </a:lnTo>
                    <a:lnTo>
                      <a:pt x="4849" y="0"/>
                    </a:lnTo>
                    <a:lnTo>
                      <a:pt x="4849" y="163"/>
                    </a:lnTo>
                    <a:lnTo>
                      <a:pt x="4852" y="163"/>
                    </a:lnTo>
                    <a:lnTo>
                      <a:pt x="4852" y="0"/>
                    </a:lnTo>
                    <a:moveTo>
                      <a:pt x="4908" y="0"/>
                    </a:moveTo>
                    <a:lnTo>
                      <a:pt x="4908" y="0"/>
                    </a:lnTo>
                    <a:lnTo>
                      <a:pt x="4908" y="0"/>
                    </a:lnTo>
                    <a:lnTo>
                      <a:pt x="4908" y="163"/>
                    </a:lnTo>
                    <a:lnTo>
                      <a:pt x="4908" y="163"/>
                    </a:lnTo>
                    <a:lnTo>
                      <a:pt x="49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3" name="Freeform 138"/>
              <p:cNvSpPr>
                <a:spLocks noEditPoints="1"/>
              </p:cNvSpPr>
              <p:nvPr/>
            </p:nvSpPr>
            <p:spPr bwMode="auto">
              <a:xfrm>
                <a:off x="40" y="1667"/>
                <a:ext cx="7027" cy="1686"/>
              </a:xfrm>
              <a:custGeom>
                <a:avLst/>
                <a:gdLst>
                  <a:gd name="T0" fmla="*/ 2 w 7027"/>
                  <a:gd name="T1" fmla="*/ 1527 h 1686"/>
                  <a:gd name="T2" fmla="*/ 5665 w 7027"/>
                  <a:gd name="T3" fmla="*/ 1442 h 1686"/>
                  <a:gd name="T4" fmla="*/ 3710 w 7027"/>
                  <a:gd name="T5" fmla="*/ 1222 h 1686"/>
                  <a:gd name="T6" fmla="*/ 5833 w 7027"/>
                  <a:gd name="T7" fmla="*/ 1208 h 1686"/>
                  <a:gd name="T8" fmla="*/ 5833 w 7027"/>
                  <a:gd name="T9" fmla="*/ 1319 h 1686"/>
                  <a:gd name="T10" fmla="*/ 1664 w 7027"/>
                  <a:gd name="T11" fmla="*/ 1158 h 1686"/>
                  <a:gd name="T12" fmla="*/ 1688 w 7027"/>
                  <a:gd name="T13" fmla="*/ 1132 h 1686"/>
                  <a:gd name="T14" fmla="*/ 5857 w 7027"/>
                  <a:gd name="T15" fmla="*/ 1127 h 1686"/>
                  <a:gd name="T16" fmla="*/ 5857 w 7027"/>
                  <a:gd name="T17" fmla="*/ 1203 h 1686"/>
                  <a:gd name="T18" fmla="*/ 6322 w 7027"/>
                  <a:gd name="T19" fmla="*/ 1130 h 1686"/>
                  <a:gd name="T20" fmla="*/ 1447 w 7027"/>
                  <a:gd name="T21" fmla="*/ 1125 h 1686"/>
                  <a:gd name="T22" fmla="*/ 1447 w 7027"/>
                  <a:gd name="T23" fmla="*/ 1125 h 1686"/>
                  <a:gd name="T24" fmla="*/ 1463 w 7027"/>
                  <a:gd name="T25" fmla="*/ 1120 h 1686"/>
                  <a:gd name="T26" fmla="*/ 2858 w 7027"/>
                  <a:gd name="T27" fmla="*/ 1063 h 1686"/>
                  <a:gd name="T28" fmla="*/ 5932 w 7027"/>
                  <a:gd name="T29" fmla="*/ 1042 h 1686"/>
                  <a:gd name="T30" fmla="*/ 5932 w 7027"/>
                  <a:gd name="T31" fmla="*/ 1042 h 1686"/>
                  <a:gd name="T32" fmla="*/ 2877 w 7027"/>
                  <a:gd name="T33" fmla="*/ 1056 h 1686"/>
                  <a:gd name="T34" fmla="*/ 3769 w 7027"/>
                  <a:gd name="T35" fmla="*/ 1217 h 1686"/>
                  <a:gd name="T36" fmla="*/ 5949 w 7027"/>
                  <a:gd name="T37" fmla="*/ 990 h 1686"/>
                  <a:gd name="T38" fmla="*/ 6341 w 7027"/>
                  <a:gd name="T39" fmla="*/ 936 h 1686"/>
                  <a:gd name="T40" fmla="*/ 6341 w 7027"/>
                  <a:gd name="T41" fmla="*/ 936 h 1686"/>
                  <a:gd name="T42" fmla="*/ 3847 w 7027"/>
                  <a:gd name="T43" fmla="*/ 988 h 1686"/>
                  <a:gd name="T44" fmla="*/ 6384 w 7027"/>
                  <a:gd name="T45" fmla="*/ 895 h 1686"/>
                  <a:gd name="T46" fmla="*/ 6389 w 7027"/>
                  <a:gd name="T47" fmla="*/ 879 h 1686"/>
                  <a:gd name="T48" fmla="*/ 6389 w 7027"/>
                  <a:gd name="T49" fmla="*/ 888 h 1686"/>
                  <a:gd name="T50" fmla="*/ 6396 w 7027"/>
                  <a:gd name="T51" fmla="*/ 850 h 1686"/>
                  <a:gd name="T52" fmla="*/ 804 w 7027"/>
                  <a:gd name="T53" fmla="*/ 827 h 1686"/>
                  <a:gd name="T54" fmla="*/ 3102 w 7027"/>
                  <a:gd name="T55" fmla="*/ 763 h 1686"/>
                  <a:gd name="T56" fmla="*/ 3102 w 7027"/>
                  <a:gd name="T57" fmla="*/ 973 h 1686"/>
                  <a:gd name="T58" fmla="*/ 1007 w 7027"/>
                  <a:gd name="T59" fmla="*/ 822 h 1686"/>
                  <a:gd name="T60" fmla="*/ 5131 w 7027"/>
                  <a:gd name="T61" fmla="*/ 734 h 1686"/>
                  <a:gd name="T62" fmla="*/ 3137 w 7027"/>
                  <a:gd name="T63" fmla="*/ 656 h 1686"/>
                  <a:gd name="T64" fmla="*/ 97 w 7027"/>
                  <a:gd name="T65" fmla="*/ 616 h 1686"/>
                  <a:gd name="T66" fmla="*/ 97 w 7027"/>
                  <a:gd name="T67" fmla="*/ 616 h 1686"/>
                  <a:gd name="T68" fmla="*/ 5254 w 7027"/>
                  <a:gd name="T69" fmla="*/ 725 h 1686"/>
                  <a:gd name="T70" fmla="*/ 3282 w 7027"/>
                  <a:gd name="T71" fmla="*/ 583 h 1686"/>
                  <a:gd name="T72" fmla="*/ 300 w 7027"/>
                  <a:gd name="T73" fmla="*/ 547 h 1686"/>
                  <a:gd name="T74" fmla="*/ 7027 w 7027"/>
                  <a:gd name="T75" fmla="*/ 509 h 1686"/>
                  <a:gd name="T76" fmla="*/ 7027 w 7027"/>
                  <a:gd name="T77" fmla="*/ 509 h 1686"/>
                  <a:gd name="T78" fmla="*/ 4126 w 7027"/>
                  <a:gd name="T79" fmla="*/ 597 h 1686"/>
                  <a:gd name="T80" fmla="*/ 3298 w 7027"/>
                  <a:gd name="T81" fmla="*/ 502 h 1686"/>
                  <a:gd name="T82" fmla="*/ 4036 w 7027"/>
                  <a:gd name="T83" fmla="*/ 455 h 1686"/>
                  <a:gd name="T84" fmla="*/ 3953 w 7027"/>
                  <a:gd name="T85" fmla="*/ 921 h 1686"/>
                  <a:gd name="T86" fmla="*/ 3329 w 7027"/>
                  <a:gd name="T87" fmla="*/ 434 h 1686"/>
                  <a:gd name="T88" fmla="*/ 3329 w 7027"/>
                  <a:gd name="T89" fmla="*/ 434 h 1686"/>
                  <a:gd name="T90" fmla="*/ 4041 w 7027"/>
                  <a:gd name="T91" fmla="*/ 448 h 1686"/>
                  <a:gd name="T92" fmla="*/ 1809 w 7027"/>
                  <a:gd name="T93" fmla="*/ 370 h 1686"/>
                  <a:gd name="T94" fmla="*/ 1936 w 7027"/>
                  <a:gd name="T95" fmla="*/ 334 h 1686"/>
                  <a:gd name="T96" fmla="*/ 4050 w 7027"/>
                  <a:gd name="T97" fmla="*/ 327 h 1686"/>
                  <a:gd name="T98" fmla="*/ 4050 w 7027"/>
                  <a:gd name="T99" fmla="*/ 327 h 1686"/>
                  <a:gd name="T100" fmla="*/ 2028 w 7027"/>
                  <a:gd name="T101" fmla="*/ 327 h 1686"/>
                  <a:gd name="T102" fmla="*/ 4639 w 7027"/>
                  <a:gd name="T103" fmla="*/ 469 h 1686"/>
                  <a:gd name="T104" fmla="*/ 4802 w 7027"/>
                  <a:gd name="T105" fmla="*/ 171 h 1686"/>
                  <a:gd name="T106" fmla="*/ 4854 w 7027"/>
                  <a:gd name="T107" fmla="*/ 0 h 1686"/>
                  <a:gd name="T108" fmla="*/ 4854 w 7027"/>
                  <a:gd name="T109" fmla="*/ 0 h 1686"/>
                  <a:gd name="T110" fmla="*/ 4911 w 7027"/>
                  <a:gd name="T111" fmla="*/ 16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86">
                    <a:moveTo>
                      <a:pt x="2" y="1452"/>
                    </a:moveTo>
                    <a:lnTo>
                      <a:pt x="0" y="1452"/>
                    </a:lnTo>
                    <a:lnTo>
                      <a:pt x="0" y="1454"/>
                    </a:lnTo>
                    <a:lnTo>
                      <a:pt x="0" y="1527"/>
                    </a:lnTo>
                    <a:lnTo>
                      <a:pt x="2" y="1527"/>
                    </a:lnTo>
                    <a:lnTo>
                      <a:pt x="2" y="1452"/>
                    </a:lnTo>
                    <a:close/>
                    <a:moveTo>
                      <a:pt x="5667" y="1326"/>
                    </a:moveTo>
                    <a:lnTo>
                      <a:pt x="5665" y="1326"/>
                    </a:lnTo>
                    <a:lnTo>
                      <a:pt x="5665" y="1329"/>
                    </a:lnTo>
                    <a:lnTo>
                      <a:pt x="5665" y="1442"/>
                    </a:lnTo>
                    <a:lnTo>
                      <a:pt x="5667" y="1442"/>
                    </a:lnTo>
                    <a:lnTo>
                      <a:pt x="5667" y="1326"/>
                    </a:lnTo>
                    <a:close/>
                    <a:moveTo>
                      <a:pt x="3712" y="1222"/>
                    </a:moveTo>
                    <a:lnTo>
                      <a:pt x="3710" y="1222"/>
                    </a:lnTo>
                    <a:lnTo>
                      <a:pt x="3710" y="1222"/>
                    </a:lnTo>
                    <a:lnTo>
                      <a:pt x="3710" y="1224"/>
                    </a:lnTo>
                    <a:lnTo>
                      <a:pt x="3710" y="1385"/>
                    </a:lnTo>
                    <a:lnTo>
                      <a:pt x="3712" y="1385"/>
                    </a:lnTo>
                    <a:lnTo>
                      <a:pt x="3712" y="1222"/>
                    </a:lnTo>
                    <a:close/>
                    <a:moveTo>
                      <a:pt x="5833" y="1208"/>
                    </a:moveTo>
                    <a:lnTo>
                      <a:pt x="5831" y="1208"/>
                    </a:lnTo>
                    <a:lnTo>
                      <a:pt x="5831" y="1208"/>
                    </a:lnTo>
                    <a:lnTo>
                      <a:pt x="5831" y="1210"/>
                    </a:lnTo>
                    <a:lnTo>
                      <a:pt x="5831" y="1319"/>
                    </a:lnTo>
                    <a:lnTo>
                      <a:pt x="5833" y="1319"/>
                    </a:lnTo>
                    <a:lnTo>
                      <a:pt x="5833" y="1208"/>
                    </a:lnTo>
                    <a:close/>
                    <a:moveTo>
                      <a:pt x="1667" y="1156"/>
                    </a:moveTo>
                    <a:lnTo>
                      <a:pt x="1664" y="1156"/>
                    </a:lnTo>
                    <a:lnTo>
                      <a:pt x="1664" y="1156"/>
                    </a:lnTo>
                    <a:lnTo>
                      <a:pt x="1664" y="1158"/>
                    </a:lnTo>
                    <a:lnTo>
                      <a:pt x="1664" y="1194"/>
                    </a:lnTo>
                    <a:lnTo>
                      <a:pt x="1667" y="1194"/>
                    </a:lnTo>
                    <a:lnTo>
                      <a:pt x="1667" y="1156"/>
                    </a:lnTo>
                    <a:close/>
                    <a:moveTo>
                      <a:pt x="1690" y="1132"/>
                    </a:moveTo>
                    <a:lnTo>
                      <a:pt x="1688" y="1132"/>
                    </a:lnTo>
                    <a:lnTo>
                      <a:pt x="1688" y="1132"/>
                    </a:lnTo>
                    <a:lnTo>
                      <a:pt x="1688" y="1151"/>
                    </a:lnTo>
                    <a:lnTo>
                      <a:pt x="1690" y="1151"/>
                    </a:lnTo>
                    <a:lnTo>
                      <a:pt x="1690" y="1132"/>
                    </a:lnTo>
                    <a:close/>
                    <a:moveTo>
                      <a:pt x="5857" y="1127"/>
                    </a:moveTo>
                    <a:lnTo>
                      <a:pt x="5857" y="1127"/>
                    </a:lnTo>
                    <a:lnTo>
                      <a:pt x="5854" y="1127"/>
                    </a:lnTo>
                    <a:lnTo>
                      <a:pt x="5854" y="1130"/>
                    </a:lnTo>
                    <a:lnTo>
                      <a:pt x="5854" y="1203"/>
                    </a:lnTo>
                    <a:lnTo>
                      <a:pt x="5857" y="1203"/>
                    </a:lnTo>
                    <a:lnTo>
                      <a:pt x="5857" y="1127"/>
                    </a:lnTo>
                    <a:close/>
                    <a:moveTo>
                      <a:pt x="6322" y="1127"/>
                    </a:moveTo>
                    <a:lnTo>
                      <a:pt x="6322" y="1127"/>
                    </a:lnTo>
                    <a:lnTo>
                      <a:pt x="6322" y="1127"/>
                    </a:lnTo>
                    <a:lnTo>
                      <a:pt x="6322" y="1130"/>
                    </a:lnTo>
                    <a:lnTo>
                      <a:pt x="6322" y="1357"/>
                    </a:lnTo>
                    <a:lnTo>
                      <a:pt x="6322" y="1357"/>
                    </a:lnTo>
                    <a:lnTo>
                      <a:pt x="6322" y="1127"/>
                    </a:lnTo>
                    <a:close/>
                    <a:moveTo>
                      <a:pt x="1447" y="1125"/>
                    </a:moveTo>
                    <a:lnTo>
                      <a:pt x="1447" y="1125"/>
                    </a:lnTo>
                    <a:lnTo>
                      <a:pt x="1447" y="1125"/>
                    </a:lnTo>
                    <a:lnTo>
                      <a:pt x="1447" y="1127"/>
                    </a:lnTo>
                    <a:lnTo>
                      <a:pt x="1447" y="1194"/>
                    </a:lnTo>
                    <a:lnTo>
                      <a:pt x="1447" y="1194"/>
                    </a:lnTo>
                    <a:lnTo>
                      <a:pt x="1447" y="1125"/>
                    </a:lnTo>
                    <a:close/>
                    <a:moveTo>
                      <a:pt x="1463" y="1082"/>
                    </a:moveTo>
                    <a:lnTo>
                      <a:pt x="1463" y="1082"/>
                    </a:lnTo>
                    <a:lnTo>
                      <a:pt x="1463" y="1085"/>
                    </a:lnTo>
                    <a:lnTo>
                      <a:pt x="1463" y="1120"/>
                    </a:lnTo>
                    <a:lnTo>
                      <a:pt x="1463" y="1120"/>
                    </a:lnTo>
                    <a:lnTo>
                      <a:pt x="1463" y="1082"/>
                    </a:lnTo>
                    <a:close/>
                    <a:moveTo>
                      <a:pt x="2861" y="1061"/>
                    </a:moveTo>
                    <a:lnTo>
                      <a:pt x="2861" y="1061"/>
                    </a:lnTo>
                    <a:lnTo>
                      <a:pt x="2858" y="1061"/>
                    </a:lnTo>
                    <a:lnTo>
                      <a:pt x="2858" y="1063"/>
                    </a:lnTo>
                    <a:lnTo>
                      <a:pt x="2858" y="1234"/>
                    </a:lnTo>
                    <a:lnTo>
                      <a:pt x="2861" y="1234"/>
                    </a:lnTo>
                    <a:lnTo>
                      <a:pt x="2861" y="1061"/>
                    </a:lnTo>
                    <a:close/>
                    <a:moveTo>
                      <a:pt x="5932" y="1042"/>
                    </a:moveTo>
                    <a:lnTo>
                      <a:pt x="5932" y="1042"/>
                    </a:lnTo>
                    <a:lnTo>
                      <a:pt x="5930" y="1042"/>
                    </a:lnTo>
                    <a:lnTo>
                      <a:pt x="5930" y="1042"/>
                    </a:lnTo>
                    <a:lnTo>
                      <a:pt x="5930" y="1123"/>
                    </a:lnTo>
                    <a:lnTo>
                      <a:pt x="5932" y="1123"/>
                    </a:lnTo>
                    <a:lnTo>
                      <a:pt x="5932" y="1042"/>
                    </a:lnTo>
                    <a:close/>
                    <a:moveTo>
                      <a:pt x="2877" y="1011"/>
                    </a:moveTo>
                    <a:lnTo>
                      <a:pt x="2877" y="1011"/>
                    </a:lnTo>
                    <a:lnTo>
                      <a:pt x="2877" y="1014"/>
                    </a:lnTo>
                    <a:lnTo>
                      <a:pt x="2877" y="1056"/>
                    </a:lnTo>
                    <a:lnTo>
                      <a:pt x="2877" y="1056"/>
                    </a:lnTo>
                    <a:lnTo>
                      <a:pt x="2877" y="1011"/>
                    </a:lnTo>
                    <a:close/>
                    <a:moveTo>
                      <a:pt x="3771" y="992"/>
                    </a:moveTo>
                    <a:lnTo>
                      <a:pt x="3769" y="992"/>
                    </a:lnTo>
                    <a:lnTo>
                      <a:pt x="3769" y="995"/>
                    </a:lnTo>
                    <a:lnTo>
                      <a:pt x="3769" y="1217"/>
                    </a:lnTo>
                    <a:lnTo>
                      <a:pt x="3771" y="1217"/>
                    </a:lnTo>
                    <a:lnTo>
                      <a:pt x="3771" y="992"/>
                    </a:lnTo>
                    <a:close/>
                    <a:moveTo>
                      <a:pt x="5949" y="990"/>
                    </a:moveTo>
                    <a:lnTo>
                      <a:pt x="5949" y="990"/>
                    </a:lnTo>
                    <a:lnTo>
                      <a:pt x="5949" y="990"/>
                    </a:lnTo>
                    <a:lnTo>
                      <a:pt x="5949" y="1035"/>
                    </a:lnTo>
                    <a:lnTo>
                      <a:pt x="5949" y="1035"/>
                    </a:lnTo>
                    <a:lnTo>
                      <a:pt x="5949" y="990"/>
                    </a:lnTo>
                    <a:close/>
                    <a:moveTo>
                      <a:pt x="6341" y="936"/>
                    </a:moveTo>
                    <a:lnTo>
                      <a:pt x="6341" y="936"/>
                    </a:lnTo>
                    <a:lnTo>
                      <a:pt x="6339" y="936"/>
                    </a:lnTo>
                    <a:lnTo>
                      <a:pt x="6339" y="938"/>
                    </a:lnTo>
                    <a:lnTo>
                      <a:pt x="6339" y="1123"/>
                    </a:lnTo>
                    <a:lnTo>
                      <a:pt x="6341" y="1123"/>
                    </a:lnTo>
                    <a:lnTo>
                      <a:pt x="6341" y="936"/>
                    </a:lnTo>
                    <a:close/>
                    <a:moveTo>
                      <a:pt x="3847" y="928"/>
                    </a:moveTo>
                    <a:lnTo>
                      <a:pt x="3844" y="928"/>
                    </a:lnTo>
                    <a:lnTo>
                      <a:pt x="3844" y="928"/>
                    </a:lnTo>
                    <a:lnTo>
                      <a:pt x="3844" y="988"/>
                    </a:lnTo>
                    <a:lnTo>
                      <a:pt x="3847" y="988"/>
                    </a:lnTo>
                    <a:lnTo>
                      <a:pt x="3847" y="928"/>
                    </a:lnTo>
                    <a:close/>
                    <a:moveTo>
                      <a:pt x="6386" y="895"/>
                    </a:moveTo>
                    <a:lnTo>
                      <a:pt x="6384" y="895"/>
                    </a:lnTo>
                    <a:lnTo>
                      <a:pt x="6384" y="895"/>
                    </a:lnTo>
                    <a:lnTo>
                      <a:pt x="6384" y="895"/>
                    </a:lnTo>
                    <a:lnTo>
                      <a:pt x="6377" y="928"/>
                    </a:lnTo>
                    <a:lnTo>
                      <a:pt x="6377" y="928"/>
                    </a:lnTo>
                    <a:lnTo>
                      <a:pt x="6386" y="895"/>
                    </a:lnTo>
                    <a:close/>
                    <a:moveTo>
                      <a:pt x="6391" y="879"/>
                    </a:moveTo>
                    <a:lnTo>
                      <a:pt x="6389" y="879"/>
                    </a:lnTo>
                    <a:lnTo>
                      <a:pt x="6389" y="879"/>
                    </a:lnTo>
                    <a:lnTo>
                      <a:pt x="6389" y="879"/>
                    </a:lnTo>
                    <a:lnTo>
                      <a:pt x="6389" y="891"/>
                    </a:lnTo>
                    <a:lnTo>
                      <a:pt x="6389" y="891"/>
                    </a:lnTo>
                    <a:lnTo>
                      <a:pt x="6389" y="888"/>
                    </a:lnTo>
                    <a:lnTo>
                      <a:pt x="6391" y="888"/>
                    </a:lnTo>
                    <a:lnTo>
                      <a:pt x="6391" y="879"/>
                    </a:lnTo>
                    <a:close/>
                    <a:moveTo>
                      <a:pt x="6398" y="850"/>
                    </a:moveTo>
                    <a:lnTo>
                      <a:pt x="6396" y="850"/>
                    </a:lnTo>
                    <a:lnTo>
                      <a:pt x="6396" y="850"/>
                    </a:lnTo>
                    <a:lnTo>
                      <a:pt x="6396" y="872"/>
                    </a:lnTo>
                    <a:lnTo>
                      <a:pt x="6398" y="872"/>
                    </a:lnTo>
                    <a:lnTo>
                      <a:pt x="6398" y="850"/>
                    </a:lnTo>
                    <a:close/>
                    <a:moveTo>
                      <a:pt x="806" y="827"/>
                    </a:moveTo>
                    <a:lnTo>
                      <a:pt x="804" y="827"/>
                    </a:lnTo>
                    <a:lnTo>
                      <a:pt x="804" y="829"/>
                    </a:lnTo>
                    <a:lnTo>
                      <a:pt x="804" y="1063"/>
                    </a:lnTo>
                    <a:lnTo>
                      <a:pt x="806" y="1063"/>
                    </a:lnTo>
                    <a:lnTo>
                      <a:pt x="806" y="827"/>
                    </a:lnTo>
                    <a:close/>
                    <a:moveTo>
                      <a:pt x="3102" y="763"/>
                    </a:moveTo>
                    <a:lnTo>
                      <a:pt x="3100" y="763"/>
                    </a:lnTo>
                    <a:lnTo>
                      <a:pt x="3100" y="763"/>
                    </a:lnTo>
                    <a:lnTo>
                      <a:pt x="3100" y="765"/>
                    </a:lnTo>
                    <a:lnTo>
                      <a:pt x="3100" y="973"/>
                    </a:lnTo>
                    <a:lnTo>
                      <a:pt x="3102" y="973"/>
                    </a:lnTo>
                    <a:lnTo>
                      <a:pt x="3102" y="763"/>
                    </a:lnTo>
                    <a:close/>
                    <a:moveTo>
                      <a:pt x="1009" y="753"/>
                    </a:moveTo>
                    <a:lnTo>
                      <a:pt x="1007" y="753"/>
                    </a:lnTo>
                    <a:lnTo>
                      <a:pt x="1007" y="753"/>
                    </a:lnTo>
                    <a:lnTo>
                      <a:pt x="1007" y="822"/>
                    </a:lnTo>
                    <a:lnTo>
                      <a:pt x="1009" y="822"/>
                    </a:lnTo>
                    <a:lnTo>
                      <a:pt x="1009" y="753"/>
                    </a:lnTo>
                    <a:close/>
                    <a:moveTo>
                      <a:pt x="5133" y="732"/>
                    </a:moveTo>
                    <a:lnTo>
                      <a:pt x="5131" y="732"/>
                    </a:lnTo>
                    <a:lnTo>
                      <a:pt x="5131" y="734"/>
                    </a:lnTo>
                    <a:lnTo>
                      <a:pt x="5131" y="966"/>
                    </a:lnTo>
                    <a:lnTo>
                      <a:pt x="5133" y="966"/>
                    </a:lnTo>
                    <a:lnTo>
                      <a:pt x="5133" y="732"/>
                    </a:lnTo>
                    <a:close/>
                    <a:moveTo>
                      <a:pt x="3140" y="656"/>
                    </a:moveTo>
                    <a:lnTo>
                      <a:pt x="3137" y="656"/>
                    </a:lnTo>
                    <a:lnTo>
                      <a:pt x="3137" y="659"/>
                    </a:lnTo>
                    <a:lnTo>
                      <a:pt x="3137" y="756"/>
                    </a:lnTo>
                    <a:lnTo>
                      <a:pt x="3140" y="756"/>
                    </a:lnTo>
                    <a:lnTo>
                      <a:pt x="3140" y="656"/>
                    </a:lnTo>
                    <a:close/>
                    <a:moveTo>
                      <a:pt x="97" y="616"/>
                    </a:moveTo>
                    <a:lnTo>
                      <a:pt x="97" y="616"/>
                    </a:lnTo>
                    <a:lnTo>
                      <a:pt x="97" y="618"/>
                    </a:lnTo>
                    <a:lnTo>
                      <a:pt x="97" y="1447"/>
                    </a:lnTo>
                    <a:lnTo>
                      <a:pt x="97" y="1447"/>
                    </a:lnTo>
                    <a:lnTo>
                      <a:pt x="97" y="616"/>
                    </a:lnTo>
                    <a:close/>
                    <a:moveTo>
                      <a:pt x="5254" y="609"/>
                    </a:moveTo>
                    <a:lnTo>
                      <a:pt x="5251" y="609"/>
                    </a:lnTo>
                    <a:lnTo>
                      <a:pt x="5251" y="611"/>
                    </a:lnTo>
                    <a:lnTo>
                      <a:pt x="5251" y="725"/>
                    </a:lnTo>
                    <a:lnTo>
                      <a:pt x="5254" y="725"/>
                    </a:lnTo>
                    <a:lnTo>
                      <a:pt x="5254" y="609"/>
                    </a:lnTo>
                    <a:close/>
                    <a:moveTo>
                      <a:pt x="3284" y="580"/>
                    </a:moveTo>
                    <a:lnTo>
                      <a:pt x="3282" y="580"/>
                    </a:lnTo>
                    <a:lnTo>
                      <a:pt x="3282" y="580"/>
                    </a:lnTo>
                    <a:lnTo>
                      <a:pt x="3282" y="583"/>
                    </a:lnTo>
                    <a:lnTo>
                      <a:pt x="3282" y="651"/>
                    </a:lnTo>
                    <a:lnTo>
                      <a:pt x="3284" y="651"/>
                    </a:lnTo>
                    <a:lnTo>
                      <a:pt x="3284" y="580"/>
                    </a:lnTo>
                    <a:close/>
                    <a:moveTo>
                      <a:pt x="302" y="547"/>
                    </a:moveTo>
                    <a:lnTo>
                      <a:pt x="300" y="547"/>
                    </a:lnTo>
                    <a:lnTo>
                      <a:pt x="300" y="550"/>
                    </a:lnTo>
                    <a:lnTo>
                      <a:pt x="300" y="611"/>
                    </a:lnTo>
                    <a:lnTo>
                      <a:pt x="302" y="611"/>
                    </a:lnTo>
                    <a:lnTo>
                      <a:pt x="302" y="547"/>
                    </a:lnTo>
                    <a:close/>
                    <a:moveTo>
                      <a:pt x="7027" y="509"/>
                    </a:moveTo>
                    <a:lnTo>
                      <a:pt x="7025" y="509"/>
                    </a:lnTo>
                    <a:lnTo>
                      <a:pt x="7025" y="509"/>
                    </a:lnTo>
                    <a:lnTo>
                      <a:pt x="7025" y="1686"/>
                    </a:lnTo>
                    <a:lnTo>
                      <a:pt x="7027" y="1686"/>
                    </a:lnTo>
                    <a:lnTo>
                      <a:pt x="7027" y="509"/>
                    </a:lnTo>
                    <a:close/>
                    <a:moveTo>
                      <a:pt x="4194" y="502"/>
                    </a:moveTo>
                    <a:lnTo>
                      <a:pt x="4194" y="502"/>
                    </a:lnTo>
                    <a:lnTo>
                      <a:pt x="4192" y="505"/>
                    </a:lnTo>
                    <a:lnTo>
                      <a:pt x="4126" y="595"/>
                    </a:lnTo>
                    <a:lnTo>
                      <a:pt x="4126" y="597"/>
                    </a:lnTo>
                    <a:lnTo>
                      <a:pt x="4194" y="502"/>
                    </a:lnTo>
                    <a:close/>
                    <a:moveTo>
                      <a:pt x="3301" y="500"/>
                    </a:moveTo>
                    <a:lnTo>
                      <a:pt x="3301" y="500"/>
                    </a:lnTo>
                    <a:lnTo>
                      <a:pt x="3298" y="500"/>
                    </a:lnTo>
                    <a:lnTo>
                      <a:pt x="3298" y="502"/>
                    </a:lnTo>
                    <a:lnTo>
                      <a:pt x="3298" y="576"/>
                    </a:lnTo>
                    <a:lnTo>
                      <a:pt x="3301" y="576"/>
                    </a:lnTo>
                    <a:lnTo>
                      <a:pt x="3301" y="500"/>
                    </a:lnTo>
                    <a:close/>
                    <a:moveTo>
                      <a:pt x="4038" y="455"/>
                    </a:moveTo>
                    <a:lnTo>
                      <a:pt x="4036" y="455"/>
                    </a:lnTo>
                    <a:lnTo>
                      <a:pt x="4036" y="455"/>
                    </a:lnTo>
                    <a:lnTo>
                      <a:pt x="4036" y="455"/>
                    </a:lnTo>
                    <a:lnTo>
                      <a:pt x="4036" y="490"/>
                    </a:lnTo>
                    <a:lnTo>
                      <a:pt x="3953" y="642"/>
                    </a:lnTo>
                    <a:lnTo>
                      <a:pt x="3953" y="921"/>
                    </a:lnTo>
                    <a:lnTo>
                      <a:pt x="3956" y="921"/>
                    </a:lnTo>
                    <a:lnTo>
                      <a:pt x="3956" y="642"/>
                    </a:lnTo>
                    <a:lnTo>
                      <a:pt x="4038" y="488"/>
                    </a:lnTo>
                    <a:lnTo>
                      <a:pt x="4038" y="455"/>
                    </a:lnTo>
                    <a:close/>
                    <a:moveTo>
                      <a:pt x="3329" y="434"/>
                    </a:moveTo>
                    <a:lnTo>
                      <a:pt x="3327" y="434"/>
                    </a:lnTo>
                    <a:lnTo>
                      <a:pt x="3327" y="436"/>
                    </a:lnTo>
                    <a:lnTo>
                      <a:pt x="3327" y="495"/>
                    </a:lnTo>
                    <a:lnTo>
                      <a:pt x="3329" y="495"/>
                    </a:lnTo>
                    <a:lnTo>
                      <a:pt x="3329" y="434"/>
                    </a:lnTo>
                    <a:close/>
                    <a:moveTo>
                      <a:pt x="4043" y="391"/>
                    </a:moveTo>
                    <a:lnTo>
                      <a:pt x="4041" y="391"/>
                    </a:lnTo>
                    <a:lnTo>
                      <a:pt x="4041" y="391"/>
                    </a:lnTo>
                    <a:lnTo>
                      <a:pt x="4041" y="391"/>
                    </a:lnTo>
                    <a:lnTo>
                      <a:pt x="4041" y="448"/>
                    </a:lnTo>
                    <a:lnTo>
                      <a:pt x="4043" y="448"/>
                    </a:lnTo>
                    <a:lnTo>
                      <a:pt x="4043" y="391"/>
                    </a:lnTo>
                    <a:close/>
                    <a:moveTo>
                      <a:pt x="1811" y="367"/>
                    </a:moveTo>
                    <a:lnTo>
                      <a:pt x="1809" y="367"/>
                    </a:lnTo>
                    <a:lnTo>
                      <a:pt x="1809" y="370"/>
                    </a:lnTo>
                    <a:lnTo>
                      <a:pt x="1809" y="1125"/>
                    </a:lnTo>
                    <a:lnTo>
                      <a:pt x="1811" y="1125"/>
                    </a:lnTo>
                    <a:lnTo>
                      <a:pt x="1811" y="367"/>
                    </a:lnTo>
                    <a:close/>
                    <a:moveTo>
                      <a:pt x="1939" y="334"/>
                    </a:moveTo>
                    <a:lnTo>
                      <a:pt x="1936" y="334"/>
                    </a:lnTo>
                    <a:lnTo>
                      <a:pt x="1936" y="334"/>
                    </a:lnTo>
                    <a:lnTo>
                      <a:pt x="1936" y="363"/>
                    </a:lnTo>
                    <a:lnTo>
                      <a:pt x="1939" y="363"/>
                    </a:lnTo>
                    <a:lnTo>
                      <a:pt x="1939" y="334"/>
                    </a:lnTo>
                    <a:close/>
                    <a:moveTo>
                      <a:pt x="4050" y="327"/>
                    </a:moveTo>
                    <a:lnTo>
                      <a:pt x="4050" y="327"/>
                    </a:lnTo>
                    <a:lnTo>
                      <a:pt x="4050" y="329"/>
                    </a:lnTo>
                    <a:lnTo>
                      <a:pt x="4050" y="384"/>
                    </a:lnTo>
                    <a:lnTo>
                      <a:pt x="4050" y="384"/>
                    </a:lnTo>
                    <a:lnTo>
                      <a:pt x="4050" y="327"/>
                    </a:lnTo>
                    <a:close/>
                    <a:moveTo>
                      <a:pt x="2028" y="294"/>
                    </a:moveTo>
                    <a:lnTo>
                      <a:pt x="2028" y="294"/>
                    </a:lnTo>
                    <a:lnTo>
                      <a:pt x="2028" y="294"/>
                    </a:lnTo>
                    <a:lnTo>
                      <a:pt x="2028" y="327"/>
                    </a:lnTo>
                    <a:lnTo>
                      <a:pt x="2028" y="327"/>
                    </a:lnTo>
                    <a:lnTo>
                      <a:pt x="2028" y="294"/>
                    </a:lnTo>
                    <a:close/>
                    <a:moveTo>
                      <a:pt x="4705" y="232"/>
                    </a:moveTo>
                    <a:lnTo>
                      <a:pt x="4703" y="232"/>
                    </a:lnTo>
                    <a:lnTo>
                      <a:pt x="4703" y="232"/>
                    </a:lnTo>
                    <a:lnTo>
                      <a:pt x="4639" y="469"/>
                    </a:lnTo>
                    <a:lnTo>
                      <a:pt x="4639" y="469"/>
                    </a:lnTo>
                    <a:lnTo>
                      <a:pt x="4705" y="232"/>
                    </a:lnTo>
                    <a:close/>
                    <a:moveTo>
                      <a:pt x="4804" y="171"/>
                    </a:moveTo>
                    <a:lnTo>
                      <a:pt x="4804" y="171"/>
                    </a:lnTo>
                    <a:lnTo>
                      <a:pt x="4802" y="171"/>
                    </a:lnTo>
                    <a:lnTo>
                      <a:pt x="4802" y="173"/>
                    </a:lnTo>
                    <a:lnTo>
                      <a:pt x="4802" y="225"/>
                    </a:lnTo>
                    <a:lnTo>
                      <a:pt x="4804" y="225"/>
                    </a:lnTo>
                    <a:lnTo>
                      <a:pt x="4804" y="171"/>
                    </a:lnTo>
                    <a:close/>
                    <a:moveTo>
                      <a:pt x="4854" y="0"/>
                    </a:moveTo>
                    <a:lnTo>
                      <a:pt x="4852" y="0"/>
                    </a:lnTo>
                    <a:lnTo>
                      <a:pt x="4852" y="3"/>
                    </a:lnTo>
                    <a:lnTo>
                      <a:pt x="4852" y="166"/>
                    </a:lnTo>
                    <a:lnTo>
                      <a:pt x="4854" y="166"/>
                    </a:lnTo>
                    <a:lnTo>
                      <a:pt x="4854" y="0"/>
                    </a:lnTo>
                    <a:close/>
                    <a:moveTo>
                      <a:pt x="4911" y="0"/>
                    </a:moveTo>
                    <a:lnTo>
                      <a:pt x="4908" y="0"/>
                    </a:lnTo>
                    <a:lnTo>
                      <a:pt x="4908" y="3"/>
                    </a:lnTo>
                    <a:lnTo>
                      <a:pt x="4908" y="166"/>
                    </a:lnTo>
                    <a:lnTo>
                      <a:pt x="4911" y="166"/>
                    </a:lnTo>
                    <a:lnTo>
                      <a:pt x="4911" y="0"/>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4" name="Freeform 139"/>
              <p:cNvSpPr>
                <a:spLocks noEditPoints="1"/>
              </p:cNvSpPr>
              <p:nvPr/>
            </p:nvSpPr>
            <p:spPr bwMode="auto">
              <a:xfrm>
                <a:off x="40" y="1667"/>
                <a:ext cx="7027" cy="1686"/>
              </a:xfrm>
              <a:custGeom>
                <a:avLst/>
                <a:gdLst>
                  <a:gd name="T0" fmla="*/ 2 w 7027"/>
                  <a:gd name="T1" fmla="*/ 1527 h 1686"/>
                  <a:gd name="T2" fmla="*/ 5665 w 7027"/>
                  <a:gd name="T3" fmla="*/ 1442 h 1686"/>
                  <a:gd name="T4" fmla="*/ 3710 w 7027"/>
                  <a:gd name="T5" fmla="*/ 1222 h 1686"/>
                  <a:gd name="T6" fmla="*/ 5833 w 7027"/>
                  <a:gd name="T7" fmla="*/ 1208 h 1686"/>
                  <a:gd name="T8" fmla="*/ 5833 w 7027"/>
                  <a:gd name="T9" fmla="*/ 1319 h 1686"/>
                  <a:gd name="T10" fmla="*/ 1664 w 7027"/>
                  <a:gd name="T11" fmla="*/ 1158 h 1686"/>
                  <a:gd name="T12" fmla="*/ 1688 w 7027"/>
                  <a:gd name="T13" fmla="*/ 1132 h 1686"/>
                  <a:gd name="T14" fmla="*/ 5857 w 7027"/>
                  <a:gd name="T15" fmla="*/ 1127 h 1686"/>
                  <a:gd name="T16" fmla="*/ 5857 w 7027"/>
                  <a:gd name="T17" fmla="*/ 1203 h 1686"/>
                  <a:gd name="T18" fmla="*/ 6322 w 7027"/>
                  <a:gd name="T19" fmla="*/ 1130 h 1686"/>
                  <a:gd name="T20" fmla="*/ 1447 w 7027"/>
                  <a:gd name="T21" fmla="*/ 1125 h 1686"/>
                  <a:gd name="T22" fmla="*/ 1447 w 7027"/>
                  <a:gd name="T23" fmla="*/ 1125 h 1686"/>
                  <a:gd name="T24" fmla="*/ 1463 w 7027"/>
                  <a:gd name="T25" fmla="*/ 1120 h 1686"/>
                  <a:gd name="T26" fmla="*/ 2858 w 7027"/>
                  <a:gd name="T27" fmla="*/ 1063 h 1686"/>
                  <a:gd name="T28" fmla="*/ 5932 w 7027"/>
                  <a:gd name="T29" fmla="*/ 1042 h 1686"/>
                  <a:gd name="T30" fmla="*/ 5932 w 7027"/>
                  <a:gd name="T31" fmla="*/ 1042 h 1686"/>
                  <a:gd name="T32" fmla="*/ 2877 w 7027"/>
                  <a:gd name="T33" fmla="*/ 1056 h 1686"/>
                  <a:gd name="T34" fmla="*/ 3769 w 7027"/>
                  <a:gd name="T35" fmla="*/ 1217 h 1686"/>
                  <a:gd name="T36" fmla="*/ 5949 w 7027"/>
                  <a:gd name="T37" fmla="*/ 990 h 1686"/>
                  <a:gd name="T38" fmla="*/ 6341 w 7027"/>
                  <a:gd name="T39" fmla="*/ 936 h 1686"/>
                  <a:gd name="T40" fmla="*/ 6341 w 7027"/>
                  <a:gd name="T41" fmla="*/ 936 h 1686"/>
                  <a:gd name="T42" fmla="*/ 3847 w 7027"/>
                  <a:gd name="T43" fmla="*/ 988 h 1686"/>
                  <a:gd name="T44" fmla="*/ 6384 w 7027"/>
                  <a:gd name="T45" fmla="*/ 895 h 1686"/>
                  <a:gd name="T46" fmla="*/ 6389 w 7027"/>
                  <a:gd name="T47" fmla="*/ 879 h 1686"/>
                  <a:gd name="T48" fmla="*/ 6389 w 7027"/>
                  <a:gd name="T49" fmla="*/ 888 h 1686"/>
                  <a:gd name="T50" fmla="*/ 6396 w 7027"/>
                  <a:gd name="T51" fmla="*/ 850 h 1686"/>
                  <a:gd name="T52" fmla="*/ 804 w 7027"/>
                  <a:gd name="T53" fmla="*/ 827 h 1686"/>
                  <a:gd name="T54" fmla="*/ 3102 w 7027"/>
                  <a:gd name="T55" fmla="*/ 763 h 1686"/>
                  <a:gd name="T56" fmla="*/ 3102 w 7027"/>
                  <a:gd name="T57" fmla="*/ 973 h 1686"/>
                  <a:gd name="T58" fmla="*/ 1007 w 7027"/>
                  <a:gd name="T59" fmla="*/ 822 h 1686"/>
                  <a:gd name="T60" fmla="*/ 5131 w 7027"/>
                  <a:gd name="T61" fmla="*/ 734 h 1686"/>
                  <a:gd name="T62" fmla="*/ 3137 w 7027"/>
                  <a:gd name="T63" fmla="*/ 656 h 1686"/>
                  <a:gd name="T64" fmla="*/ 97 w 7027"/>
                  <a:gd name="T65" fmla="*/ 616 h 1686"/>
                  <a:gd name="T66" fmla="*/ 97 w 7027"/>
                  <a:gd name="T67" fmla="*/ 616 h 1686"/>
                  <a:gd name="T68" fmla="*/ 5254 w 7027"/>
                  <a:gd name="T69" fmla="*/ 725 h 1686"/>
                  <a:gd name="T70" fmla="*/ 3282 w 7027"/>
                  <a:gd name="T71" fmla="*/ 583 h 1686"/>
                  <a:gd name="T72" fmla="*/ 300 w 7027"/>
                  <a:gd name="T73" fmla="*/ 547 h 1686"/>
                  <a:gd name="T74" fmla="*/ 7027 w 7027"/>
                  <a:gd name="T75" fmla="*/ 509 h 1686"/>
                  <a:gd name="T76" fmla="*/ 7027 w 7027"/>
                  <a:gd name="T77" fmla="*/ 509 h 1686"/>
                  <a:gd name="T78" fmla="*/ 4126 w 7027"/>
                  <a:gd name="T79" fmla="*/ 597 h 1686"/>
                  <a:gd name="T80" fmla="*/ 3298 w 7027"/>
                  <a:gd name="T81" fmla="*/ 502 h 1686"/>
                  <a:gd name="T82" fmla="*/ 4036 w 7027"/>
                  <a:gd name="T83" fmla="*/ 455 h 1686"/>
                  <a:gd name="T84" fmla="*/ 3953 w 7027"/>
                  <a:gd name="T85" fmla="*/ 921 h 1686"/>
                  <a:gd name="T86" fmla="*/ 3329 w 7027"/>
                  <a:gd name="T87" fmla="*/ 434 h 1686"/>
                  <a:gd name="T88" fmla="*/ 3329 w 7027"/>
                  <a:gd name="T89" fmla="*/ 434 h 1686"/>
                  <a:gd name="T90" fmla="*/ 4041 w 7027"/>
                  <a:gd name="T91" fmla="*/ 448 h 1686"/>
                  <a:gd name="T92" fmla="*/ 1809 w 7027"/>
                  <a:gd name="T93" fmla="*/ 370 h 1686"/>
                  <a:gd name="T94" fmla="*/ 1936 w 7027"/>
                  <a:gd name="T95" fmla="*/ 334 h 1686"/>
                  <a:gd name="T96" fmla="*/ 4050 w 7027"/>
                  <a:gd name="T97" fmla="*/ 327 h 1686"/>
                  <a:gd name="T98" fmla="*/ 4050 w 7027"/>
                  <a:gd name="T99" fmla="*/ 327 h 1686"/>
                  <a:gd name="T100" fmla="*/ 2028 w 7027"/>
                  <a:gd name="T101" fmla="*/ 327 h 1686"/>
                  <a:gd name="T102" fmla="*/ 4639 w 7027"/>
                  <a:gd name="T103" fmla="*/ 469 h 1686"/>
                  <a:gd name="T104" fmla="*/ 4802 w 7027"/>
                  <a:gd name="T105" fmla="*/ 171 h 1686"/>
                  <a:gd name="T106" fmla="*/ 4854 w 7027"/>
                  <a:gd name="T107" fmla="*/ 0 h 1686"/>
                  <a:gd name="T108" fmla="*/ 4854 w 7027"/>
                  <a:gd name="T109" fmla="*/ 0 h 1686"/>
                  <a:gd name="T110" fmla="*/ 4911 w 7027"/>
                  <a:gd name="T111" fmla="*/ 16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86">
                    <a:moveTo>
                      <a:pt x="2" y="1452"/>
                    </a:moveTo>
                    <a:lnTo>
                      <a:pt x="0" y="1452"/>
                    </a:lnTo>
                    <a:lnTo>
                      <a:pt x="0" y="1454"/>
                    </a:lnTo>
                    <a:lnTo>
                      <a:pt x="0" y="1527"/>
                    </a:lnTo>
                    <a:lnTo>
                      <a:pt x="2" y="1527"/>
                    </a:lnTo>
                    <a:lnTo>
                      <a:pt x="2" y="1452"/>
                    </a:lnTo>
                    <a:moveTo>
                      <a:pt x="5667" y="1326"/>
                    </a:moveTo>
                    <a:lnTo>
                      <a:pt x="5665" y="1326"/>
                    </a:lnTo>
                    <a:lnTo>
                      <a:pt x="5665" y="1329"/>
                    </a:lnTo>
                    <a:lnTo>
                      <a:pt x="5665" y="1442"/>
                    </a:lnTo>
                    <a:lnTo>
                      <a:pt x="5667" y="1442"/>
                    </a:lnTo>
                    <a:lnTo>
                      <a:pt x="5667" y="1326"/>
                    </a:lnTo>
                    <a:moveTo>
                      <a:pt x="3712" y="1222"/>
                    </a:moveTo>
                    <a:lnTo>
                      <a:pt x="3710" y="1222"/>
                    </a:lnTo>
                    <a:lnTo>
                      <a:pt x="3710" y="1222"/>
                    </a:lnTo>
                    <a:lnTo>
                      <a:pt x="3710" y="1224"/>
                    </a:lnTo>
                    <a:lnTo>
                      <a:pt x="3710" y="1385"/>
                    </a:lnTo>
                    <a:lnTo>
                      <a:pt x="3712" y="1385"/>
                    </a:lnTo>
                    <a:lnTo>
                      <a:pt x="3712" y="1222"/>
                    </a:lnTo>
                    <a:moveTo>
                      <a:pt x="5833" y="1208"/>
                    </a:moveTo>
                    <a:lnTo>
                      <a:pt x="5831" y="1208"/>
                    </a:lnTo>
                    <a:lnTo>
                      <a:pt x="5831" y="1208"/>
                    </a:lnTo>
                    <a:lnTo>
                      <a:pt x="5831" y="1210"/>
                    </a:lnTo>
                    <a:lnTo>
                      <a:pt x="5831" y="1319"/>
                    </a:lnTo>
                    <a:lnTo>
                      <a:pt x="5833" y="1319"/>
                    </a:lnTo>
                    <a:lnTo>
                      <a:pt x="5833" y="1208"/>
                    </a:lnTo>
                    <a:moveTo>
                      <a:pt x="1667" y="1156"/>
                    </a:moveTo>
                    <a:lnTo>
                      <a:pt x="1664" y="1156"/>
                    </a:lnTo>
                    <a:lnTo>
                      <a:pt x="1664" y="1156"/>
                    </a:lnTo>
                    <a:lnTo>
                      <a:pt x="1664" y="1158"/>
                    </a:lnTo>
                    <a:lnTo>
                      <a:pt x="1664" y="1194"/>
                    </a:lnTo>
                    <a:lnTo>
                      <a:pt x="1667" y="1194"/>
                    </a:lnTo>
                    <a:lnTo>
                      <a:pt x="1667" y="1156"/>
                    </a:lnTo>
                    <a:moveTo>
                      <a:pt x="1690" y="1132"/>
                    </a:moveTo>
                    <a:lnTo>
                      <a:pt x="1688" y="1132"/>
                    </a:lnTo>
                    <a:lnTo>
                      <a:pt x="1688" y="1132"/>
                    </a:lnTo>
                    <a:lnTo>
                      <a:pt x="1688" y="1151"/>
                    </a:lnTo>
                    <a:lnTo>
                      <a:pt x="1690" y="1151"/>
                    </a:lnTo>
                    <a:lnTo>
                      <a:pt x="1690" y="1132"/>
                    </a:lnTo>
                    <a:moveTo>
                      <a:pt x="5857" y="1127"/>
                    </a:moveTo>
                    <a:lnTo>
                      <a:pt x="5857" y="1127"/>
                    </a:lnTo>
                    <a:lnTo>
                      <a:pt x="5854" y="1127"/>
                    </a:lnTo>
                    <a:lnTo>
                      <a:pt x="5854" y="1130"/>
                    </a:lnTo>
                    <a:lnTo>
                      <a:pt x="5854" y="1203"/>
                    </a:lnTo>
                    <a:lnTo>
                      <a:pt x="5857" y="1203"/>
                    </a:lnTo>
                    <a:lnTo>
                      <a:pt x="5857" y="1127"/>
                    </a:lnTo>
                    <a:moveTo>
                      <a:pt x="6322" y="1127"/>
                    </a:moveTo>
                    <a:lnTo>
                      <a:pt x="6322" y="1127"/>
                    </a:lnTo>
                    <a:lnTo>
                      <a:pt x="6322" y="1127"/>
                    </a:lnTo>
                    <a:lnTo>
                      <a:pt x="6322" y="1130"/>
                    </a:lnTo>
                    <a:lnTo>
                      <a:pt x="6322" y="1357"/>
                    </a:lnTo>
                    <a:lnTo>
                      <a:pt x="6322" y="1357"/>
                    </a:lnTo>
                    <a:lnTo>
                      <a:pt x="6322" y="1127"/>
                    </a:lnTo>
                    <a:moveTo>
                      <a:pt x="1447" y="1125"/>
                    </a:moveTo>
                    <a:lnTo>
                      <a:pt x="1447" y="1125"/>
                    </a:lnTo>
                    <a:lnTo>
                      <a:pt x="1447" y="1125"/>
                    </a:lnTo>
                    <a:lnTo>
                      <a:pt x="1447" y="1127"/>
                    </a:lnTo>
                    <a:lnTo>
                      <a:pt x="1447" y="1194"/>
                    </a:lnTo>
                    <a:lnTo>
                      <a:pt x="1447" y="1194"/>
                    </a:lnTo>
                    <a:lnTo>
                      <a:pt x="1447" y="1125"/>
                    </a:lnTo>
                    <a:moveTo>
                      <a:pt x="1463" y="1082"/>
                    </a:moveTo>
                    <a:lnTo>
                      <a:pt x="1463" y="1082"/>
                    </a:lnTo>
                    <a:lnTo>
                      <a:pt x="1463" y="1085"/>
                    </a:lnTo>
                    <a:lnTo>
                      <a:pt x="1463" y="1120"/>
                    </a:lnTo>
                    <a:lnTo>
                      <a:pt x="1463" y="1120"/>
                    </a:lnTo>
                    <a:lnTo>
                      <a:pt x="1463" y="1082"/>
                    </a:lnTo>
                    <a:moveTo>
                      <a:pt x="2861" y="1061"/>
                    </a:moveTo>
                    <a:lnTo>
                      <a:pt x="2861" y="1061"/>
                    </a:lnTo>
                    <a:lnTo>
                      <a:pt x="2858" y="1061"/>
                    </a:lnTo>
                    <a:lnTo>
                      <a:pt x="2858" y="1063"/>
                    </a:lnTo>
                    <a:lnTo>
                      <a:pt x="2858" y="1234"/>
                    </a:lnTo>
                    <a:lnTo>
                      <a:pt x="2861" y="1234"/>
                    </a:lnTo>
                    <a:lnTo>
                      <a:pt x="2861" y="1061"/>
                    </a:lnTo>
                    <a:moveTo>
                      <a:pt x="5932" y="1042"/>
                    </a:moveTo>
                    <a:lnTo>
                      <a:pt x="5932" y="1042"/>
                    </a:lnTo>
                    <a:lnTo>
                      <a:pt x="5930" y="1042"/>
                    </a:lnTo>
                    <a:lnTo>
                      <a:pt x="5930" y="1042"/>
                    </a:lnTo>
                    <a:lnTo>
                      <a:pt x="5930" y="1123"/>
                    </a:lnTo>
                    <a:lnTo>
                      <a:pt x="5932" y="1123"/>
                    </a:lnTo>
                    <a:lnTo>
                      <a:pt x="5932" y="1042"/>
                    </a:lnTo>
                    <a:moveTo>
                      <a:pt x="2877" y="1011"/>
                    </a:moveTo>
                    <a:lnTo>
                      <a:pt x="2877" y="1011"/>
                    </a:lnTo>
                    <a:lnTo>
                      <a:pt x="2877" y="1014"/>
                    </a:lnTo>
                    <a:lnTo>
                      <a:pt x="2877" y="1056"/>
                    </a:lnTo>
                    <a:lnTo>
                      <a:pt x="2877" y="1056"/>
                    </a:lnTo>
                    <a:lnTo>
                      <a:pt x="2877" y="1011"/>
                    </a:lnTo>
                    <a:moveTo>
                      <a:pt x="3771" y="992"/>
                    </a:moveTo>
                    <a:lnTo>
                      <a:pt x="3769" y="992"/>
                    </a:lnTo>
                    <a:lnTo>
                      <a:pt x="3769" y="995"/>
                    </a:lnTo>
                    <a:lnTo>
                      <a:pt x="3769" y="1217"/>
                    </a:lnTo>
                    <a:lnTo>
                      <a:pt x="3771" y="1217"/>
                    </a:lnTo>
                    <a:lnTo>
                      <a:pt x="3771" y="992"/>
                    </a:lnTo>
                    <a:moveTo>
                      <a:pt x="5949" y="990"/>
                    </a:moveTo>
                    <a:lnTo>
                      <a:pt x="5949" y="990"/>
                    </a:lnTo>
                    <a:lnTo>
                      <a:pt x="5949" y="990"/>
                    </a:lnTo>
                    <a:lnTo>
                      <a:pt x="5949" y="1035"/>
                    </a:lnTo>
                    <a:lnTo>
                      <a:pt x="5949" y="1035"/>
                    </a:lnTo>
                    <a:lnTo>
                      <a:pt x="5949" y="990"/>
                    </a:lnTo>
                    <a:moveTo>
                      <a:pt x="6341" y="936"/>
                    </a:moveTo>
                    <a:lnTo>
                      <a:pt x="6341" y="936"/>
                    </a:lnTo>
                    <a:lnTo>
                      <a:pt x="6339" y="936"/>
                    </a:lnTo>
                    <a:lnTo>
                      <a:pt x="6339" y="938"/>
                    </a:lnTo>
                    <a:lnTo>
                      <a:pt x="6339" y="1123"/>
                    </a:lnTo>
                    <a:lnTo>
                      <a:pt x="6341" y="1123"/>
                    </a:lnTo>
                    <a:lnTo>
                      <a:pt x="6341" y="936"/>
                    </a:lnTo>
                    <a:moveTo>
                      <a:pt x="3847" y="928"/>
                    </a:moveTo>
                    <a:lnTo>
                      <a:pt x="3844" y="928"/>
                    </a:lnTo>
                    <a:lnTo>
                      <a:pt x="3844" y="928"/>
                    </a:lnTo>
                    <a:lnTo>
                      <a:pt x="3844" y="988"/>
                    </a:lnTo>
                    <a:lnTo>
                      <a:pt x="3847" y="988"/>
                    </a:lnTo>
                    <a:lnTo>
                      <a:pt x="3847" y="928"/>
                    </a:lnTo>
                    <a:moveTo>
                      <a:pt x="6386" y="895"/>
                    </a:moveTo>
                    <a:lnTo>
                      <a:pt x="6384" y="895"/>
                    </a:lnTo>
                    <a:lnTo>
                      <a:pt x="6384" y="895"/>
                    </a:lnTo>
                    <a:lnTo>
                      <a:pt x="6384" y="895"/>
                    </a:lnTo>
                    <a:lnTo>
                      <a:pt x="6377" y="928"/>
                    </a:lnTo>
                    <a:lnTo>
                      <a:pt x="6377" y="928"/>
                    </a:lnTo>
                    <a:lnTo>
                      <a:pt x="6386" y="895"/>
                    </a:lnTo>
                    <a:moveTo>
                      <a:pt x="6391" y="879"/>
                    </a:moveTo>
                    <a:lnTo>
                      <a:pt x="6389" y="879"/>
                    </a:lnTo>
                    <a:lnTo>
                      <a:pt x="6389" y="879"/>
                    </a:lnTo>
                    <a:lnTo>
                      <a:pt x="6389" y="879"/>
                    </a:lnTo>
                    <a:lnTo>
                      <a:pt x="6389" y="891"/>
                    </a:lnTo>
                    <a:lnTo>
                      <a:pt x="6389" y="891"/>
                    </a:lnTo>
                    <a:lnTo>
                      <a:pt x="6389" y="888"/>
                    </a:lnTo>
                    <a:lnTo>
                      <a:pt x="6391" y="888"/>
                    </a:lnTo>
                    <a:lnTo>
                      <a:pt x="6391" y="879"/>
                    </a:lnTo>
                    <a:moveTo>
                      <a:pt x="6398" y="850"/>
                    </a:moveTo>
                    <a:lnTo>
                      <a:pt x="6396" y="850"/>
                    </a:lnTo>
                    <a:lnTo>
                      <a:pt x="6396" y="850"/>
                    </a:lnTo>
                    <a:lnTo>
                      <a:pt x="6396" y="872"/>
                    </a:lnTo>
                    <a:lnTo>
                      <a:pt x="6398" y="872"/>
                    </a:lnTo>
                    <a:lnTo>
                      <a:pt x="6398" y="850"/>
                    </a:lnTo>
                    <a:moveTo>
                      <a:pt x="806" y="827"/>
                    </a:moveTo>
                    <a:lnTo>
                      <a:pt x="804" y="827"/>
                    </a:lnTo>
                    <a:lnTo>
                      <a:pt x="804" y="829"/>
                    </a:lnTo>
                    <a:lnTo>
                      <a:pt x="804" y="1063"/>
                    </a:lnTo>
                    <a:lnTo>
                      <a:pt x="806" y="1063"/>
                    </a:lnTo>
                    <a:lnTo>
                      <a:pt x="806" y="827"/>
                    </a:lnTo>
                    <a:moveTo>
                      <a:pt x="3102" y="763"/>
                    </a:moveTo>
                    <a:lnTo>
                      <a:pt x="3100" y="763"/>
                    </a:lnTo>
                    <a:lnTo>
                      <a:pt x="3100" y="763"/>
                    </a:lnTo>
                    <a:lnTo>
                      <a:pt x="3100" y="765"/>
                    </a:lnTo>
                    <a:lnTo>
                      <a:pt x="3100" y="973"/>
                    </a:lnTo>
                    <a:lnTo>
                      <a:pt x="3102" y="973"/>
                    </a:lnTo>
                    <a:lnTo>
                      <a:pt x="3102" y="763"/>
                    </a:lnTo>
                    <a:moveTo>
                      <a:pt x="1009" y="753"/>
                    </a:moveTo>
                    <a:lnTo>
                      <a:pt x="1007" y="753"/>
                    </a:lnTo>
                    <a:lnTo>
                      <a:pt x="1007" y="753"/>
                    </a:lnTo>
                    <a:lnTo>
                      <a:pt x="1007" y="822"/>
                    </a:lnTo>
                    <a:lnTo>
                      <a:pt x="1009" y="822"/>
                    </a:lnTo>
                    <a:lnTo>
                      <a:pt x="1009" y="753"/>
                    </a:lnTo>
                    <a:moveTo>
                      <a:pt x="5133" y="732"/>
                    </a:moveTo>
                    <a:lnTo>
                      <a:pt x="5131" y="732"/>
                    </a:lnTo>
                    <a:lnTo>
                      <a:pt x="5131" y="734"/>
                    </a:lnTo>
                    <a:lnTo>
                      <a:pt x="5131" y="966"/>
                    </a:lnTo>
                    <a:lnTo>
                      <a:pt x="5133" y="966"/>
                    </a:lnTo>
                    <a:lnTo>
                      <a:pt x="5133" y="732"/>
                    </a:lnTo>
                    <a:moveTo>
                      <a:pt x="3140" y="656"/>
                    </a:moveTo>
                    <a:lnTo>
                      <a:pt x="3137" y="656"/>
                    </a:lnTo>
                    <a:lnTo>
                      <a:pt x="3137" y="659"/>
                    </a:lnTo>
                    <a:lnTo>
                      <a:pt x="3137" y="756"/>
                    </a:lnTo>
                    <a:lnTo>
                      <a:pt x="3140" y="756"/>
                    </a:lnTo>
                    <a:lnTo>
                      <a:pt x="3140" y="656"/>
                    </a:lnTo>
                    <a:moveTo>
                      <a:pt x="97" y="616"/>
                    </a:moveTo>
                    <a:lnTo>
                      <a:pt x="97" y="616"/>
                    </a:lnTo>
                    <a:lnTo>
                      <a:pt x="97" y="618"/>
                    </a:lnTo>
                    <a:lnTo>
                      <a:pt x="97" y="1447"/>
                    </a:lnTo>
                    <a:lnTo>
                      <a:pt x="97" y="1447"/>
                    </a:lnTo>
                    <a:lnTo>
                      <a:pt x="97" y="616"/>
                    </a:lnTo>
                    <a:moveTo>
                      <a:pt x="5254" y="609"/>
                    </a:moveTo>
                    <a:lnTo>
                      <a:pt x="5251" y="609"/>
                    </a:lnTo>
                    <a:lnTo>
                      <a:pt x="5251" y="611"/>
                    </a:lnTo>
                    <a:lnTo>
                      <a:pt x="5251" y="725"/>
                    </a:lnTo>
                    <a:lnTo>
                      <a:pt x="5254" y="725"/>
                    </a:lnTo>
                    <a:lnTo>
                      <a:pt x="5254" y="609"/>
                    </a:lnTo>
                    <a:moveTo>
                      <a:pt x="3284" y="580"/>
                    </a:moveTo>
                    <a:lnTo>
                      <a:pt x="3282" y="580"/>
                    </a:lnTo>
                    <a:lnTo>
                      <a:pt x="3282" y="580"/>
                    </a:lnTo>
                    <a:lnTo>
                      <a:pt x="3282" y="583"/>
                    </a:lnTo>
                    <a:lnTo>
                      <a:pt x="3282" y="651"/>
                    </a:lnTo>
                    <a:lnTo>
                      <a:pt x="3284" y="651"/>
                    </a:lnTo>
                    <a:lnTo>
                      <a:pt x="3284" y="580"/>
                    </a:lnTo>
                    <a:moveTo>
                      <a:pt x="302" y="547"/>
                    </a:moveTo>
                    <a:lnTo>
                      <a:pt x="300" y="547"/>
                    </a:lnTo>
                    <a:lnTo>
                      <a:pt x="300" y="550"/>
                    </a:lnTo>
                    <a:lnTo>
                      <a:pt x="300" y="611"/>
                    </a:lnTo>
                    <a:lnTo>
                      <a:pt x="302" y="611"/>
                    </a:lnTo>
                    <a:lnTo>
                      <a:pt x="302" y="547"/>
                    </a:lnTo>
                    <a:moveTo>
                      <a:pt x="7027" y="509"/>
                    </a:moveTo>
                    <a:lnTo>
                      <a:pt x="7025" y="509"/>
                    </a:lnTo>
                    <a:lnTo>
                      <a:pt x="7025" y="509"/>
                    </a:lnTo>
                    <a:lnTo>
                      <a:pt x="7025" y="1686"/>
                    </a:lnTo>
                    <a:lnTo>
                      <a:pt x="7027" y="1686"/>
                    </a:lnTo>
                    <a:lnTo>
                      <a:pt x="7027" y="509"/>
                    </a:lnTo>
                    <a:moveTo>
                      <a:pt x="4194" y="502"/>
                    </a:moveTo>
                    <a:lnTo>
                      <a:pt x="4194" y="502"/>
                    </a:lnTo>
                    <a:lnTo>
                      <a:pt x="4192" y="505"/>
                    </a:lnTo>
                    <a:lnTo>
                      <a:pt x="4126" y="595"/>
                    </a:lnTo>
                    <a:lnTo>
                      <a:pt x="4126" y="597"/>
                    </a:lnTo>
                    <a:lnTo>
                      <a:pt x="4194" y="502"/>
                    </a:lnTo>
                    <a:moveTo>
                      <a:pt x="3301" y="500"/>
                    </a:moveTo>
                    <a:lnTo>
                      <a:pt x="3301" y="500"/>
                    </a:lnTo>
                    <a:lnTo>
                      <a:pt x="3298" y="500"/>
                    </a:lnTo>
                    <a:lnTo>
                      <a:pt x="3298" y="502"/>
                    </a:lnTo>
                    <a:lnTo>
                      <a:pt x="3298" y="576"/>
                    </a:lnTo>
                    <a:lnTo>
                      <a:pt x="3301" y="576"/>
                    </a:lnTo>
                    <a:lnTo>
                      <a:pt x="3301" y="500"/>
                    </a:lnTo>
                    <a:moveTo>
                      <a:pt x="4038" y="455"/>
                    </a:moveTo>
                    <a:lnTo>
                      <a:pt x="4036" y="455"/>
                    </a:lnTo>
                    <a:lnTo>
                      <a:pt x="4036" y="455"/>
                    </a:lnTo>
                    <a:lnTo>
                      <a:pt x="4036" y="455"/>
                    </a:lnTo>
                    <a:lnTo>
                      <a:pt x="4036" y="490"/>
                    </a:lnTo>
                    <a:lnTo>
                      <a:pt x="3953" y="642"/>
                    </a:lnTo>
                    <a:lnTo>
                      <a:pt x="3953" y="921"/>
                    </a:lnTo>
                    <a:lnTo>
                      <a:pt x="3956" y="921"/>
                    </a:lnTo>
                    <a:lnTo>
                      <a:pt x="3956" y="642"/>
                    </a:lnTo>
                    <a:lnTo>
                      <a:pt x="4038" y="488"/>
                    </a:lnTo>
                    <a:lnTo>
                      <a:pt x="4038" y="455"/>
                    </a:lnTo>
                    <a:moveTo>
                      <a:pt x="3329" y="434"/>
                    </a:moveTo>
                    <a:lnTo>
                      <a:pt x="3327" y="434"/>
                    </a:lnTo>
                    <a:lnTo>
                      <a:pt x="3327" y="436"/>
                    </a:lnTo>
                    <a:lnTo>
                      <a:pt x="3327" y="495"/>
                    </a:lnTo>
                    <a:lnTo>
                      <a:pt x="3329" y="495"/>
                    </a:lnTo>
                    <a:lnTo>
                      <a:pt x="3329" y="434"/>
                    </a:lnTo>
                    <a:moveTo>
                      <a:pt x="4043" y="391"/>
                    </a:moveTo>
                    <a:lnTo>
                      <a:pt x="4041" y="391"/>
                    </a:lnTo>
                    <a:lnTo>
                      <a:pt x="4041" y="391"/>
                    </a:lnTo>
                    <a:lnTo>
                      <a:pt x="4041" y="391"/>
                    </a:lnTo>
                    <a:lnTo>
                      <a:pt x="4041" y="448"/>
                    </a:lnTo>
                    <a:lnTo>
                      <a:pt x="4043" y="448"/>
                    </a:lnTo>
                    <a:lnTo>
                      <a:pt x="4043" y="391"/>
                    </a:lnTo>
                    <a:moveTo>
                      <a:pt x="1811" y="367"/>
                    </a:moveTo>
                    <a:lnTo>
                      <a:pt x="1809" y="367"/>
                    </a:lnTo>
                    <a:lnTo>
                      <a:pt x="1809" y="370"/>
                    </a:lnTo>
                    <a:lnTo>
                      <a:pt x="1809" y="1125"/>
                    </a:lnTo>
                    <a:lnTo>
                      <a:pt x="1811" y="1125"/>
                    </a:lnTo>
                    <a:lnTo>
                      <a:pt x="1811" y="367"/>
                    </a:lnTo>
                    <a:moveTo>
                      <a:pt x="1939" y="334"/>
                    </a:moveTo>
                    <a:lnTo>
                      <a:pt x="1936" y="334"/>
                    </a:lnTo>
                    <a:lnTo>
                      <a:pt x="1936" y="334"/>
                    </a:lnTo>
                    <a:lnTo>
                      <a:pt x="1936" y="363"/>
                    </a:lnTo>
                    <a:lnTo>
                      <a:pt x="1939" y="363"/>
                    </a:lnTo>
                    <a:lnTo>
                      <a:pt x="1939" y="334"/>
                    </a:lnTo>
                    <a:moveTo>
                      <a:pt x="4050" y="327"/>
                    </a:moveTo>
                    <a:lnTo>
                      <a:pt x="4050" y="327"/>
                    </a:lnTo>
                    <a:lnTo>
                      <a:pt x="4050" y="329"/>
                    </a:lnTo>
                    <a:lnTo>
                      <a:pt x="4050" y="384"/>
                    </a:lnTo>
                    <a:lnTo>
                      <a:pt x="4050" y="384"/>
                    </a:lnTo>
                    <a:lnTo>
                      <a:pt x="4050" y="327"/>
                    </a:lnTo>
                    <a:moveTo>
                      <a:pt x="2028" y="294"/>
                    </a:moveTo>
                    <a:lnTo>
                      <a:pt x="2028" y="294"/>
                    </a:lnTo>
                    <a:lnTo>
                      <a:pt x="2028" y="294"/>
                    </a:lnTo>
                    <a:lnTo>
                      <a:pt x="2028" y="327"/>
                    </a:lnTo>
                    <a:lnTo>
                      <a:pt x="2028" y="327"/>
                    </a:lnTo>
                    <a:lnTo>
                      <a:pt x="2028" y="294"/>
                    </a:lnTo>
                    <a:moveTo>
                      <a:pt x="4705" y="232"/>
                    </a:moveTo>
                    <a:lnTo>
                      <a:pt x="4703" y="232"/>
                    </a:lnTo>
                    <a:lnTo>
                      <a:pt x="4703" y="232"/>
                    </a:lnTo>
                    <a:lnTo>
                      <a:pt x="4639" y="469"/>
                    </a:lnTo>
                    <a:lnTo>
                      <a:pt x="4639" y="469"/>
                    </a:lnTo>
                    <a:lnTo>
                      <a:pt x="4705" y="232"/>
                    </a:lnTo>
                    <a:moveTo>
                      <a:pt x="4804" y="171"/>
                    </a:moveTo>
                    <a:lnTo>
                      <a:pt x="4804" y="171"/>
                    </a:lnTo>
                    <a:lnTo>
                      <a:pt x="4802" y="171"/>
                    </a:lnTo>
                    <a:lnTo>
                      <a:pt x="4802" y="173"/>
                    </a:lnTo>
                    <a:lnTo>
                      <a:pt x="4802" y="225"/>
                    </a:lnTo>
                    <a:lnTo>
                      <a:pt x="4804" y="225"/>
                    </a:lnTo>
                    <a:lnTo>
                      <a:pt x="4804" y="171"/>
                    </a:lnTo>
                    <a:moveTo>
                      <a:pt x="4854" y="0"/>
                    </a:moveTo>
                    <a:lnTo>
                      <a:pt x="4852" y="0"/>
                    </a:lnTo>
                    <a:lnTo>
                      <a:pt x="4852" y="3"/>
                    </a:lnTo>
                    <a:lnTo>
                      <a:pt x="4852" y="166"/>
                    </a:lnTo>
                    <a:lnTo>
                      <a:pt x="4854" y="166"/>
                    </a:lnTo>
                    <a:lnTo>
                      <a:pt x="4854" y="0"/>
                    </a:lnTo>
                    <a:moveTo>
                      <a:pt x="4911" y="0"/>
                    </a:moveTo>
                    <a:lnTo>
                      <a:pt x="4908" y="0"/>
                    </a:lnTo>
                    <a:lnTo>
                      <a:pt x="4908" y="3"/>
                    </a:lnTo>
                    <a:lnTo>
                      <a:pt x="4908" y="166"/>
                    </a:lnTo>
                    <a:lnTo>
                      <a:pt x="4911" y="166"/>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5" name="Freeform 140"/>
              <p:cNvSpPr>
                <a:spLocks noEditPoints="1"/>
              </p:cNvSpPr>
              <p:nvPr/>
            </p:nvSpPr>
            <p:spPr bwMode="auto">
              <a:xfrm>
                <a:off x="42" y="1665"/>
                <a:ext cx="7025" cy="1688"/>
              </a:xfrm>
              <a:custGeom>
                <a:avLst/>
                <a:gdLst>
                  <a:gd name="T0" fmla="*/ 2 w 7025"/>
                  <a:gd name="T1" fmla="*/ 1529 h 1688"/>
                  <a:gd name="T2" fmla="*/ 5665 w 7025"/>
                  <a:gd name="T3" fmla="*/ 1444 h 1688"/>
                  <a:gd name="T4" fmla="*/ 3710 w 7025"/>
                  <a:gd name="T5" fmla="*/ 1222 h 1688"/>
                  <a:gd name="T6" fmla="*/ 5831 w 7025"/>
                  <a:gd name="T7" fmla="*/ 1207 h 1688"/>
                  <a:gd name="T8" fmla="*/ 5831 w 7025"/>
                  <a:gd name="T9" fmla="*/ 1321 h 1688"/>
                  <a:gd name="T10" fmla="*/ 1665 w 7025"/>
                  <a:gd name="T11" fmla="*/ 1158 h 1688"/>
                  <a:gd name="T12" fmla="*/ 1688 w 7025"/>
                  <a:gd name="T13" fmla="*/ 1132 h 1688"/>
                  <a:gd name="T14" fmla="*/ 5857 w 7025"/>
                  <a:gd name="T15" fmla="*/ 1127 h 1688"/>
                  <a:gd name="T16" fmla="*/ 5857 w 7025"/>
                  <a:gd name="T17" fmla="*/ 1205 h 1688"/>
                  <a:gd name="T18" fmla="*/ 6320 w 7025"/>
                  <a:gd name="T19" fmla="*/ 1129 h 1688"/>
                  <a:gd name="T20" fmla="*/ 1445 w 7025"/>
                  <a:gd name="T21" fmla="*/ 1125 h 1688"/>
                  <a:gd name="T22" fmla="*/ 1447 w 7025"/>
                  <a:gd name="T23" fmla="*/ 1125 h 1688"/>
                  <a:gd name="T24" fmla="*/ 1464 w 7025"/>
                  <a:gd name="T25" fmla="*/ 1122 h 1688"/>
                  <a:gd name="T26" fmla="*/ 2859 w 7025"/>
                  <a:gd name="T27" fmla="*/ 1063 h 1688"/>
                  <a:gd name="T28" fmla="*/ 5930 w 7025"/>
                  <a:gd name="T29" fmla="*/ 1042 h 1688"/>
                  <a:gd name="T30" fmla="*/ 5933 w 7025"/>
                  <a:gd name="T31" fmla="*/ 1042 h 1688"/>
                  <a:gd name="T32" fmla="*/ 2878 w 7025"/>
                  <a:gd name="T33" fmla="*/ 1058 h 1688"/>
                  <a:gd name="T34" fmla="*/ 3769 w 7025"/>
                  <a:gd name="T35" fmla="*/ 1219 h 1688"/>
                  <a:gd name="T36" fmla="*/ 5947 w 7025"/>
                  <a:gd name="T37" fmla="*/ 992 h 1688"/>
                  <a:gd name="T38" fmla="*/ 6339 w 7025"/>
                  <a:gd name="T39" fmla="*/ 935 h 1688"/>
                  <a:gd name="T40" fmla="*/ 6342 w 7025"/>
                  <a:gd name="T41" fmla="*/ 935 h 1688"/>
                  <a:gd name="T42" fmla="*/ 3847 w 7025"/>
                  <a:gd name="T43" fmla="*/ 990 h 1688"/>
                  <a:gd name="T44" fmla="*/ 6384 w 7025"/>
                  <a:gd name="T45" fmla="*/ 897 h 1688"/>
                  <a:gd name="T46" fmla="*/ 6389 w 7025"/>
                  <a:gd name="T47" fmla="*/ 878 h 1688"/>
                  <a:gd name="T48" fmla="*/ 6391 w 7025"/>
                  <a:gd name="T49" fmla="*/ 878 h 1688"/>
                  <a:gd name="T50" fmla="*/ 6398 w 7025"/>
                  <a:gd name="T51" fmla="*/ 874 h 1688"/>
                  <a:gd name="T52" fmla="*/ 804 w 7025"/>
                  <a:gd name="T53" fmla="*/ 1065 h 1688"/>
                  <a:gd name="T54" fmla="*/ 3100 w 7025"/>
                  <a:gd name="T55" fmla="*/ 762 h 1688"/>
                  <a:gd name="T56" fmla="*/ 1010 w 7025"/>
                  <a:gd name="T57" fmla="*/ 753 h 1688"/>
                  <a:gd name="T58" fmla="*/ 1010 w 7025"/>
                  <a:gd name="T59" fmla="*/ 753 h 1688"/>
                  <a:gd name="T60" fmla="*/ 5133 w 7025"/>
                  <a:gd name="T61" fmla="*/ 968 h 1688"/>
                  <a:gd name="T62" fmla="*/ 3138 w 7025"/>
                  <a:gd name="T63" fmla="*/ 758 h 1688"/>
                  <a:gd name="T64" fmla="*/ 95 w 7025"/>
                  <a:gd name="T65" fmla="*/ 618 h 1688"/>
                  <a:gd name="T66" fmla="*/ 5252 w 7025"/>
                  <a:gd name="T67" fmla="*/ 608 h 1688"/>
                  <a:gd name="T68" fmla="*/ 3284 w 7025"/>
                  <a:gd name="T69" fmla="*/ 582 h 1688"/>
                  <a:gd name="T70" fmla="*/ 3284 w 7025"/>
                  <a:gd name="T71" fmla="*/ 653 h 1688"/>
                  <a:gd name="T72" fmla="*/ 300 w 7025"/>
                  <a:gd name="T73" fmla="*/ 613 h 1688"/>
                  <a:gd name="T74" fmla="*/ 7025 w 7025"/>
                  <a:gd name="T75" fmla="*/ 511 h 1688"/>
                  <a:gd name="T76" fmla="*/ 4195 w 7025"/>
                  <a:gd name="T77" fmla="*/ 502 h 1688"/>
                  <a:gd name="T78" fmla="*/ 3301 w 7025"/>
                  <a:gd name="T79" fmla="*/ 502 h 1688"/>
                  <a:gd name="T80" fmla="*/ 3301 w 7025"/>
                  <a:gd name="T81" fmla="*/ 578 h 1688"/>
                  <a:gd name="T82" fmla="*/ 4036 w 7025"/>
                  <a:gd name="T83" fmla="*/ 457 h 1688"/>
                  <a:gd name="T84" fmla="*/ 3956 w 7025"/>
                  <a:gd name="T85" fmla="*/ 642 h 1688"/>
                  <a:gd name="T86" fmla="*/ 3327 w 7025"/>
                  <a:gd name="T87" fmla="*/ 436 h 1688"/>
                  <a:gd name="T88" fmla="*/ 4041 w 7025"/>
                  <a:gd name="T89" fmla="*/ 391 h 1688"/>
                  <a:gd name="T90" fmla="*/ 4043 w 7025"/>
                  <a:gd name="T91" fmla="*/ 391 h 1688"/>
                  <a:gd name="T92" fmla="*/ 1811 w 7025"/>
                  <a:gd name="T93" fmla="*/ 1127 h 1688"/>
                  <a:gd name="T94" fmla="*/ 1937 w 7025"/>
                  <a:gd name="T95" fmla="*/ 365 h 1688"/>
                  <a:gd name="T96" fmla="*/ 4048 w 7025"/>
                  <a:gd name="T97" fmla="*/ 329 h 1688"/>
                  <a:gd name="T98" fmla="*/ 2026 w 7025"/>
                  <a:gd name="T99" fmla="*/ 294 h 1688"/>
                  <a:gd name="T100" fmla="*/ 4703 w 7025"/>
                  <a:gd name="T101" fmla="*/ 232 h 1688"/>
                  <a:gd name="T102" fmla="*/ 4703 w 7025"/>
                  <a:gd name="T103" fmla="*/ 232 h 1688"/>
                  <a:gd name="T104" fmla="*/ 4802 w 7025"/>
                  <a:gd name="T105" fmla="*/ 227 h 1688"/>
                  <a:gd name="T106" fmla="*/ 4852 w 7025"/>
                  <a:gd name="T107" fmla="*/ 2 h 1688"/>
                  <a:gd name="T108" fmla="*/ 4909 w 7025"/>
                  <a:gd name="T109" fmla="*/ 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88">
                    <a:moveTo>
                      <a:pt x="2" y="1454"/>
                    </a:moveTo>
                    <a:lnTo>
                      <a:pt x="0" y="1454"/>
                    </a:lnTo>
                    <a:lnTo>
                      <a:pt x="0" y="1454"/>
                    </a:lnTo>
                    <a:lnTo>
                      <a:pt x="0" y="1529"/>
                    </a:lnTo>
                    <a:lnTo>
                      <a:pt x="2" y="1529"/>
                    </a:lnTo>
                    <a:lnTo>
                      <a:pt x="2" y="1454"/>
                    </a:lnTo>
                    <a:close/>
                    <a:moveTo>
                      <a:pt x="5665" y="1326"/>
                    </a:moveTo>
                    <a:lnTo>
                      <a:pt x="5665" y="1326"/>
                    </a:lnTo>
                    <a:lnTo>
                      <a:pt x="5665" y="1328"/>
                    </a:lnTo>
                    <a:lnTo>
                      <a:pt x="5665" y="1444"/>
                    </a:lnTo>
                    <a:lnTo>
                      <a:pt x="5665" y="1444"/>
                    </a:lnTo>
                    <a:lnTo>
                      <a:pt x="5665" y="1326"/>
                    </a:lnTo>
                    <a:close/>
                    <a:moveTo>
                      <a:pt x="3712" y="1222"/>
                    </a:moveTo>
                    <a:lnTo>
                      <a:pt x="3710" y="1222"/>
                    </a:lnTo>
                    <a:lnTo>
                      <a:pt x="3710" y="1222"/>
                    </a:lnTo>
                    <a:lnTo>
                      <a:pt x="3710" y="1224"/>
                    </a:lnTo>
                    <a:lnTo>
                      <a:pt x="3710" y="1387"/>
                    </a:lnTo>
                    <a:lnTo>
                      <a:pt x="3712" y="1387"/>
                    </a:lnTo>
                    <a:lnTo>
                      <a:pt x="3712" y="1222"/>
                    </a:lnTo>
                    <a:close/>
                    <a:moveTo>
                      <a:pt x="5831" y="1207"/>
                    </a:moveTo>
                    <a:lnTo>
                      <a:pt x="5831" y="1207"/>
                    </a:lnTo>
                    <a:lnTo>
                      <a:pt x="5831" y="1207"/>
                    </a:lnTo>
                    <a:lnTo>
                      <a:pt x="5831" y="1210"/>
                    </a:lnTo>
                    <a:lnTo>
                      <a:pt x="5831" y="1321"/>
                    </a:lnTo>
                    <a:lnTo>
                      <a:pt x="5831" y="1321"/>
                    </a:lnTo>
                    <a:lnTo>
                      <a:pt x="5831" y="1207"/>
                    </a:lnTo>
                    <a:close/>
                    <a:moveTo>
                      <a:pt x="1667" y="1155"/>
                    </a:moveTo>
                    <a:lnTo>
                      <a:pt x="1665" y="1155"/>
                    </a:lnTo>
                    <a:lnTo>
                      <a:pt x="1665" y="1155"/>
                    </a:lnTo>
                    <a:lnTo>
                      <a:pt x="1665" y="1158"/>
                    </a:lnTo>
                    <a:lnTo>
                      <a:pt x="1665" y="1196"/>
                    </a:lnTo>
                    <a:lnTo>
                      <a:pt x="1667" y="1196"/>
                    </a:lnTo>
                    <a:lnTo>
                      <a:pt x="1667" y="1155"/>
                    </a:lnTo>
                    <a:close/>
                    <a:moveTo>
                      <a:pt x="1688" y="1132"/>
                    </a:moveTo>
                    <a:lnTo>
                      <a:pt x="1688" y="1132"/>
                    </a:lnTo>
                    <a:lnTo>
                      <a:pt x="1688" y="1134"/>
                    </a:lnTo>
                    <a:lnTo>
                      <a:pt x="1688" y="1153"/>
                    </a:lnTo>
                    <a:lnTo>
                      <a:pt x="1688" y="1153"/>
                    </a:lnTo>
                    <a:lnTo>
                      <a:pt x="1688" y="1132"/>
                    </a:lnTo>
                    <a:close/>
                    <a:moveTo>
                      <a:pt x="5857" y="1127"/>
                    </a:moveTo>
                    <a:lnTo>
                      <a:pt x="5855" y="1127"/>
                    </a:lnTo>
                    <a:lnTo>
                      <a:pt x="5855" y="1127"/>
                    </a:lnTo>
                    <a:lnTo>
                      <a:pt x="5855" y="1129"/>
                    </a:lnTo>
                    <a:lnTo>
                      <a:pt x="5855" y="1205"/>
                    </a:lnTo>
                    <a:lnTo>
                      <a:pt x="5857" y="1205"/>
                    </a:lnTo>
                    <a:lnTo>
                      <a:pt x="5857" y="1127"/>
                    </a:lnTo>
                    <a:close/>
                    <a:moveTo>
                      <a:pt x="6323" y="1127"/>
                    </a:moveTo>
                    <a:lnTo>
                      <a:pt x="6323" y="1127"/>
                    </a:lnTo>
                    <a:lnTo>
                      <a:pt x="6320" y="1127"/>
                    </a:lnTo>
                    <a:lnTo>
                      <a:pt x="6320" y="1129"/>
                    </a:lnTo>
                    <a:lnTo>
                      <a:pt x="6320" y="1359"/>
                    </a:lnTo>
                    <a:lnTo>
                      <a:pt x="6323" y="1359"/>
                    </a:lnTo>
                    <a:lnTo>
                      <a:pt x="6323" y="1127"/>
                    </a:lnTo>
                    <a:close/>
                    <a:moveTo>
                      <a:pt x="1447" y="1125"/>
                    </a:moveTo>
                    <a:lnTo>
                      <a:pt x="1445" y="1125"/>
                    </a:lnTo>
                    <a:lnTo>
                      <a:pt x="1445" y="1125"/>
                    </a:lnTo>
                    <a:lnTo>
                      <a:pt x="1445" y="1127"/>
                    </a:lnTo>
                    <a:lnTo>
                      <a:pt x="1445" y="1196"/>
                    </a:lnTo>
                    <a:lnTo>
                      <a:pt x="1447" y="1196"/>
                    </a:lnTo>
                    <a:lnTo>
                      <a:pt x="1447" y="1125"/>
                    </a:lnTo>
                    <a:close/>
                    <a:moveTo>
                      <a:pt x="1464" y="1084"/>
                    </a:moveTo>
                    <a:lnTo>
                      <a:pt x="1461" y="1084"/>
                    </a:lnTo>
                    <a:lnTo>
                      <a:pt x="1461" y="1084"/>
                    </a:lnTo>
                    <a:lnTo>
                      <a:pt x="1461" y="1122"/>
                    </a:lnTo>
                    <a:lnTo>
                      <a:pt x="1464" y="1122"/>
                    </a:lnTo>
                    <a:lnTo>
                      <a:pt x="1464" y="1084"/>
                    </a:lnTo>
                    <a:close/>
                    <a:moveTo>
                      <a:pt x="2861" y="1063"/>
                    </a:moveTo>
                    <a:lnTo>
                      <a:pt x="2859" y="1063"/>
                    </a:lnTo>
                    <a:lnTo>
                      <a:pt x="2859" y="1063"/>
                    </a:lnTo>
                    <a:lnTo>
                      <a:pt x="2859" y="1063"/>
                    </a:lnTo>
                    <a:lnTo>
                      <a:pt x="2859" y="1236"/>
                    </a:lnTo>
                    <a:lnTo>
                      <a:pt x="2861" y="1236"/>
                    </a:lnTo>
                    <a:lnTo>
                      <a:pt x="2861" y="1063"/>
                    </a:lnTo>
                    <a:close/>
                    <a:moveTo>
                      <a:pt x="5933" y="1042"/>
                    </a:moveTo>
                    <a:lnTo>
                      <a:pt x="5930" y="1042"/>
                    </a:lnTo>
                    <a:lnTo>
                      <a:pt x="5930" y="1042"/>
                    </a:lnTo>
                    <a:lnTo>
                      <a:pt x="5930" y="1044"/>
                    </a:lnTo>
                    <a:lnTo>
                      <a:pt x="5930" y="1125"/>
                    </a:lnTo>
                    <a:lnTo>
                      <a:pt x="5933" y="1125"/>
                    </a:lnTo>
                    <a:lnTo>
                      <a:pt x="5933" y="1042"/>
                    </a:lnTo>
                    <a:close/>
                    <a:moveTo>
                      <a:pt x="2878" y="1011"/>
                    </a:moveTo>
                    <a:lnTo>
                      <a:pt x="2875" y="1013"/>
                    </a:lnTo>
                    <a:lnTo>
                      <a:pt x="2875" y="1013"/>
                    </a:lnTo>
                    <a:lnTo>
                      <a:pt x="2875" y="1058"/>
                    </a:lnTo>
                    <a:lnTo>
                      <a:pt x="2878" y="1058"/>
                    </a:lnTo>
                    <a:lnTo>
                      <a:pt x="2878" y="1011"/>
                    </a:lnTo>
                    <a:close/>
                    <a:moveTo>
                      <a:pt x="3772" y="992"/>
                    </a:moveTo>
                    <a:lnTo>
                      <a:pt x="3769" y="992"/>
                    </a:lnTo>
                    <a:lnTo>
                      <a:pt x="3769" y="994"/>
                    </a:lnTo>
                    <a:lnTo>
                      <a:pt x="3769" y="1219"/>
                    </a:lnTo>
                    <a:lnTo>
                      <a:pt x="3772" y="1219"/>
                    </a:lnTo>
                    <a:lnTo>
                      <a:pt x="3772" y="992"/>
                    </a:lnTo>
                    <a:close/>
                    <a:moveTo>
                      <a:pt x="5949" y="990"/>
                    </a:moveTo>
                    <a:lnTo>
                      <a:pt x="5947" y="990"/>
                    </a:lnTo>
                    <a:lnTo>
                      <a:pt x="5947" y="992"/>
                    </a:lnTo>
                    <a:lnTo>
                      <a:pt x="5947" y="1037"/>
                    </a:lnTo>
                    <a:lnTo>
                      <a:pt x="5949" y="1037"/>
                    </a:lnTo>
                    <a:lnTo>
                      <a:pt x="5949" y="990"/>
                    </a:lnTo>
                    <a:close/>
                    <a:moveTo>
                      <a:pt x="6342" y="935"/>
                    </a:moveTo>
                    <a:lnTo>
                      <a:pt x="6339" y="935"/>
                    </a:lnTo>
                    <a:lnTo>
                      <a:pt x="6339" y="935"/>
                    </a:lnTo>
                    <a:lnTo>
                      <a:pt x="6339" y="938"/>
                    </a:lnTo>
                    <a:lnTo>
                      <a:pt x="6339" y="1125"/>
                    </a:lnTo>
                    <a:lnTo>
                      <a:pt x="6342" y="1125"/>
                    </a:lnTo>
                    <a:lnTo>
                      <a:pt x="6342" y="935"/>
                    </a:lnTo>
                    <a:close/>
                    <a:moveTo>
                      <a:pt x="3847" y="928"/>
                    </a:moveTo>
                    <a:lnTo>
                      <a:pt x="3845" y="928"/>
                    </a:lnTo>
                    <a:lnTo>
                      <a:pt x="3845" y="930"/>
                    </a:lnTo>
                    <a:lnTo>
                      <a:pt x="3845" y="990"/>
                    </a:lnTo>
                    <a:lnTo>
                      <a:pt x="3847" y="990"/>
                    </a:lnTo>
                    <a:lnTo>
                      <a:pt x="3847" y="928"/>
                    </a:lnTo>
                    <a:close/>
                    <a:moveTo>
                      <a:pt x="6384" y="895"/>
                    </a:moveTo>
                    <a:lnTo>
                      <a:pt x="6384" y="895"/>
                    </a:lnTo>
                    <a:lnTo>
                      <a:pt x="6384" y="895"/>
                    </a:lnTo>
                    <a:lnTo>
                      <a:pt x="6384" y="897"/>
                    </a:lnTo>
                    <a:lnTo>
                      <a:pt x="6375" y="930"/>
                    </a:lnTo>
                    <a:lnTo>
                      <a:pt x="6377" y="930"/>
                    </a:lnTo>
                    <a:lnTo>
                      <a:pt x="6384" y="895"/>
                    </a:lnTo>
                    <a:close/>
                    <a:moveTo>
                      <a:pt x="6391" y="878"/>
                    </a:moveTo>
                    <a:lnTo>
                      <a:pt x="6389" y="878"/>
                    </a:lnTo>
                    <a:lnTo>
                      <a:pt x="6389" y="878"/>
                    </a:lnTo>
                    <a:lnTo>
                      <a:pt x="6389" y="881"/>
                    </a:lnTo>
                    <a:lnTo>
                      <a:pt x="6389" y="890"/>
                    </a:lnTo>
                    <a:lnTo>
                      <a:pt x="6391" y="890"/>
                    </a:lnTo>
                    <a:lnTo>
                      <a:pt x="6391" y="878"/>
                    </a:lnTo>
                    <a:close/>
                    <a:moveTo>
                      <a:pt x="6398" y="850"/>
                    </a:moveTo>
                    <a:lnTo>
                      <a:pt x="6396" y="850"/>
                    </a:lnTo>
                    <a:lnTo>
                      <a:pt x="6396" y="852"/>
                    </a:lnTo>
                    <a:lnTo>
                      <a:pt x="6396" y="874"/>
                    </a:lnTo>
                    <a:lnTo>
                      <a:pt x="6398" y="874"/>
                    </a:lnTo>
                    <a:lnTo>
                      <a:pt x="6398" y="850"/>
                    </a:lnTo>
                    <a:close/>
                    <a:moveTo>
                      <a:pt x="806" y="826"/>
                    </a:moveTo>
                    <a:lnTo>
                      <a:pt x="804" y="826"/>
                    </a:lnTo>
                    <a:lnTo>
                      <a:pt x="804" y="829"/>
                    </a:lnTo>
                    <a:lnTo>
                      <a:pt x="804" y="1065"/>
                    </a:lnTo>
                    <a:lnTo>
                      <a:pt x="806" y="1065"/>
                    </a:lnTo>
                    <a:lnTo>
                      <a:pt x="806" y="826"/>
                    </a:lnTo>
                    <a:close/>
                    <a:moveTo>
                      <a:pt x="3100" y="762"/>
                    </a:moveTo>
                    <a:lnTo>
                      <a:pt x="3100" y="762"/>
                    </a:lnTo>
                    <a:lnTo>
                      <a:pt x="3100" y="762"/>
                    </a:lnTo>
                    <a:lnTo>
                      <a:pt x="3100" y="765"/>
                    </a:lnTo>
                    <a:lnTo>
                      <a:pt x="3100" y="975"/>
                    </a:lnTo>
                    <a:lnTo>
                      <a:pt x="3100" y="975"/>
                    </a:lnTo>
                    <a:lnTo>
                      <a:pt x="3100" y="762"/>
                    </a:lnTo>
                    <a:close/>
                    <a:moveTo>
                      <a:pt x="1010" y="753"/>
                    </a:moveTo>
                    <a:lnTo>
                      <a:pt x="1007" y="753"/>
                    </a:lnTo>
                    <a:lnTo>
                      <a:pt x="1007" y="755"/>
                    </a:lnTo>
                    <a:lnTo>
                      <a:pt x="1007" y="824"/>
                    </a:lnTo>
                    <a:lnTo>
                      <a:pt x="1010" y="824"/>
                    </a:lnTo>
                    <a:lnTo>
                      <a:pt x="1010" y="753"/>
                    </a:lnTo>
                    <a:close/>
                    <a:moveTo>
                      <a:pt x="5133" y="732"/>
                    </a:moveTo>
                    <a:lnTo>
                      <a:pt x="5131" y="732"/>
                    </a:lnTo>
                    <a:lnTo>
                      <a:pt x="5131" y="734"/>
                    </a:lnTo>
                    <a:lnTo>
                      <a:pt x="5131" y="968"/>
                    </a:lnTo>
                    <a:lnTo>
                      <a:pt x="5133" y="968"/>
                    </a:lnTo>
                    <a:lnTo>
                      <a:pt x="5133" y="732"/>
                    </a:lnTo>
                    <a:close/>
                    <a:moveTo>
                      <a:pt x="3140" y="656"/>
                    </a:moveTo>
                    <a:lnTo>
                      <a:pt x="3138" y="656"/>
                    </a:lnTo>
                    <a:lnTo>
                      <a:pt x="3138" y="658"/>
                    </a:lnTo>
                    <a:lnTo>
                      <a:pt x="3138" y="758"/>
                    </a:lnTo>
                    <a:lnTo>
                      <a:pt x="3140" y="758"/>
                    </a:lnTo>
                    <a:lnTo>
                      <a:pt x="3140" y="656"/>
                    </a:lnTo>
                    <a:close/>
                    <a:moveTo>
                      <a:pt x="97" y="616"/>
                    </a:moveTo>
                    <a:lnTo>
                      <a:pt x="95" y="616"/>
                    </a:lnTo>
                    <a:lnTo>
                      <a:pt x="95" y="618"/>
                    </a:lnTo>
                    <a:lnTo>
                      <a:pt x="95" y="1449"/>
                    </a:lnTo>
                    <a:lnTo>
                      <a:pt x="97" y="1449"/>
                    </a:lnTo>
                    <a:lnTo>
                      <a:pt x="97" y="616"/>
                    </a:lnTo>
                    <a:close/>
                    <a:moveTo>
                      <a:pt x="5254" y="608"/>
                    </a:moveTo>
                    <a:lnTo>
                      <a:pt x="5252" y="608"/>
                    </a:lnTo>
                    <a:lnTo>
                      <a:pt x="5252" y="611"/>
                    </a:lnTo>
                    <a:lnTo>
                      <a:pt x="5252" y="727"/>
                    </a:lnTo>
                    <a:lnTo>
                      <a:pt x="5254" y="727"/>
                    </a:lnTo>
                    <a:lnTo>
                      <a:pt x="5254" y="608"/>
                    </a:lnTo>
                    <a:close/>
                    <a:moveTo>
                      <a:pt x="3284" y="582"/>
                    </a:moveTo>
                    <a:lnTo>
                      <a:pt x="3282" y="582"/>
                    </a:lnTo>
                    <a:lnTo>
                      <a:pt x="3282" y="582"/>
                    </a:lnTo>
                    <a:lnTo>
                      <a:pt x="3282" y="582"/>
                    </a:lnTo>
                    <a:lnTo>
                      <a:pt x="3282" y="653"/>
                    </a:lnTo>
                    <a:lnTo>
                      <a:pt x="3284" y="653"/>
                    </a:lnTo>
                    <a:lnTo>
                      <a:pt x="3284" y="582"/>
                    </a:lnTo>
                    <a:close/>
                    <a:moveTo>
                      <a:pt x="303" y="547"/>
                    </a:moveTo>
                    <a:lnTo>
                      <a:pt x="300" y="547"/>
                    </a:lnTo>
                    <a:lnTo>
                      <a:pt x="300" y="549"/>
                    </a:lnTo>
                    <a:lnTo>
                      <a:pt x="300" y="613"/>
                    </a:lnTo>
                    <a:lnTo>
                      <a:pt x="303" y="613"/>
                    </a:lnTo>
                    <a:lnTo>
                      <a:pt x="303" y="547"/>
                    </a:lnTo>
                    <a:close/>
                    <a:moveTo>
                      <a:pt x="7025" y="509"/>
                    </a:moveTo>
                    <a:lnTo>
                      <a:pt x="7025" y="509"/>
                    </a:lnTo>
                    <a:lnTo>
                      <a:pt x="7025" y="511"/>
                    </a:lnTo>
                    <a:lnTo>
                      <a:pt x="7025" y="1688"/>
                    </a:lnTo>
                    <a:lnTo>
                      <a:pt x="7025" y="1688"/>
                    </a:lnTo>
                    <a:lnTo>
                      <a:pt x="7025" y="509"/>
                    </a:lnTo>
                    <a:close/>
                    <a:moveTo>
                      <a:pt x="4195" y="502"/>
                    </a:moveTo>
                    <a:lnTo>
                      <a:pt x="4195" y="502"/>
                    </a:lnTo>
                    <a:lnTo>
                      <a:pt x="4192" y="504"/>
                    </a:lnTo>
                    <a:lnTo>
                      <a:pt x="4124" y="599"/>
                    </a:lnTo>
                    <a:lnTo>
                      <a:pt x="4124" y="599"/>
                    </a:lnTo>
                    <a:lnTo>
                      <a:pt x="4195" y="502"/>
                    </a:lnTo>
                    <a:close/>
                    <a:moveTo>
                      <a:pt x="3301" y="502"/>
                    </a:moveTo>
                    <a:lnTo>
                      <a:pt x="3299" y="502"/>
                    </a:lnTo>
                    <a:lnTo>
                      <a:pt x="3299" y="502"/>
                    </a:lnTo>
                    <a:lnTo>
                      <a:pt x="3299" y="502"/>
                    </a:lnTo>
                    <a:lnTo>
                      <a:pt x="3299" y="578"/>
                    </a:lnTo>
                    <a:lnTo>
                      <a:pt x="3301" y="578"/>
                    </a:lnTo>
                    <a:lnTo>
                      <a:pt x="3301" y="502"/>
                    </a:lnTo>
                    <a:close/>
                    <a:moveTo>
                      <a:pt x="4036" y="455"/>
                    </a:moveTo>
                    <a:lnTo>
                      <a:pt x="4036" y="455"/>
                    </a:lnTo>
                    <a:lnTo>
                      <a:pt x="4036" y="455"/>
                    </a:lnTo>
                    <a:lnTo>
                      <a:pt x="4036" y="457"/>
                    </a:lnTo>
                    <a:lnTo>
                      <a:pt x="4036" y="490"/>
                    </a:lnTo>
                    <a:lnTo>
                      <a:pt x="3954" y="644"/>
                    </a:lnTo>
                    <a:lnTo>
                      <a:pt x="3954" y="923"/>
                    </a:lnTo>
                    <a:lnTo>
                      <a:pt x="3956" y="923"/>
                    </a:lnTo>
                    <a:lnTo>
                      <a:pt x="3956" y="642"/>
                    </a:lnTo>
                    <a:lnTo>
                      <a:pt x="4036" y="488"/>
                    </a:lnTo>
                    <a:lnTo>
                      <a:pt x="4036" y="455"/>
                    </a:lnTo>
                    <a:close/>
                    <a:moveTo>
                      <a:pt x="3329" y="433"/>
                    </a:moveTo>
                    <a:lnTo>
                      <a:pt x="3327" y="433"/>
                    </a:lnTo>
                    <a:lnTo>
                      <a:pt x="3327" y="436"/>
                    </a:lnTo>
                    <a:lnTo>
                      <a:pt x="3327" y="497"/>
                    </a:lnTo>
                    <a:lnTo>
                      <a:pt x="3329" y="497"/>
                    </a:lnTo>
                    <a:lnTo>
                      <a:pt x="3329" y="433"/>
                    </a:lnTo>
                    <a:close/>
                    <a:moveTo>
                      <a:pt x="4043" y="391"/>
                    </a:moveTo>
                    <a:lnTo>
                      <a:pt x="4041" y="391"/>
                    </a:lnTo>
                    <a:lnTo>
                      <a:pt x="4041" y="391"/>
                    </a:lnTo>
                    <a:lnTo>
                      <a:pt x="4041" y="393"/>
                    </a:lnTo>
                    <a:lnTo>
                      <a:pt x="4041" y="450"/>
                    </a:lnTo>
                    <a:lnTo>
                      <a:pt x="4043" y="450"/>
                    </a:lnTo>
                    <a:lnTo>
                      <a:pt x="4043" y="391"/>
                    </a:lnTo>
                    <a:close/>
                    <a:moveTo>
                      <a:pt x="1811" y="367"/>
                    </a:moveTo>
                    <a:lnTo>
                      <a:pt x="1809" y="367"/>
                    </a:lnTo>
                    <a:lnTo>
                      <a:pt x="1809" y="369"/>
                    </a:lnTo>
                    <a:lnTo>
                      <a:pt x="1809" y="1127"/>
                    </a:lnTo>
                    <a:lnTo>
                      <a:pt x="1811" y="1127"/>
                    </a:lnTo>
                    <a:lnTo>
                      <a:pt x="1811" y="367"/>
                    </a:lnTo>
                    <a:close/>
                    <a:moveTo>
                      <a:pt x="1939" y="334"/>
                    </a:moveTo>
                    <a:lnTo>
                      <a:pt x="1937" y="334"/>
                    </a:lnTo>
                    <a:lnTo>
                      <a:pt x="1937" y="336"/>
                    </a:lnTo>
                    <a:lnTo>
                      <a:pt x="1937" y="365"/>
                    </a:lnTo>
                    <a:lnTo>
                      <a:pt x="1939" y="365"/>
                    </a:lnTo>
                    <a:lnTo>
                      <a:pt x="1939" y="334"/>
                    </a:lnTo>
                    <a:close/>
                    <a:moveTo>
                      <a:pt x="4051" y="327"/>
                    </a:moveTo>
                    <a:lnTo>
                      <a:pt x="4048" y="327"/>
                    </a:lnTo>
                    <a:lnTo>
                      <a:pt x="4048" y="329"/>
                    </a:lnTo>
                    <a:lnTo>
                      <a:pt x="4048" y="386"/>
                    </a:lnTo>
                    <a:lnTo>
                      <a:pt x="4051" y="386"/>
                    </a:lnTo>
                    <a:lnTo>
                      <a:pt x="4051" y="327"/>
                    </a:lnTo>
                    <a:close/>
                    <a:moveTo>
                      <a:pt x="2029" y="294"/>
                    </a:moveTo>
                    <a:lnTo>
                      <a:pt x="2026" y="294"/>
                    </a:lnTo>
                    <a:lnTo>
                      <a:pt x="2026" y="296"/>
                    </a:lnTo>
                    <a:lnTo>
                      <a:pt x="2026" y="329"/>
                    </a:lnTo>
                    <a:lnTo>
                      <a:pt x="2029" y="329"/>
                    </a:lnTo>
                    <a:lnTo>
                      <a:pt x="2029" y="294"/>
                    </a:lnTo>
                    <a:close/>
                    <a:moveTo>
                      <a:pt x="4703" y="232"/>
                    </a:moveTo>
                    <a:lnTo>
                      <a:pt x="4703" y="232"/>
                    </a:lnTo>
                    <a:lnTo>
                      <a:pt x="4703" y="234"/>
                    </a:lnTo>
                    <a:lnTo>
                      <a:pt x="4637" y="471"/>
                    </a:lnTo>
                    <a:lnTo>
                      <a:pt x="4639" y="469"/>
                    </a:lnTo>
                    <a:lnTo>
                      <a:pt x="4703" y="232"/>
                    </a:lnTo>
                    <a:close/>
                    <a:moveTo>
                      <a:pt x="4805" y="173"/>
                    </a:moveTo>
                    <a:lnTo>
                      <a:pt x="4802" y="173"/>
                    </a:lnTo>
                    <a:lnTo>
                      <a:pt x="4802" y="173"/>
                    </a:lnTo>
                    <a:lnTo>
                      <a:pt x="4802" y="173"/>
                    </a:lnTo>
                    <a:lnTo>
                      <a:pt x="4802" y="227"/>
                    </a:lnTo>
                    <a:lnTo>
                      <a:pt x="4805" y="227"/>
                    </a:lnTo>
                    <a:lnTo>
                      <a:pt x="4805" y="173"/>
                    </a:lnTo>
                    <a:close/>
                    <a:moveTo>
                      <a:pt x="4854" y="0"/>
                    </a:moveTo>
                    <a:lnTo>
                      <a:pt x="4852" y="0"/>
                    </a:lnTo>
                    <a:lnTo>
                      <a:pt x="4852" y="2"/>
                    </a:lnTo>
                    <a:lnTo>
                      <a:pt x="4852" y="168"/>
                    </a:lnTo>
                    <a:lnTo>
                      <a:pt x="4854" y="168"/>
                    </a:lnTo>
                    <a:lnTo>
                      <a:pt x="4854" y="0"/>
                    </a:lnTo>
                    <a:close/>
                    <a:moveTo>
                      <a:pt x="4911" y="0"/>
                    </a:moveTo>
                    <a:lnTo>
                      <a:pt x="4909" y="0"/>
                    </a:lnTo>
                    <a:lnTo>
                      <a:pt x="4909" y="2"/>
                    </a:lnTo>
                    <a:lnTo>
                      <a:pt x="4909" y="168"/>
                    </a:lnTo>
                    <a:lnTo>
                      <a:pt x="4911" y="168"/>
                    </a:lnTo>
                    <a:lnTo>
                      <a:pt x="4911" y="0"/>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6" name="Freeform 141"/>
              <p:cNvSpPr>
                <a:spLocks noEditPoints="1"/>
              </p:cNvSpPr>
              <p:nvPr/>
            </p:nvSpPr>
            <p:spPr bwMode="auto">
              <a:xfrm>
                <a:off x="42" y="1665"/>
                <a:ext cx="7025" cy="1688"/>
              </a:xfrm>
              <a:custGeom>
                <a:avLst/>
                <a:gdLst>
                  <a:gd name="T0" fmla="*/ 2 w 7025"/>
                  <a:gd name="T1" fmla="*/ 1529 h 1688"/>
                  <a:gd name="T2" fmla="*/ 5665 w 7025"/>
                  <a:gd name="T3" fmla="*/ 1444 h 1688"/>
                  <a:gd name="T4" fmla="*/ 3710 w 7025"/>
                  <a:gd name="T5" fmla="*/ 1222 h 1688"/>
                  <a:gd name="T6" fmla="*/ 5831 w 7025"/>
                  <a:gd name="T7" fmla="*/ 1207 h 1688"/>
                  <a:gd name="T8" fmla="*/ 5831 w 7025"/>
                  <a:gd name="T9" fmla="*/ 1321 h 1688"/>
                  <a:gd name="T10" fmla="*/ 1665 w 7025"/>
                  <a:gd name="T11" fmla="*/ 1158 h 1688"/>
                  <a:gd name="T12" fmla="*/ 1688 w 7025"/>
                  <a:gd name="T13" fmla="*/ 1132 h 1688"/>
                  <a:gd name="T14" fmla="*/ 5857 w 7025"/>
                  <a:gd name="T15" fmla="*/ 1127 h 1688"/>
                  <a:gd name="T16" fmla="*/ 5857 w 7025"/>
                  <a:gd name="T17" fmla="*/ 1205 h 1688"/>
                  <a:gd name="T18" fmla="*/ 6320 w 7025"/>
                  <a:gd name="T19" fmla="*/ 1129 h 1688"/>
                  <a:gd name="T20" fmla="*/ 1445 w 7025"/>
                  <a:gd name="T21" fmla="*/ 1125 h 1688"/>
                  <a:gd name="T22" fmla="*/ 1447 w 7025"/>
                  <a:gd name="T23" fmla="*/ 1125 h 1688"/>
                  <a:gd name="T24" fmla="*/ 1464 w 7025"/>
                  <a:gd name="T25" fmla="*/ 1122 h 1688"/>
                  <a:gd name="T26" fmla="*/ 2859 w 7025"/>
                  <a:gd name="T27" fmla="*/ 1063 h 1688"/>
                  <a:gd name="T28" fmla="*/ 5930 w 7025"/>
                  <a:gd name="T29" fmla="*/ 1042 h 1688"/>
                  <a:gd name="T30" fmla="*/ 5933 w 7025"/>
                  <a:gd name="T31" fmla="*/ 1042 h 1688"/>
                  <a:gd name="T32" fmla="*/ 2878 w 7025"/>
                  <a:gd name="T33" fmla="*/ 1058 h 1688"/>
                  <a:gd name="T34" fmla="*/ 3769 w 7025"/>
                  <a:gd name="T35" fmla="*/ 1219 h 1688"/>
                  <a:gd name="T36" fmla="*/ 5947 w 7025"/>
                  <a:gd name="T37" fmla="*/ 992 h 1688"/>
                  <a:gd name="T38" fmla="*/ 6339 w 7025"/>
                  <a:gd name="T39" fmla="*/ 935 h 1688"/>
                  <a:gd name="T40" fmla="*/ 6342 w 7025"/>
                  <a:gd name="T41" fmla="*/ 935 h 1688"/>
                  <a:gd name="T42" fmla="*/ 3847 w 7025"/>
                  <a:gd name="T43" fmla="*/ 990 h 1688"/>
                  <a:gd name="T44" fmla="*/ 6384 w 7025"/>
                  <a:gd name="T45" fmla="*/ 897 h 1688"/>
                  <a:gd name="T46" fmla="*/ 6389 w 7025"/>
                  <a:gd name="T47" fmla="*/ 878 h 1688"/>
                  <a:gd name="T48" fmla="*/ 6391 w 7025"/>
                  <a:gd name="T49" fmla="*/ 878 h 1688"/>
                  <a:gd name="T50" fmla="*/ 6398 w 7025"/>
                  <a:gd name="T51" fmla="*/ 874 h 1688"/>
                  <a:gd name="T52" fmla="*/ 804 w 7025"/>
                  <a:gd name="T53" fmla="*/ 1065 h 1688"/>
                  <a:gd name="T54" fmla="*/ 3100 w 7025"/>
                  <a:gd name="T55" fmla="*/ 762 h 1688"/>
                  <a:gd name="T56" fmla="*/ 1010 w 7025"/>
                  <a:gd name="T57" fmla="*/ 753 h 1688"/>
                  <a:gd name="T58" fmla="*/ 1010 w 7025"/>
                  <a:gd name="T59" fmla="*/ 753 h 1688"/>
                  <a:gd name="T60" fmla="*/ 5133 w 7025"/>
                  <a:gd name="T61" fmla="*/ 968 h 1688"/>
                  <a:gd name="T62" fmla="*/ 3138 w 7025"/>
                  <a:gd name="T63" fmla="*/ 758 h 1688"/>
                  <a:gd name="T64" fmla="*/ 95 w 7025"/>
                  <a:gd name="T65" fmla="*/ 618 h 1688"/>
                  <a:gd name="T66" fmla="*/ 5252 w 7025"/>
                  <a:gd name="T67" fmla="*/ 608 h 1688"/>
                  <a:gd name="T68" fmla="*/ 3284 w 7025"/>
                  <a:gd name="T69" fmla="*/ 582 h 1688"/>
                  <a:gd name="T70" fmla="*/ 3284 w 7025"/>
                  <a:gd name="T71" fmla="*/ 653 h 1688"/>
                  <a:gd name="T72" fmla="*/ 300 w 7025"/>
                  <a:gd name="T73" fmla="*/ 613 h 1688"/>
                  <a:gd name="T74" fmla="*/ 7025 w 7025"/>
                  <a:gd name="T75" fmla="*/ 511 h 1688"/>
                  <a:gd name="T76" fmla="*/ 4195 w 7025"/>
                  <a:gd name="T77" fmla="*/ 502 h 1688"/>
                  <a:gd name="T78" fmla="*/ 3301 w 7025"/>
                  <a:gd name="T79" fmla="*/ 502 h 1688"/>
                  <a:gd name="T80" fmla="*/ 3301 w 7025"/>
                  <a:gd name="T81" fmla="*/ 578 h 1688"/>
                  <a:gd name="T82" fmla="*/ 4036 w 7025"/>
                  <a:gd name="T83" fmla="*/ 457 h 1688"/>
                  <a:gd name="T84" fmla="*/ 3956 w 7025"/>
                  <a:gd name="T85" fmla="*/ 642 h 1688"/>
                  <a:gd name="T86" fmla="*/ 3327 w 7025"/>
                  <a:gd name="T87" fmla="*/ 436 h 1688"/>
                  <a:gd name="T88" fmla="*/ 4041 w 7025"/>
                  <a:gd name="T89" fmla="*/ 391 h 1688"/>
                  <a:gd name="T90" fmla="*/ 4043 w 7025"/>
                  <a:gd name="T91" fmla="*/ 391 h 1688"/>
                  <a:gd name="T92" fmla="*/ 1811 w 7025"/>
                  <a:gd name="T93" fmla="*/ 1127 h 1688"/>
                  <a:gd name="T94" fmla="*/ 1937 w 7025"/>
                  <a:gd name="T95" fmla="*/ 365 h 1688"/>
                  <a:gd name="T96" fmla="*/ 4048 w 7025"/>
                  <a:gd name="T97" fmla="*/ 329 h 1688"/>
                  <a:gd name="T98" fmla="*/ 2026 w 7025"/>
                  <a:gd name="T99" fmla="*/ 294 h 1688"/>
                  <a:gd name="T100" fmla="*/ 4703 w 7025"/>
                  <a:gd name="T101" fmla="*/ 232 h 1688"/>
                  <a:gd name="T102" fmla="*/ 4703 w 7025"/>
                  <a:gd name="T103" fmla="*/ 232 h 1688"/>
                  <a:gd name="T104" fmla="*/ 4802 w 7025"/>
                  <a:gd name="T105" fmla="*/ 227 h 1688"/>
                  <a:gd name="T106" fmla="*/ 4852 w 7025"/>
                  <a:gd name="T107" fmla="*/ 2 h 1688"/>
                  <a:gd name="T108" fmla="*/ 4909 w 7025"/>
                  <a:gd name="T109" fmla="*/ 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88">
                    <a:moveTo>
                      <a:pt x="2" y="1454"/>
                    </a:moveTo>
                    <a:lnTo>
                      <a:pt x="0" y="1454"/>
                    </a:lnTo>
                    <a:lnTo>
                      <a:pt x="0" y="1454"/>
                    </a:lnTo>
                    <a:lnTo>
                      <a:pt x="0" y="1529"/>
                    </a:lnTo>
                    <a:lnTo>
                      <a:pt x="2" y="1529"/>
                    </a:lnTo>
                    <a:lnTo>
                      <a:pt x="2" y="1454"/>
                    </a:lnTo>
                    <a:moveTo>
                      <a:pt x="5665" y="1326"/>
                    </a:moveTo>
                    <a:lnTo>
                      <a:pt x="5665" y="1326"/>
                    </a:lnTo>
                    <a:lnTo>
                      <a:pt x="5665" y="1328"/>
                    </a:lnTo>
                    <a:lnTo>
                      <a:pt x="5665" y="1444"/>
                    </a:lnTo>
                    <a:lnTo>
                      <a:pt x="5665" y="1444"/>
                    </a:lnTo>
                    <a:lnTo>
                      <a:pt x="5665" y="1326"/>
                    </a:lnTo>
                    <a:moveTo>
                      <a:pt x="3712" y="1222"/>
                    </a:moveTo>
                    <a:lnTo>
                      <a:pt x="3710" y="1222"/>
                    </a:lnTo>
                    <a:lnTo>
                      <a:pt x="3710" y="1222"/>
                    </a:lnTo>
                    <a:lnTo>
                      <a:pt x="3710" y="1224"/>
                    </a:lnTo>
                    <a:lnTo>
                      <a:pt x="3710" y="1387"/>
                    </a:lnTo>
                    <a:lnTo>
                      <a:pt x="3712" y="1387"/>
                    </a:lnTo>
                    <a:lnTo>
                      <a:pt x="3712" y="1222"/>
                    </a:lnTo>
                    <a:moveTo>
                      <a:pt x="5831" y="1207"/>
                    </a:moveTo>
                    <a:lnTo>
                      <a:pt x="5831" y="1207"/>
                    </a:lnTo>
                    <a:lnTo>
                      <a:pt x="5831" y="1207"/>
                    </a:lnTo>
                    <a:lnTo>
                      <a:pt x="5831" y="1210"/>
                    </a:lnTo>
                    <a:lnTo>
                      <a:pt x="5831" y="1321"/>
                    </a:lnTo>
                    <a:lnTo>
                      <a:pt x="5831" y="1321"/>
                    </a:lnTo>
                    <a:lnTo>
                      <a:pt x="5831" y="1207"/>
                    </a:lnTo>
                    <a:moveTo>
                      <a:pt x="1667" y="1155"/>
                    </a:moveTo>
                    <a:lnTo>
                      <a:pt x="1665" y="1155"/>
                    </a:lnTo>
                    <a:lnTo>
                      <a:pt x="1665" y="1155"/>
                    </a:lnTo>
                    <a:lnTo>
                      <a:pt x="1665" y="1158"/>
                    </a:lnTo>
                    <a:lnTo>
                      <a:pt x="1665" y="1196"/>
                    </a:lnTo>
                    <a:lnTo>
                      <a:pt x="1667" y="1196"/>
                    </a:lnTo>
                    <a:lnTo>
                      <a:pt x="1667" y="1155"/>
                    </a:lnTo>
                    <a:moveTo>
                      <a:pt x="1688" y="1132"/>
                    </a:moveTo>
                    <a:lnTo>
                      <a:pt x="1688" y="1132"/>
                    </a:lnTo>
                    <a:lnTo>
                      <a:pt x="1688" y="1134"/>
                    </a:lnTo>
                    <a:lnTo>
                      <a:pt x="1688" y="1153"/>
                    </a:lnTo>
                    <a:lnTo>
                      <a:pt x="1688" y="1153"/>
                    </a:lnTo>
                    <a:lnTo>
                      <a:pt x="1688" y="1132"/>
                    </a:lnTo>
                    <a:moveTo>
                      <a:pt x="5857" y="1127"/>
                    </a:moveTo>
                    <a:lnTo>
                      <a:pt x="5855" y="1127"/>
                    </a:lnTo>
                    <a:lnTo>
                      <a:pt x="5855" y="1127"/>
                    </a:lnTo>
                    <a:lnTo>
                      <a:pt x="5855" y="1129"/>
                    </a:lnTo>
                    <a:lnTo>
                      <a:pt x="5855" y="1205"/>
                    </a:lnTo>
                    <a:lnTo>
                      <a:pt x="5857" y="1205"/>
                    </a:lnTo>
                    <a:lnTo>
                      <a:pt x="5857" y="1127"/>
                    </a:lnTo>
                    <a:moveTo>
                      <a:pt x="6323" y="1127"/>
                    </a:moveTo>
                    <a:lnTo>
                      <a:pt x="6323" y="1127"/>
                    </a:lnTo>
                    <a:lnTo>
                      <a:pt x="6320" y="1127"/>
                    </a:lnTo>
                    <a:lnTo>
                      <a:pt x="6320" y="1129"/>
                    </a:lnTo>
                    <a:lnTo>
                      <a:pt x="6320" y="1359"/>
                    </a:lnTo>
                    <a:lnTo>
                      <a:pt x="6323" y="1359"/>
                    </a:lnTo>
                    <a:lnTo>
                      <a:pt x="6323" y="1127"/>
                    </a:lnTo>
                    <a:moveTo>
                      <a:pt x="1447" y="1125"/>
                    </a:moveTo>
                    <a:lnTo>
                      <a:pt x="1445" y="1125"/>
                    </a:lnTo>
                    <a:lnTo>
                      <a:pt x="1445" y="1125"/>
                    </a:lnTo>
                    <a:lnTo>
                      <a:pt x="1445" y="1127"/>
                    </a:lnTo>
                    <a:lnTo>
                      <a:pt x="1445" y="1196"/>
                    </a:lnTo>
                    <a:lnTo>
                      <a:pt x="1447" y="1196"/>
                    </a:lnTo>
                    <a:lnTo>
                      <a:pt x="1447" y="1125"/>
                    </a:lnTo>
                    <a:moveTo>
                      <a:pt x="1464" y="1084"/>
                    </a:moveTo>
                    <a:lnTo>
                      <a:pt x="1461" y="1084"/>
                    </a:lnTo>
                    <a:lnTo>
                      <a:pt x="1461" y="1084"/>
                    </a:lnTo>
                    <a:lnTo>
                      <a:pt x="1461" y="1122"/>
                    </a:lnTo>
                    <a:lnTo>
                      <a:pt x="1464" y="1122"/>
                    </a:lnTo>
                    <a:lnTo>
                      <a:pt x="1464" y="1084"/>
                    </a:lnTo>
                    <a:moveTo>
                      <a:pt x="2861" y="1063"/>
                    </a:moveTo>
                    <a:lnTo>
                      <a:pt x="2859" y="1063"/>
                    </a:lnTo>
                    <a:lnTo>
                      <a:pt x="2859" y="1063"/>
                    </a:lnTo>
                    <a:lnTo>
                      <a:pt x="2859" y="1063"/>
                    </a:lnTo>
                    <a:lnTo>
                      <a:pt x="2859" y="1236"/>
                    </a:lnTo>
                    <a:lnTo>
                      <a:pt x="2861" y="1236"/>
                    </a:lnTo>
                    <a:lnTo>
                      <a:pt x="2861" y="1063"/>
                    </a:lnTo>
                    <a:moveTo>
                      <a:pt x="5933" y="1042"/>
                    </a:moveTo>
                    <a:lnTo>
                      <a:pt x="5930" y="1042"/>
                    </a:lnTo>
                    <a:lnTo>
                      <a:pt x="5930" y="1042"/>
                    </a:lnTo>
                    <a:lnTo>
                      <a:pt x="5930" y="1044"/>
                    </a:lnTo>
                    <a:lnTo>
                      <a:pt x="5930" y="1125"/>
                    </a:lnTo>
                    <a:lnTo>
                      <a:pt x="5933" y="1125"/>
                    </a:lnTo>
                    <a:lnTo>
                      <a:pt x="5933" y="1042"/>
                    </a:lnTo>
                    <a:moveTo>
                      <a:pt x="2878" y="1011"/>
                    </a:moveTo>
                    <a:lnTo>
                      <a:pt x="2875" y="1013"/>
                    </a:lnTo>
                    <a:lnTo>
                      <a:pt x="2875" y="1013"/>
                    </a:lnTo>
                    <a:lnTo>
                      <a:pt x="2875" y="1058"/>
                    </a:lnTo>
                    <a:lnTo>
                      <a:pt x="2878" y="1058"/>
                    </a:lnTo>
                    <a:lnTo>
                      <a:pt x="2878" y="1011"/>
                    </a:lnTo>
                    <a:moveTo>
                      <a:pt x="3772" y="992"/>
                    </a:moveTo>
                    <a:lnTo>
                      <a:pt x="3769" y="992"/>
                    </a:lnTo>
                    <a:lnTo>
                      <a:pt x="3769" y="994"/>
                    </a:lnTo>
                    <a:lnTo>
                      <a:pt x="3769" y="1219"/>
                    </a:lnTo>
                    <a:lnTo>
                      <a:pt x="3772" y="1219"/>
                    </a:lnTo>
                    <a:lnTo>
                      <a:pt x="3772" y="992"/>
                    </a:lnTo>
                    <a:moveTo>
                      <a:pt x="5949" y="990"/>
                    </a:moveTo>
                    <a:lnTo>
                      <a:pt x="5947" y="990"/>
                    </a:lnTo>
                    <a:lnTo>
                      <a:pt x="5947" y="992"/>
                    </a:lnTo>
                    <a:lnTo>
                      <a:pt x="5947" y="1037"/>
                    </a:lnTo>
                    <a:lnTo>
                      <a:pt x="5949" y="1037"/>
                    </a:lnTo>
                    <a:lnTo>
                      <a:pt x="5949" y="990"/>
                    </a:lnTo>
                    <a:moveTo>
                      <a:pt x="6342" y="935"/>
                    </a:moveTo>
                    <a:lnTo>
                      <a:pt x="6339" y="935"/>
                    </a:lnTo>
                    <a:lnTo>
                      <a:pt x="6339" y="935"/>
                    </a:lnTo>
                    <a:lnTo>
                      <a:pt x="6339" y="938"/>
                    </a:lnTo>
                    <a:lnTo>
                      <a:pt x="6339" y="1125"/>
                    </a:lnTo>
                    <a:lnTo>
                      <a:pt x="6342" y="1125"/>
                    </a:lnTo>
                    <a:lnTo>
                      <a:pt x="6342" y="935"/>
                    </a:lnTo>
                    <a:moveTo>
                      <a:pt x="3847" y="928"/>
                    </a:moveTo>
                    <a:lnTo>
                      <a:pt x="3845" y="928"/>
                    </a:lnTo>
                    <a:lnTo>
                      <a:pt x="3845" y="930"/>
                    </a:lnTo>
                    <a:lnTo>
                      <a:pt x="3845" y="990"/>
                    </a:lnTo>
                    <a:lnTo>
                      <a:pt x="3847" y="990"/>
                    </a:lnTo>
                    <a:lnTo>
                      <a:pt x="3847" y="928"/>
                    </a:lnTo>
                    <a:moveTo>
                      <a:pt x="6384" y="895"/>
                    </a:moveTo>
                    <a:lnTo>
                      <a:pt x="6384" y="895"/>
                    </a:lnTo>
                    <a:lnTo>
                      <a:pt x="6384" y="895"/>
                    </a:lnTo>
                    <a:lnTo>
                      <a:pt x="6384" y="897"/>
                    </a:lnTo>
                    <a:lnTo>
                      <a:pt x="6375" y="930"/>
                    </a:lnTo>
                    <a:lnTo>
                      <a:pt x="6377" y="930"/>
                    </a:lnTo>
                    <a:lnTo>
                      <a:pt x="6384" y="895"/>
                    </a:lnTo>
                    <a:moveTo>
                      <a:pt x="6391" y="878"/>
                    </a:moveTo>
                    <a:lnTo>
                      <a:pt x="6389" y="878"/>
                    </a:lnTo>
                    <a:lnTo>
                      <a:pt x="6389" y="878"/>
                    </a:lnTo>
                    <a:lnTo>
                      <a:pt x="6389" y="881"/>
                    </a:lnTo>
                    <a:lnTo>
                      <a:pt x="6389" y="890"/>
                    </a:lnTo>
                    <a:lnTo>
                      <a:pt x="6391" y="890"/>
                    </a:lnTo>
                    <a:lnTo>
                      <a:pt x="6391" y="878"/>
                    </a:lnTo>
                    <a:moveTo>
                      <a:pt x="6398" y="850"/>
                    </a:moveTo>
                    <a:lnTo>
                      <a:pt x="6396" y="850"/>
                    </a:lnTo>
                    <a:lnTo>
                      <a:pt x="6396" y="852"/>
                    </a:lnTo>
                    <a:lnTo>
                      <a:pt x="6396" y="874"/>
                    </a:lnTo>
                    <a:lnTo>
                      <a:pt x="6398" y="874"/>
                    </a:lnTo>
                    <a:lnTo>
                      <a:pt x="6398" y="850"/>
                    </a:lnTo>
                    <a:moveTo>
                      <a:pt x="806" y="826"/>
                    </a:moveTo>
                    <a:lnTo>
                      <a:pt x="804" y="826"/>
                    </a:lnTo>
                    <a:lnTo>
                      <a:pt x="804" y="829"/>
                    </a:lnTo>
                    <a:lnTo>
                      <a:pt x="804" y="1065"/>
                    </a:lnTo>
                    <a:lnTo>
                      <a:pt x="806" y="1065"/>
                    </a:lnTo>
                    <a:lnTo>
                      <a:pt x="806" y="826"/>
                    </a:lnTo>
                    <a:moveTo>
                      <a:pt x="3100" y="762"/>
                    </a:moveTo>
                    <a:lnTo>
                      <a:pt x="3100" y="762"/>
                    </a:lnTo>
                    <a:lnTo>
                      <a:pt x="3100" y="762"/>
                    </a:lnTo>
                    <a:lnTo>
                      <a:pt x="3100" y="765"/>
                    </a:lnTo>
                    <a:lnTo>
                      <a:pt x="3100" y="975"/>
                    </a:lnTo>
                    <a:lnTo>
                      <a:pt x="3100" y="975"/>
                    </a:lnTo>
                    <a:lnTo>
                      <a:pt x="3100" y="762"/>
                    </a:lnTo>
                    <a:moveTo>
                      <a:pt x="1010" y="753"/>
                    </a:moveTo>
                    <a:lnTo>
                      <a:pt x="1007" y="753"/>
                    </a:lnTo>
                    <a:lnTo>
                      <a:pt x="1007" y="755"/>
                    </a:lnTo>
                    <a:lnTo>
                      <a:pt x="1007" y="824"/>
                    </a:lnTo>
                    <a:lnTo>
                      <a:pt x="1010" y="824"/>
                    </a:lnTo>
                    <a:lnTo>
                      <a:pt x="1010" y="753"/>
                    </a:lnTo>
                    <a:moveTo>
                      <a:pt x="5133" y="732"/>
                    </a:moveTo>
                    <a:lnTo>
                      <a:pt x="5131" y="732"/>
                    </a:lnTo>
                    <a:lnTo>
                      <a:pt x="5131" y="734"/>
                    </a:lnTo>
                    <a:lnTo>
                      <a:pt x="5131" y="968"/>
                    </a:lnTo>
                    <a:lnTo>
                      <a:pt x="5133" y="968"/>
                    </a:lnTo>
                    <a:lnTo>
                      <a:pt x="5133" y="732"/>
                    </a:lnTo>
                    <a:moveTo>
                      <a:pt x="3140" y="656"/>
                    </a:moveTo>
                    <a:lnTo>
                      <a:pt x="3138" y="656"/>
                    </a:lnTo>
                    <a:lnTo>
                      <a:pt x="3138" y="658"/>
                    </a:lnTo>
                    <a:lnTo>
                      <a:pt x="3138" y="758"/>
                    </a:lnTo>
                    <a:lnTo>
                      <a:pt x="3140" y="758"/>
                    </a:lnTo>
                    <a:lnTo>
                      <a:pt x="3140" y="656"/>
                    </a:lnTo>
                    <a:moveTo>
                      <a:pt x="97" y="616"/>
                    </a:moveTo>
                    <a:lnTo>
                      <a:pt x="95" y="616"/>
                    </a:lnTo>
                    <a:lnTo>
                      <a:pt x="95" y="618"/>
                    </a:lnTo>
                    <a:lnTo>
                      <a:pt x="95" y="1449"/>
                    </a:lnTo>
                    <a:lnTo>
                      <a:pt x="97" y="1449"/>
                    </a:lnTo>
                    <a:lnTo>
                      <a:pt x="97" y="616"/>
                    </a:lnTo>
                    <a:moveTo>
                      <a:pt x="5254" y="608"/>
                    </a:moveTo>
                    <a:lnTo>
                      <a:pt x="5252" y="608"/>
                    </a:lnTo>
                    <a:lnTo>
                      <a:pt x="5252" y="611"/>
                    </a:lnTo>
                    <a:lnTo>
                      <a:pt x="5252" y="727"/>
                    </a:lnTo>
                    <a:lnTo>
                      <a:pt x="5254" y="727"/>
                    </a:lnTo>
                    <a:lnTo>
                      <a:pt x="5254" y="608"/>
                    </a:lnTo>
                    <a:moveTo>
                      <a:pt x="3284" y="582"/>
                    </a:moveTo>
                    <a:lnTo>
                      <a:pt x="3282" y="582"/>
                    </a:lnTo>
                    <a:lnTo>
                      <a:pt x="3282" y="582"/>
                    </a:lnTo>
                    <a:lnTo>
                      <a:pt x="3282" y="582"/>
                    </a:lnTo>
                    <a:lnTo>
                      <a:pt x="3282" y="653"/>
                    </a:lnTo>
                    <a:lnTo>
                      <a:pt x="3284" y="653"/>
                    </a:lnTo>
                    <a:lnTo>
                      <a:pt x="3284" y="582"/>
                    </a:lnTo>
                    <a:moveTo>
                      <a:pt x="303" y="547"/>
                    </a:moveTo>
                    <a:lnTo>
                      <a:pt x="300" y="547"/>
                    </a:lnTo>
                    <a:lnTo>
                      <a:pt x="300" y="549"/>
                    </a:lnTo>
                    <a:lnTo>
                      <a:pt x="300" y="613"/>
                    </a:lnTo>
                    <a:lnTo>
                      <a:pt x="303" y="613"/>
                    </a:lnTo>
                    <a:lnTo>
                      <a:pt x="303" y="547"/>
                    </a:lnTo>
                    <a:moveTo>
                      <a:pt x="7025" y="509"/>
                    </a:moveTo>
                    <a:lnTo>
                      <a:pt x="7025" y="509"/>
                    </a:lnTo>
                    <a:lnTo>
                      <a:pt x="7025" y="511"/>
                    </a:lnTo>
                    <a:lnTo>
                      <a:pt x="7025" y="1688"/>
                    </a:lnTo>
                    <a:lnTo>
                      <a:pt x="7025" y="1688"/>
                    </a:lnTo>
                    <a:lnTo>
                      <a:pt x="7025" y="509"/>
                    </a:lnTo>
                    <a:moveTo>
                      <a:pt x="4195" y="502"/>
                    </a:moveTo>
                    <a:lnTo>
                      <a:pt x="4195" y="502"/>
                    </a:lnTo>
                    <a:lnTo>
                      <a:pt x="4192" y="504"/>
                    </a:lnTo>
                    <a:lnTo>
                      <a:pt x="4124" y="599"/>
                    </a:lnTo>
                    <a:lnTo>
                      <a:pt x="4124" y="599"/>
                    </a:lnTo>
                    <a:lnTo>
                      <a:pt x="4195" y="502"/>
                    </a:lnTo>
                    <a:moveTo>
                      <a:pt x="3301" y="502"/>
                    </a:moveTo>
                    <a:lnTo>
                      <a:pt x="3299" y="502"/>
                    </a:lnTo>
                    <a:lnTo>
                      <a:pt x="3299" y="502"/>
                    </a:lnTo>
                    <a:lnTo>
                      <a:pt x="3299" y="502"/>
                    </a:lnTo>
                    <a:lnTo>
                      <a:pt x="3299" y="578"/>
                    </a:lnTo>
                    <a:lnTo>
                      <a:pt x="3301" y="578"/>
                    </a:lnTo>
                    <a:lnTo>
                      <a:pt x="3301" y="502"/>
                    </a:lnTo>
                    <a:moveTo>
                      <a:pt x="4036" y="455"/>
                    </a:moveTo>
                    <a:lnTo>
                      <a:pt x="4036" y="455"/>
                    </a:lnTo>
                    <a:lnTo>
                      <a:pt x="4036" y="455"/>
                    </a:lnTo>
                    <a:lnTo>
                      <a:pt x="4036" y="457"/>
                    </a:lnTo>
                    <a:lnTo>
                      <a:pt x="4036" y="490"/>
                    </a:lnTo>
                    <a:lnTo>
                      <a:pt x="3954" y="644"/>
                    </a:lnTo>
                    <a:lnTo>
                      <a:pt x="3954" y="923"/>
                    </a:lnTo>
                    <a:lnTo>
                      <a:pt x="3956" y="923"/>
                    </a:lnTo>
                    <a:lnTo>
                      <a:pt x="3956" y="642"/>
                    </a:lnTo>
                    <a:lnTo>
                      <a:pt x="4036" y="488"/>
                    </a:lnTo>
                    <a:lnTo>
                      <a:pt x="4036" y="455"/>
                    </a:lnTo>
                    <a:moveTo>
                      <a:pt x="3329" y="433"/>
                    </a:moveTo>
                    <a:lnTo>
                      <a:pt x="3327" y="433"/>
                    </a:lnTo>
                    <a:lnTo>
                      <a:pt x="3327" y="436"/>
                    </a:lnTo>
                    <a:lnTo>
                      <a:pt x="3327" y="497"/>
                    </a:lnTo>
                    <a:lnTo>
                      <a:pt x="3329" y="497"/>
                    </a:lnTo>
                    <a:lnTo>
                      <a:pt x="3329" y="433"/>
                    </a:lnTo>
                    <a:moveTo>
                      <a:pt x="4043" y="391"/>
                    </a:moveTo>
                    <a:lnTo>
                      <a:pt x="4041" y="391"/>
                    </a:lnTo>
                    <a:lnTo>
                      <a:pt x="4041" y="391"/>
                    </a:lnTo>
                    <a:lnTo>
                      <a:pt x="4041" y="393"/>
                    </a:lnTo>
                    <a:lnTo>
                      <a:pt x="4041" y="450"/>
                    </a:lnTo>
                    <a:lnTo>
                      <a:pt x="4043" y="450"/>
                    </a:lnTo>
                    <a:lnTo>
                      <a:pt x="4043" y="391"/>
                    </a:lnTo>
                    <a:moveTo>
                      <a:pt x="1811" y="367"/>
                    </a:moveTo>
                    <a:lnTo>
                      <a:pt x="1809" y="367"/>
                    </a:lnTo>
                    <a:lnTo>
                      <a:pt x="1809" y="369"/>
                    </a:lnTo>
                    <a:lnTo>
                      <a:pt x="1809" y="1127"/>
                    </a:lnTo>
                    <a:lnTo>
                      <a:pt x="1811" y="1127"/>
                    </a:lnTo>
                    <a:lnTo>
                      <a:pt x="1811" y="367"/>
                    </a:lnTo>
                    <a:moveTo>
                      <a:pt x="1939" y="334"/>
                    </a:moveTo>
                    <a:lnTo>
                      <a:pt x="1937" y="334"/>
                    </a:lnTo>
                    <a:lnTo>
                      <a:pt x="1937" y="336"/>
                    </a:lnTo>
                    <a:lnTo>
                      <a:pt x="1937" y="365"/>
                    </a:lnTo>
                    <a:lnTo>
                      <a:pt x="1939" y="365"/>
                    </a:lnTo>
                    <a:lnTo>
                      <a:pt x="1939" y="334"/>
                    </a:lnTo>
                    <a:moveTo>
                      <a:pt x="4051" y="327"/>
                    </a:moveTo>
                    <a:lnTo>
                      <a:pt x="4048" y="327"/>
                    </a:lnTo>
                    <a:lnTo>
                      <a:pt x="4048" y="329"/>
                    </a:lnTo>
                    <a:lnTo>
                      <a:pt x="4048" y="386"/>
                    </a:lnTo>
                    <a:lnTo>
                      <a:pt x="4051" y="386"/>
                    </a:lnTo>
                    <a:lnTo>
                      <a:pt x="4051" y="327"/>
                    </a:lnTo>
                    <a:moveTo>
                      <a:pt x="2029" y="294"/>
                    </a:moveTo>
                    <a:lnTo>
                      <a:pt x="2026" y="294"/>
                    </a:lnTo>
                    <a:lnTo>
                      <a:pt x="2026" y="296"/>
                    </a:lnTo>
                    <a:lnTo>
                      <a:pt x="2026" y="329"/>
                    </a:lnTo>
                    <a:lnTo>
                      <a:pt x="2029" y="329"/>
                    </a:lnTo>
                    <a:lnTo>
                      <a:pt x="2029" y="294"/>
                    </a:lnTo>
                    <a:moveTo>
                      <a:pt x="4703" y="232"/>
                    </a:moveTo>
                    <a:lnTo>
                      <a:pt x="4703" y="232"/>
                    </a:lnTo>
                    <a:lnTo>
                      <a:pt x="4703" y="234"/>
                    </a:lnTo>
                    <a:lnTo>
                      <a:pt x="4637" y="471"/>
                    </a:lnTo>
                    <a:lnTo>
                      <a:pt x="4639" y="469"/>
                    </a:lnTo>
                    <a:lnTo>
                      <a:pt x="4703" y="232"/>
                    </a:lnTo>
                    <a:moveTo>
                      <a:pt x="4805" y="173"/>
                    </a:moveTo>
                    <a:lnTo>
                      <a:pt x="4802" y="173"/>
                    </a:lnTo>
                    <a:lnTo>
                      <a:pt x="4802" y="173"/>
                    </a:lnTo>
                    <a:lnTo>
                      <a:pt x="4802" y="173"/>
                    </a:lnTo>
                    <a:lnTo>
                      <a:pt x="4802" y="227"/>
                    </a:lnTo>
                    <a:lnTo>
                      <a:pt x="4805" y="227"/>
                    </a:lnTo>
                    <a:lnTo>
                      <a:pt x="4805" y="173"/>
                    </a:lnTo>
                    <a:moveTo>
                      <a:pt x="4854" y="0"/>
                    </a:moveTo>
                    <a:lnTo>
                      <a:pt x="4852" y="0"/>
                    </a:lnTo>
                    <a:lnTo>
                      <a:pt x="4852" y="2"/>
                    </a:lnTo>
                    <a:lnTo>
                      <a:pt x="4852" y="168"/>
                    </a:lnTo>
                    <a:lnTo>
                      <a:pt x="4854" y="168"/>
                    </a:lnTo>
                    <a:lnTo>
                      <a:pt x="4854" y="0"/>
                    </a:lnTo>
                    <a:moveTo>
                      <a:pt x="4911" y="0"/>
                    </a:moveTo>
                    <a:lnTo>
                      <a:pt x="4909" y="0"/>
                    </a:lnTo>
                    <a:lnTo>
                      <a:pt x="4909" y="2"/>
                    </a:lnTo>
                    <a:lnTo>
                      <a:pt x="4909" y="168"/>
                    </a:lnTo>
                    <a:lnTo>
                      <a:pt x="4911" y="168"/>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7" name="Freeform 142"/>
              <p:cNvSpPr>
                <a:spLocks noEditPoints="1"/>
              </p:cNvSpPr>
              <p:nvPr/>
            </p:nvSpPr>
            <p:spPr bwMode="auto">
              <a:xfrm>
                <a:off x="44" y="1663"/>
                <a:ext cx="7025" cy="1690"/>
              </a:xfrm>
              <a:custGeom>
                <a:avLst/>
                <a:gdLst>
                  <a:gd name="T0" fmla="*/ 3 w 7025"/>
                  <a:gd name="T1" fmla="*/ 1531 h 1690"/>
                  <a:gd name="T2" fmla="*/ 5663 w 7025"/>
                  <a:gd name="T3" fmla="*/ 1446 h 1690"/>
                  <a:gd name="T4" fmla="*/ 3710 w 7025"/>
                  <a:gd name="T5" fmla="*/ 1221 h 1690"/>
                  <a:gd name="T6" fmla="*/ 5831 w 7025"/>
                  <a:gd name="T7" fmla="*/ 1209 h 1690"/>
                  <a:gd name="T8" fmla="*/ 5831 w 7025"/>
                  <a:gd name="T9" fmla="*/ 1323 h 1690"/>
                  <a:gd name="T10" fmla="*/ 1665 w 7025"/>
                  <a:gd name="T11" fmla="*/ 1157 h 1690"/>
                  <a:gd name="T12" fmla="*/ 1686 w 7025"/>
                  <a:gd name="T13" fmla="*/ 1131 h 1690"/>
                  <a:gd name="T14" fmla="*/ 5857 w 7025"/>
                  <a:gd name="T15" fmla="*/ 1129 h 1690"/>
                  <a:gd name="T16" fmla="*/ 5857 w 7025"/>
                  <a:gd name="T17" fmla="*/ 1207 h 1690"/>
                  <a:gd name="T18" fmla="*/ 6321 w 7025"/>
                  <a:gd name="T19" fmla="*/ 1129 h 1690"/>
                  <a:gd name="T20" fmla="*/ 1445 w 7025"/>
                  <a:gd name="T21" fmla="*/ 1124 h 1690"/>
                  <a:gd name="T22" fmla="*/ 1448 w 7025"/>
                  <a:gd name="T23" fmla="*/ 1124 h 1690"/>
                  <a:gd name="T24" fmla="*/ 1464 w 7025"/>
                  <a:gd name="T25" fmla="*/ 1124 h 1690"/>
                  <a:gd name="T26" fmla="*/ 2859 w 7025"/>
                  <a:gd name="T27" fmla="*/ 1065 h 1690"/>
                  <a:gd name="T28" fmla="*/ 5931 w 7025"/>
                  <a:gd name="T29" fmla="*/ 1041 h 1690"/>
                  <a:gd name="T30" fmla="*/ 5931 w 7025"/>
                  <a:gd name="T31" fmla="*/ 1041 h 1690"/>
                  <a:gd name="T32" fmla="*/ 2878 w 7025"/>
                  <a:gd name="T33" fmla="*/ 1060 h 1690"/>
                  <a:gd name="T34" fmla="*/ 3770 w 7025"/>
                  <a:gd name="T35" fmla="*/ 1221 h 1690"/>
                  <a:gd name="T36" fmla="*/ 5947 w 7025"/>
                  <a:gd name="T37" fmla="*/ 992 h 1690"/>
                  <a:gd name="T38" fmla="*/ 6340 w 7025"/>
                  <a:gd name="T39" fmla="*/ 935 h 1690"/>
                  <a:gd name="T40" fmla="*/ 6340 w 7025"/>
                  <a:gd name="T41" fmla="*/ 935 h 1690"/>
                  <a:gd name="T42" fmla="*/ 3845 w 7025"/>
                  <a:gd name="T43" fmla="*/ 992 h 1690"/>
                  <a:gd name="T44" fmla="*/ 6382 w 7025"/>
                  <a:gd name="T45" fmla="*/ 897 h 1690"/>
                  <a:gd name="T46" fmla="*/ 6389 w 7025"/>
                  <a:gd name="T47" fmla="*/ 878 h 1690"/>
                  <a:gd name="T48" fmla="*/ 6389 w 7025"/>
                  <a:gd name="T49" fmla="*/ 878 h 1690"/>
                  <a:gd name="T50" fmla="*/ 6399 w 7025"/>
                  <a:gd name="T51" fmla="*/ 876 h 1690"/>
                  <a:gd name="T52" fmla="*/ 804 w 7025"/>
                  <a:gd name="T53" fmla="*/ 1067 h 1690"/>
                  <a:gd name="T54" fmla="*/ 3098 w 7025"/>
                  <a:gd name="T55" fmla="*/ 762 h 1690"/>
                  <a:gd name="T56" fmla="*/ 1010 w 7025"/>
                  <a:gd name="T57" fmla="*/ 753 h 1690"/>
                  <a:gd name="T58" fmla="*/ 1010 w 7025"/>
                  <a:gd name="T59" fmla="*/ 753 h 1690"/>
                  <a:gd name="T60" fmla="*/ 5131 w 7025"/>
                  <a:gd name="T61" fmla="*/ 970 h 1690"/>
                  <a:gd name="T62" fmla="*/ 3138 w 7025"/>
                  <a:gd name="T63" fmla="*/ 760 h 1690"/>
                  <a:gd name="T64" fmla="*/ 95 w 7025"/>
                  <a:gd name="T65" fmla="*/ 618 h 1690"/>
                  <a:gd name="T66" fmla="*/ 5252 w 7025"/>
                  <a:gd name="T67" fmla="*/ 608 h 1690"/>
                  <a:gd name="T68" fmla="*/ 3282 w 7025"/>
                  <a:gd name="T69" fmla="*/ 582 h 1690"/>
                  <a:gd name="T70" fmla="*/ 3282 w 7025"/>
                  <a:gd name="T71" fmla="*/ 655 h 1690"/>
                  <a:gd name="T72" fmla="*/ 301 w 7025"/>
                  <a:gd name="T73" fmla="*/ 615 h 1690"/>
                  <a:gd name="T74" fmla="*/ 7023 w 7025"/>
                  <a:gd name="T75" fmla="*/ 511 h 1690"/>
                  <a:gd name="T76" fmla="*/ 4193 w 7025"/>
                  <a:gd name="T77" fmla="*/ 504 h 1690"/>
                  <a:gd name="T78" fmla="*/ 3301 w 7025"/>
                  <a:gd name="T79" fmla="*/ 502 h 1690"/>
                  <a:gd name="T80" fmla="*/ 3301 w 7025"/>
                  <a:gd name="T81" fmla="*/ 580 h 1690"/>
                  <a:gd name="T82" fmla="*/ 4034 w 7025"/>
                  <a:gd name="T83" fmla="*/ 457 h 1690"/>
                  <a:gd name="T84" fmla="*/ 3956 w 7025"/>
                  <a:gd name="T85" fmla="*/ 641 h 1690"/>
                  <a:gd name="T86" fmla="*/ 3327 w 7025"/>
                  <a:gd name="T87" fmla="*/ 435 h 1690"/>
                  <a:gd name="T88" fmla="*/ 4041 w 7025"/>
                  <a:gd name="T89" fmla="*/ 390 h 1690"/>
                  <a:gd name="T90" fmla="*/ 4044 w 7025"/>
                  <a:gd name="T91" fmla="*/ 390 h 1690"/>
                  <a:gd name="T92" fmla="*/ 1809 w 7025"/>
                  <a:gd name="T93" fmla="*/ 1129 h 1690"/>
                  <a:gd name="T94" fmla="*/ 1937 w 7025"/>
                  <a:gd name="T95" fmla="*/ 367 h 1690"/>
                  <a:gd name="T96" fmla="*/ 4049 w 7025"/>
                  <a:gd name="T97" fmla="*/ 329 h 1690"/>
                  <a:gd name="T98" fmla="*/ 2027 w 7025"/>
                  <a:gd name="T99" fmla="*/ 293 h 1690"/>
                  <a:gd name="T100" fmla="*/ 4703 w 7025"/>
                  <a:gd name="T101" fmla="*/ 232 h 1690"/>
                  <a:gd name="T102" fmla="*/ 4703 w 7025"/>
                  <a:gd name="T103" fmla="*/ 232 h 1690"/>
                  <a:gd name="T104" fmla="*/ 4803 w 7025"/>
                  <a:gd name="T105" fmla="*/ 229 h 1690"/>
                  <a:gd name="T106" fmla="*/ 4852 w 7025"/>
                  <a:gd name="T107" fmla="*/ 2 h 1690"/>
                  <a:gd name="T108" fmla="*/ 4909 w 7025"/>
                  <a:gd name="T109"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90">
                    <a:moveTo>
                      <a:pt x="3" y="1453"/>
                    </a:moveTo>
                    <a:lnTo>
                      <a:pt x="0" y="1453"/>
                    </a:lnTo>
                    <a:lnTo>
                      <a:pt x="0" y="1456"/>
                    </a:lnTo>
                    <a:lnTo>
                      <a:pt x="0" y="1531"/>
                    </a:lnTo>
                    <a:lnTo>
                      <a:pt x="3" y="1531"/>
                    </a:lnTo>
                    <a:lnTo>
                      <a:pt x="3" y="1453"/>
                    </a:lnTo>
                    <a:close/>
                    <a:moveTo>
                      <a:pt x="5666" y="1326"/>
                    </a:moveTo>
                    <a:lnTo>
                      <a:pt x="5663" y="1326"/>
                    </a:lnTo>
                    <a:lnTo>
                      <a:pt x="5663" y="1328"/>
                    </a:lnTo>
                    <a:lnTo>
                      <a:pt x="5663" y="1446"/>
                    </a:lnTo>
                    <a:lnTo>
                      <a:pt x="5666" y="1446"/>
                    </a:lnTo>
                    <a:lnTo>
                      <a:pt x="5666" y="1326"/>
                    </a:lnTo>
                    <a:close/>
                    <a:moveTo>
                      <a:pt x="3710" y="1221"/>
                    </a:moveTo>
                    <a:lnTo>
                      <a:pt x="3710" y="1221"/>
                    </a:lnTo>
                    <a:lnTo>
                      <a:pt x="3710" y="1221"/>
                    </a:lnTo>
                    <a:lnTo>
                      <a:pt x="3710" y="1224"/>
                    </a:lnTo>
                    <a:lnTo>
                      <a:pt x="3710" y="1389"/>
                    </a:lnTo>
                    <a:lnTo>
                      <a:pt x="3710" y="1389"/>
                    </a:lnTo>
                    <a:lnTo>
                      <a:pt x="3710" y="1221"/>
                    </a:lnTo>
                    <a:close/>
                    <a:moveTo>
                      <a:pt x="5831" y="1209"/>
                    </a:moveTo>
                    <a:lnTo>
                      <a:pt x="5831" y="1209"/>
                    </a:lnTo>
                    <a:lnTo>
                      <a:pt x="5829" y="1209"/>
                    </a:lnTo>
                    <a:lnTo>
                      <a:pt x="5829" y="1209"/>
                    </a:lnTo>
                    <a:lnTo>
                      <a:pt x="5829" y="1323"/>
                    </a:lnTo>
                    <a:lnTo>
                      <a:pt x="5831" y="1323"/>
                    </a:lnTo>
                    <a:lnTo>
                      <a:pt x="5831" y="1209"/>
                    </a:lnTo>
                    <a:close/>
                    <a:moveTo>
                      <a:pt x="1665" y="1157"/>
                    </a:moveTo>
                    <a:lnTo>
                      <a:pt x="1665" y="1157"/>
                    </a:lnTo>
                    <a:lnTo>
                      <a:pt x="1665" y="1157"/>
                    </a:lnTo>
                    <a:lnTo>
                      <a:pt x="1665" y="1157"/>
                    </a:lnTo>
                    <a:lnTo>
                      <a:pt x="1665" y="1198"/>
                    </a:lnTo>
                    <a:lnTo>
                      <a:pt x="1665" y="1198"/>
                    </a:lnTo>
                    <a:lnTo>
                      <a:pt x="1665" y="1157"/>
                    </a:lnTo>
                    <a:close/>
                    <a:moveTo>
                      <a:pt x="1689" y="1131"/>
                    </a:moveTo>
                    <a:lnTo>
                      <a:pt x="1686" y="1131"/>
                    </a:lnTo>
                    <a:lnTo>
                      <a:pt x="1686" y="1134"/>
                    </a:lnTo>
                    <a:lnTo>
                      <a:pt x="1686" y="1155"/>
                    </a:lnTo>
                    <a:lnTo>
                      <a:pt x="1689" y="1155"/>
                    </a:lnTo>
                    <a:lnTo>
                      <a:pt x="1689" y="1131"/>
                    </a:lnTo>
                    <a:close/>
                    <a:moveTo>
                      <a:pt x="5857" y="1129"/>
                    </a:moveTo>
                    <a:lnTo>
                      <a:pt x="5855" y="1129"/>
                    </a:lnTo>
                    <a:lnTo>
                      <a:pt x="5855" y="1129"/>
                    </a:lnTo>
                    <a:lnTo>
                      <a:pt x="5855" y="1129"/>
                    </a:lnTo>
                    <a:lnTo>
                      <a:pt x="5855" y="1207"/>
                    </a:lnTo>
                    <a:lnTo>
                      <a:pt x="5857" y="1207"/>
                    </a:lnTo>
                    <a:lnTo>
                      <a:pt x="5857" y="1129"/>
                    </a:lnTo>
                    <a:close/>
                    <a:moveTo>
                      <a:pt x="6323" y="1129"/>
                    </a:moveTo>
                    <a:lnTo>
                      <a:pt x="6321" y="1129"/>
                    </a:lnTo>
                    <a:lnTo>
                      <a:pt x="6321" y="1129"/>
                    </a:lnTo>
                    <a:lnTo>
                      <a:pt x="6321" y="1129"/>
                    </a:lnTo>
                    <a:lnTo>
                      <a:pt x="6321" y="1361"/>
                    </a:lnTo>
                    <a:lnTo>
                      <a:pt x="6323" y="1361"/>
                    </a:lnTo>
                    <a:lnTo>
                      <a:pt x="6323" y="1129"/>
                    </a:lnTo>
                    <a:close/>
                    <a:moveTo>
                      <a:pt x="1448" y="1124"/>
                    </a:moveTo>
                    <a:lnTo>
                      <a:pt x="1445" y="1124"/>
                    </a:lnTo>
                    <a:lnTo>
                      <a:pt x="1445" y="1124"/>
                    </a:lnTo>
                    <a:lnTo>
                      <a:pt x="1445" y="1127"/>
                    </a:lnTo>
                    <a:lnTo>
                      <a:pt x="1445" y="1198"/>
                    </a:lnTo>
                    <a:lnTo>
                      <a:pt x="1448" y="1198"/>
                    </a:lnTo>
                    <a:lnTo>
                      <a:pt x="1448" y="1124"/>
                    </a:lnTo>
                    <a:close/>
                    <a:moveTo>
                      <a:pt x="1464" y="1084"/>
                    </a:moveTo>
                    <a:lnTo>
                      <a:pt x="1462" y="1084"/>
                    </a:lnTo>
                    <a:lnTo>
                      <a:pt x="1462" y="1086"/>
                    </a:lnTo>
                    <a:lnTo>
                      <a:pt x="1462" y="1124"/>
                    </a:lnTo>
                    <a:lnTo>
                      <a:pt x="1464" y="1124"/>
                    </a:lnTo>
                    <a:lnTo>
                      <a:pt x="1464" y="1084"/>
                    </a:lnTo>
                    <a:close/>
                    <a:moveTo>
                      <a:pt x="2862" y="1063"/>
                    </a:moveTo>
                    <a:lnTo>
                      <a:pt x="2859" y="1063"/>
                    </a:lnTo>
                    <a:lnTo>
                      <a:pt x="2859" y="1063"/>
                    </a:lnTo>
                    <a:lnTo>
                      <a:pt x="2859" y="1065"/>
                    </a:lnTo>
                    <a:lnTo>
                      <a:pt x="2859" y="1238"/>
                    </a:lnTo>
                    <a:lnTo>
                      <a:pt x="2862" y="1238"/>
                    </a:lnTo>
                    <a:lnTo>
                      <a:pt x="2862" y="1063"/>
                    </a:lnTo>
                    <a:close/>
                    <a:moveTo>
                      <a:pt x="5931" y="1041"/>
                    </a:moveTo>
                    <a:lnTo>
                      <a:pt x="5931" y="1041"/>
                    </a:lnTo>
                    <a:lnTo>
                      <a:pt x="5931" y="1041"/>
                    </a:lnTo>
                    <a:lnTo>
                      <a:pt x="5931" y="1044"/>
                    </a:lnTo>
                    <a:lnTo>
                      <a:pt x="5931" y="1127"/>
                    </a:lnTo>
                    <a:lnTo>
                      <a:pt x="5931" y="1127"/>
                    </a:lnTo>
                    <a:lnTo>
                      <a:pt x="5931" y="1041"/>
                    </a:lnTo>
                    <a:close/>
                    <a:moveTo>
                      <a:pt x="2878" y="1011"/>
                    </a:moveTo>
                    <a:lnTo>
                      <a:pt x="2876" y="1013"/>
                    </a:lnTo>
                    <a:lnTo>
                      <a:pt x="2876" y="1013"/>
                    </a:lnTo>
                    <a:lnTo>
                      <a:pt x="2876" y="1060"/>
                    </a:lnTo>
                    <a:lnTo>
                      <a:pt x="2878" y="1060"/>
                    </a:lnTo>
                    <a:lnTo>
                      <a:pt x="2878" y="1011"/>
                    </a:lnTo>
                    <a:close/>
                    <a:moveTo>
                      <a:pt x="3772" y="994"/>
                    </a:moveTo>
                    <a:lnTo>
                      <a:pt x="3770" y="994"/>
                    </a:lnTo>
                    <a:lnTo>
                      <a:pt x="3770" y="994"/>
                    </a:lnTo>
                    <a:lnTo>
                      <a:pt x="3770" y="1221"/>
                    </a:lnTo>
                    <a:lnTo>
                      <a:pt x="3772" y="1221"/>
                    </a:lnTo>
                    <a:lnTo>
                      <a:pt x="3772" y="994"/>
                    </a:lnTo>
                    <a:close/>
                    <a:moveTo>
                      <a:pt x="5950" y="989"/>
                    </a:moveTo>
                    <a:lnTo>
                      <a:pt x="5947" y="989"/>
                    </a:lnTo>
                    <a:lnTo>
                      <a:pt x="5947" y="992"/>
                    </a:lnTo>
                    <a:lnTo>
                      <a:pt x="5947" y="1039"/>
                    </a:lnTo>
                    <a:lnTo>
                      <a:pt x="5950" y="1039"/>
                    </a:lnTo>
                    <a:lnTo>
                      <a:pt x="5950" y="989"/>
                    </a:lnTo>
                    <a:close/>
                    <a:moveTo>
                      <a:pt x="6340" y="935"/>
                    </a:moveTo>
                    <a:lnTo>
                      <a:pt x="6340" y="935"/>
                    </a:lnTo>
                    <a:lnTo>
                      <a:pt x="6340" y="935"/>
                    </a:lnTo>
                    <a:lnTo>
                      <a:pt x="6340" y="937"/>
                    </a:lnTo>
                    <a:lnTo>
                      <a:pt x="6340" y="1127"/>
                    </a:lnTo>
                    <a:lnTo>
                      <a:pt x="6340" y="1127"/>
                    </a:lnTo>
                    <a:lnTo>
                      <a:pt x="6340" y="935"/>
                    </a:lnTo>
                    <a:close/>
                    <a:moveTo>
                      <a:pt x="3845" y="928"/>
                    </a:moveTo>
                    <a:lnTo>
                      <a:pt x="3845" y="928"/>
                    </a:lnTo>
                    <a:lnTo>
                      <a:pt x="3845" y="930"/>
                    </a:lnTo>
                    <a:lnTo>
                      <a:pt x="3845" y="992"/>
                    </a:lnTo>
                    <a:lnTo>
                      <a:pt x="3845" y="992"/>
                    </a:lnTo>
                    <a:lnTo>
                      <a:pt x="3845" y="928"/>
                    </a:lnTo>
                    <a:close/>
                    <a:moveTo>
                      <a:pt x="6385" y="895"/>
                    </a:moveTo>
                    <a:lnTo>
                      <a:pt x="6385" y="895"/>
                    </a:lnTo>
                    <a:lnTo>
                      <a:pt x="6385" y="895"/>
                    </a:lnTo>
                    <a:lnTo>
                      <a:pt x="6382" y="897"/>
                    </a:lnTo>
                    <a:lnTo>
                      <a:pt x="6375" y="932"/>
                    </a:lnTo>
                    <a:lnTo>
                      <a:pt x="6378" y="932"/>
                    </a:lnTo>
                    <a:lnTo>
                      <a:pt x="6385" y="895"/>
                    </a:lnTo>
                    <a:close/>
                    <a:moveTo>
                      <a:pt x="6389" y="878"/>
                    </a:moveTo>
                    <a:lnTo>
                      <a:pt x="6389" y="878"/>
                    </a:lnTo>
                    <a:lnTo>
                      <a:pt x="6389" y="878"/>
                    </a:lnTo>
                    <a:lnTo>
                      <a:pt x="6389" y="880"/>
                    </a:lnTo>
                    <a:lnTo>
                      <a:pt x="6389" y="892"/>
                    </a:lnTo>
                    <a:lnTo>
                      <a:pt x="6389" y="892"/>
                    </a:lnTo>
                    <a:lnTo>
                      <a:pt x="6389" y="878"/>
                    </a:lnTo>
                    <a:close/>
                    <a:moveTo>
                      <a:pt x="6399" y="850"/>
                    </a:moveTo>
                    <a:lnTo>
                      <a:pt x="6396" y="850"/>
                    </a:lnTo>
                    <a:lnTo>
                      <a:pt x="6396" y="852"/>
                    </a:lnTo>
                    <a:lnTo>
                      <a:pt x="6396" y="876"/>
                    </a:lnTo>
                    <a:lnTo>
                      <a:pt x="6399" y="876"/>
                    </a:lnTo>
                    <a:lnTo>
                      <a:pt x="6399" y="850"/>
                    </a:lnTo>
                    <a:close/>
                    <a:moveTo>
                      <a:pt x="807" y="826"/>
                    </a:moveTo>
                    <a:lnTo>
                      <a:pt x="804" y="826"/>
                    </a:lnTo>
                    <a:lnTo>
                      <a:pt x="804" y="828"/>
                    </a:lnTo>
                    <a:lnTo>
                      <a:pt x="804" y="1067"/>
                    </a:lnTo>
                    <a:lnTo>
                      <a:pt x="807" y="1067"/>
                    </a:lnTo>
                    <a:lnTo>
                      <a:pt x="807" y="826"/>
                    </a:lnTo>
                    <a:close/>
                    <a:moveTo>
                      <a:pt x="3100" y="762"/>
                    </a:moveTo>
                    <a:lnTo>
                      <a:pt x="3100" y="762"/>
                    </a:lnTo>
                    <a:lnTo>
                      <a:pt x="3098" y="762"/>
                    </a:lnTo>
                    <a:lnTo>
                      <a:pt x="3098" y="764"/>
                    </a:lnTo>
                    <a:lnTo>
                      <a:pt x="3098" y="977"/>
                    </a:lnTo>
                    <a:lnTo>
                      <a:pt x="3100" y="977"/>
                    </a:lnTo>
                    <a:lnTo>
                      <a:pt x="3100" y="762"/>
                    </a:lnTo>
                    <a:close/>
                    <a:moveTo>
                      <a:pt x="1010" y="753"/>
                    </a:moveTo>
                    <a:lnTo>
                      <a:pt x="1008" y="753"/>
                    </a:lnTo>
                    <a:lnTo>
                      <a:pt x="1008" y="755"/>
                    </a:lnTo>
                    <a:lnTo>
                      <a:pt x="1008" y="826"/>
                    </a:lnTo>
                    <a:lnTo>
                      <a:pt x="1010" y="826"/>
                    </a:lnTo>
                    <a:lnTo>
                      <a:pt x="1010" y="753"/>
                    </a:lnTo>
                    <a:close/>
                    <a:moveTo>
                      <a:pt x="5131" y="731"/>
                    </a:moveTo>
                    <a:lnTo>
                      <a:pt x="5131" y="731"/>
                    </a:lnTo>
                    <a:lnTo>
                      <a:pt x="5131" y="734"/>
                    </a:lnTo>
                    <a:lnTo>
                      <a:pt x="5131" y="970"/>
                    </a:lnTo>
                    <a:lnTo>
                      <a:pt x="5131" y="970"/>
                    </a:lnTo>
                    <a:lnTo>
                      <a:pt x="5131" y="731"/>
                    </a:lnTo>
                    <a:close/>
                    <a:moveTo>
                      <a:pt x="3138" y="658"/>
                    </a:moveTo>
                    <a:lnTo>
                      <a:pt x="3138" y="658"/>
                    </a:lnTo>
                    <a:lnTo>
                      <a:pt x="3138" y="658"/>
                    </a:lnTo>
                    <a:lnTo>
                      <a:pt x="3138" y="760"/>
                    </a:lnTo>
                    <a:lnTo>
                      <a:pt x="3138" y="760"/>
                    </a:lnTo>
                    <a:lnTo>
                      <a:pt x="3138" y="658"/>
                    </a:lnTo>
                    <a:close/>
                    <a:moveTo>
                      <a:pt x="97" y="615"/>
                    </a:moveTo>
                    <a:lnTo>
                      <a:pt x="95" y="615"/>
                    </a:lnTo>
                    <a:lnTo>
                      <a:pt x="95" y="618"/>
                    </a:lnTo>
                    <a:lnTo>
                      <a:pt x="95" y="1451"/>
                    </a:lnTo>
                    <a:lnTo>
                      <a:pt x="97" y="1451"/>
                    </a:lnTo>
                    <a:lnTo>
                      <a:pt x="97" y="615"/>
                    </a:lnTo>
                    <a:close/>
                    <a:moveTo>
                      <a:pt x="5254" y="608"/>
                    </a:moveTo>
                    <a:lnTo>
                      <a:pt x="5252" y="608"/>
                    </a:lnTo>
                    <a:lnTo>
                      <a:pt x="5252" y="610"/>
                    </a:lnTo>
                    <a:lnTo>
                      <a:pt x="5252" y="729"/>
                    </a:lnTo>
                    <a:lnTo>
                      <a:pt x="5254" y="729"/>
                    </a:lnTo>
                    <a:lnTo>
                      <a:pt x="5254" y="608"/>
                    </a:lnTo>
                    <a:close/>
                    <a:moveTo>
                      <a:pt x="3282" y="582"/>
                    </a:moveTo>
                    <a:lnTo>
                      <a:pt x="3282" y="582"/>
                    </a:lnTo>
                    <a:lnTo>
                      <a:pt x="3282" y="582"/>
                    </a:lnTo>
                    <a:lnTo>
                      <a:pt x="3282" y="584"/>
                    </a:lnTo>
                    <a:lnTo>
                      <a:pt x="3282" y="655"/>
                    </a:lnTo>
                    <a:lnTo>
                      <a:pt x="3282" y="655"/>
                    </a:lnTo>
                    <a:lnTo>
                      <a:pt x="3282" y="582"/>
                    </a:lnTo>
                    <a:close/>
                    <a:moveTo>
                      <a:pt x="303" y="547"/>
                    </a:moveTo>
                    <a:lnTo>
                      <a:pt x="301" y="547"/>
                    </a:lnTo>
                    <a:lnTo>
                      <a:pt x="301" y="549"/>
                    </a:lnTo>
                    <a:lnTo>
                      <a:pt x="301" y="615"/>
                    </a:lnTo>
                    <a:lnTo>
                      <a:pt x="303" y="615"/>
                    </a:lnTo>
                    <a:lnTo>
                      <a:pt x="303" y="547"/>
                    </a:lnTo>
                    <a:close/>
                    <a:moveTo>
                      <a:pt x="7025" y="509"/>
                    </a:moveTo>
                    <a:lnTo>
                      <a:pt x="7023" y="509"/>
                    </a:lnTo>
                    <a:lnTo>
                      <a:pt x="7023" y="511"/>
                    </a:lnTo>
                    <a:lnTo>
                      <a:pt x="7023" y="1690"/>
                    </a:lnTo>
                    <a:lnTo>
                      <a:pt x="7025" y="1690"/>
                    </a:lnTo>
                    <a:lnTo>
                      <a:pt x="7025" y="509"/>
                    </a:lnTo>
                    <a:close/>
                    <a:moveTo>
                      <a:pt x="4195" y="504"/>
                    </a:moveTo>
                    <a:lnTo>
                      <a:pt x="4193" y="504"/>
                    </a:lnTo>
                    <a:lnTo>
                      <a:pt x="4193" y="504"/>
                    </a:lnTo>
                    <a:lnTo>
                      <a:pt x="4122" y="601"/>
                    </a:lnTo>
                    <a:lnTo>
                      <a:pt x="4122" y="601"/>
                    </a:lnTo>
                    <a:lnTo>
                      <a:pt x="4195" y="504"/>
                    </a:lnTo>
                    <a:close/>
                    <a:moveTo>
                      <a:pt x="3301" y="502"/>
                    </a:moveTo>
                    <a:lnTo>
                      <a:pt x="3299" y="502"/>
                    </a:lnTo>
                    <a:lnTo>
                      <a:pt x="3299" y="502"/>
                    </a:lnTo>
                    <a:lnTo>
                      <a:pt x="3299" y="504"/>
                    </a:lnTo>
                    <a:lnTo>
                      <a:pt x="3299" y="580"/>
                    </a:lnTo>
                    <a:lnTo>
                      <a:pt x="3301" y="580"/>
                    </a:lnTo>
                    <a:lnTo>
                      <a:pt x="3301" y="502"/>
                    </a:lnTo>
                    <a:close/>
                    <a:moveTo>
                      <a:pt x="4037" y="454"/>
                    </a:moveTo>
                    <a:lnTo>
                      <a:pt x="4034" y="454"/>
                    </a:lnTo>
                    <a:lnTo>
                      <a:pt x="4034" y="454"/>
                    </a:lnTo>
                    <a:lnTo>
                      <a:pt x="4034" y="457"/>
                    </a:lnTo>
                    <a:lnTo>
                      <a:pt x="4034" y="490"/>
                    </a:lnTo>
                    <a:lnTo>
                      <a:pt x="3954" y="644"/>
                    </a:lnTo>
                    <a:lnTo>
                      <a:pt x="3954" y="925"/>
                    </a:lnTo>
                    <a:lnTo>
                      <a:pt x="3956" y="925"/>
                    </a:lnTo>
                    <a:lnTo>
                      <a:pt x="3956" y="641"/>
                    </a:lnTo>
                    <a:lnTo>
                      <a:pt x="4037" y="490"/>
                    </a:lnTo>
                    <a:lnTo>
                      <a:pt x="4037" y="454"/>
                    </a:lnTo>
                    <a:close/>
                    <a:moveTo>
                      <a:pt x="3330" y="433"/>
                    </a:moveTo>
                    <a:lnTo>
                      <a:pt x="3327" y="433"/>
                    </a:lnTo>
                    <a:lnTo>
                      <a:pt x="3327" y="435"/>
                    </a:lnTo>
                    <a:lnTo>
                      <a:pt x="3327" y="499"/>
                    </a:lnTo>
                    <a:lnTo>
                      <a:pt x="3330" y="499"/>
                    </a:lnTo>
                    <a:lnTo>
                      <a:pt x="3330" y="433"/>
                    </a:lnTo>
                    <a:close/>
                    <a:moveTo>
                      <a:pt x="4044" y="390"/>
                    </a:moveTo>
                    <a:lnTo>
                      <a:pt x="4041" y="390"/>
                    </a:lnTo>
                    <a:lnTo>
                      <a:pt x="4041" y="390"/>
                    </a:lnTo>
                    <a:lnTo>
                      <a:pt x="4041" y="393"/>
                    </a:lnTo>
                    <a:lnTo>
                      <a:pt x="4041" y="452"/>
                    </a:lnTo>
                    <a:lnTo>
                      <a:pt x="4044" y="452"/>
                    </a:lnTo>
                    <a:lnTo>
                      <a:pt x="4044" y="390"/>
                    </a:lnTo>
                    <a:close/>
                    <a:moveTo>
                      <a:pt x="1809" y="369"/>
                    </a:moveTo>
                    <a:lnTo>
                      <a:pt x="1809" y="369"/>
                    </a:lnTo>
                    <a:lnTo>
                      <a:pt x="1809" y="369"/>
                    </a:lnTo>
                    <a:lnTo>
                      <a:pt x="1809" y="1129"/>
                    </a:lnTo>
                    <a:lnTo>
                      <a:pt x="1809" y="1129"/>
                    </a:lnTo>
                    <a:lnTo>
                      <a:pt x="1809" y="369"/>
                    </a:lnTo>
                    <a:close/>
                    <a:moveTo>
                      <a:pt x="1939" y="333"/>
                    </a:moveTo>
                    <a:lnTo>
                      <a:pt x="1937" y="333"/>
                    </a:lnTo>
                    <a:lnTo>
                      <a:pt x="1937" y="336"/>
                    </a:lnTo>
                    <a:lnTo>
                      <a:pt x="1937" y="367"/>
                    </a:lnTo>
                    <a:lnTo>
                      <a:pt x="1939" y="367"/>
                    </a:lnTo>
                    <a:lnTo>
                      <a:pt x="1939" y="333"/>
                    </a:lnTo>
                    <a:close/>
                    <a:moveTo>
                      <a:pt x="4051" y="326"/>
                    </a:moveTo>
                    <a:lnTo>
                      <a:pt x="4049" y="326"/>
                    </a:lnTo>
                    <a:lnTo>
                      <a:pt x="4049" y="329"/>
                    </a:lnTo>
                    <a:lnTo>
                      <a:pt x="4049" y="388"/>
                    </a:lnTo>
                    <a:lnTo>
                      <a:pt x="4051" y="388"/>
                    </a:lnTo>
                    <a:lnTo>
                      <a:pt x="4051" y="326"/>
                    </a:lnTo>
                    <a:close/>
                    <a:moveTo>
                      <a:pt x="2029" y="293"/>
                    </a:moveTo>
                    <a:lnTo>
                      <a:pt x="2027" y="293"/>
                    </a:lnTo>
                    <a:lnTo>
                      <a:pt x="2027" y="296"/>
                    </a:lnTo>
                    <a:lnTo>
                      <a:pt x="2027" y="331"/>
                    </a:lnTo>
                    <a:lnTo>
                      <a:pt x="2029" y="331"/>
                    </a:lnTo>
                    <a:lnTo>
                      <a:pt x="2029" y="293"/>
                    </a:lnTo>
                    <a:close/>
                    <a:moveTo>
                      <a:pt x="4703" y="232"/>
                    </a:moveTo>
                    <a:lnTo>
                      <a:pt x="4703" y="232"/>
                    </a:lnTo>
                    <a:lnTo>
                      <a:pt x="4701" y="234"/>
                    </a:lnTo>
                    <a:lnTo>
                      <a:pt x="4637" y="471"/>
                    </a:lnTo>
                    <a:lnTo>
                      <a:pt x="4640" y="471"/>
                    </a:lnTo>
                    <a:lnTo>
                      <a:pt x="4703" y="232"/>
                    </a:lnTo>
                    <a:close/>
                    <a:moveTo>
                      <a:pt x="4805" y="172"/>
                    </a:moveTo>
                    <a:lnTo>
                      <a:pt x="4803" y="172"/>
                    </a:lnTo>
                    <a:lnTo>
                      <a:pt x="4803" y="172"/>
                    </a:lnTo>
                    <a:lnTo>
                      <a:pt x="4803" y="175"/>
                    </a:lnTo>
                    <a:lnTo>
                      <a:pt x="4803" y="229"/>
                    </a:lnTo>
                    <a:lnTo>
                      <a:pt x="4805" y="229"/>
                    </a:lnTo>
                    <a:lnTo>
                      <a:pt x="4805" y="172"/>
                    </a:lnTo>
                    <a:close/>
                    <a:moveTo>
                      <a:pt x="4852" y="0"/>
                    </a:moveTo>
                    <a:lnTo>
                      <a:pt x="4852" y="0"/>
                    </a:lnTo>
                    <a:lnTo>
                      <a:pt x="4852" y="2"/>
                    </a:lnTo>
                    <a:lnTo>
                      <a:pt x="4852" y="170"/>
                    </a:lnTo>
                    <a:lnTo>
                      <a:pt x="4852" y="170"/>
                    </a:lnTo>
                    <a:lnTo>
                      <a:pt x="4852" y="0"/>
                    </a:lnTo>
                    <a:close/>
                    <a:moveTo>
                      <a:pt x="4912" y="0"/>
                    </a:moveTo>
                    <a:lnTo>
                      <a:pt x="4909" y="0"/>
                    </a:lnTo>
                    <a:lnTo>
                      <a:pt x="4909" y="2"/>
                    </a:lnTo>
                    <a:lnTo>
                      <a:pt x="4909" y="170"/>
                    </a:lnTo>
                    <a:lnTo>
                      <a:pt x="4912" y="170"/>
                    </a:lnTo>
                    <a:lnTo>
                      <a:pt x="4912" y="0"/>
                    </a:lnTo>
                    <a:close/>
                  </a:path>
                </a:pathLst>
              </a:custGeom>
              <a:solidFill>
                <a:srgbClr val="B9B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8" name="Freeform 143"/>
              <p:cNvSpPr>
                <a:spLocks noEditPoints="1"/>
              </p:cNvSpPr>
              <p:nvPr/>
            </p:nvSpPr>
            <p:spPr bwMode="auto">
              <a:xfrm>
                <a:off x="44" y="1663"/>
                <a:ext cx="7025" cy="1690"/>
              </a:xfrm>
              <a:custGeom>
                <a:avLst/>
                <a:gdLst>
                  <a:gd name="T0" fmla="*/ 3 w 7025"/>
                  <a:gd name="T1" fmla="*/ 1531 h 1690"/>
                  <a:gd name="T2" fmla="*/ 5663 w 7025"/>
                  <a:gd name="T3" fmla="*/ 1446 h 1690"/>
                  <a:gd name="T4" fmla="*/ 3710 w 7025"/>
                  <a:gd name="T5" fmla="*/ 1221 h 1690"/>
                  <a:gd name="T6" fmla="*/ 5831 w 7025"/>
                  <a:gd name="T7" fmla="*/ 1209 h 1690"/>
                  <a:gd name="T8" fmla="*/ 5831 w 7025"/>
                  <a:gd name="T9" fmla="*/ 1323 h 1690"/>
                  <a:gd name="T10" fmla="*/ 1665 w 7025"/>
                  <a:gd name="T11" fmla="*/ 1157 h 1690"/>
                  <a:gd name="T12" fmla="*/ 1686 w 7025"/>
                  <a:gd name="T13" fmla="*/ 1131 h 1690"/>
                  <a:gd name="T14" fmla="*/ 5857 w 7025"/>
                  <a:gd name="T15" fmla="*/ 1129 h 1690"/>
                  <a:gd name="T16" fmla="*/ 5857 w 7025"/>
                  <a:gd name="T17" fmla="*/ 1207 h 1690"/>
                  <a:gd name="T18" fmla="*/ 6321 w 7025"/>
                  <a:gd name="T19" fmla="*/ 1129 h 1690"/>
                  <a:gd name="T20" fmla="*/ 1445 w 7025"/>
                  <a:gd name="T21" fmla="*/ 1124 h 1690"/>
                  <a:gd name="T22" fmla="*/ 1448 w 7025"/>
                  <a:gd name="T23" fmla="*/ 1124 h 1690"/>
                  <a:gd name="T24" fmla="*/ 1464 w 7025"/>
                  <a:gd name="T25" fmla="*/ 1124 h 1690"/>
                  <a:gd name="T26" fmla="*/ 2859 w 7025"/>
                  <a:gd name="T27" fmla="*/ 1065 h 1690"/>
                  <a:gd name="T28" fmla="*/ 5931 w 7025"/>
                  <a:gd name="T29" fmla="*/ 1041 h 1690"/>
                  <a:gd name="T30" fmla="*/ 5931 w 7025"/>
                  <a:gd name="T31" fmla="*/ 1041 h 1690"/>
                  <a:gd name="T32" fmla="*/ 2878 w 7025"/>
                  <a:gd name="T33" fmla="*/ 1060 h 1690"/>
                  <a:gd name="T34" fmla="*/ 3770 w 7025"/>
                  <a:gd name="T35" fmla="*/ 1221 h 1690"/>
                  <a:gd name="T36" fmla="*/ 5947 w 7025"/>
                  <a:gd name="T37" fmla="*/ 992 h 1690"/>
                  <a:gd name="T38" fmla="*/ 6340 w 7025"/>
                  <a:gd name="T39" fmla="*/ 935 h 1690"/>
                  <a:gd name="T40" fmla="*/ 6340 w 7025"/>
                  <a:gd name="T41" fmla="*/ 935 h 1690"/>
                  <a:gd name="T42" fmla="*/ 3845 w 7025"/>
                  <a:gd name="T43" fmla="*/ 992 h 1690"/>
                  <a:gd name="T44" fmla="*/ 6382 w 7025"/>
                  <a:gd name="T45" fmla="*/ 897 h 1690"/>
                  <a:gd name="T46" fmla="*/ 6389 w 7025"/>
                  <a:gd name="T47" fmla="*/ 878 h 1690"/>
                  <a:gd name="T48" fmla="*/ 6389 w 7025"/>
                  <a:gd name="T49" fmla="*/ 878 h 1690"/>
                  <a:gd name="T50" fmla="*/ 6399 w 7025"/>
                  <a:gd name="T51" fmla="*/ 876 h 1690"/>
                  <a:gd name="T52" fmla="*/ 804 w 7025"/>
                  <a:gd name="T53" fmla="*/ 1067 h 1690"/>
                  <a:gd name="T54" fmla="*/ 3098 w 7025"/>
                  <a:gd name="T55" fmla="*/ 762 h 1690"/>
                  <a:gd name="T56" fmla="*/ 1010 w 7025"/>
                  <a:gd name="T57" fmla="*/ 753 h 1690"/>
                  <a:gd name="T58" fmla="*/ 1010 w 7025"/>
                  <a:gd name="T59" fmla="*/ 753 h 1690"/>
                  <a:gd name="T60" fmla="*/ 5131 w 7025"/>
                  <a:gd name="T61" fmla="*/ 970 h 1690"/>
                  <a:gd name="T62" fmla="*/ 3138 w 7025"/>
                  <a:gd name="T63" fmla="*/ 760 h 1690"/>
                  <a:gd name="T64" fmla="*/ 95 w 7025"/>
                  <a:gd name="T65" fmla="*/ 618 h 1690"/>
                  <a:gd name="T66" fmla="*/ 5252 w 7025"/>
                  <a:gd name="T67" fmla="*/ 608 h 1690"/>
                  <a:gd name="T68" fmla="*/ 3282 w 7025"/>
                  <a:gd name="T69" fmla="*/ 582 h 1690"/>
                  <a:gd name="T70" fmla="*/ 3282 w 7025"/>
                  <a:gd name="T71" fmla="*/ 655 h 1690"/>
                  <a:gd name="T72" fmla="*/ 301 w 7025"/>
                  <a:gd name="T73" fmla="*/ 615 h 1690"/>
                  <a:gd name="T74" fmla="*/ 7023 w 7025"/>
                  <a:gd name="T75" fmla="*/ 511 h 1690"/>
                  <a:gd name="T76" fmla="*/ 4193 w 7025"/>
                  <a:gd name="T77" fmla="*/ 504 h 1690"/>
                  <a:gd name="T78" fmla="*/ 3301 w 7025"/>
                  <a:gd name="T79" fmla="*/ 502 h 1690"/>
                  <a:gd name="T80" fmla="*/ 3301 w 7025"/>
                  <a:gd name="T81" fmla="*/ 580 h 1690"/>
                  <a:gd name="T82" fmla="*/ 4034 w 7025"/>
                  <a:gd name="T83" fmla="*/ 457 h 1690"/>
                  <a:gd name="T84" fmla="*/ 3956 w 7025"/>
                  <a:gd name="T85" fmla="*/ 641 h 1690"/>
                  <a:gd name="T86" fmla="*/ 3327 w 7025"/>
                  <a:gd name="T87" fmla="*/ 435 h 1690"/>
                  <a:gd name="T88" fmla="*/ 4041 w 7025"/>
                  <a:gd name="T89" fmla="*/ 390 h 1690"/>
                  <a:gd name="T90" fmla="*/ 4044 w 7025"/>
                  <a:gd name="T91" fmla="*/ 390 h 1690"/>
                  <a:gd name="T92" fmla="*/ 1809 w 7025"/>
                  <a:gd name="T93" fmla="*/ 1129 h 1690"/>
                  <a:gd name="T94" fmla="*/ 1937 w 7025"/>
                  <a:gd name="T95" fmla="*/ 367 h 1690"/>
                  <a:gd name="T96" fmla="*/ 4049 w 7025"/>
                  <a:gd name="T97" fmla="*/ 329 h 1690"/>
                  <a:gd name="T98" fmla="*/ 2027 w 7025"/>
                  <a:gd name="T99" fmla="*/ 293 h 1690"/>
                  <a:gd name="T100" fmla="*/ 4703 w 7025"/>
                  <a:gd name="T101" fmla="*/ 232 h 1690"/>
                  <a:gd name="T102" fmla="*/ 4703 w 7025"/>
                  <a:gd name="T103" fmla="*/ 232 h 1690"/>
                  <a:gd name="T104" fmla="*/ 4803 w 7025"/>
                  <a:gd name="T105" fmla="*/ 229 h 1690"/>
                  <a:gd name="T106" fmla="*/ 4852 w 7025"/>
                  <a:gd name="T107" fmla="*/ 2 h 1690"/>
                  <a:gd name="T108" fmla="*/ 4909 w 7025"/>
                  <a:gd name="T109"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90">
                    <a:moveTo>
                      <a:pt x="3" y="1453"/>
                    </a:moveTo>
                    <a:lnTo>
                      <a:pt x="0" y="1453"/>
                    </a:lnTo>
                    <a:lnTo>
                      <a:pt x="0" y="1456"/>
                    </a:lnTo>
                    <a:lnTo>
                      <a:pt x="0" y="1531"/>
                    </a:lnTo>
                    <a:lnTo>
                      <a:pt x="3" y="1531"/>
                    </a:lnTo>
                    <a:lnTo>
                      <a:pt x="3" y="1453"/>
                    </a:lnTo>
                    <a:moveTo>
                      <a:pt x="5666" y="1326"/>
                    </a:moveTo>
                    <a:lnTo>
                      <a:pt x="5663" y="1326"/>
                    </a:lnTo>
                    <a:lnTo>
                      <a:pt x="5663" y="1328"/>
                    </a:lnTo>
                    <a:lnTo>
                      <a:pt x="5663" y="1446"/>
                    </a:lnTo>
                    <a:lnTo>
                      <a:pt x="5666" y="1446"/>
                    </a:lnTo>
                    <a:lnTo>
                      <a:pt x="5666" y="1326"/>
                    </a:lnTo>
                    <a:moveTo>
                      <a:pt x="3710" y="1221"/>
                    </a:moveTo>
                    <a:lnTo>
                      <a:pt x="3710" y="1221"/>
                    </a:lnTo>
                    <a:lnTo>
                      <a:pt x="3710" y="1221"/>
                    </a:lnTo>
                    <a:lnTo>
                      <a:pt x="3710" y="1224"/>
                    </a:lnTo>
                    <a:lnTo>
                      <a:pt x="3710" y="1389"/>
                    </a:lnTo>
                    <a:lnTo>
                      <a:pt x="3710" y="1389"/>
                    </a:lnTo>
                    <a:lnTo>
                      <a:pt x="3710" y="1221"/>
                    </a:lnTo>
                    <a:moveTo>
                      <a:pt x="5831" y="1209"/>
                    </a:moveTo>
                    <a:lnTo>
                      <a:pt x="5831" y="1209"/>
                    </a:lnTo>
                    <a:lnTo>
                      <a:pt x="5829" y="1209"/>
                    </a:lnTo>
                    <a:lnTo>
                      <a:pt x="5829" y="1209"/>
                    </a:lnTo>
                    <a:lnTo>
                      <a:pt x="5829" y="1323"/>
                    </a:lnTo>
                    <a:lnTo>
                      <a:pt x="5831" y="1323"/>
                    </a:lnTo>
                    <a:lnTo>
                      <a:pt x="5831" y="1209"/>
                    </a:lnTo>
                    <a:moveTo>
                      <a:pt x="1665" y="1157"/>
                    </a:moveTo>
                    <a:lnTo>
                      <a:pt x="1665" y="1157"/>
                    </a:lnTo>
                    <a:lnTo>
                      <a:pt x="1665" y="1157"/>
                    </a:lnTo>
                    <a:lnTo>
                      <a:pt x="1665" y="1157"/>
                    </a:lnTo>
                    <a:lnTo>
                      <a:pt x="1665" y="1198"/>
                    </a:lnTo>
                    <a:lnTo>
                      <a:pt x="1665" y="1198"/>
                    </a:lnTo>
                    <a:lnTo>
                      <a:pt x="1665" y="1157"/>
                    </a:lnTo>
                    <a:moveTo>
                      <a:pt x="1689" y="1131"/>
                    </a:moveTo>
                    <a:lnTo>
                      <a:pt x="1686" y="1131"/>
                    </a:lnTo>
                    <a:lnTo>
                      <a:pt x="1686" y="1134"/>
                    </a:lnTo>
                    <a:lnTo>
                      <a:pt x="1686" y="1155"/>
                    </a:lnTo>
                    <a:lnTo>
                      <a:pt x="1689" y="1155"/>
                    </a:lnTo>
                    <a:lnTo>
                      <a:pt x="1689" y="1131"/>
                    </a:lnTo>
                    <a:moveTo>
                      <a:pt x="5857" y="1129"/>
                    </a:moveTo>
                    <a:lnTo>
                      <a:pt x="5855" y="1129"/>
                    </a:lnTo>
                    <a:lnTo>
                      <a:pt x="5855" y="1129"/>
                    </a:lnTo>
                    <a:lnTo>
                      <a:pt x="5855" y="1129"/>
                    </a:lnTo>
                    <a:lnTo>
                      <a:pt x="5855" y="1207"/>
                    </a:lnTo>
                    <a:lnTo>
                      <a:pt x="5857" y="1207"/>
                    </a:lnTo>
                    <a:lnTo>
                      <a:pt x="5857" y="1129"/>
                    </a:lnTo>
                    <a:moveTo>
                      <a:pt x="6323" y="1129"/>
                    </a:moveTo>
                    <a:lnTo>
                      <a:pt x="6321" y="1129"/>
                    </a:lnTo>
                    <a:lnTo>
                      <a:pt x="6321" y="1129"/>
                    </a:lnTo>
                    <a:lnTo>
                      <a:pt x="6321" y="1129"/>
                    </a:lnTo>
                    <a:lnTo>
                      <a:pt x="6321" y="1361"/>
                    </a:lnTo>
                    <a:lnTo>
                      <a:pt x="6323" y="1361"/>
                    </a:lnTo>
                    <a:lnTo>
                      <a:pt x="6323" y="1129"/>
                    </a:lnTo>
                    <a:moveTo>
                      <a:pt x="1448" y="1124"/>
                    </a:moveTo>
                    <a:lnTo>
                      <a:pt x="1445" y="1124"/>
                    </a:lnTo>
                    <a:lnTo>
                      <a:pt x="1445" y="1124"/>
                    </a:lnTo>
                    <a:lnTo>
                      <a:pt x="1445" y="1127"/>
                    </a:lnTo>
                    <a:lnTo>
                      <a:pt x="1445" y="1198"/>
                    </a:lnTo>
                    <a:lnTo>
                      <a:pt x="1448" y="1198"/>
                    </a:lnTo>
                    <a:lnTo>
                      <a:pt x="1448" y="1124"/>
                    </a:lnTo>
                    <a:moveTo>
                      <a:pt x="1464" y="1084"/>
                    </a:moveTo>
                    <a:lnTo>
                      <a:pt x="1462" y="1084"/>
                    </a:lnTo>
                    <a:lnTo>
                      <a:pt x="1462" y="1086"/>
                    </a:lnTo>
                    <a:lnTo>
                      <a:pt x="1462" y="1124"/>
                    </a:lnTo>
                    <a:lnTo>
                      <a:pt x="1464" y="1124"/>
                    </a:lnTo>
                    <a:lnTo>
                      <a:pt x="1464" y="1084"/>
                    </a:lnTo>
                    <a:moveTo>
                      <a:pt x="2862" y="1063"/>
                    </a:moveTo>
                    <a:lnTo>
                      <a:pt x="2859" y="1063"/>
                    </a:lnTo>
                    <a:lnTo>
                      <a:pt x="2859" y="1063"/>
                    </a:lnTo>
                    <a:lnTo>
                      <a:pt x="2859" y="1065"/>
                    </a:lnTo>
                    <a:lnTo>
                      <a:pt x="2859" y="1238"/>
                    </a:lnTo>
                    <a:lnTo>
                      <a:pt x="2862" y="1238"/>
                    </a:lnTo>
                    <a:lnTo>
                      <a:pt x="2862" y="1063"/>
                    </a:lnTo>
                    <a:moveTo>
                      <a:pt x="5931" y="1041"/>
                    </a:moveTo>
                    <a:lnTo>
                      <a:pt x="5931" y="1041"/>
                    </a:lnTo>
                    <a:lnTo>
                      <a:pt x="5931" y="1041"/>
                    </a:lnTo>
                    <a:lnTo>
                      <a:pt x="5931" y="1044"/>
                    </a:lnTo>
                    <a:lnTo>
                      <a:pt x="5931" y="1127"/>
                    </a:lnTo>
                    <a:lnTo>
                      <a:pt x="5931" y="1127"/>
                    </a:lnTo>
                    <a:lnTo>
                      <a:pt x="5931" y="1041"/>
                    </a:lnTo>
                    <a:moveTo>
                      <a:pt x="2878" y="1011"/>
                    </a:moveTo>
                    <a:lnTo>
                      <a:pt x="2876" y="1013"/>
                    </a:lnTo>
                    <a:lnTo>
                      <a:pt x="2876" y="1013"/>
                    </a:lnTo>
                    <a:lnTo>
                      <a:pt x="2876" y="1060"/>
                    </a:lnTo>
                    <a:lnTo>
                      <a:pt x="2878" y="1060"/>
                    </a:lnTo>
                    <a:lnTo>
                      <a:pt x="2878" y="1011"/>
                    </a:lnTo>
                    <a:moveTo>
                      <a:pt x="3772" y="994"/>
                    </a:moveTo>
                    <a:lnTo>
                      <a:pt x="3770" y="994"/>
                    </a:lnTo>
                    <a:lnTo>
                      <a:pt x="3770" y="994"/>
                    </a:lnTo>
                    <a:lnTo>
                      <a:pt x="3770" y="1221"/>
                    </a:lnTo>
                    <a:lnTo>
                      <a:pt x="3772" y="1221"/>
                    </a:lnTo>
                    <a:lnTo>
                      <a:pt x="3772" y="994"/>
                    </a:lnTo>
                    <a:moveTo>
                      <a:pt x="5950" y="989"/>
                    </a:moveTo>
                    <a:lnTo>
                      <a:pt x="5947" y="989"/>
                    </a:lnTo>
                    <a:lnTo>
                      <a:pt x="5947" y="992"/>
                    </a:lnTo>
                    <a:lnTo>
                      <a:pt x="5947" y="1039"/>
                    </a:lnTo>
                    <a:lnTo>
                      <a:pt x="5950" y="1039"/>
                    </a:lnTo>
                    <a:lnTo>
                      <a:pt x="5950" y="989"/>
                    </a:lnTo>
                    <a:moveTo>
                      <a:pt x="6340" y="935"/>
                    </a:moveTo>
                    <a:lnTo>
                      <a:pt x="6340" y="935"/>
                    </a:lnTo>
                    <a:lnTo>
                      <a:pt x="6340" y="935"/>
                    </a:lnTo>
                    <a:lnTo>
                      <a:pt x="6340" y="937"/>
                    </a:lnTo>
                    <a:lnTo>
                      <a:pt x="6340" y="1127"/>
                    </a:lnTo>
                    <a:lnTo>
                      <a:pt x="6340" y="1127"/>
                    </a:lnTo>
                    <a:lnTo>
                      <a:pt x="6340" y="935"/>
                    </a:lnTo>
                    <a:moveTo>
                      <a:pt x="3845" y="928"/>
                    </a:moveTo>
                    <a:lnTo>
                      <a:pt x="3845" y="928"/>
                    </a:lnTo>
                    <a:lnTo>
                      <a:pt x="3845" y="930"/>
                    </a:lnTo>
                    <a:lnTo>
                      <a:pt x="3845" y="992"/>
                    </a:lnTo>
                    <a:lnTo>
                      <a:pt x="3845" y="992"/>
                    </a:lnTo>
                    <a:lnTo>
                      <a:pt x="3845" y="928"/>
                    </a:lnTo>
                    <a:moveTo>
                      <a:pt x="6385" y="895"/>
                    </a:moveTo>
                    <a:lnTo>
                      <a:pt x="6385" y="895"/>
                    </a:lnTo>
                    <a:lnTo>
                      <a:pt x="6385" y="895"/>
                    </a:lnTo>
                    <a:lnTo>
                      <a:pt x="6382" y="897"/>
                    </a:lnTo>
                    <a:lnTo>
                      <a:pt x="6375" y="932"/>
                    </a:lnTo>
                    <a:lnTo>
                      <a:pt x="6378" y="932"/>
                    </a:lnTo>
                    <a:lnTo>
                      <a:pt x="6385" y="895"/>
                    </a:lnTo>
                    <a:moveTo>
                      <a:pt x="6389" y="878"/>
                    </a:moveTo>
                    <a:lnTo>
                      <a:pt x="6389" y="878"/>
                    </a:lnTo>
                    <a:lnTo>
                      <a:pt x="6389" y="878"/>
                    </a:lnTo>
                    <a:lnTo>
                      <a:pt x="6389" y="880"/>
                    </a:lnTo>
                    <a:lnTo>
                      <a:pt x="6389" y="892"/>
                    </a:lnTo>
                    <a:lnTo>
                      <a:pt x="6389" y="892"/>
                    </a:lnTo>
                    <a:lnTo>
                      <a:pt x="6389" y="878"/>
                    </a:lnTo>
                    <a:moveTo>
                      <a:pt x="6399" y="850"/>
                    </a:moveTo>
                    <a:lnTo>
                      <a:pt x="6396" y="850"/>
                    </a:lnTo>
                    <a:lnTo>
                      <a:pt x="6396" y="852"/>
                    </a:lnTo>
                    <a:lnTo>
                      <a:pt x="6396" y="876"/>
                    </a:lnTo>
                    <a:lnTo>
                      <a:pt x="6399" y="876"/>
                    </a:lnTo>
                    <a:lnTo>
                      <a:pt x="6399" y="850"/>
                    </a:lnTo>
                    <a:moveTo>
                      <a:pt x="807" y="826"/>
                    </a:moveTo>
                    <a:lnTo>
                      <a:pt x="804" y="826"/>
                    </a:lnTo>
                    <a:lnTo>
                      <a:pt x="804" y="828"/>
                    </a:lnTo>
                    <a:lnTo>
                      <a:pt x="804" y="1067"/>
                    </a:lnTo>
                    <a:lnTo>
                      <a:pt x="807" y="1067"/>
                    </a:lnTo>
                    <a:lnTo>
                      <a:pt x="807" y="826"/>
                    </a:lnTo>
                    <a:moveTo>
                      <a:pt x="3100" y="762"/>
                    </a:moveTo>
                    <a:lnTo>
                      <a:pt x="3100" y="762"/>
                    </a:lnTo>
                    <a:lnTo>
                      <a:pt x="3098" y="762"/>
                    </a:lnTo>
                    <a:lnTo>
                      <a:pt x="3098" y="764"/>
                    </a:lnTo>
                    <a:lnTo>
                      <a:pt x="3098" y="977"/>
                    </a:lnTo>
                    <a:lnTo>
                      <a:pt x="3100" y="977"/>
                    </a:lnTo>
                    <a:lnTo>
                      <a:pt x="3100" y="762"/>
                    </a:lnTo>
                    <a:moveTo>
                      <a:pt x="1010" y="753"/>
                    </a:moveTo>
                    <a:lnTo>
                      <a:pt x="1008" y="753"/>
                    </a:lnTo>
                    <a:lnTo>
                      <a:pt x="1008" y="755"/>
                    </a:lnTo>
                    <a:lnTo>
                      <a:pt x="1008" y="826"/>
                    </a:lnTo>
                    <a:lnTo>
                      <a:pt x="1010" y="826"/>
                    </a:lnTo>
                    <a:lnTo>
                      <a:pt x="1010" y="753"/>
                    </a:lnTo>
                    <a:moveTo>
                      <a:pt x="5131" y="731"/>
                    </a:moveTo>
                    <a:lnTo>
                      <a:pt x="5131" y="731"/>
                    </a:lnTo>
                    <a:lnTo>
                      <a:pt x="5131" y="734"/>
                    </a:lnTo>
                    <a:lnTo>
                      <a:pt x="5131" y="970"/>
                    </a:lnTo>
                    <a:lnTo>
                      <a:pt x="5131" y="970"/>
                    </a:lnTo>
                    <a:lnTo>
                      <a:pt x="5131" y="731"/>
                    </a:lnTo>
                    <a:moveTo>
                      <a:pt x="3138" y="658"/>
                    </a:moveTo>
                    <a:lnTo>
                      <a:pt x="3138" y="658"/>
                    </a:lnTo>
                    <a:lnTo>
                      <a:pt x="3138" y="658"/>
                    </a:lnTo>
                    <a:lnTo>
                      <a:pt x="3138" y="760"/>
                    </a:lnTo>
                    <a:lnTo>
                      <a:pt x="3138" y="760"/>
                    </a:lnTo>
                    <a:lnTo>
                      <a:pt x="3138" y="658"/>
                    </a:lnTo>
                    <a:moveTo>
                      <a:pt x="97" y="615"/>
                    </a:moveTo>
                    <a:lnTo>
                      <a:pt x="95" y="615"/>
                    </a:lnTo>
                    <a:lnTo>
                      <a:pt x="95" y="618"/>
                    </a:lnTo>
                    <a:lnTo>
                      <a:pt x="95" y="1451"/>
                    </a:lnTo>
                    <a:lnTo>
                      <a:pt x="97" y="1451"/>
                    </a:lnTo>
                    <a:lnTo>
                      <a:pt x="97" y="615"/>
                    </a:lnTo>
                    <a:moveTo>
                      <a:pt x="5254" y="608"/>
                    </a:moveTo>
                    <a:lnTo>
                      <a:pt x="5252" y="608"/>
                    </a:lnTo>
                    <a:lnTo>
                      <a:pt x="5252" y="610"/>
                    </a:lnTo>
                    <a:lnTo>
                      <a:pt x="5252" y="729"/>
                    </a:lnTo>
                    <a:lnTo>
                      <a:pt x="5254" y="729"/>
                    </a:lnTo>
                    <a:lnTo>
                      <a:pt x="5254" y="608"/>
                    </a:lnTo>
                    <a:moveTo>
                      <a:pt x="3282" y="582"/>
                    </a:moveTo>
                    <a:lnTo>
                      <a:pt x="3282" y="582"/>
                    </a:lnTo>
                    <a:lnTo>
                      <a:pt x="3282" y="582"/>
                    </a:lnTo>
                    <a:lnTo>
                      <a:pt x="3282" y="584"/>
                    </a:lnTo>
                    <a:lnTo>
                      <a:pt x="3282" y="655"/>
                    </a:lnTo>
                    <a:lnTo>
                      <a:pt x="3282" y="655"/>
                    </a:lnTo>
                    <a:lnTo>
                      <a:pt x="3282" y="582"/>
                    </a:lnTo>
                    <a:moveTo>
                      <a:pt x="303" y="547"/>
                    </a:moveTo>
                    <a:lnTo>
                      <a:pt x="301" y="547"/>
                    </a:lnTo>
                    <a:lnTo>
                      <a:pt x="301" y="549"/>
                    </a:lnTo>
                    <a:lnTo>
                      <a:pt x="301" y="615"/>
                    </a:lnTo>
                    <a:lnTo>
                      <a:pt x="303" y="615"/>
                    </a:lnTo>
                    <a:lnTo>
                      <a:pt x="303" y="547"/>
                    </a:lnTo>
                    <a:moveTo>
                      <a:pt x="7025" y="509"/>
                    </a:moveTo>
                    <a:lnTo>
                      <a:pt x="7023" y="509"/>
                    </a:lnTo>
                    <a:lnTo>
                      <a:pt x="7023" y="511"/>
                    </a:lnTo>
                    <a:lnTo>
                      <a:pt x="7023" y="1690"/>
                    </a:lnTo>
                    <a:lnTo>
                      <a:pt x="7025" y="1690"/>
                    </a:lnTo>
                    <a:lnTo>
                      <a:pt x="7025" y="509"/>
                    </a:lnTo>
                    <a:moveTo>
                      <a:pt x="4195" y="504"/>
                    </a:moveTo>
                    <a:lnTo>
                      <a:pt x="4193" y="504"/>
                    </a:lnTo>
                    <a:lnTo>
                      <a:pt x="4193" y="504"/>
                    </a:lnTo>
                    <a:lnTo>
                      <a:pt x="4122" y="601"/>
                    </a:lnTo>
                    <a:lnTo>
                      <a:pt x="4122" y="601"/>
                    </a:lnTo>
                    <a:lnTo>
                      <a:pt x="4195" y="504"/>
                    </a:lnTo>
                    <a:moveTo>
                      <a:pt x="3301" y="502"/>
                    </a:moveTo>
                    <a:lnTo>
                      <a:pt x="3299" y="502"/>
                    </a:lnTo>
                    <a:lnTo>
                      <a:pt x="3299" y="502"/>
                    </a:lnTo>
                    <a:lnTo>
                      <a:pt x="3299" y="504"/>
                    </a:lnTo>
                    <a:lnTo>
                      <a:pt x="3299" y="580"/>
                    </a:lnTo>
                    <a:lnTo>
                      <a:pt x="3301" y="580"/>
                    </a:lnTo>
                    <a:lnTo>
                      <a:pt x="3301" y="502"/>
                    </a:lnTo>
                    <a:moveTo>
                      <a:pt x="4037" y="454"/>
                    </a:moveTo>
                    <a:lnTo>
                      <a:pt x="4034" y="454"/>
                    </a:lnTo>
                    <a:lnTo>
                      <a:pt x="4034" y="454"/>
                    </a:lnTo>
                    <a:lnTo>
                      <a:pt x="4034" y="457"/>
                    </a:lnTo>
                    <a:lnTo>
                      <a:pt x="4034" y="490"/>
                    </a:lnTo>
                    <a:lnTo>
                      <a:pt x="3954" y="644"/>
                    </a:lnTo>
                    <a:lnTo>
                      <a:pt x="3954" y="925"/>
                    </a:lnTo>
                    <a:lnTo>
                      <a:pt x="3956" y="925"/>
                    </a:lnTo>
                    <a:lnTo>
                      <a:pt x="3956" y="641"/>
                    </a:lnTo>
                    <a:lnTo>
                      <a:pt x="4037" y="490"/>
                    </a:lnTo>
                    <a:lnTo>
                      <a:pt x="4037" y="454"/>
                    </a:lnTo>
                    <a:moveTo>
                      <a:pt x="3330" y="433"/>
                    </a:moveTo>
                    <a:lnTo>
                      <a:pt x="3327" y="433"/>
                    </a:lnTo>
                    <a:lnTo>
                      <a:pt x="3327" y="435"/>
                    </a:lnTo>
                    <a:lnTo>
                      <a:pt x="3327" y="499"/>
                    </a:lnTo>
                    <a:lnTo>
                      <a:pt x="3330" y="499"/>
                    </a:lnTo>
                    <a:lnTo>
                      <a:pt x="3330" y="433"/>
                    </a:lnTo>
                    <a:moveTo>
                      <a:pt x="4044" y="390"/>
                    </a:moveTo>
                    <a:lnTo>
                      <a:pt x="4041" y="390"/>
                    </a:lnTo>
                    <a:lnTo>
                      <a:pt x="4041" y="390"/>
                    </a:lnTo>
                    <a:lnTo>
                      <a:pt x="4041" y="393"/>
                    </a:lnTo>
                    <a:lnTo>
                      <a:pt x="4041" y="452"/>
                    </a:lnTo>
                    <a:lnTo>
                      <a:pt x="4044" y="452"/>
                    </a:lnTo>
                    <a:lnTo>
                      <a:pt x="4044" y="390"/>
                    </a:lnTo>
                    <a:moveTo>
                      <a:pt x="1809" y="369"/>
                    </a:moveTo>
                    <a:lnTo>
                      <a:pt x="1809" y="369"/>
                    </a:lnTo>
                    <a:lnTo>
                      <a:pt x="1809" y="369"/>
                    </a:lnTo>
                    <a:lnTo>
                      <a:pt x="1809" y="1129"/>
                    </a:lnTo>
                    <a:lnTo>
                      <a:pt x="1809" y="1129"/>
                    </a:lnTo>
                    <a:lnTo>
                      <a:pt x="1809" y="369"/>
                    </a:lnTo>
                    <a:moveTo>
                      <a:pt x="1939" y="333"/>
                    </a:moveTo>
                    <a:lnTo>
                      <a:pt x="1937" y="333"/>
                    </a:lnTo>
                    <a:lnTo>
                      <a:pt x="1937" y="336"/>
                    </a:lnTo>
                    <a:lnTo>
                      <a:pt x="1937" y="367"/>
                    </a:lnTo>
                    <a:lnTo>
                      <a:pt x="1939" y="367"/>
                    </a:lnTo>
                    <a:lnTo>
                      <a:pt x="1939" y="333"/>
                    </a:lnTo>
                    <a:moveTo>
                      <a:pt x="4051" y="326"/>
                    </a:moveTo>
                    <a:lnTo>
                      <a:pt x="4049" y="326"/>
                    </a:lnTo>
                    <a:lnTo>
                      <a:pt x="4049" y="329"/>
                    </a:lnTo>
                    <a:lnTo>
                      <a:pt x="4049" y="388"/>
                    </a:lnTo>
                    <a:lnTo>
                      <a:pt x="4051" y="388"/>
                    </a:lnTo>
                    <a:lnTo>
                      <a:pt x="4051" y="326"/>
                    </a:lnTo>
                    <a:moveTo>
                      <a:pt x="2029" y="293"/>
                    </a:moveTo>
                    <a:lnTo>
                      <a:pt x="2027" y="293"/>
                    </a:lnTo>
                    <a:lnTo>
                      <a:pt x="2027" y="296"/>
                    </a:lnTo>
                    <a:lnTo>
                      <a:pt x="2027" y="331"/>
                    </a:lnTo>
                    <a:lnTo>
                      <a:pt x="2029" y="331"/>
                    </a:lnTo>
                    <a:lnTo>
                      <a:pt x="2029" y="293"/>
                    </a:lnTo>
                    <a:moveTo>
                      <a:pt x="4703" y="232"/>
                    </a:moveTo>
                    <a:lnTo>
                      <a:pt x="4703" y="232"/>
                    </a:lnTo>
                    <a:lnTo>
                      <a:pt x="4701" y="234"/>
                    </a:lnTo>
                    <a:lnTo>
                      <a:pt x="4637" y="471"/>
                    </a:lnTo>
                    <a:lnTo>
                      <a:pt x="4640" y="471"/>
                    </a:lnTo>
                    <a:lnTo>
                      <a:pt x="4703" y="232"/>
                    </a:lnTo>
                    <a:moveTo>
                      <a:pt x="4805" y="172"/>
                    </a:moveTo>
                    <a:lnTo>
                      <a:pt x="4803" y="172"/>
                    </a:lnTo>
                    <a:lnTo>
                      <a:pt x="4803" y="172"/>
                    </a:lnTo>
                    <a:lnTo>
                      <a:pt x="4803" y="175"/>
                    </a:lnTo>
                    <a:lnTo>
                      <a:pt x="4803" y="229"/>
                    </a:lnTo>
                    <a:lnTo>
                      <a:pt x="4805" y="229"/>
                    </a:lnTo>
                    <a:lnTo>
                      <a:pt x="4805" y="172"/>
                    </a:lnTo>
                    <a:moveTo>
                      <a:pt x="4852" y="0"/>
                    </a:moveTo>
                    <a:lnTo>
                      <a:pt x="4852" y="0"/>
                    </a:lnTo>
                    <a:lnTo>
                      <a:pt x="4852" y="2"/>
                    </a:lnTo>
                    <a:lnTo>
                      <a:pt x="4852" y="170"/>
                    </a:lnTo>
                    <a:lnTo>
                      <a:pt x="4852" y="170"/>
                    </a:lnTo>
                    <a:lnTo>
                      <a:pt x="4852" y="0"/>
                    </a:lnTo>
                    <a:moveTo>
                      <a:pt x="4912" y="0"/>
                    </a:moveTo>
                    <a:lnTo>
                      <a:pt x="4909" y="0"/>
                    </a:lnTo>
                    <a:lnTo>
                      <a:pt x="4909" y="2"/>
                    </a:lnTo>
                    <a:lnTo>
                      <a:pt x="4909" y="170"/>
                    </a:lnTo>
                    <a:lnTo>
                      <a:pt x="4912" y="170"/>
                    </a:lnTo>
                    <a:lnTo>
                      <a:pt x="4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9" name="Freeform 144"/>
              <p:cNvSpPr>
                <a:spLocks/>
              </p:cNvSpPr>
              <p:nvPr/>
            </p:nvSpPr>
            <p:spPr bwMode="auto">
              <a:xfrm>
                <a:off x="-3" y="1660"/>
                <a:ext cx="7567" cy="2676"/>
              </a:xfrm>
              <a:custGeom>
                <a:avLst/>
                <a:gdLst>
                  <a:gd name="T0" fmla="*/ 4921 w 7567"/>
                  <a:gd name="T1" fmla="*/ 173 h 2676"/>
                  <a:gd name="T2" fmla="*/ 4864 w 7567"/>
                  <a:gd name="T3" fmla="*/ 173 h 2676"/>
                  <a:gd name="T4" fmla="*/ 4826 w 7567"/>
                  <a:gd name="T5" fmla="*/ 232 h 2676"/>
                  <a:gd name="T6" fmla="*/ 4682 w 7567"/>
                  <a:gd name="T7" fmla="*/ 476 h 2676"/>
                  <a:gd name="T8" fmla="*/ 4642 w 7567"/>
                  <a:gd name="T9" fmla="*/ 502 h 2676"/>
                  <a:gd name="T10" fmla="*/ 4602 w 7567"/>
                  <a:gd name="T11" fmla="*/ 528 h 2676"/>
                  <a:gd name="T12" fmla="*/ 4166 w 7567"/>
                  <a:gd name="T13" fmla="*/ 597 h 2676"/>
                  <a:gd name="T14" fmla="*/ 4162 w 7567"/>
                  <a:gd name="T15" fmla="*/ 585 h 2676"/>
                  <a:gd name="T16" fmla="*/ 4003 w 7567"/>
                  <a:gd name="T17" fmla="*/ 644 h 2676"/>
                  <a:gd name="T18" fmla="*/ 3961 w 7567"/>
                  <a:gd name="T19" fmla="*/ 928 h 2676"/>
                  <a:gd name="T20" fmla="*/ 3916 w 7567"/>
                  <a:gd name="T21" fmla="*/ 928 h 2676"/>
                  <a:gd name="T22" fmla="*/ 3861 w 7567"/>
                  <a:gd name="T23" fmla="*/ 995 h 2676"/>
                  <a:gd name="T24" fmla="*/ 3812 w 7567"/>
                  <a:gd name="T25" fmla="*/ 1224 h 2676"/>
                  <a:gd name="T26" fmla="*/ 3767 w 7567"/>
                  <a:gd name="T27" fmla="*/ 1224 h 2676"/>
                  <a:gd name="T28" fmla="*/ 3729 w 7567"/>
                  <a:gd name="T29" fmla="*/ 1392 h 2676"/>
                  <a:gd name="T30" fmla="*/ 3689 w 7567"/>
                  <a:gd name="T31" fmla="*/ 1317 h 2676"/>
                  <a:gd name="T32" fmla="*/ 3493 w 7567"/>
                  <a:gd name="T33" fmla="*/ 436 h 2676"/>
                  <a:gd name="T34" fmla="*/ 3341 w 7567"/>
                  <a:gd name="T35" fmla="*/ 583 h 2676"/>
                  <a:gd name="T36" fmla="*/ 3303 w 7567"/>
                  <a:gd name="T37" fmla="*/ 658 h 2676"/>
                  <a:gd name="T38" fmla="*/ 3258 w 7567"/>
                  <a:gd name="T39" fmla="*/ 658 h 2676"/>
                  <a:gd name="T40" fmla="*/ 3152 w 7567"/>
                  <a:gd name="T41" fmla="*/ 763 h 2676"/>
                  <a:gd name="T42" fmla="*/ 3112 w 7567"/>
                  <a:gd name="T43" fmla="*/ 980 h 2676"/>
                  <a:gd name="T44" fmla="*/ 3067 w 7567"/>
                  <a:gd name="T45" fmla="*/ 980 h 2676"/>
                  <a:gd name="T46" fmla="*/ 2909 w 7567"/>
                  <a:gd name="T47" fmla="*/ 1241 h 2676"/>
                  <a:gd name="T48" fmla="*/ 2864 w 7567"/>
                  <a:gd name="T49" fmla="*/ 1241 h 2676"/>
                  <a:gd name="T50" fmla="*/ 2819 w 7567"/>
                  <a:gd name="T51" fmla="*/ 1241 h 2676"/>
                  <a:gd name="T52" fmla="*/ 2062 w 7567"/>
                  <a:gd name="T53" fmla="*/ 334 h 2676"/>
                  <a:gd name="T54" fmla="*/ 1972 w 7567"/>
                  <a:gd name="T55" fmla="*/ 370 h 2676"/>
                  <a:gd name="T56" fmla="*/ 1837 w 7567"/>
                  <a:gd name="T57" fmla="*/ 1132 h 2676"/>
                  <a:gd name="T58" fmla="*/ 1792 w 7567"/>
                  <a:gd name="T59" fmla="*/ 1132 h 2676"/>
                  <a:gd name="T60" fmla="*/ 1726 w 7567"/>
                  <a:gd name="T61" fmla="*/ 1158 h 2676"/>
                  <a:gd name="T62" fmla="*/ 1686 w 7567"/>
                  <a:gd name="T63" fmla="*/ 1201 h 2676"/>
                  <a:gd name="T64" fmla="*/ 1499 w 7567"/>
                  <a:gd name="T65" fmla="*/ 1127 h 2676"/>
                  <a:gd name="T66" fmla="*/ 1459 w 7567"/>
                  <a:gd name="T67" fmla="*/ 1201 h 2676"/>
                  <a:gd name="T68" fmla="*/ 1041 w 7567"/>
                  <a:gd name="T69" fmla="*/ 829 h 2676"/>
                  <a:gd name="T70" fmla="*/ 996 w 7567"/>
                  <a:gd name="T71" fmla="*/ 829 h 2676"/>
                  <a:gd name="T72" fmla="*/ 825 w 7567"/>
                  <a:gd name="T73" fmla="*/ 1070 h 2676"/>
                  <a:gd name="T74" fmla="*/ 326 w 7567"/>
                  <a:gd name="T75" fmla="*/ 618 h 2676"/>
                  <a:gd name="T76" fmla="*/ 282 w 7567"/>
                  <a:gd name="T77" fmla="*/ 618 h 2676"/>
                  <a:gd name="T78" fmla="*/ 104 w 7567"/>
                  <a:gd name="T79" fmla="*/ 1454 h 2676"/>
                  <a:gd name="T80" fmla="*/ 62 w 7567"/>
                  <a:gd name="T81" fmla="*/ 1454 h 2676"/>
                  <a:gd name="T82" fmla="*/ 21 w 7567"/>
                  <a:gd name="T83" fmla="*/ 1534 h 2676"/>
                  <a:gd name="T84" fmla="*/ 7328 w 7567"/>
                  <a:gd name="T85" fmla="*/ 509 h 2676"/>
                  <a:gd name="T86" fmla="*/ 7035 w 7567"/>
                  <a:gd name="T87" fmla="*/ 1693 h 2676"/>
                  <a:gd name="T88" fmla="*/ 6994 w 7567"/>
                  <a:gd name="T89" fmla="*/ 1094 h 2676"/>
                  <a:gd name="T90" fmla="*/ 6439 w 7567"/>
                  <a:gd name="T91" fmla="*/ 879 h 2676"/>
                  <a:gd name="T92" fmla="*/ 6401 w 7567"/>
                  <a:gd name="T93" fmla="*/ 935 h 2676"/>
                  <a:gd name="T94" fmla="*/ 6370 w 7567"/>
                  <a:gd name="T95" fmla="*/ 1364 h 2676"/>
                  <a:gd name="T96" fmla="*/ 6330 w 7567"/>
                  <a:gd name="T97" fmla="*/ 1210 h 2676"/>
                  <a:gd name="T98" fmla="*/ 6122 w 7567"/>
                  <a:gd name="T99" fmla="*/ 1130 h 2676"/>
                  <a:gd name="T100" fmla="*/ 5968 w 7567"/>
                  <a:gd name="T101" fmla="*/ 1130 h 2676"/>
                  <a:gd name="T102" fmla="*/ 5923 w 7567"/>
                  <a:gd name="T103" fmla="*/ 1130 h 2676"/>
                  <a:gd name="T104" fmla="*/ 5883 w 7567"/>
                  <a:gd name="T105" fmla="*/ 1210 h 2676"/>
                  <a:gd name="T106" fmla="*/ 5843 w 7567"/>
                  <a:gd name="T107" fmla="*/ 1326 h 2676"/>
                  <a:gd name="T108" fmla="*/ 5798 w 7567"/>
                  <a:gd name="T109" fmla="*/ 1326 h 2676"/>
                  <a:gd name="T110" fmla="*/ 5689 w 7567"/>
                  <a:gd name="T111" fmla="*/ 1449 h 2676"/>
                  <a:gd name="T112" fmla="*/ 5292 w 7567"/>
                  <a:gd name="T113" fmla="*/ 732 h 2676"/>
                  <a:gd name="T114" fmla="*/ 5249 w 7567"/>
                  <a:gd name="T115" fmla="*/ 732 h 2676"/>
                  <a:gd name="T116" fmla="*/ 5178 w 7567"/>
                  <a:gd name="T117" fmla="*/ 732 h 2676"/>
                  <a:gd name="T118" fmla="*/ 5138 w 7567"/>
                  <a:gd name="T119" fmla="*/ 973 h 2676"/>
                  <a:gd name="T120" fmla="*/ 5093 w 7567"/>
                  <a:gd name="T121" fmla="*/ 973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67" h="2676">
                    <a:moveTo>
                      <a:pt x="4980" y="0"/>
                    </a:moveTo>
                    <a:lnTo>
                      <a:pt x="4959" y="0"/>
                    </a:lnTo>
                    <a:lnTo>
                      <a:pt x="4959" y="3"/>
                    </a:lnTo>
                    <a:lnTo>
                      <a:pt x="4959" y="173"/>
                    </a:lnTo>
                    <a:lnTo>
                      <a:pt x="4956" y="173"/>
                    </a:lnTo>
                    <a:lnTo>
                      <a:pt x="4954" y="173"/>
                    </a:lnTo>
                    <a:lnTo>
                      <a:pt x="4951" y="173"/>
                    </a:lnTo>
                    <a:lnTo>
                      <a:pt x="4951" y="173"/>
                    </a:lnTo>
                    <a:lnTo>
                      <a:pt x="4949" y="173"/>
                    </a:lnTo>
                    <a:lnTo>
                      <a:pt x="4947" y="173"/>
                    </a:lnTo>
                    <a:lnTo>
                      <a:pt x="4944" y="173"/>
                    </a:lnTo>
                    <a:lnTo>
                      <a:pt x="4942" y="173"/>
                    </a:lnTo>
                    <a:lnTo>
                      <a:pt x="4942" y="173"/>
                    </a:lnTo>
                    <a:lnTo>
                      <a:pt x="4940" y="173"/>
                    </a:lnTo>
                    <a:lnTo>
                      <a:pt x="4937" y="173"/>
                    </a:lnTo>
                    <a:lnTo>
                      <a:pt x="4935" y="173"/>
                    </a:lnTo>
                    <a:lnTo>
                      <a:pt x="4933" y="173"/>
                    </a:lnTo>
                    <a:lnTo>
                      <a:pt x="4933" y="173"/>
                    </a:lnTo>
                    <a:lnTo>
                      <a:pt x="4930" y="173"/>
                    </a:lnTo>
                    <a:lnTo>
                      <a:pt x="4928" y="173"/>
                    </a:lnTo>
                    <a:lnTo>
                      <a:pt x="4925" y="173"/>
                    </a:lnTo>
                    <a:lnTo>
                      <a:pt x="4925" y="173"/>
                    </a:lnTo>
                    <a:lnTo>
                      <a:pt x="4923" y="173"/>
                    </a:lnTo>
                    <a:lnTo>
                      <a:pt x="4921" y="173"/>
                    </a:lnTo>
                    <a:lnTo>
                      <a:pt x="4921" y="38"/>
                    </a:lnTo>
                    <a:lnTo>
                      <a:pt x="4921" y="0"/>
                    </a:lnTo>
                    <a:lnTo>
                      <a:pt x="4899" y="0"/>
                    </a:lnTo>
                    <a:lnTo>
                      <a:pt x="4899" y="3"/>
                    </a:lnTo>
                    <a:lnTo>
                      <a:pt x="4899" y="173"/>
                    </a:lnTo>
                    <a:lnTo>
                      <a:pt x="4899" y="173"/>
                    </a:lnTo>
                    <a:lnTo>
                      <a:pt x="4897" y="173"/>
                    </a:lnTo>
                    <a:lnTo>
                      <a:pt x="4895" y="173"/>
                    </a:lnTo>
                    <a:lnTo>
                      <a:pt x="4892" y="173"/>
                    </a:lnTo>
                    <a:lnTo>
                      <a:pt x="4890" y="173"/>
                    </a:lnTo>
                    <a:lnTo>
                      <a:pt x="4890" y="173"/>
                    </a:lnTo>
                    <a:lnTo>
                      <a:pt x="4888" y="173"/>
                    </a:lnTo>
                    <a:lnTo>
                      <a:pt x="4885" y="173"/>
                    </a:lnTo>
                    <a:lnTo>
                      <a:pt x="4883" y="173"/>
                    </a:lnTo>
                    <a:lnTo>
                      <a:pt x="4881" y="173"/>
                    </a:lnTo>
                    <a:lnTo>
                      <a:pt x="4881" y="173"/>
                    </a:lnTo>
                    <a:lnTo>
                      <a:pt x="4878" y="173"/>
                    </a:lnTo>
                    <a:lnTo>
                      <a:pt x="4876" y="173"/>
                    </a:lnTo>
                    <a:lnTo>
                      <a:pt x="4873" y="173"/>
                    </a:lnTo>
                    <a:lnTo>
                      <a:pt x="4873" y="173"/>
                    </a:lnTo>
                    <a:lnTo>
                      <a:pt x="4871" y="173"/>
                    </a:lnTo>
                    <a:lnTo>
                      <a:pt x="4869" y="173"/>
                    </a:lnTo>
                    <a:lnTo>
                      <a:pt x="4866" y="173"/>
                    </a:lnTo>
                    <a:lnTo>
                      <a:pt x="4864" y="173"/>
                    </a:lnTo>
                    <a:lnTo>
                      <a:pt x="4864" y="173"/>
                    </a:lnTo>
                    <a:lnTo>
                      <a:pt x="4862" y="173"/>
                    </a:lnTo>
                    <a:lnTo>
                      <a:pt x="4859" y="173"/>
                    </a:lnTo>
                    <a:lnTo>
                      <a:pt x="4857" y="173"/>
                    </a:lnTo>
                    <a:lnTo>
                      <a:pt x="4855" y="173"/>
                    </a:lnTo>
                    <a:lnTo>
                      <a:pt x="4855" y="173"/>
                    </a:lnTo>
                    <a:lnTo>
                      <a:pt x="4852" y="173"/>
                    </a:lnTo>
                    <a:lnTo>
                      <a:pt x="4852" y="173"/>
                    </a:lnTo>
                    <a:lnTo>
                      <a:pt x="4852" y="175"/>
                    </a:lnTo>
                    <a:lnTo>
                      <a:pt x="4852" y="232"/>
                    </a:lnTo>
                    <a:lnTo>
                      <a:pt x="4850" y="232"/>
                    </a:lnTo>
                    <a:lnTo>
                      <a:pt x="4847" y="232"/>
                    </a:lnTo>
                    <a:lnTo>
                      <a:pt x="4845" y="232"/>
                    </a:lnTo>
                    <a:lnTo>
                      <a:pt x="4843" y="232"/>
                    </a:lnTo>
                    <a:lnTo>
                      <a:pt x="4843" y="232"/>
                    </a:lnTo>
                    <a:lnTo>
                      <a:pt x="4840" y="232"/>
                    </a:lnTo>
                    <a:lnTo>
                      <a:pt x="4838" y="232"/>
                    </a:lnTo>
                    <a:lnTo>
                      <a:pt x="4836" y="232"/>
                    </a:lnTo>
                    <a:lnTo>
                      <a:pt x="4836" y="232"/>
                    </a:lnTo>
                    <a:lnTo>
                      <a:pt x="4833" y="232"/>
                    </a:lnTo>
                    <a:lnTo>
                      <a:pt x="4831" y="232"/>
                    </a:lnTo>
                    <a:lnTo>
                      <a:pt x="4829" y="232"/>
                    </a:lnTo>
                    <a:lnTo>
                      <a:pt x="4826" y="232"/>
                    </a:lnTo>
                    <a:lnTo>
                      <a:pt x="4826" y="232"/>
                    </a:lnTo>
                    <a:lnTo>
                      <a:pt x="4824" y="232"/>
                    </a:lnTo>
                    <a:lnTo>
                      <a:pt x="4821" y="232"/>
                    </a:lnTo>
                    <a:lnTo>
                      <a:pt x="4819" y="232"/>
                    </a:lnTo>
                    <a:lnTo>
                      <a:pt x="4817" y="232"/>
                    </a:lnTo>
                    <a:lnTo>
                      <a:pt x="4817" y="232"/>
                    </a:lnTo>
                    <a:lnTo>
                      <a:pt x="4814" y="232"/>
                    </a:lnTo>
                    <a:lnTo>
                      <a:pt x="4812" y="232"/>
                    </a:lnTo>
                    <a:lnTo>
                      <a:pt x="4810" y="232"/>
                    </a:lnTo>
                    <a:lnTo>
                      <a:pt x="4810" y="232"/>
                    </a:lnTo>
                    <a:lnTo>
                      <a:pt x="4807" y="232"/>
                    </a:lnTo>
                    <a:lnTo>
                      <a:pt x="4805" y="232"/>
                    </a:lnTo>
                    <a:lnTo>
                      <a:pt x="4802" y="232"/>
                    </a:lnTo>
                    <a:lnTo>
                      <a:pt x="4800" y="232"/>
                    </a:lnTo>
                    <a:lnTo>
                      <a:pt x="4800" y="232"/>
                    </a:lnTo>
                    <a:lnTo>
                      <a:pt x="4798" y="232"/>
                    </a:lnTo>
                    <a:lnTo>
                      <a:pt x="4795" y="232"/>
                    </a:lnTo>
                    <a:lnTo>
                      <a:pt x="4793" y="232"/>
                    </a:lnTo>
                    <a:lnTo>
                      <a:pt x="4791" y="232"/>
                    </a:lnTo>
                    <a:lnTo>
                      <a:pt x="4750" y="232"/>
                    </a:lnTo>
                    <a:lnTo>
                      <a:pt x="4750" y="235"/>
                    </a:lnTo>
                    <a:lnTo>
                      <a:pt x="4687" y="474"/>
                    </a:lnTo>
                    <a:lnTo>
                      <a:pt x="4684" y="474"/>
                    </a:lnTo>
                    <a:lnTo>
                      <a:pt x="4682" y="476"/>
                    </a:lnTo>
                    <a:lnTo>
                      <a:pt x="4682" y="476"/>
                    </a:lnTo>
                    <a:lnTo>
                      <a:pt x="4680" y="479"/>
                    </a:lnTo>
                    <a:lnTo>
                      <a:pt x="4677" y="479"/>
                    </a:lnTo>
                    <a:lnTo>
                      <a:pt x="4677" y="479"/>
                    </a:lnTo>
                    <a:lnTo>
                      <a:pt x="4675" y="481"/>
                    </a:lnTo>
                    <a:lnTo>
                      <a:pt x="4672" y="481"/>
                    </a:lnTo>
                    <a:lnTo>
                      <a:pt x="4670" y="483"/>
                    </a:lnTo>
                    <a:lnTo>
                      <a:pt x="4670" y="483"/>
                    </a:lnTo>
                    <a:lnTo>
                      <a:pt x="4668" y="486"/>
                    </a:lnTo>
                    <a:lnTo>
                      <a:pt x="4665" y="486"/>
                    </a:lnTo>
                    <a:lnTo>
                      <a:pt x="4665" y="488"/>
                    </a:lnTo>
                    <a:lnTo>
                      <a:pt x="4663" y="488"/>
                    </a:lnTo>
                    <a:lnTo>
                      <a:pt x="4661" y="490"/>
                    </a:lnTo>
                    <a:lnTo>
                      <a:pt x="4661" y="490"/>
                    </a:lnTo>
                    <a:lnTo>
                      <a:pt x="4658" y="490"/>
                    </a:lnTo>
                    <a:lnTo>
                      <a:pt x="4656" y="493"/>
                    </a:lnTo>
                    <a:lnTo>
                      <a:pt x="4656" y="493"/>
                    </a:lnTo>
                    <a:lnTo>
                      <a:pt x="4654" y="495"/>
                    </a:lnTo>
                    <a:lnTo>
                      <a:pt x="4651" y="495"/>
                    </a:lnTo>
                    <a:lnTo>
                      <a:pt x="4649" y="497"/>
                    </a:lnTo>
                    <a:lnTo>
                      <a:pt x="4649" y="497"/>
                    </a:lnTo>
                    <a:lnTo>
                      <a:pt x="4646" y="500"/>
                    </a:lnTo>
                    <a:lnTo>
                      <a:pt x="4644" y="500"/>
                    </a:lnTo>
                    <a:lnTo>
                      <a:pt x="4644" y="500"/>
                    </a:lnTo>
                    <a:lnTo>
                      <a:pt x="4642" y="502"/>
                    </a:lnTo>
                    <a:lnTo>
                      <a:pt x="4639" y="502"/>
                    </a:lnTo>
                    <a:lnTo>
                      <a:pt x="4639" y="505"/>
                    </a:lnTo>
                    <a:lnTo>
                      <a:pt x="4637" y="505"/>
                    </a:lnTo>
                    <a:lnTo>
                      <a:pt x="4635" y="507"/>
                    </a:lnTo>
                    <a:lnTo>
                      <a:pt x="4635" y="507"/>
                    </a:lnTo>
                    <a:lnTo>
                      <a:pt x="4632" y="509"/>
                    </a:lnTo>
                    <a:lnTo>
                      <a:pt x="4630" y="509"/>
                    </a:lnTo>
                    <a:lnTo>
                      <a:pt x="4628" y="509"/>
                    </a:lnTo>
                    <a:lnTo>
                      <a:pt x="4628" y="512"/>
                    </a:lnTo>
                    <a:lnTo>
                      <a:pt x="4625" y="512"/>
                    </a:lnTo>
                    <a:lnTo>
                      <a:pt x="4623" y="514"/>
                    </a:lnTo>
                    <a:lnTo>
                      <a:pt x="4623" y="514"/>
                    </a:lnTo>
                    <a:lnTo>
                      <a:pt x="4620" y="516"/>
                    </a:lnTo>
                    <a:lnTo>
                      <a:pt x="4618" y="516"/>
                    </a:lnTo>
                    <a:lnTo>
                      <a:pt x="4618" y="519"/>
                    </a:lnTo>
                    <a:lnTo>
                      <a:pt x="4616" y="519"/>
                    </a:lnTo>
                    <a:lnTo>
                      <a:pt x="4613" y="521"/>
                    </a:lnTo>
                    <a:lnTo>
                      <a:pt x="4613" y="521"/>
                    </a:lnTo>
                    <a:lnTo>
                      <a:pt x="4611" y="521"/>
                    </a:lnTo>
                    <a:lnTo>
                      <a:pt x="4609" y="524"/>
                    </a:lnTo>
                    <a:lnTo>
                      <a:pt x="4606" y="524"/>
                    </a:lnTo>
                    <a:lnTo>
                      <a:pt x="4606" y="526"/>
                    </a:lnTo>
                    <a:lnTo>
                      <a:pt x="4604" y="526"/>
                    </a:lnTo>
                    <a:lnTo>
                      <a:pt x="4602" y="528"/>
                    </a:lnTo>
                    <a:lnTo>
                      <a:pt x="4583" y="540"/>
                    </a:lnTo>
                    <a:lnTo>
                      <a:pt x="4434" y="540"/>
                    </a:lnTo>
                    <a:lnTo>
                      <a:pt x="4405" y="505"/>
                    </a:lnTo>
                    <a:lnTo>
                      <a:pt x="4242" y="505"/>
                    </a:lnTo>
                    <a:lnTo>
                      <a:pt x="4242" y="507"/>
                    </a:lnTo>
                    <a:lnTo>
                      <a:pt x="4169" y="604"/>
                    </a:lnTo>
                    <a:lnTo>
                      <a:pt x="4169" y="604"/>
                    </a:lnTo>
                    <a:lnTo>
                      <a:pt x="4169" y="604"/>
                    </a:lnTo>
                    <a:lnTo>
                      <a:pt x="4169" y="602"/>
                    </a:lnTo>
                    <a:lnTo>
                      <a:pt x="4169" y="602"/>
                    </a:lnTo>
                    <a:lnTo>
                      <a:pt x="4169" y="602"/>
                    </a:lnTo>
                    <a:lnTo>
                      <a:pt x="4169" y="602"/>
                    </a:lnTo>
                    <a:lnTo>
                      <a:pt x="4169" y="602"/>
                    </a:lnTo>
                    <a:lnTo>
                      <a:pt x="4169" y="602"/>
                    </a:lnTo>
                    <a:lnTo>
                      <a:pt x="4169" y="599"/>
                    </a:lnTo>
                    <a:lnTo>
                      <a:pt x="4166" y="599"/>
                    </a:lnTo>
                    <a:lnTo>
                      <a:pt x="4166" y="599"/>
                    </a:lnTo>
                    <a:lnTo>
                      <a:pt x="4166" y="599"/>
                    </a:lnTo>
                    <a:lnTo>
                      <a:pt x="4166" y="599"/>
                    </a:lnTo>
                    <a:lnTo>
                      <a:pt x="4166" y="597"/>
                    </a:lnTo>
                    <a:lnTo>
                      <a:pt x="4166" y="597"/>
                    </a:lnTo>
                    <a:lnTo>
                      <a:pt x="4166" y="597"/>
                    </a:lnTo>
                    <a:lnTo>
                      <a:pt x="4166" y="597"/>
                    </a:lnTo>
                    <a:lnTo>
                      <a:pt x="4166" y="597"/>
                    </a:lnTo>
                    <a:lnTo>
                      <a:pt x="4166" y="597"/>
                    </a:lnTo>
                    <a:lnTo>
                      <a:pt x="4166" y="595"/>
                    </a:lnTo>
                    <a:lnTo>
                      <a:pt x="4166" y="595"/>
                    </a:lnTo>
                    <a:lnTo>
                      <a:pt x="4166" y="595"/>
                    </a:lnTo>
                    <a:lnTo>
                      <a:pt x="4164" y="595"/>
                    </a:lnTo>
                    <a:lnTo>
                      <a:pt x="4164" y="595"/>
                    </a:lnTo>
                    <a:lnTo>
                      <a:pt x="4164" y="592"/>
                    </a:lnTo>
                    <a:lnTo>
                      <a:pt x="4164" y="592"/>
                    </a:lnTo>
                    <a:lnTo>
                      <a:pt x="4164" y="592"/>
                    </a:lnTo>
                    <a:lnTo>
                      <a:pt x="4164" y="592"/>
                    </a:lnTo>
                    <a:lnTo>
                      <a:pt x="4164" y="592"/>
                    </a:lnTo>
                    <a:lnTo>
                      <a:pt x="4164" y="590"/>
                    </a:lnTo>
                    <a:lnTo>
                      <a:pt x="4164" y="590"/>
                    </a:lnTo>
                    <a:lnTo>
                      <a:pt x="4164" y="590"/>
                    </a:lnTo>
                    <a:lnTo>
                      <a:pt x="4164" y="590"/>
                    </a:lnTo>
                    <a:lnTo>
                      <a:pt x="4164" y="590"/>
                    </a:lnTo>
                    <a:lnTo>
                      <a:pt x="4164" y="590"/>
                    </a:lnTo>
                    <a:lnTo>
                      <a:pt x="4162" y="587"/>
                    </a:lnTo>
                    <a:lnTo>
                      <a:pt x="4162" y="587"/>
                    </a:lnTo>
                    <a:lnTo>
                      <a:pt x="4162" y="587"/>
                    </a:lnTo>
                    <a:lnTo>
                      <a:pt x="4162" y="587"/>
                    </a:lnTo>
                    <a:lnTo>
                      <a:pt x="4162" y="587"/>
                    </a:lnTo>
                    <a:lnTo>
                      <a:pt x="4162" y="585"/>
                    </a:lnTo>
                    <a:lnTo>
                      <a:pt x="4162" y="585"/>
                    </a:lnTo>
                    <a:lnTo>
                      <a:pt x="4162" y="585"/>
                    </a:lnTo>
                    <a:lnTo>
                      <a:pt x="4124" y="495"/>
                    </a:lnTo>
                    <a:lnTo>
                      <a:pt x="4124" y="455"/>
                    </a:lnTo>
                    <a:lnTo>
                      <a:pt x="4119" y="455"/>
                    </a:lnTo>
                    <a:lnTo>
                      <a:pt x="4119" y="391"/>
                    </a:lnTo>
                    <a:lnTo>
                      <a:pt x="4110" y="391"/>
                    </a:lnTo>
                    <a:lnTo>
                      <a:pt x="4110" y="329"/>
                    </a:lnTo>
                    <a:lnTo>
                      <a:pt x="4098" y="329"/>
                    </a:lnTo>
                    <a:lnTo>
                      <a:pt x="4098" y="329"/>
                    </a:lnTo>
                    <a:lnTo>
                      <a:pt x="4098" y="391"/>
                    </a:lnTo>
                    <a:lnTo>
                      <a:pt x="4096" y="391"/>
                    </a:lnTo>
                    <a:lnTo>
                      <a:pt x="4093" y="391"/>
                    </a:lnTo>
                    <a:lnTo>
                      <a:pt x="4093" y="391"/>
                    </a:lnTo>
                    <a:lnTo>
                      <a:pt x="4091" y="391"/>
                    </a:lnTo>
                    <a:lnTo>
                      <a:pt x="4091" y="391"/>
                    </a:lnTo>
                    <a:lnTo>
                      <a:pt x="4091" y="393"/>
                    </a:lnTo>
                    <a:lnTo>
                      <a:pt x="4091" y="455"/>
                    </a:lnTo>
                    <a:lnTo>
                      <a:pt x="4088" y="455"/>
                    </a:lnTo>
                    <a:lnTo>
                      <a:pt x="4086" y="455"/>
                    </a:lnTo>
                    <a:lnTo>
                      <a:pt x="4084" y="455"/>
                    </a:lnTo>
                    <a:lnTo>
                      <a:pt x="4084" y="455"/>
                    </a:lnTo>
                    <a:lnTo>
                      <a:pt x="4084" y="457"/>
                    </a:lnTo>
                    <a:lnTo>
                      <a:pt x="4084" y="493"/>
                    </a:lnTo>
                    <a:lnTo>
                      <a:pt x="4003" y="644"/>
                    </a:lnTo>
                    <a:lnTo>
                      <a:pt x="4003" y="928"/>
                    </a:lnTo>
                    <a:lnTo>
                      <a:pt x="4001" y="928"/>
                    </a:lnTo>
                    <a:lnTo>
                      <a:pt x="3999" y="928"/>
                    </a:lnTo>
                    <a:lnTo>
                      <a:pt x="3996" y="928"/>
                    </a:lnTo>
                    <a:lnTo>
                      <a:pt x="3994" y="928"/>
                    </a:lnTo>
                    <a:lnTo>
                      <a:pt x="3994" y="928"/>
                    </a:lnTo>
                    <a:lnTo>
                      <a:pt x="3991" y="928"/>
                    </a:lnTo>
                    <a:lnTo>
                      <a:pt x="3989" y="928"/>
                    </a:lnTo>
                    <a:lnTo>
                      <a:pt x="3987" y="928"/>
                    </a:lnTo>
                    <a:lnTo>
                      <a:pt x="3987" y="928"/>
                    </a:lnTo>
                    <a:lnTo>
                      <a:pt x="3984" y="928"/>
                    </a:lnTo>
                    <a:lnTo>
                      <a:pt x="3982" y="928"/>
                    </a:lnTo>
                    <a:lnTo>
                      <a:pt x="3980" y="928"/>
                    </a:lnTo>
                    <a:lnTo>
                      <a:pt x="3977" y="928"/>
                    </a:lnTo>
                    <a:lnTo>
                      <a:pt x="3977" y="928"/>
                    </a:lnTo>
                    <a:lnTo>
                      <a:pt x="3975" y="928"/>
                    </a:lnTo>
                    <a:lnTo>
                      <a:pt x="3973" y="928"/>
                    </a:lnTo>
                    <a:lnTo>
                      <a:pt x="3970" y="928"/>
                    </a:lnTo>
                    <a:lnTo>
                      <a:pt x="3968" y="928"/>
                    </a:lnTo>
                    <a:lnTo>
                      <a:pt x="3968" y="928"/>
                    </a:lnTo>
                    <a:lnTo>
                      <a:pt x="3965" y="928"/>
                    </a:lnTo>
                    <a:lnTo>
                      <a:pt x="3963" y="928"/>
                    </a:lnTo>
                    <a:lnTo>
                      <a:pt x="3961" y="928"/>
                    </a:lnTo>
                    <a:lnTo>
                      <a:pt x="3961" y="928"/>
                    </a:lnTo>
                    <a:lnTo>
                      <a:pt x="3958" y="928"/>
                    </a:lnTo>
                    <a:lnTo>
                      <a:pt x="3956" y="928"/>
                    </a:lnTo>
                    <a:lnTo>
                      <a:pt x="3954" y="928"/>
                    </a:lnTo>
                    <a:lnTo>
                      <a:pt x="3951" y="928"/>
                    </a:lnTo>
                    <a:lnTo>
                      <a:pt x="3951" y="928"/>
                    </a:lnTo>
                    <a:lnTo>
                      <a:pt x="3949" y="928"/>
                    </a:lnTo>
                    <a:lnTo>
                      <a:pt x="3947" y="928"/>
                    </a:lnTo>
                    <a:lnTo>
                      <a:pt x="3944" y="928"/>
                    </a:lnTo>
                    <a:lnTo>
                      <a:pt x="3942" y="928"/>
                    </a:lnTo>
                    <a:lnTo>
                      <a:pt x="3942" y="928"/>
                    </a:lnTo>
                    <a:lnTo>
                      <a:pt x="3939" y="928"/>
                    </a:lnTo>
                    <a:lnTo>
                      <a:pt x="3937" y="928"/>
                    </a:lnTo>
                    <a:lnTo>
                      <a:pt x="3935" y="928"/>
                    </a:lnTo>
                    <a:lnTo>
                      <a:pt x="3935" y="928"/>
                    </a:lnTo>
                    <a:lnTo>
                      <a:pt x="3932" y="928"/>
                    </a:lnTo>
                    <a:lnTo>
                      <a:pt x="3930" y="928"/>
                    </a:lnTo>
                    <a:lnTo>
                      <a:pt x="3928" y="928"/>
                    </a:lnTo>
                    <a:lnTo>
                      <a:pt x="3925" y="928"/>
                    </a:lnTo>
                    <a:lnTo>
                      <a:pt x="3925" y="928"/>
                    </a:lnTo>
                    <a:lnTo>
                      <a:pt x="3923" y="928"/>
                    </a:lnTo>
                    <a:lnTo>
                      <a:pt x="3921" y="928"/>
                    </a:lnTo>
                    <a:lnTo>
                      <a:pt x="3918" y="928"/>
                    </a:lnTo>
                    <a:lnTo>
                      <a:pt x="3918" y="928"/>
                    </a:lnTo>
                    <a:lnTo>
                      <a:pt x="3916" y="928"/>
                    </a:lnTo>
                    <a:lnTo>
                      <a:pt x="3913" y="928"/>
                    </a:lnTo>
                    <a:lnTo>
                      <a:pt x="3911" y="928"/>
                    </a:lnTo>
                    <a:lnTo>
                      <a:pt x="3909" y="928"/>
                    </a:lnTo>
                    <a:lnTo>
                      <a:pt x="3909" y="928"/>
                    </a:lnTo>
                    <a:lnTo>
                      <a:pt x="3892" y="928"/>
                    </a:lnTo>
                    <a:lnTo>
                      <a:pt x="3892" y="931"/>
                    </a:lnTo>
                    <a:lnTo>
                      <a:pt x="3892" y="995"/>
                    </a:lnTo>
                    <a:lnTo>
                      <a:pt x="3892" y="995"/>
                    </a:lnTo>
                    <a:lnTo>
                      <a:pt x="3890" y="995"/>
                    </a:lnTo>
                    <a:lnTo>
                      <a:pt x="3887" y="995"/>
                    </a:lnTo>
                    <a:lnTo>
                      <a:pt x="3885" y="995"/>
                    </a:lnTo>
                    <a:lnTo>
                      <a:pt x="3883" y="995"/>
                    </a:lnTo>
                    <a:lnTo>
                      <a:pt x="3883" y="995"/>
                    </a:lnTo>
                    <a:lnTo>
                      <a:pt x="3880" y="995"/>
                    </a:lnTo>
                    <a:lnTo>
                      <a:pt x="3878" y="995"/>
                    </a:lnTo>
                    <a:lnTo>
                      <a:pt x="3876" y="995"/>
                    </a:lnTo>
                    <a:lnTo>
                      <a:pt x="3873" y="995"/>
                    </a:lnTo>
                    <a:lnTo>
                      <a:pt x="3873" y="995"/>
                    </a:lnTo>
                    <a:lnTo>
                      <a:pt x="3871" y="995"/>
                    </a:lnTo>
                    <a:lnTo>
                      <a:pt x="3869" y="995"/>
                    </a:lnTo>
                    <a:lnTo>
                      <a:pt x="3866" y="995"/>
                    </a:lnTo>
                    <a:lnTo>
                      <a:pt x="3866" y="995"/>
                    </a:lnTo>
                    <a:lnTo>
                      <a:pt x="3864" y="995"/>
                    </a:lnTo>
                    <a:lnTo>
                      <a:pt x="3861" y="995"/>
                    </a:lnTo>
                    <a:lnTo>
                      <a:pt x="3859" y="995"/>
                    </a:lnTo>
                    <a:lnTo>
                      <a:pt x="3857" y="995"/>
                    </a:lnTo>
                    <a:lnTo>
                      <a:pt x="3857" y="995"/>
                    </a:lnTo>
                    <a:lnTo>
                      <a:pt x="3854" y="995"/>
                    </a:lnTo>
                    <a:lnTo>
                      <a:pt x="3852" y="995"/>
                    </a:lnTo>
                    <a:lnTo>
                      <a:pt x="3850" y="995"/>
                    </a:lnTo>
                    <a:lnTo>
                      <a:pt x="3847" y="995"/>
                    </a:lnTo>
                    <a:lnTo>
                      <a:pt x="3847" y="995"/>
                    </a:lnTo>
                    <a:lnTo>
                      <a:pt x="3845" y="995"/>
                    </a:lnTo>
                    <a:lnTo>
                      <a:pt x="3843" y="995"/>
                    </a:lnTo>
                    <a:lnTo>
                      <a:pt x="3840" y="995"/>
                    </a:lnTo>
                    <a:lnTo>
                      <a:pt x="3840" y="995"/>
                    </a:lnTo>
                    <a:lnTo>
                      <a:pt x="3838" y="995"/>
                    </a:lnTo>
                    <a:lnTo>
                      <a:pt x="3835" y="995"/>
                    </a:lnTo>
                    <a:lnTo>
                      <a:pt x="3833" y="995"/>
                    </a:lnTo>
                    <a:lnTo>
                      <a:pt x="3831" y="995"/>
                    </a:lnTo>
                    <a:lnTo>
                      <a:pt x="3831" y="995"/>
                    </a:lnTo>
                    <a:lnTo>
                      <a:pt x="3828" y="995"/>
                    </a:lnTo>
                    <a:lnTo>
                      <a:pt x="3819" y="995"/>
                    </a:lnTo>
                    <a:lnTo>
                      <a:pt x="3819" y="997"/>
                    </a:lnTo>
                    <a:lnTo>
                      <a:pt x="3819" y="1224"/>
                    </a:lnTo>
                    <a:lnTo>
                      <a:pt x="3817" y="1224"/>
                    </a:lnTo>
                    <a:lnTo>
                      <a:pt x="3814" y="1224"/>
                    </a:lnTo>
                    <a:lnTo>
                      <a:pt x="3812" y="1224"/>
                    </a:lnTo>
                    <a:lnTo>
                      <a:pt x="3809" y="1224"/>
                    </a:lnTo>
                    <a:lnTo>
                      <a:pt x="3809" y="1224"/>
                    </a:lnTo>
                    <a:lnTo>
                      <a:pt x="3807" y="1224"/>
                    </a:lnTo>
                    <a:lnTo>
                      <a:pt x="3805" y="1224"/>
                    </a:lnTo>
                    <a:lnTo>
                      <a:pt x="3802" y="1224"/>
                    </a:lnTo>
                    <a:lnTo>
                      <a:pt x="3802" y="1224"/>
                    </a:lnTo>
                    <a:lnTo>
                      <a:pt x="3800" y="1224"/>
                    </a:lnTo>
                    <a:lnTo>
                      <a:pt x="3798" y="1224"/>
                    </a:lnTo>
                    <a:lnTo>
                      <a:pt x="3795" y="1224"/>
                    </a:lnTo>
                    <a:lnTo>
                      <a:pt x="3793" y="1224"/>
                    </a:lnTo>
                    <a:lnTo>
                      <a:pt x="3793" y="1224"/>
                    </a:lnTo>
                    <a:lnTo>
                      <a:pt x="3790" y="1224"/>
                    </a:lnTo>
                    <a:lnTo>
                      <a:pt x="3788" y="1224"/>
                    </a:lnTo>
                    <a:lnTo>
                      <a:pt x="3786" y="1224"/>
                    </a:lnTo>
                    <a:lnTo>
                      <a:pt x="3786" y="1224"/>
                    </a:lnTo>
                    <a:lnTo>
                      <a:pt x="3783" y="1224"/>
                    </a:lnTo>
                    <a:lnTo>
                      <a:pt x="3781" y="1224"/>
                    </a:lnTo>
                    <a:lnTo>
                      <a:pt x="3779" y="1224"/>
                    </a:lnTo>
                    <a:lnTo>
                      <a:pt x="3776" y="1224"/>
                    </a:lnTo>
                    <a:lnTo>
                      <a:pt x="3776" y="1224"/>
                    </a:lnTo>
                    <a:lnTo>
                      <a:pt x="3774" y="1224"/>
                    </a:lnTo>
                    <a:lnTo>
                      <a:pt x="3772" y="1224"/>
                    </a:lnTo>
                    <a:lnTo>
                      <a:pt x="3769" y="1224"/>
                    </a:lnTo>
                    <a:lnTo>
                      <a:pt x="3767" y="1224"/>
                    </a:lnTo>
                    <a:lnTo>
                      <a:pt x="3767" y="1224"/>
                    </a:lnTo>
                    <a:lnTo>
                      <a:pt x="3764" y="1224"/>
                    </a:lnTo>
                    <a:lnTo>
                      <a:pt x="3762" y="1224"/>
                    </a:lnTo>
                    <a:lnTo>
                      <a:pt x="3760" y="1224"/>
                    </a:lnTo>
                    <a:lnTo>
                      <a:pt x="3760" y="1224"/>
                    </a:lnTo>
                    <a:lnTo>
                      <a:pt x="3757" y="1224"/>
                    </a:lnTo>
                    <a:lnTo>
                      <a:pt x="3757" y="1224"/>
                    </a:lnTo>
                    <a:lnTo>
                      <a:pt x="3757" y="1392"/>
                    </a:lnTo>
                    <a:lnTo>
                      <a:pt x="3757" y="1392"/>
                    </a:lnTo>
                    <a:lnTo>
                      <a:pt x="3755" y="1392"/>
                    </a:lnTo>
                    <a:lnTo>
                      <a:pt x="3753" y="1392"/>
                    </a:lnTo>
                    <a:lnTo>
                      <a:pt x="3750" y="1392"/>
                    </a:lnTo>
                    <a:lnTo>
                      <a:pt x="3750" y="1392"/>
                    </a:lnTo>
                    <a:lnTo>
                      <a:pt x="3748" y="1392"/>
                    </a:lnTo>
                    <a:lnTo>
                      <a:pt x="3746" y="1392"/>
                    </a:lnTo>
                    <a:lnTo>
                      <a:pt x="3743" y="1392"/>
                    </a:lnTo>
                    <a:lnTo>
                      <a:pt x="3741" y="1392"/>
                    </a:lnTo>
                    <a:lnTo>
                      <a:pt x="3741" y="1392"/>
                    </a:lnTo>
                    <a:lnTo>
                      <a:pt x="3738" y="1392"/>
                    </a:lnTo>
                    <a:lnTo>
                      <a:pt x="3736" y="1392"/>
                    </a:lnTo>
                    <a:lnTo>
                      <a:pt x="3734" y="1392"/>
                    </a:lnTo>
                    <a:lnTo>
                      <a:pt x="3731" y="1392"/>
                    </a:lnTo>
                    <a:lnTo>
                      <a:pt x="3731" y="1392"/>
                    </a:lnTo>
                    <a:lnTo>
                      <a:pt x="3729" y="1392"/>
                    </a:lnTo>
                    <a:lnTo>
                      <a:pt x="3727" y="1392"/>
                    </a:lnTo>
                    <a:lnTo>
                      <a:pt x="3724" y="1392"/>
                    </a:lnTo>
                    <a:lnTo>
                      <a:pt x="3724" y="1392"/>
                    </a:lnTo>
                    <a:lnTo>
                      <a:pt x="3724" y="1317"/>
                    </a:lnTo>
                    <a:lnTo>
                      <a:pt x="3724" y="1317"/>
                    </a:lnTo>
                    <a:lnTo>
                      <a:pt x="3722" y="1317"/>
                    </a:lnTo>
                    <a:lnTo>
                      <a:pt x="3720" y="1317"/>
                    </a:lnTo>
                    <a:lnTo>
                      <a:pt x="3717" y="1317"/>
                    </a:lnTo>
                    <a:lnTo>
                      <a:pt x="3715" y="1317"/>
                    </a:lnTo>
                    <a:lnTo>
                      <a:pt x="3715" y="1317"/>
                    </a:lnTo>
                    <a:lnTo>
                      <a:pt x="3712" y="1317"/>
                    </a:lnTo>
                    <a:lnTo>
                      <a:pt x="3710" y="1317"/>
                    </a:lnTo>
                    <a:lnTo>
                      <a:pt x="3708" y="1317"/>
                    </a:lnTo>
                    <a:lnTo>
                      <a:pt x="3705" y="1317"/>
                    </a:lnTo>
                    <a:lnTo>
                      <a:pt x="3705" y="1317"/>
                    </a:lnTo>
                    <a:lnTo>
                      <a:pt x="3703" y="1317"/>
                    </a:lnTo>
                    <a:lnTo>
                      <a:pt x="3701" y="1317"/>
                    </a:lnTo>
                    <a:lnTo>
                      <a:pt x="3698" y="1317"/>
                    </a:lnTo>
                    <a:lnTo>
                      <a:pt x="3698" y="1317"/>
                    </a:lnTo>
                    <a:lnTo>
                      <a:pt x="3696" y="1317"/>
                    </a:lnTo>
                    <a:lnTo>
                      <a:pt x="3694" y="1317"/>
                    </a:lnTo>
                    <a:lnTo>
                      <a:pt x="3691" y="1317"/>
                    </a:lnTo>
                    <a:lnTo>
                      <a:pt x="3689" y="1317"/>
                    </a:lnTo>
                    <a:lnTo>
                      <a:pt x="3689" y="1317"/>
                    </a:lnTo>
                    <a:lnTo>
                      <a:pt x="3686" y="1317"/>
                    </a:lnTo>
                    <a:lnTo>
                      <a:pt x="3684" y="1317"/>
                    </a:lnTo>
                    <a:lnTo>
                      <a:pt x="3682" y="1317"/>
                    </a:lnTo>
                    <a:lnTo>
                      <a:pt x="3682" y="1317"/>
                    </a:lnTo>
                    <a:lnTo>
                      <a:pt x="3679" y="1317"/>
                    </a:lnTo>
                    <a:lnTo>
                      <a:pt x="3677" y="1317"/>
                    </a:lnTo>
                    <a:lnTo>
                      <a:pt x="3675" y="1317"/>
                    </a:lnTo>
                    <a:lnTo>
                      <a:pt x="3672" y="1317"/>
                    </a:lnTo>
                    <a:lnTo>
                      <a:pt x="3672" y="1317"/>
                    </a:lnTo>
                    <a:lnTo>
                      <a:pt x="3670" y="1317"/>
                    </a:lnTo>
                    <a:lnTo>
                      <a:pt x="3668" y="1317"/>
                    </a:lnTo>
                    <a:lnTo>
                      <a:pt x="3665"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436"/>
                    </a:lnTo>
                    <a:lnTo>
                      <a:pt x="3377" y="502"/>
                    </a:lnTo>
                    <a:lnTo>
                      <a:pt x="3374" y="502"/>
                    </a:lnTo>
                    <a:lnTo>
                      <a:pt x="3372" y="502"/>
                    </a:lnTo>
                    <a:lnTo>
                      <a:pt x="3370" y="502"/>
                    </a:lnTo>
                    <a:lnTo>
                      <a:pt x="3370" y="502"/>
                    </a:lnTo>
                    <a:lnTo>
                      <a:pt x="3367" y="502"/>
                    </a:lnTo>
                    <a:lnTo>
                      <a:pt x="3365" y="502"/>
                    </a:lnTo>
                    <a:lnTo>
                      <a:pt x="3363" y="502"/>
                    </a:lnTo>
                    <a:lnTo>
                      <a:pt x="3363" y="502"/>
                    </a:lnTo>
                    <a:lnTo>
                      <a:pt x="3360" y="502"/>
                    </a:lnTo>
                    <a:lnTo>
                      <a:pt x="3358" y="502"/>
                    </a:lnTo>
                    <a:lnTo>
                      <a:pt x="3355" y="502"/>
                    </a:lnTo>
                    <a:lnTo>
                      <a:pt x="3353" y="502"/>
                    </a:lnTo>
                    <a:lnTo>
                      <a:pt x="3353" y="502"/>
                    </a:lnTo>
                    <a:lnTo>
                      <a:pt x="3351" y="502"/>
                    </a:lnTo>
                    <a:lnTo>
                      <a:pt x="3348" y="502"/>
                    </a:lnTo>
                    <a:lnTo>
                      <a:pt x="3348" y="502"/>
                    </a:lnTo>
                    <a:lnTo>
                      <a:pt x="3348" y="505"/>
                    </a:lnTo>
                    <a:lnTo>
                      <a:pt x="3348" y="583"/>
                    </a:lnTo>
                    <a:lnTo>
                      <a:pt x="3346" y="583"/>
                    </a:lnTo>
                    <a:lnTo>
                      <a:pt x="3344" y="583"/>
                    </a:lnTo>
                    <a:lnTo>
                      <a:pt x="3341" y="583"/>
                    </a:lnTo>
                    <a:lnTo>
                      <a:pt x="3341" y="583"/>
                    </a:lnTo>
                    <a:lnTo>
                      <a:pt x="3339" y="583"/>
                    </a:lnTo>
                    <a:lnTo>
                      <a:pt x="3337" y="583"/>
                    </a:lnTo>
                    <a:lnTo>
                      <a:pt x="3334" y="583"/>
                    </a:lnTo>
                    <a:lnTo>
                      <a:pt x="3332" y="583"/>
                    </a:lnTo>
                    <a:lnTo>
                      <a:pt x="3332" y="583"/>
                    </a:lnTo>
                    <a:lnTo>
                      <a:pt x="3329" y="583"/>
                    </a:lnTo>
                    <a:lnTo>
                      <a:pt x="3329" y="585"/>
                    </a:lnTo>
                    <a:lnTo>
                      <a:pt x="3329" y="658"/>
                    </a:lnTo>
                    <a:lnTo>
                      <a:pt x="3329" y="658"/>
                    </a:lnTo>
                    <a:lnTo>
                      <a:pt x="3327" y="658"/>
                    </a:lnTo>
                    <a:lnTo>
                      <a:pt x="3325" y="658"/>
                    </a:lnTo>
                    <a:lnTo>
                      <a:pt x="3322" y="658"/>
                    </a:lnTo>
                    <a:lnTo>
                      <a:pt x="3320" y="658"/>
                    </a:lnTo>
                    <a:lnTo>
                      <a:pt x="3320" y="658"/>
                    </a:lnTo>
                    <a:lnTo>
                      <a:pt x="3318" y="658"/>
                    </a:lnTo>
                    <a:lnTo>
                      <a:pt x="3315" y="658"/>
                    </a:lnTo>
                    <a:lnTo>
                      <a:pt x="3313" y="658"/>
                    </a:lnTo>
                    <a:lnTo>
                      <a:pt x="3310" y="658"/>
                    </a:lnTo>
                    <a:lnTo>
                      <a:pt x="3310" y="658"/>
                    </a:lnTo>
                    <a:lnTo>
                      <a:pt x="3308" y="658"/>
                    </a:lnTo>
                    <a:lnTo>
                      <a:pt x="3306" y="658"/>
                    </a:lnTo>
                    <a:lnTo>
                      <a:pt x="3303" y="658"/>
                    </a:lnTo>
                    <a:lnTo>
                      <a:pt x="3303" y="658"/>
                    </a:lnTo>
                    <a:lnTo>
                      <a:pt x="3301" y="658"/>
                    </a:lnTo>
                    <a:lnTo>
                      <a:pt x="3299" y="658"/>
                    </a:lnTo>
                    <a:lnTo>
                      <a:pt x="3296" y="658"/>
                    </a:lnTo>
                    <a:lnTo>
                      <a:pt x="3294" y="658"/>
                    </a:lnTo>
                    <a:lnTo>
                      <a:pt x="3294" y="658"/>
                    </a:lnTo>
                    <a:lnTo>
                      <a:pt x="3292" y="658"/>
                    </a:lnTo>
                    <a:lnTo>
                      <a:pt x="3289" y="658"/>
                    </a:lnTo>
                    <a:lnTo>
                      <a:pt x="3287" y="658"/>
                    </a:lnTo>
                    <a:lnTo>
                      <a:pt x="3287" y="658"/>
                    </a:lnTo>
                    <a:lnTo>
                      <a:pt x="3284" y="658"/>
                    </a:lnTo>
                    <a:lnTo>
                      <a:pt x="3282" y="658"/>
                    </a:lnTo>
                    <a:lnTo>
                      <a:pt x="3280" y="658"/>
                    </a:lnTo>
                    <a:lnTo>
                      <a:pt x="3277" y="658"/>
                    </a:lnTo>
                    <a:lnTo>
                      <a:pt x="3277" y="658"/>
                    </a:lnTo>
                    <a:lnTo>
                      <a:pt x="3275" y="658"/>
                    </a:lnTo>
                    <a:lnTo>
                      <a:pt x="3273" y="658"/>
                    </a:lnTo>
                    <a:lnTo>
                      <a:pt x="3270" y="658"/>
                    </a:lnTo>
                    <a:lnTo>
                      <a:pt x="3268" y="658"/>
                    </a:lnTo>
                    <a:lnTo>
                      <a:pt x="3268" y="658"/>
                    </a:lnTo>
                    <a:lnTo>
                      <a:pt x="3266" y="658"/>
                    </a:lnTo>
                    <a:lnTo>
                      <a:pt x="3263" y="658"/>
                    </a:lnTo>
                    <a:lnTo>
                      <a:pt x="3261" y="658"/>
                    </a:lnTo>
                    <a:lnTo>
                      <a:pt x="3261" y="658"/>
                    </a:lnTo>
                    <a:lnTo>
                      <a:pt x="3258" y="658"/>
                    </a:lnTo>
                    <a:lnTo>
                      <a:pt x="3256" y="658"/>
                    </a:lnTo>
                    <a:lnTo>
                      <a:pt x="3254" y="658"/>
                    </a:lnTo>
                    <a:lnTo>
                      <a:pt x="3254" y="658"/>
                    </a:lnTo>
                    <a:lnTo>
                      <a:pt x="3185" y="658"/>
                    </a:lnTo>
                    <a:lnTo>
                      <a:pt x="3185" y="661"/>
                    </a:lnTo>
                    <a:lnTo>
                      <a:pt x="3185" y="763"/>
                    </a:lnTo>
                    <a:lnTo>
                      <a:pt x="3185" y="763"/>
                    </a:lnTo>
                    <a:lnTo>
                      <a:pt x="3183" y="763"/>
                    </a:lnTo>
                    <a:lnTo>
                      <a:pt x="3180" y="763"/>
                    </a:lnTo>
                    <a:lnTo>
                      <a:pt x="3178" y="763"/>
                    </a:lnTo>
                    <a:lnTo>
                      <a:pt x="3176" y="763"/>
                    </a:lnTo>
                    <a:lnTo>
                      <a:pt x="3176" y="763"/>
                    </a:lnTo>
                    <a:lnTo>
                      <a:pt x="3173" y="763"/>
                    </a:lnTo>
                    <a:lnTo>
                      <a:pt x="3171" y="763"/>
                    </a:lnTo>
                    <a:lnTo>
                      <a:pt x="3169" y="763"/>
                    </a:lnTo>
                    <a:lnTo>
                      <a:pt x="3169" y="763"/>
                    </a:lnTo>
                    <a:lnTo>
                      <a:pt x="3166" y="763"/>
                    </a:lnTo>
                    <a:lnTo>
                      <a:pt x="3164" y="763"/>
                    </a:lnTo>
                    <a:lnTo>
                      <a:pt x="3162" y="763"/>
                    </a:lnTo>
                    <a:lnTo>
                      <a:pt x="3159" y="763"/>
                    </a:lnTo>
                    <a:lnTo>
                      <a:pt x="3159" y="763"/>
                    </a:lnTo>
                    <a:lnTo>
                      <a:pt x="3157" y="763"/>
                    </a:lnTo>
                    <a:lnTo>
                      <a:pt x="3154" y="763"/>
                    </a:lnTo>
                    <a:lnTo>
                      <a:pt x="3152" y="763"/>
                    </a:lnTo>
                    <a:lnTo>
                      <a:pt x="3152" y="763"/>
                    </a:lnTo>
                    <a:lnTo>
                      <a:pt x="3150" y="763"/>
                    </a:lnTo>
                    <a:lnTo>
                      <a:pt x="3147" y="763"/>
                    </a:lnTo>
                    <a:lnTo>
                      <a:pt x="3147" y="765"/>
                    </a:lnTo>
                    <a:lnTo>
                      <a:pt x="3147" y="980"/>
                    </a:lnTo>
                    <a:lnTo>
                      <a:pt x="3145" y="980"/>
                    </a:lnTo>
                    <a:lnTo>
                      <a:pt x="3145" y="980"/>
                    </a:lnTo>
                    <a:lnTo>
                      <a:pt x="3143" y="980"/>
                    </a:lnTo>
                    <a:lnTo>
                      <a:pt x="3140" y="980"/>
                    </a:lnTo>
                    <a:lnTo>
                      <a:pt x="3138" y="980"/>
                    </a:lnTo>
                    <a:lnTo>
                      <a:pt x="3136" y="980"/>
                    </a:lnTo>
                    <a:lnTo>
                      <a:pt x="3136" y="980"/>
                    </a:lnTo>
                    <a:lnTo>
                      <a:pt x="3133" y="980"/>
                    </a:lnTo>
                    <a:lnTo>
                      <a:pt x="3131" y="980"/>
                    </a:lnTo>
                    <a:lnTo>
                      <a:pt x="3128" y="980"/>
                    </a:lnTo>
                    <a:lnTo>
                      <a:pt x="3128" y="980"/>
                    </a:lnTo>
                    <a:lnTo>
                      <a:pt x="3126" y="980"/>
                    </a:lnTo>
                    <a:lnTo>
                      <a:pt x="3124" y="980"/>
                    </a:lnTo>
                    <a:lnTo>
                      <a:pt x="3121" y="980"/>
                    </a:lnTo>
                    <a:lnTo>
                      <a:pt x="3119" y="980"/>
                    </a:lnTo>
                    <a:lnTo>
                      <a:pt x="3119" y="980"/>
                    </a:lnTo>
                    <a:lnTo>
                      <a:pt x="3117" y="980"/>
                    </a:lnTo>
                    <a:lnTo>
                      <a:pt x="3114" y="980"/>
                    </a:lnTo>
                    <a:lnTo>
                      <a:pt x="3112" y="980"/>
                    </a:lnTo>
                    <a:lnTo>
                      <a:pt x="3110" y="980"/>
                    </a:lnTo>
                    <a:lnTo>
                      <a:pt x="3110" y="980"/>
                    </a:lnTo>
                    <a:lnTo>
                      <a:pt x="3107" y="980"/>
                    </a:lnTo>
                    <a:lnTo>
                      <a:pt x="3105" y="980"/>
                    </a:lnTo>
                    <a:lnTo>
                      <a:pt x="3102" y="980"/>
                    </a:lnTo>
                    <a:lnTo>
                      <a:pt x="3102" y="980"/>
                    </a:lnTo>
                    <a:lnTo>
                      <a:pt x="3100" y="980"/>
                    </a:lnTo>
                    <a:lnTo>
                      <a:pt x="3098" y="980"/>
                    </a:lnTo>
                    <a:lnTo>
                      <a:pt x="3095" y="980"/>
                    </a:lnTo>
                    <a:lnTo>
                      <a:pt x="3093" y="980"/>
                    </a:lnTo>
                    <a:lnTo>
                      <a:pt x="3093" y="980"/>
                    </a:lnTo>
                    <a:lnTo>
                      <a:pt x="3091" y="980"/>
                    </a:lnTo>
                    <a:lnTo>
                      <a:pt x="3088" y="980"/>
                    </a:lnTo>
                    <a:lnTo>
                      <a:pt x="3086" y="980"/>
                    </a:lnTo>
                    <a:lnTo>
                      <a:pt x="3086" y="980"/>
                    </a:lnTo>
                    <a:lnTo>
                      <a:pt x="3084" y="980"/>
                    </a:lnTo>
                    <a:lnTo>
                      <a:pt x="3081" y="980"/>
                    </a:lnTo>
                    <a:lnTo>
                      <a:pt x="3079" y="980"/>
                    </a:lnTo>
                    <a:lnTo>
                      <a:pt x="3076" y="980"/>
                    </a:lnTo>
                    <a:lnTo>
                      <a:pt x="3076" y="980"/>
                    </a:lnTo>
                    <a:lnTo>
                      <a:pt x="3074" y="980"/>
                    </a:lnTo>
                    <a:lnTo>
                      <a:pt x="3072" y="980"/>
                    </a:lnTo>
                    <a:lnTo>
                      <a:pt x="3069" y="980"/>
                    </a:lnTo>
                    <a:lnTo>
                      <a:pt x="3067" y="980"/>
                    </a:lnTo>
                    <a:lnTo>
                      <a:pt x="3067" y="980"/>
                    </a:lnTo>
                    <a:lnTo>
                      <a:pt x="3065" y="980"/>
                    </a:lnTo>
                    <a:lnTo>
                      <a:pt x="3062" y="980"/>
                    </a:lnTo>
                    <a:lnTo>
                      <a:pt x="3060" y="980"/>
                    </a:lnTo>
                    <a:lnTo>
                      <a:pt x="3060" y="980"/>
                    </a:lnTo>
                    <a:lnTo>
                      <a:pt x="3057" y="980"/>
                    </a:lnTo>
                    <a:lnTo>
                      <a:pt x="3055" y="980"/>
                    </a:lnTo>
                    <a:lnTo>
                      <a:pt x="3053" y="980"/>
                    </a:lnTo>
                    <a:lnTo>
                      <a:pt x="3001" y="980"/>
                    </a:lnTo>
                    <a:lnTo>
                      <a:pt x="2925" y="1014"/>
                    </a:lnTo>
                    <a:lnTo>
                      <a:pt x="2925" y="1014"/>
                    </a:lnTo>
                    <a:lnTo>
                      <a:pt x="2925" y="1063"/>
                    </a:lnTo>
                    <a:lnTo>
                      <a:pt x="2923" y="1063"/>
                    </a:lnTo>
                    <a:lnTo>
                      <a:pt x="2920" y="1063"/>
                    </a:lnTo>
                    <a:lnTo>
                      <a:pt x="2920" y="1063"/>
                    </a:lnTo>
                    <a:lnTo>
                      <a:pt x="2918" y="1063"/>
                    </a:lnTo>
                    <a:lnTo>
                      <a:pt x="2916" y="1063"/>
                    </a:lnTo>
                    <a:lnTo>
                      <a:pt x="2913" y="1063"/>
                    </a:lnTo>
                    <a:lnTo>
                      <a:pt x="2911" y="1063"/>
                    </a:lnTo>
                    <a:lnTo>
                      <a:pt x="2911" y="1063"/>
                    </a:lnTo>
                    <a:lnTo>
                      <a:pt x="2909" y="1063"/>
                    </a:lnTo>
                    <a:lnTo>
                      <a:pt x="2909" y="1063"/>
                    </a:lnTo>
                    <a:lnTo>
                      <a:pt x="2909" y="1066"/>
                    </a:lnTo>
                    <a:lnTo>
                      <a:pt x="2909" y="1241"/>
                    </a:lnTo>
                    <a:lnTo>
                      <a:pt x="2906" y="1241"/>
                    </a:lnTo>
                    <a:lnTo>
                      <a:pt x="2904" y="1241"/>
                    </a:lnTo>
                    <a:lnTo>
                      <a:pt x="2901" y="1241"/>
                    </a:lnTo>
                    <a:lnTo>
                      <a:pt x="2901" y="1241"/>
                    </a:lnTo>
                    <a:lnTo>
                      <a:pt x="2899" y="1241"/>
                    </a:lnTo>
                    <a:lnTo>
                      <a:pt x="2897" y="1241"/>
                    </a:lnTo>
                    <a:lnTo>
                      <a:pt x="2894" y="1241"/>
                    </a:lnTo>
                    <a:lnTo>
                      <a:pt x="2892" y="1241"/>
                    </a:lnTo>
                    <a:lnTo>
                      <a:pt x="2892" y="1241"/>
                    </a:lnTo>
                    <a:lnTo>
                      <a:pt x="2890" y="1241"/>
                    </a:lnTo>
                    <a:lnTo>
                      <a:pt x="2887" y="1241"/>
                    </a:lnTo>
                    <a:lnTo>
                      <a:pt x="2885" y="1241"/>
                    </a:lnTo>
                    <a:lnTo>
                      <a:pt x="2883" y="1241"/>
                    </a:lnTo>
                    <a:lnTo>
                      <a:pt x="2883" y="1241"/>
                    </a:lnTo>
                    <a:lnTo>
                      <a:pt x="2880" y="1241"/>
                    </a:lnTo>
                    <a:lnTo>
                      <a:pt x="2878" y="1241"/>
                    </a:lnTo>
                    <a:lnTo>
                      <a:pt x="2875" y="1241"/>
                    </a:lnTo>
                    <a:lnTo>
                      <a:pt x="2875" y="1241"/>
                    </a:lnTo>
                    <a:lnTo>
                      <a:pt x="2873" y="1241"/>
                    </a:lnTo>
                    <a:lnTo>
                      <a:pt x="2871" y="1241"/>
                    </a:lnTo>
                    <a:lnTo>
                      <a:pt x="2868" y="1241"/>
                    </a:lnTo>
                    <a:lnTo>
                      <a:pt x="2866" y="1241"/>
                    </a:lnTo>
                    <a:lnTo>
                      <a:pt x="2866" y="1241"/>
                    </a:lnTo>
                    <a:lnTo>
                      <a:pt x="2864" y="1241"/>
                    </a:lnTo>
                    <a:lnTo>
                      <a:pt x="2861" y="1241"/>
                    </a:lnTo>
                    <a:lnTo>
                      <a:pt x="2859" y="1241"/>
                    </a:lnTo>
                    <a:lnTo>
                      <a:pt x="2857" y="1241"/>
                    </a:lnTo>
                    <a:lnTo>
                      <a:pt x="2857" y="1241"/>
                    </a:lnTo>
                    <a:lnTo>
                      <a:pt x="2854" y="1241"/>
                    </a:lnTo>
                    <a:lnTo>
                      <a:pt x="2852" y="1241"/>
                    </a:lnTo>
                    <a:lnTo>
                      <a:pt x="2849" y="1241"/>
                    </a:lnTo>
                    <a:lnTo>
                      <a:pt x="2849" y="1241"/>
                    </a:lnTo>
                    <a:lnTo>
                      <a:pt x="2847" y="1241"/>
                    </a:lnTo>
                    <a:lnTo>
                      <a:pt x="2845" y="1241"/>
                    </a:lnTo>
                    <a:lnTo>
                      <a:pt x="2842" y="1241"/>
                    </a:lnTo>
                    <a:lnTo>
                      <a:pt x="2840" y="1241"/>
                    </a:lnTo>
                    <a:lnTo>
                      <a:pt x="2840" y="1241"/>
                    </a:lnTo>
                    <a:lnTo>
                      <a:pt x="2838" y="1241"/>
                    </a:lnTo>
                    <a:lnTo>
                      <a:pt x="2835" y="1241"/>
                    </a:lnTo>
                    <a:lnTo>
                      <a:pt x="2833" y="1241"/>
                    </a:lnTo>
                    <a:lnTo>
                      <a:pt x="2831" y="1241"/>
                    </a:lnTo>
                    <a:lnTo>
                      <a:pt x="2831" y="1241"/>
                    </a:lnTo>
                    <a:lnTo>
                      <a:pt x="2828" y="1241"/>
                    </a:lnTo>
                    <a:lnTo>
                      <a:pt x="2826" y="1241"/>
                    </a:lnTo>
                    <a:lnTo>
                      <a:pt x="2823" y="1241"/>
                    </a:lnTo>
                    <a:lnTo>
                      <a:pt x="2823" y="1241"/>
                    </a:lnTo>
                    <a:lnTo>
                      <a:pt x="2821" y="1241"/>
                    </a:lnTo>
                    <a:lnTo>
                      <a:pt x="2819" y="1241"/>
                    </a:lnTo>
                    <a:lnTo>
                      <a:pt x="2816" y="1241"/>
                    </a:lnTo>
                    <a:lnTo>
                      <a:pt x="2814" y="1241"/>
                    </a:lnTo>
                    <a:lnTo>
                      <a:pt x="2814"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296"/>
                    </a:lnTo>
                    <a:lnTo>
                      <a:pt x="2076" y="334"/>
                    </a:lnTo>
                    <a:lnTo>
                      <a:pt x="2074" y="334"/>
                    </a:lnTo>
                    <a:lnTo>
                      <a:pt x="2071" y="334"/>
                    </a:lnTo>
                    <a:lnTo>
                      <a:pt x="2071" y="334"/>
                    </a:lnTo>
                    <a:lnTo>
                      <a:pt x="2069" y="334"/>
                    </a:lnTo>
                    <a:lnTo>
                      <a:pt x="2067" y="334"/>
                    </a:lnTo>
                    <a:lnTo>
                      <a:pt x="2064" y="334"/>
                    </a:lnTo>
                    <a:lnTo>
                      <a:pt x="2062" y="334"/>
                    </a:lnTo>
                    <a:lnTo>
                      <a:pt x="2062" y="334"/>
                    </a:lnTo>
                    <a:lnTo>
                      <a:pt x="2060" y="334"/>
                    </a:lnTo>
                    <a:lnTo>
                      <a:pt x="2057" y="334"/>
                    </a:lnTo>
                    <a:lnTo>
                      <a:pt x="2055" y="334"/>
                    </a:lnTo>
                    <a:lnTo>
                      <a:pt x="2055" y="334"/>
                    </a:lnTo>
                    <a:lnTo>
                      <a:pt x="2053" y="334"/>
                    </a:lnTo>
                    <a:lnTo>
                      <a:pt x="2050" y="334"/>
                    </a:lnTo>
                    <a:lnTo>
                      <a:pt x="2048" y="334"/>
                    </a:lnTo>
                    <a:lnTo>
                      <a:pt x="2045" y="334"/>
                    </a:lnTo>
                    <a:lnTo>
                      <a:pt x="2045" y="334"/>
                    </a:lnTo>
                    <a:lnTo>
                      <a:pt x="2043" y="334"/>
                    </a:lnTo>
                    <a:lnTo>
                      <a:pt x="2041" y="334"/>
                    </a:lnTo>
                    <a:lnTo>
                      <a:pt x="2038" y="334"/>
                    </a:lnTo>
                    <a:lnTo>
                      <a:pt x="2038" y="334"/>
                    </a:lnTo>
                    <a:lnTo>
                      <a:pt x="1986" y="334"/>
                    </a:lnTo>
                    <a:lnTo>
                      <a:pt x="1986" y="336"/>
                    </a:lnTo>
                    <a:lnTo>
                      <a:pt x="1986" y="370"/>
                    </a:lnTo>
                    <a:lnTo>
                      <a:pt x="1984" y="370"/>
                    </a:lnTo>
                    <a:lnTo>
                      <a:pt x="1982" y="370"/>
                    </a:lnTo>
                    <a:lnTo>
                      <a:pt x="1979" y="370"/>
                    </a:lnTo>
                    <a:lnTo>
                      <a:pt x="1979" y="370"/>
                    </a:lnTo>
                    <a:lnTo>
                      <a:pt x="1977" y="370"/>
                    </a:lnTo>
                    <a:lnTo>
                      <a:pt x="1975" y="370"/>
                    </a:lnTo>
                    <a:lnTo>
                      <a:pt x="1972" y="370"/>
                    </a:lnTo>
                    <a:lnTo>
                      <a:pt x="1972" y="370"/>
                    </a:lnTo>
                    <a:lnTo>
                      <a:pt x="1970" y="370"/>
                    </a:lnTo>
                    <a:lnTo>
                      <a:pt x="1967" y="370"/>
                    </a:lnTo>
                    <a:lnTo>
                      <a:pt x="1965" y="370"/>
                    </a:lnTo>
                    <a:lnTo>
                      <a:pt x="1963" y="370"/>
                    </a:lnTo>
                    <a:lnTo>
                      <a:pt x="1963" y="370"/>
                    </a:lnTo>
                    <a:lnTo>
                      <a:pt x="1960" y="370"/>
                    </a:lnTo>
                    <a:lnTo>
                      <a:pt x="1958" y="370"/>
                    </a:lnTo>
                    <a:lnTo>
                      <a:pt x="1956" y="370"/>
                    </a:lnTo>
                    <a:lnTo>
                      <a:pt x="1953" y="370"/>
                    </a:lnTo>
                    <a:lnTo>
                      <a:pt x="1953" y="370"/>
                    </a:lnTo>
                    <a:lnTo>
                      <a:pt x="1856" y="370"/>
                    </a:lnTo>
                    <a:lnTo>
                      <a:pt x="1856" y="372"/>
                    </a:lnTo>
                    <a:lnTo>
                      <a:pt x="1856" y="1132"/>
                    </a:lnTo>
                    <a:lnTo>
                      <a:pt x="1856" y="1132"/>
                    </a:lnTo>
                    <a:lnTo>
                      <a:pt x="1854" y="1132"/>
                    </a:lnTo>
                    <a:lnTo>
                      <a:pt x="1852" y="1132"/>
                    </a:lnTo>
                    <a:lnTo>
                      <a:pt x="1849" y="1132"/>
                    </a:lnTo>
                    <a:lnTo>
                      <a:pt x="1847" y="1132"/>
                    </a:lnTo>
                    <a:lnTo>
                      <a:pt x="1847" y="1132"/>
                    </a:lnTo>
                    <a:lnTo>
                      <a:pt x="1845" y="1132"/>
                    </a:lnTo>
                    <a:lnTo>
                      <a:pt x="1842" y="1132"/>
                    </a:lnTo>
                    <a:lnTo>
                      <a:pt x="1840" y="1132"/>
                    </a:lnTo>
                    <a:lnTo>
                      <a:pt x="1840" y="1132"/>
                    </a:lnTo>
                    <a:lnTo>
                      <a:pt x="1837" y="1132"/>
                    </a:lnTo>
                    <a:lnTo>
                      <a:pt x="1835" y="1132"/>
                    </a:lnTo>
                    <a:lnTo>
                      <a:pt x="1833" y="1132"/>
                    </a:lnTo>
                    <a:lnTo>
                      <a:pt x="1830" y="1132"/>
                    </a:lnTo>
                    <a:lnTo>
                      <a:pt x="1830" y="1132"/>
                    </a:lnTo>
                    <a:lnTo>
                      <a:pt x="1828" y="1132"/>
                    </a:lnTo>
                    <a:lnTo>
                      <a:pt x="1826" y="1132"/>
                    </a:lnTo>
                    <a:lnTo>
                      <a:pt x="1823" y="1132"/>
                    </a:lnTo>
                    <a:lnTo>
                      <a:pt x="1821" y="1132"/>
                    </a:lnTo>
                    <a:lnTo>
                      <a:pt x="1821" y="1132"/>
                    </a:lnTo>
                    <a:lnTo>
                      <a:pt x="1818" y="1132"/>
                    </a:lnTo>
                    <a:lnTo>
                      <a:pt x="1816" y="1132"/>
                    </a:lnTo>
                    <a:lnTo>
                      <a:pt x="1814" y="1132"/>
                    </a:lnTo>
                    <a:lnTo>
                      <a:pt x="1814" y="1132"/>
                    </a:lnTo>
                    <a:lnTo>
                      <a:pt x="1811" y="1132"/>
                    </a:lnTo>
                    <a:lnTo>
                      <a:pt x="1809" y="1132"/>
                    </a:lnTo>
                    <a:lnTo>
                      <a:pt x="1807" y="1132"/>
                    </a:lnTo>
                    <a:lnTo>
                      <a:pt x="1804" y="1132"/>
                    </a:lnTo>
                    <a:lnTo>
                      <a:pt x="1804" y="1132"/>
                    </a:lnTo>
                    <a:lnTo>
                      <a:pt x="1802" y="1132"/>
                    </a:lnTo>
                    <a:lnTo>
                      <a:pt x="1800" y="1132"/>
                    </a:lnTo>
                    <a:lnTo>
                      <a:pt x="1797" y="1132"/>
                    </a:lnTo>
                    <a:lnTo>
                      <a:pt x="1797" y="1132"/>
                    </a:lnTo>
                    <a:lnTo>
                      <a:pt x="1795" y="1132"/>
                    </a:lnTo>
                    <a:lnTo>
                      <a:pt x="1792" y="1132"/>
                    </a:lnTo>
                    <a:lnTo>
                      <a:pt x="1790" y="1132"/>
                    </a:lnTo>
                    <a:lnTo>
                      <a:pt x="1788" y="1132"/>
                    </a:lnTo>
                    <a:lnTo>
                      <a:pt x="1788" y="1132"/>
                    </a:lnTo>
                    <a:lnTo>
                      <a:pt x="1785" y="1132"/>
                    </a:lnTo>
                    <a:lnTo>
                      <a:pt x="1783" y="1132"/>
                    </a:lnTo>
                    <a:lnTo>
                      <a:pt x="1781" y="1132"/>
                    </a:lnTo>
                    <a:lnTo>
                      <a:pt x="1778" y="1132"/>
                    </a:lnTo>
                    <a:lnTo>
                      <a:pt x="1778" y="1132"/>
                    </a:lnTo>
                    <a:lnTo>
                      <a:pt x="1776" y="1132"/>
                    </a:lnTo>
                    <a:lnTo>
                      <a:pt x="1774" y="1132"/>
                    </a:lnTo>
                    <a:lnTo>
                      <a:pt x="1771" y="1132"/>
                    </a:lnTo>
                    <a:lnTo>
                      <a:pt x="1771" y="1132"/>
                    </a:lnTo>
                    <a:lnTo>
                      <a:pt x="1769" y="1132"/>
                    </a:lnTo>
                    <a:lnTo>
                      <a:pt x="1766" y="1132"/>
                    </a:lnTo>
                    <a:lnTo>
                      <a:pt x="1764" y="1132"/>
                    </a:lnTo>
                    <a:lnTo>
                      <a:pt x="1762" y="1132"/>
                    </a:lnTo>
                    <a:lnTo>
                      <a:pt x="1736" y="1132"/>
                    </a:lnTo>
                    <a:lnTo>
                      <a:pt x="1736" y="1134"/>
                    </a:lnTo>
                    <a:lnTo>
                      <a:pt x="1736" y="1158"/>
                    </a:lnTo>
                    <a:lnTo>
                      <a:pt x="1733" y="1158"/>
                    </a:lnTo>
                    <a:lnTo>
                      <a:pt x="1733" y="1158"/>
                    </a:lnTo>
                    <a:lnTo>
                      <a:pt x="1731" y="1158"/>
                    </a:lnTo>
                    <a:lnTo>
                      <a:pt x="1729" y="1158"/>
                    </a:lnTo>
                    <a:lnTo>
                      <a:pt x="1726" y="1158"/>
                    </a:lnTo>
                    <a:lnTo>
                      <a:pt x="1726" y="1158"/>
                    </a:lnTo>
                    <a:lnTo>
                      <a:pt x="1724" y="1158"/>
                    </a:lnTo>
                    <a:lnTo>
                      <a:pt x="1722" y="1158"/>
                    </a:lnTo>
                    <a:lnTo>
                      <a:pt x="1719" y="1158"/>
                    </a:lnTo>
                    <a:lnTo>
                      <a:pt x="1717" y="1158"/>
                    </a:lnTo>
                    <a:lnTo>
                      <a:pt x="1717" y="1158"/>
                    </a:lnTo>
                    <a:lnTo>
                      <a:pt x="1714" y="1158"/>
                    </a:lnTo>
                    <a:lnTo>
                      <a:pt x="1712" y="1158"/>
                    </a:lnTo>
                    <a:lnTo>
                      <a:pt x="1712" y="1160"/>
                    </a:lnTo>
                    <a:lnTo>
                      <a:pt x="1712" y="1201"/>
                    </a:lnTo>
                    <a:lnTo>
                      <a:pt x="1712" y="1201"/>
                    </a:lnTo>
                    <a:lnTo>
                      <a:pt x="1710" y="1201"/>
                    </a:lnTo>
                    <a:lnTo>
                      <a:pt x="1707" y="1201"/>
                    </a:lnTo>
                    <a:lnTo>
                      <a:pt x="1705" y="1201"/>
                    </a:lnTo>
                    <a:lnTo>
                      <a:pt x="1705" y="1201"/>
                    </a:lnTo>
                    <a:lnTo>
                      <a:pt x="1703" y="1201"/>
                    </a:lnTo>
                    <a:lnTo>
                      <a:pt x="1700" y="1201"/>
                    </a:lnTo>
                    <a:lnTo>
                      <a:pt x="1698" y="1201"/>
                    </a:lnTo>
                    <a:lnTo>
                      <a:pt x="1696" y="1201"/>
                    </a:lnTo>
                    <a:lnTo>
                      <a:pt x="1696" y="1201"/>
                    </a:lnTo>
                    <a:lnTo>
                      <a:pt x="1693" y="1201"/>
                    </a:lnTo>
                    <a:lnTo>
                      <a:pt x="1691" y="1201"/>
                    </a:lnTo>
                    <a:lnTo>
                      <a:pt x="1688" y="1201"/>
                    </a:lnTo>
                    <a:lnTo>
                      <a:pt x="1686" y="1201"/>
                    </a:lnTo>
                    <a:lnTo>
                      <a:pt x="1686" y="1201"/>
                    </a:lnTo>
                    <a:lnTo>
                      <a:pt x="1684" y="1201"/>
                    </a:lnTo>
                    <a:lnTo>
                      <a:pt x="1681" y="1201"/>
                    </a:lnTo>
                    <a:lnTo>
                      <a:pt x="1679" y="1201"/>
                    </a:lnTo>
                    <a:lnTo>
                      <a:pt x="1679" y="1201"/>
                    </a:lnTo>
                    <a:lnTo>
                      <a:pt x="1677" y="1201"/>
                    </a:lnTo>
                    <a:lnTo>
                      <a:pt x="1674" y="1201"/>
                    </a:lnTo>
                    <a:lnTo>
                      <a:pt x="1672" y="1201"/>
                    </a:lnTo>
                    <a:lnTo>
                      <a:pt x="1672" y="1201"/>
                    </a:lnTo>
                    <a:lnTo>
                      <a:pt x="1670" y="1201"/>
                    </a:lnTo>
                    <a:lnTo>
                      <a:pt x="1570" y="1201"/>
                    </a:lnTo>
                    <a:lnTo>
                      <a:pt x="1570" y="1127"/>
                    </a:lnTo>
                    <a:lnTo>
                      <a:pt x="1551" y="1127"/>
                    </a:lnTo>
                    <a:lnTo>
                      <a:pt x="1551" y="1085"/>
                    </a:lnTo>
                    <a:lnTo>
                      <a:pt x="1511" y="1085"/>
                    </a:lnTo>
                    <a:lnTo>
                      <a:pt x="1511" y="1087"/>
                    </a:lnTo>
                    <a:lnTo>
                      <a:pt x="1511" y="1127"/>
                    </a:lnTo>
                    <a:lnTo>
                      <a:pt x="1509" y="1127"/>
                    </a:lnTo>
                    <a:lnTo>
                      <a:pt x="1506" y="1127"/>
                    </a:lnTo>
                    <a:lnTo>
                      <a:pt x="1506" y="1127"/>
                    </a:lnTo>
                    <a:lnTo>
                      <a:pt x="1504" y="1127"/>
                    </a:lnTo>
                    <a:lnTo>
                      <a:pt x="1502" y="1127"/>
                    </a:lnTo>
                    <a:lnTo>
                      <a:pt x="1499" y="1127"/>
                    </a:lnTo>
                    <a:lnTo>
                      <a:pt x="1499" y="1127"/>
                    </a:lnTo>
                    <a:lnTo>
                      <a:pt x="1497" y="1127"/>
                    </a:lnTo>
                    <a:lnTo>
                      <a:pt x="1495" y="1127"/>
                    </a:lnTo>
                    <a:lnTo>
                      <a:pt x="1495" y="1127"/>
                    </a:lnTo>
                    <a:lnTo>
                      <a:pt x="1495" y="1127"/>
                    </a:lnTo>
                    <a:lnTo>
                      <a:pt x="1495" y="1201"/>
                    </a:lnTo>
                    <a:lnTo>
                      <a:pt x="1492" y="1201"/>
                    </a:lnTo>
                    <a:lnTo>
                      <a:pt x="1490" y="1201"/>
                    </a:lnTo>
                    <a:lnTo>
                      <a:pt x="1490" y="1201"/>
                    </a:lnTo>
                    <a:lnTo>
                      <a:pt x="1487" y="1201"/>
                    </a:lnTo>
                    <a:lnTo>
                      <a:pt x="1485" y="1201"/>
                    </a:lnTo>
                    <a:lnTo>
                      <a:pt x="1483" y="1201"/>
                    </a:lnTo>
                    <a:lnTo>
                      <a:pt x="1480" y="1201"/>
                    </a:lnTo>
                    <a:lnTo>
                      <a:pt x="1480" y="1201"/>
                    </a:lnTo>
                    <a:lnTo>
                      <a:pt x="1478" y="1201"/>
                    </a:lnTo>
                    <a:lnTo>
                      <a:pt x="1476" y="1201"/>
                    </a:lnTo>
                    <a:lnTo>
                      <a:pt x="1473" y="1201"/>
                    </a:lnTo>
                    <a:lnTo>
                      <a:pt x="1471" y="1201"/>
                    </a:lnTo>
                    <a:lnTo>
                      <a:pt x="1471" y="1201"/>
                    </a:lnTo>
                    <a:lnTo>
                      <a:pt x="1469" y="1201"/>
                    </a:lnTo>
                    <a:lnTo>
                      <a:pt x="1466" y="1201"/>
                    </a:lnTo>
                    <a:lnTo>
                      <a:pt x="1464" y="1201"/>
                    </a:lnTo>
                    <a:lnTo>
                      <a:pt x="1464" y="1201"/>
                    </a:lnTo>
                    <a:lnTo>
                      <a:pt x="1461" y="1201"/>
                    </a:lnTo>
                    <a:lnTo>
                      <a:pt x="1459" y="1201"/>
                    </a:lnTo>
                    <a:lnTo>
                      <a:pt x="1457" y="1201"/>
                    </a:lnTo>
                    <a:lnTo>
                      <a:pt x="1454" y="1201"/>
                    </a:lnTo>
                    <a:lnTo>
                      <a:pt x="1454" y="1201"/>
                    </a:lnTo>
                    <a:lnTo>
                      <a:pt x="1452" y="1201"/>
                    </a:lnTo>
                    <a:lnTo>
                      <a:pt x="1450" y="1201"/>
                    </a:lnTo>
                    <a:lnTo>
                      <a:pt x="1447" y="1201"/>
                    </a:lnTo>
                    <a:lnTo>
                      <a:pt x="1447" y="1201"/>
                    </a:lnTo>
                    <a:lnTo>
                      <a:pt x="1447" y="1175"/>
                    </a:lnTo>
                    <a:lnTo>
                      <a:pt x="1447" y="1151"/>
                    </a:lnTo>
                    <a:lnTo>
                      <a:pt x="1447" y="829"/>
                    </a:lnTo>
                    <a:lnTo>
                      <a:pt x="1251" y="829"/>
                    </a:lnTo>
                    <a:lnTo>
                      <a:pt x="1251" y="753"/>
                    </a:lnTo>
                    <a:lnTo>
                      <a:pt x="1057" y="753"/>
                    </a:lnTo>
                    <a:lnTo>
                      <a:pt x="1057" y="756"/>
                    </a:lnTo>
                    <a:lnTo>
                      <a:pt x="1057" y="829"/>
                    </a:lnTo>
                    <a:lnTo>
                      <a:pt x="1055" y="829"/>
                    </a:lnTo>
                    <a:lnTo>
                      <a:pt x="1052" y="829"/>
                    </a:lnTo>
                    <a:lnTo>
                      <a:pt x="1050" y="829"/>
                    </a:lnTo>
                    <a:lnTo>
                      <a:pt x="1050" y="829"/>
                    </a:lnTo>
                    <a:lnTo>
                      <a:pt x="1048" y="829"/>
                    </a:lnTo>
                    <a:lnTo>
                      <a:pt x="1045" y="829"/>
                    </a:lnTo>
                    <a:lnTo>
                      <a:pt x="1043" y="829"/>
                    </a:lnTo>
                    <a:lnTo>
                      <a:pt x="1041" y="829"/>
                    </a:lnTo>
                    <a:lnTo>
                      <a:pt x="1041" y="829"/>
                    </a:lnTo>
                    <a:lnTo>
                      <a:pt x="1038" y="829"/>
                    </a:lnTo>
                    <a:lnTo>
                      <a:pt x="1036" y="829"/>
                    </a:lnTo>
                    <a:lnTo>
                      <a:pt x="1033" y="829"/>
                    </a:lnTo>
                    <a:lnTo>
                      <a:pt x="1033" y="829"/>
                    </a:lnTo>
                    <a:lnTo>
                      <a:pt x="1031" y="829"/>
                    </a:lnTo>
                    <a:lnTo>
                      <a:pt x="1029" y="829"/>
                    </a:lnTo>
                    <a:lnTo>
                      <a:pt x="1026" y="829"/>
                    </a:lnTo>
                    <a:lnTo>
                      <a:pt x="1024" y="829"/>
                    </a:lnTo>
                    <a:lnTo>
                      <a:pt x="1024" y="829"/>
                    </a:lnTo>
                    <a:lnTo>
                      <a:pt x="1022" y="829"/>
                    </a:lnTo>
                    <a:lnTo>
                      <a:pt x="1019" y="829"/>
                    </a:lnTo>
                    <a:lnTo>
                      <a:pt x="1017" y="829"/>
                    </a:lnTo>
                    <a:lnTo>
                      <a:pt x="1015" y="829"/>
                    </a:lnTo>
                    <a:lnTo>
                      <a:pt x="1015" y="829"/>
                    </a:lnTo>
                    <a:lnTo>
                      <a:pt x="1012" y="829"/>
                    </a:lnTo>
                    <a:lnTo>
                      <a:pt x="1010" y="829"/>
                    </a:lnTo>
                    <a:lnTo>
                      <a:pt x="1007" y="829"/>
                    </a:lnTo>
                    <a:lnTo>
                      <a:pt x="1007" y="829"/>
                    </a:lnTo>
                    <a:lnTo>
                      <a:pt x="1005" y="829"/>
                    </a:lnTo>
                    <a:lnTo>
                      <a:pt x="1003" y="829"/>
                    </a:lnTo>
                    <a:lnTo>
                      <a:pt x="1000" y="829"/>
                    </a:lnTo>
                    <a:lnTo>
                      <a:pt x="998" y="829"/>
                    </a:lnTo>
                    <a:lnTo>
                      <a:pt x="998" y="829"/>
                    </a:lnTo>
                    <a:lnTo>
                      <a:pt x="996" y="829"/>
                    </a:lnTo>
                    <a:lnTo>
                      <a:pt x="993" y="829"/>
                    </a:lnTo>
                    <a:lnTo>
                      <a:pt x="991" y="829"/>
                    </a:lnTo>
                    <a:lnTo>
                      <a:pt x="989" y="829"/>
                    </a:lnTo>
                    <a:lnTo>
                      <a:pt x="989" y="829"/>
                    </a:lnTo>
                    <a:lnTo>
                      <a:pt x="986" y="829"/>
                    </a:lnTo>
                    <a:lnTo>
                      <a:pt x="984" y="829"/>
                    </a:lnTo>
                    <a:lnTo>
                      <a:pt x="854" y="829"/>
                    </a:lnTo>
                    <a:lnTo>
                      <a:pt x="854" y="829"/>
                    </a:lnTo>
                    <a:lnTo>
                      <a:pt x="854" y="1070"/>
                    </a:lnTo>
                    <a:lnTo>
                      <a:pt x="851" y="1070"/>
                    </a:lnTo>
                    <a:lnTo>
                      <a:pt x="849" y="1070"/>
                    </a:lnTo>
                    <a:lnTo>
                      <a:pt x="847" y="1070"/>
                    </a:lnTo>
                    <a:lnTo>
                      <a:pt x="844" y="1070"/>
                    </a:lnTo>
                    <a:lnTo>
                      <a:pt x="844" y="1070"/>
                    </a:lnTo>
                    <a:lnTo>
                      <a:pt x="842" y="1070"/>
                    </a:lnTo>
                    <a:lnTo>
                      <a:pt x="840" y="1070"/>
                    </a:lnTo>
                    <a:lnTo>
                      <a:pt x="837" y="1070"/>
                    </a:lnTo>
                    <a:lnTo>
                      <a:pt x="837" y="1070"/>
                    </a:lnTo>
                    <a:lnTo>
                      <a:pt x="835" y="1070"/>
                    </a:lnTo>
                    <a:lnTo>
                      <a:pt x="832" y="1070"/>
                    </a:lnTo>
                    <a:lnTo>
                      <a:pt x="830" y="1070"/>
                    </a:lnTo>
                    <a:lnTo>
                      <a:pt x="828" y="1070"/>
                    </a:lnTo>
                    <a:lnTo>
                      <a:pt x="828" y="1070"/>
                    </a:lnTo>
                    <a:lnTo>
                      <a:pt x="825" y="1070"/>
                    </a:lnTo>
                    <a:lnTo>
                      <a:pt x="823" y="1070"/>
                    </a:lnTo>
                    <a:lnTo>
                      <a:pt x="821" y="1070"/>
                    </a:lnTo>
                    <a:lnTo>
                      <a:pt x="818" y="1070"/>
                    </a:lnTo>
                    <a:lnTo>
                      <a:pt x="818" y="1070"/>
                    </a:lnTo>
                    <a:lnTo>
                      <a:pt x="818" y="864"/>
                    </a:lnTo>
                    <a:lnTo>
                      <a:pt x="818" y="618"/>
                    </a:lnTo>
                    <a:lnTo>
                      <a:pt x="601" y="618"/>
                    </a:lnTo>
                    <a:lnTo>
                      <a:pt x="601" y="547"/>
                    </a:lnTo>
                    <a:lnTo>
                      <a:pt x="350" y="547"/>
                    </a:lnTo>
                    <a:lnTo>
                      <a:pt x="350" y="550"/>
                    </a:lnTo>
                    <a:lnTo>
                      <a:pt x="350" y="618"/>
                    </a:lnTo>
                    <a:lnTo>
                      <a:pt x="348" y="618"/>
                    </a:lnTo>
                    <a:lnTo>
                      <a:pt x="345" y="618"/>
                    </a:lnTo>
                    <a:lnTo>
                      <a:pt x="343" y="618"/>
                    </a:lnTo>
                    <a:lnTo>
                      <a:pt x="343" y="618"/>
                    </a:lnTo>
                    <a:lnTo>
                      <a:pt x="341" y="618"/>
                    </a:lnTo>
                    <a:lnTo>
                      <a:pt x="338" y="618"/>
                    </a:lnTo>
                    <a:lnTo>
                      <a:pt x="336" y="618"/>
                    </a:lnTo>
                    <a:lnTo>
                      <a:pt x="336" y="618"/>
                    </a:lnTo>
                    <a:lnTo>
                      <a:pt x="334" y="618"/>
                    </a:lnTo>
                    <a:lnTo>
                      <a:pt x="331" y="618"/>
                    </a:lnTo>
                    <a:lnTo>
                      <a:pt x="329" y="618"/>
                    </a:lnTo>
                    <a:lnTo>
                      <a:pt x="326" y="618"/>
                    </a:lnTo>
                    <a:lnTo>
                      <a:pt x="326" y="618"/>
                    </a:lnTo>
                    <a:lnTo>
                      <a:pt x="324" y="618"/>
                    </a:lnTo>
                    <a:lnTo>
                      <a:pt x="322" y="618"/>
                    </a:lnTo>
                    <a:lnTo>
                      <a:pt x="319" y="618"/>
                    </a:lnTo>
                    <a:lnTo>
                      <a:pt x="317" y="618"/>
                    </a:lnTo>
                    <a:lnTo>
                      <a:pt x="317" y="618"/>
                    </a:lnTo>
                    <a:lnTo>
                      <a:pt x="315" y="618"/>
                    </a:lnTo>
                    <a:lnTo>
                      <a:pt x="312" y="618"/>
                    </a:lnTo>
                    <a:lnTo>
                      <a:pt x="310" y="618"/>
                    </a:lnTo>
                    <a:lnTo>
                      <a:pt x="310" y="618"/>
                    </a:lnTo>
                    <a:lnTo>
                      <a:pt x="308" y="618"/>
                    </a:lnTo>
                    <a:lnTo>
                      <a:pt x="305" y="618"/>
                    </a:lnTo>
                    <a:lnTo>
                      <a:pt x="303" y="618"/>
                    </a:lnTo>
                    <a:lnTo>
                      <a:pt x="300" y="618"/>
                    </a:lnTo>
                    <a:lnTo>
                      <a:pt x="300" y="618"/>
                    </a:lnTo>
                    <a:lnTo>
                      <a:pt x="298" y="618"/>
                    </a:lnTo>
                    <a:lnTo>
                      <a:pt x="296" y="618"/>
                    </a:lnTo>
                    <a:lnTo>
                      <a:pt x="293" y="618"/>
                    </a:lnTo>
                    <a:lnTo>
                      <a:pt x="293" y="618"/>
                    </a:lnTo>
                    <a:lnTo>
                      <a:pt x="291" y="618"/>
                    </a:lnTo>
                    <a:lnTo>
                      <a:pt x="289" y="618"/>
                    </a:lnTo>
                    <a:lnTo>
                      <a:pt x="286" y="618"/>
                    </a:lnTo>
                    <a:lnTo>
                      <a:pt x="284" y="618"/>
                    </a:lnTo>
                    <a:lnTo>
                      <a:pt x="284" y="618"/>
                    </a:lnTo>
                    <a:lnTo>
                      <a:pt x="282" y="618"/>
                    </a:lnTo>
                    <a:lnTo>
                      <a:pt x="144" y="618"/>
                    </a:lnTo>
                    <a:lnTo>
                      <a:pt x="144" y="618"/>
                    </a:lnTo>
                    <a:lnTo>
                      <a:pt x="144" y="1454"/>
                    </a:lnTo>
                    <a:lnTo>
                      <a:pt x="142" y="1454"/>
                    </a:lnTo>
                    <a:lnTo>
                      <a:pt x="140" y="1454"/>
                    </a:lnTo>
                    <a:lnTo>
                      <a:pt x="140" y="1454"/>
                    </a:lnTo>
                    <a:lnTo>
                      <a:pt x="137" y="1454"/>
                    </a:lnTo>
                    <a:lnTo>
                      <a:pt x="135" y="1454"/>
                    </a:lnTo>
                    <a:lnTo>
                      <a:pt x="133" y="1454"/>
                    </a:lnTo>
                    <a:lnTo>
                      <a:pt x="130" y="1454"/>
                    </a:lnTo>
                    <a:lnTo>
                      <a:pt x="130" y="1454"/>
                    </a:lnTo>
                    <a:lnTo>
                      <a:pt x="128" y="1454"/>
                    </a:lnTo>
                    <a:lnTo>
                      <a:pt x="126" y="1454"/>
                    </a:lnTo>
                    <a:lnTo>
                      <a:pt x="123" y="1454"/>
                    </a:lnTo>
                    <a:lnTo>
                      <a:pt x="123" y="1454"/>
                    </a:lnTo>
                    <a:lnTo>
                      <a:pt x="121" y="1454"/>
                    </a:lnTo>
                    <a:lnTo>
                      <a:pt x="118" y="1454"/>
                    </a:lnTo>
                    <a:lnTo>
                      <a:pt x="116" y="1454"/>
                    </a:lnTo>
                    <a:lnTo>
                      <a:pt x="114" y="1454"/>
                    </a:lnTo>
                    <a:lnTo>
                      <a:pt x="114" y="1454"/>
                    </a:lnTo>
                    <a:lnTo>
                      <a:pt x="111" y="1454"/>
                    </a:lnTo>
                    <a:lnTo>
                      <a:pt x="109" y="1454"/>
                    </a:lnTo>
                    <a:lnTo>
                      <a:pt x="107" y="1454"/>
                    </a:lnTo>
                    <a:lnTo>
                      <a:pt x="104" y="1454"/>
                    </a:lnTo>
                    <a:lnTo>
                      <a:pt x="104" y="1454"/>
                    </a:lnTo>
                    <a:lnTo>
                      <a:pt x="102" y="1454"/>
                    </a:lnTo>
                    <a:lnTo>
                      <a:pt x="99" y="1454"/>
                    </a:lnTo>
                    <a:lnTo>
                      <a:pt x="97" y="1454"/>
                    </a:lnTo>
                    <a:lnTo>
                      <a:pt x="97" y="1454"/>
                    </a:lnTo>
                    <a:lnTo>
                      <a:pt x="95" y="1454"/>
                    </a:lnTo>
                    <a:lnTo>
                      <a:pt x="92" y="1454"/>
                    </a:lnTo>
                    <a:lnTo>
                      <a:pt x="90" y="1454"/>
                    </a:lnTo>
                    <a:lnTo>
                      <a:pt x="88" y="1454"/>
                    </a:lnTo>
                    <a:lnTo>
                      <a:pt x="88" y="1454"/>
                    </a:lnTo>
                    <a:lnTo>
                      <a:pt x="85" y="1454"/>
                    </a:lnTo>
                    <a:lnTo>
                      <a:pt x="83" y="1454"/>
                    </a:lnTo>
                    <a:lnTo>
                      <a:pt x="81" y="1454"/>
                    </a:lnTo>
                    <a:lnTo>
                      <a:pt x="78" y="1454"/>
                    </a:lnTo>
                    <a:lnTo>
                      <a:pt x="78" y="1454"/>
                    </a:lnTo>
                    <a:lnTo>
                      <a:pt x="76" y="1454"/>
                    </a:lnTo>
                    <a:lnTo>
                      <a:pt x="73" y="1454"/>
                    </a:lnTo>
                    <a:lnTo>
                      <a:pt x="71" y="1454"/>
                    </a:lnTo>
                    <a:lnTo>
                      <a:pt x="71" y="1454"/>
                    </a:lnTo>
                    <a:lnTo>
                      <a:pt x="69" y="1454"/>
                    </a:lnTo>
                    <a:lnTo>
                      <a:pt x="66" y="1454"/>
                    </a:lnTo>
                    <a:lnTo>
                      <a:pt x="64" y="1454"/>
                    </a:lnTo>
                    <a:lnTo>
                      <a:pt x="62" y="1454"/>
                    </a:lnTo>
                    <a:lnTo>
                      <a:pt x="62" y="1454"/>
                    </a:lnTo>
                    <a:lnTo>
                      <a:pt x="59" y="1454"/>
                    </a:lnTo>
                    <a:lnTo>
                      <a:pt x="57" y="1454"/>
                    </a:lnTo>
                    <a:lnTo>
                      <a:pt x="55" y="1454"/>
                    </a:lnTo>
                    <a:lnTo>
                      <a:pt x="52" y="1454"/>
                    </a:lnTo>
                    <a:lnTo>
                      <a:pt x="52" y="1454"/>
                    </a:lnTo>
                    <a:lnTo>
                      <a:pt x="50" y="1454"/>
                    </a:lnTo>
                    <a:lnTo>
                      <a:pt x="50" y="1454"/>
                    </a:lnTo>
                    <a:lnTo>
                      <a:pt x="50" y="1456"/>
                    </a:lnTo>
                    <a:lnTo>
                      <a:pt x="50" y="1534"/>
                    </a:lnTo>
                    <a:lnTo>
                      <a:pt x="47" y="1534"/>
                    </a:lnTo>
                    <a:lnTo>
                      <a:pt x="45" y="1534"/>
                    </a:lnTo>
                    <a:lnTo>
                      <a:pt x="43" y="1534"/>
                    </a:lnTo>
                    <a:lnTo>
                      <a:pt x="43" y="1534"/>
                    </a:lnTo>
                    <a:lnTo>
                      <a:pt x="40" y="1534"/>
                    </a:lnTo>
                    <a:lnTo>
                      <a:pt x="38" y="1534"/>
                    </a:lnTo>
                    <a:lnTo>
                      <a:pt x="36" y="1534"/>
                    </a:lnTo>
                    <a:lnTo>
                      <a:pt x="33" y="1534"/>
                    </a:lnTo>
                    <a:lnTo>
                      <a:pt x="33" y="1534"/>
                    </a:lnTo>
                    <a:lnTo>
                      <a:pt x="31" y="1534"/>
                    </a:lnTo>
                    <a:lnTo>
                      <a:pt x="29" y="1534"/>
                    </a:lnTo>
                    <a:lnTo>
                      <a:pt x="26" y="1534"/>
                    </a:lnTo>
                    <a:lnTo>
                      <a:pt x="26" y="1534"/>
                    </a:lnTo>
                    <a:lnTo>
                      <a:pt x="24" y="1534"/>
                    </a:lnTo>
                    <a:lnTo>
                      <a:pt x="21" y="1534"/>
                    </a:lnTo>
                    <a:lnTo>
                      <a:pt x="19" y="1534"/>
                    </a:lnTo>
                    <a:lnTo>
                      <a:pt x="17" y="1534"/>
                    </a:lnTo>
                    <a:lnTo>
                      <a:pt x="17" y="1534"/>
                    </a:lnTo>
                    <a:lnTo>
                      <a:pt x="14" y="1534"/>
                    </a:lnTo>
                    <a:lnTo>
                      <a:pt x="12" y="1534"/>
                    </a:lnTo>
                    <a:lnTo>
                      <a:pt x="10" y="1534"/>
                    </a:lnTo>
                    <a:lnTo>
                      <a:pt x="7" y="1534"/>
                    </a:lnTo>
                    <a:lnTo>
                      <a:pt x="7" y="1534"/>
                    </a:lnTo>
                    <a:lnTo>
                      <a:pt x="5" y="1534"/>
                    </a:lnTo>
                    <a:lnTo>
                      <a:pt x="3" y="1534"/>
                    </a:lnTo>
                    <a:lnTo>
                      <a:pt x="0" y="1534"/>
                    </a:lnTo>
                    <a:lnTo>
                      <a:pt x="0" y="1534"/>
                    </a:lnTo>
                    <a:lnTo>
                      <a:pt x="0" y="1537"/>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512"/>
                    </a:lnTo>
                    <a:lnTo>
                      <a:pt x="7072" y="1693"/>
                    </a:lnTo>
                    <a:lnTo>
                      <a:pt x="7070" y="1693"/>
                    </a:lnTo>
                    <a:lnTo>
                      <a:pt x="7070" y="1693"/>
                    </a:lnTo>
                    <a:lnTo>
                      <a:pt x="7068" y="1693"/>
                    </a:lnTo>
                    <a:lnTo>
                      <a:pt x="7065" y="1693"/>
                    </a:lnTo>
                    <a:lnTo>
                      <a:pt x="7063" y="1693"/>
                    </a:lnTo>
                    <a:lnTo>
                      <a:pt x="7063" y="1693"/>
                    </a:lnTo>
                    <a:lnTo>
                      <a:pt x="7061" y="1693"/>
                    </a:lnTo>
                    <a:lnTo>
                      <a:pt x="7058" y="1693"/>
                    </a:lnTo>
                    <a:lnTo>
                      <a:pt x="7056" y="1693"/>
                    </a:lnTo>
                    <a:lnTo>
                      <a:pt x="7054" y="1693"/>
                    </a:lnTo>
                    <a:lnTo>
                      <a:pt x="7054" y="1693"/>
                    </a:lnTo>
                    <a:lnTo>
                      <a:pt x="7051" y="1693"/>
                    </a:lnTo>
                    <a:lnTo>
                      <a:pt x="7049" y="1693"/>
                    </a:lnTo>
                    <a:lnTo>
                      <a:pt x="7046" y="1693"/>
                    </a:lnTo>
                    <a:lnTo>
                      <a:pt x="7046" y="1693"/>
                    </a:lnTo>
                    <a:lnTo>
                      <a:pt x="7044" y="1693"/>
                    </a:lnTo>
                    <a:lnTo>
                      <a:pt x="7042" y="1693"/>
                    </a:lnTo>
                    <a:lnTo>
                      <a:pt x="7039" y="1693"/>
                    </a:lnTo>
                    <a:lnTo>
                      <a:pt x="7037" y="1693"/>
                    </a:lnTo>
                    <a:lnTo>
                      <a:pt x="7037" y="1693"/>
                    </a:lnTo>
                    <a:lnTo>
                      <a:pt x="7035" y="1693"/>
                    </a:lnTo>
                    <a:lnTo>
                      <a:pt x="7032" y="1693"/>
                    </a:lnTo>
                    <a:lnTo>
                      <a:pt x="7030" y="1693"/>
                    </a:lnTo>
                    <a:lnTo>
                      <a:pt x="7030" y="1693"/>
                    </a:lnTo>
                    <a:lnTo>
                      <a:pt x="7030" y="1094"/>
                    </a:lnTo>
                    <a:lnTo>
                      <a:pt x="7028" y="1094"/>
                    </a:lnTo>
                    <a:lnTo>
                      <a:pt x="7028" y="1094"/>
                    </a:lnTo>
                    <a:lnTo>
                      <a:pt x="7025" y="1094"/>
                    </a:lnTo>
                    <a:lnTo>
                      <a:pt x="7023" y="1094"/>
                    </a:lnTo>
                    <a:lnTo>
                      <a:pt x="7020" y="1094"/>
                    </a:lnTo>
                    <a:lnTo>
                      <a:pt x="7020" y="1094"/>
                    </a:lnTo>
                    <a:lnTo>
                      <a:pt x="7018" y="1094"/>
                    </a:lnTo>
                    <a:lnTo>
                      <a:pt x="7016" y="1094"/>
                    </a:lnTo>
                    <a:lnTo>
                      <a:pt x="7013" y="1094"/>
                    </a:lnTo>
                    <a:lnTo>
                      <a:pt x="7011" y="1094"/>
                    </a:lnTo>
                    <a:lnTo>
                      <a:pt x="7011" y="1094"/>
                    </a:lnTo>
                    <a:lnTo>
                      <a:pt x="7009" y="1094"/>
                    </a:lnTo>
                    <a:lnTo>
                      <a:pt x="7006" y="1094"/>
                    </a:lnTo>
                    <a:lnTo>
                      <a:pt x="7004" y="1094"/>
                    </a:lnTo>
                    <a:lnTo>
                      <a:pt x="7001" y="1094"/>
                    </a:lnTo>
                    <a:lnTo>
                      <a:pt x="7001" y="1094"/>
                    </a:lnTo>
                    <a:lnTo>
                      <a:pt x="6999" y="1094"/>
                    </a:lnTo>
                    <a:lnTo>
                      <a:pt x="6997" y="1094"/>
                    </a:lnTo>
                    <a:lnTo>
                      <a:pt x="6994" y="1094"/>
                    </a:lnTo>
                    <a:lnTo>
                      <a:pt x="6994" y="1094"/>
                    </a:lnTo>
                    <a:lnTo>
                      <a:pt x="6992" y="1094"/>
                    </a:lnTo>
                    <a:lnTo>
                      <a:pt x="6990" y="1094"/>
                    </a:lnTo>
                    <a:lnTo>
                      <a:pt x="6987" y="1094"/>
                    </a:lnTo>
                    <a:lnTo>
                      <a:pt x="6985" y="1094"/>
                    </a:lnTo>
                    <a:lnTo>
                      <a:pt x="6985" y="1094"/>
                    </a:lnTo>
                    <a:lnTo>
                      <a:pt x="6983" y="1094"/>
                    </a:lnTo>
                    <a:lnTo>
                      <a:pt x="6980" y="1094"/>
                    </a:lnTo>
                    <a:lnTo>
                      <a:pt x="6978" y="1094"/>
                    </a:lnTo>
                    <a:lnTo>
                      <a:pt x="6905" y="1094"/>
                    </a:lnTo>
                    <a:lnTo>
                      <a:pt x="6905" y="1059"/>
                    </a:lnTo>
                    <a:lnTo>
                      <a:pt x="6519" y="1059"/>
                    </a:lnTo>
                    <a:lnTo>
                      <a:pt x="6519" y="935"/>
                    </a:lnTo>
                    <a:lnTo>
                      <a:pt x="6486" y="935"/>
                    </a:lnTo>
                    <a:lnTo>
                      <a:pt x="6477" y="895"/>
                    </a:lnTo>
                    <a:lnTo>
                      <a:pt x="6472" y="895"/>
                    </a:lnTo>
                    <a:lnTo>
                      <a:pt x="6472" y="879"/>
                    </a:lnTo>
                    <a:lnTo>
                      <a:pt x="6465" y="879"/>
                    </a:lnTo>
                    <a:lnTo>
                      <a:pt x="6465" y="850"/>
                    </a:lnTo>
                    <a:lnTo>
                      <a:pt x="6446" y="850"/>
                    </a:lnTo>
                    <a:lnTo>
                      <a:pt x="6446" y="853"/>
                    </a:lnTo>
                    <a:lnTo>
                      <a:pt x="6446" y="879"/>
                    </a:lnTo>
                    <a:lnTo>
                      <a:pt x="6443" y="879"/>
                    </a:lnTo>
                    <a:lnTo>
                      <a:pt x="6441" y="879"/>
                    </a:lnTo>
                    <a:lnTo>
                      <a:pt x="6439" y="879"/>
                    </a:lnTo>
                    <a:lnTo>
                      <a:pt x="6439" y="879"/>
                    </a:lnTo>
                    <a:lnTo>
                      <a:pt x="6436" y="879"/>
                    </a:lnTo>
                    <a:lnTo>
                      <a:pt x="6436" y="881"/>
                    </a:lnTo>
                    <a:lnTo>
                      <a:pt x="6436" y="895"/>
                    </a:lnTo>
                    <a:lnTo>
                      <a:pt x="6436" y="895"/>
                    </a:lnTo>
                    <a:lnTo>
                      <a:pt x="6434" y="895"/>
                    </a:lnTo>
                    <a:lnTo>
                      <a:pt x="6432" y="895"/>
                    </a:lnTo>
                    <a:lnTo>
                      <a:pt x="6432" y="898"/>
                    </a:lnTo>
                    <a:lnTo>
                      <a:pt x="6425" y="935"/>
                    </a:lnTo>
                    <a:lnTo>
                      <a:pt x="6422" y="935"/>
                    </a:lnTo>
                    <a:lnTo>
                      <a:pt x="6420" y="935"/>
                    </a:lnTo>
                    <a:lnTo>
                      <a:pt x="6420" y="935"/>
                    </a:lnTo>
                    <a:lnTo>
                      <a:pt x="6417" y="935"/>
                    </a:lnTo>
                    <a:lnTo>
                      <a:pt x="6417" y="935"/>
                    </a:lnTo>
                    <a:lnTo>
                      <a:pt x="6415" y="935"/>
                    </a:lnTo>
                    <a:lnTo>
                      <a:pt x="6413" y="935"/>
                    </a:lnTo>
                    <a:lnTo>
                      <a:pt x="6413" y="935"/>
                    </a:lnTo>
                    <a:lnTo>
                      <a:pt x="6410" y="935"/>
                    </a:lnTo>
                    <a:lnTo>
                      <a:pt x="6408" y="935"/>
                    </a:lnTo>
                    <a:lnTo>
                      <a:pt x="6408" y="935"/>
                    </a:lnTo>
                    <a:lnTo>
                      <a:pt x="6406" y="935"/>
                    </a:lnTo>
                    <a:lnTo>
                      <a:pt x="6406" y="935"/>
                    </a:lnTo>
                    <a:lnTo>
                      <a:pt x="6403" y="935"/>
                    </a:lnTo>
                    <a:lnTo>
                      <a:pt x="6401" y="935"/>
                    </a:lnTo>
                    <a:lnTo>
                      <a:pt x="6401" y="935"/>
                    </a:lnTo>
                    <a:lnTo>
                      <a:pt x="6399" y="935"/>
                    </a:lnTo>
                    <a:lnTo>
                      <a:pt x="6399" y="935"/>
                    </a:lnTo>
                    <a:lnTo>
                      <a:pt x="6396" y="935"/>
                    </a:lnTo>
                    <a:lnTo>
                      <a:pt x="6394" y="935"/>
                    </a:lnTo>
                    <a:lnTo>
                      <a:pt x="6394" y="935"/>
                    </a:lnTo>
                    <a:lnTo>
                      <a:pt x="6391" y="935"/>
                    </a:lnTo>
                    <a:lnTo>
                      <a:pt x="6391" y="935"/>
                    </a:lnTo>
                    <a:lnTo>
                      <a:pt x="6389" y="935"/>
                    </a:lnTo>
                    <a:lnTo>
                      <a:pt x="6387" y="935"/>
                    </a:lnTo>
                    <a:lnTo>
                      <a:pt x="6387" y="938"/>
                    </a:lnTo>
                    <a:lnTo>
                      <a:pt x="6387" y="1130"/>
                    </a:lnTo>
                    <a:lnTo>
                      <a:pt x="6387" y="1130"/>
                    </a:lnTo>
                    <a:lnTo>
                      <a:pt x="6384" y="1130"/>
                    </a:lnTo>
                    <a:lnTo>
                      <a:pt x="6382" y="1130"/>
                    </a:lnTo>
                    <a:lnTo>
                      <a:pt x="6380" y="1130"/>
                    </a:lnTo>
                    <a:lnTo>
                      <a:pt x="6377" y="1130"/>
                    </a:lnTo>
                    <a:lnTo>
                      <a:pt x="6377" y="1130"/>
                    </a:lnTo>
                    <a:lnTo>
                      <a:pt x="6375" y="1130"/>
                    </a:lnTo>
                    <a:lnTo>
                      <a:pt x="6373" y="1130"/>
                    </a:lnTo>
                    <a:lnTo>
                      <a:pt x="6370" y="1130"/>
                    </a:lnTo>
                    <a:lnTo>
                      <a:pt x="6370" y="1130"/>
                    </a:lnTo>
                    <a:lnTo>
                      <a:pt x="6370" y="1132"/>
                    </a:lnTo>
                    <a:lnTo>
                      <a:pt x="6370" y="1364"/>
                    </a:lnTo>
                    <a:lnTo>
                      <a:pt x="6368" y="1364"/>
                    </a:lnTo>
                    <a:lnTo>
                      <a:pt x="6365" y="1364"/>
                    </a:lnTo>
                    <a:lnTo>
                      <a:pt x="6365" y="1364"/>
                    </a:lnTo>
                    <a:lnTo>
                      <a:pt x="6363" y="1364"/>
                    </a:lnTo>
                    <a:lnTo>
                      <a:pt x="6361" y="1364"/>
                    </a:lnTo>
                    <a:lnTo>
                      <a:pt x="6358" y="1364"/>
                    </a:lnTo>
                    <a:lnTo>
                      <a:pt x="6358" y="1364"/>
                    </a:lnTo>
                    <a:lnTo>
                      <a:pt x="6356" y="1364"/>
                    </a:lnTo>
                    <a:lnTo>
                      <a:pt x="6354" y="1364"/>
                    </a:lnTo>
                    <a:lnTo>
                      <a:pt x="6351" y="1364"/>
                    </a:lnTo>
                    <a:lnTo>
                      <a:pt x="6349" y="1364"/>
                    </a:lnTo>
                    <a:lnTo>
                      <a:pt x="6349" y="1364"/>
                    </a:lnTo>
                    <a:lnTo>
                      <a:pt x="6347" y="1364"/>
                    </a:lnTo>
                    <a:lnTo>
                      <a:pt x="6344" y="1364"/>
                    </a:lnTo>
                    <a:lnTo>
                      <a:pt x="6344" y="1364"/>
                    </a:lnTo>
                    <a:lnTo>
                      <a:pt x="6344" y="1210"/>
                    </a:lnTo>
                    <a:lnTo>
                      <a:pt x="6342" y="1210"/>
                    </a:lnTo>
                    <a:lnTo>
                      <a:pt x="6339" y="1210"/>
                    </a:lnTo>
                    <a:lnTo>
                      <a:pt x="6339" y="1210"/>
                    </a:lnTo>
                    <a:lnTo>
                      <a:pt x="6337" y="1210"/>
                    </a:lnTo>
                    <a:lnTo>
                      <a:pt x="6335" y="1210"/>
                    </a:lnTo>
                    <a:lnTo>
                      <a:pt x="6332" y="1210"/>
                    </a:lnTo>
                    <a:lnTo>
                      <a:pt x="6332" y="1210"/>
                    </a:lnTo>
                    <a:lnTo>
                      <a:pt x="6330" y="1210"/>
                    </a:lnTo>
                    <a:lnTo>
                      <a:pt x="6328" y="1210"/>
                    </a:lnTo>
                    <a:lnTo>
                      <a:pt x="6325" y="1210"/>
                    </a:lnTo>
                    <a:lnTo>
                      <a:pt x="6323" y="1210"/>
                    </a:lnTo>
                    <a:lnTo>
                      <a:pt x="6323" y="1210"/>
                    </a:lnTo>
                    <a:lnTo>
                      <a:pt x="6321" y="1210"/>
                    </a:lnTo>
                    <a:lnTo>
                      <a:pt x="6318" y="1210"/>
                    </a:lnTo>
                    <a:lnTo>
                      <a:pt x="6316" y="1210"/>
                    </a:lnTo>
                    <a:lnTo>
                      <a:pt x="6313" y="1210"/>
                    </a:lnTo>
                    <a:lnTo>
                      <a:pt x="6313" y="1210"/>
                    </a:lnTo>
                    <a:lnTo>
                      <a:pt x="6311" y="1210"/>
                    </a:lnTo>
                    <a:lnTo>
                      <a:pt x="6309" y="1210"/>
                    </a:lnTo>
                    <a:lnTo>
                      <a:pt x="6306" y="1210"/>
                    </a:lnTo>
                    <a:lnTo>
                      <a:pt x="6306" y="1210"/>
                    </a:lnTo>
                    <a:lnTo>
                      <a:pt x="6304" y="1210"/>
                    </a:lnTo>
                    <a:lnTo>
                      <a:pt x="6302" y="1210"/>
                    </a:lnTo>
                    <a:lnTo>
                      <a:pt x="6299" y="1210"/>
                    </a:lnTo>
                    <a:lnTo>
                      <a:pt x="6297" y="1210"/>
                    </a:lnTo>
                    <a:lnTo>
                      <a:pt x="6297" y="1210"/>
                    </a:lnTo>
                    <a:lnTo>
                      <a:pt x="6295" y="1210"/>
                    </a:lnTo>
                    <a:lnTo>
                      <a:pt x="6292" y="1210"/>
                    </a:lnTo>
                    <a:lnTo>
                      <a:pt x="6290" y="1210"/>
                    </a:lnTo>
                    <a:lnTo>
                      <a:pt x="6280" y="1210"/>
                    </a:lnTo>
                    <a:lnTo>
                      <a:pt x="6280" y="1130"/>
                    </a:lnTo>
                    <a:lnTo>
                      <a:pt x="6122" y="1130"/>
                    </a:lnTo>
                    <a:lnTo>
                      <a:pt x="6122" y="1042"/>
                    </a:lnTo>
                    <a:lnTo>
                      <a:pt x="6103" y="1042"/>
                    </a:lnTo>
                    <a:lnTo>
                      <a:pt x="6103" y="990"/>
                    </a:lnTo>
                    <a:lnTo>
                      <a:pt x="5997" y="990"/>
                    </a:lnTo>
                    <a:lnTo>
                      <a:pt x="5997" y="992"/>
                    </a:lnTo>
                    <a:lnTo>
                      <a:pt x="5997" y="1042"/>
                    </a:lnTo>
                    <a:lnTo>
                      <a:pt x="5994" y="1042"/>
                    </a:lnTo>
                    <a:lnTo>
                      <a:pt x="5992" y="1042"/>
                    </a:lnTo>
                    <a:lnTo>
                      <a:pt x="5992" y="1042"/>
                    </a:lnTo>
                    <a:lnTo>
                      <a:pt x="5989" y="1042"/>
                    </a:lnTo>
                    <a:lnTo>
                      <a:pt x="5987" y="1042"/>
                    </a:lnTo>
                    <a:lnTo>
                      <a:pt x="5985" y="1042"/>
                    </a:lnTo>
                    <a:lnTo>
                      <a:pt x="5985" y="1042"/>
                    </a:lnTo>
                    <a:lnTo>
                      <a:pt x="5982" y="1042"/>
                    </a:lnTo>
                    <a:lnTo>
                      <a:pt x="5980" y="1042"/>
                    </a:lnTo>
                    <a:lnTo>
                      <a:pt x="5978" y="1042"/>
                    </a:lnTo>
                    <a:lnTo>
                      <a:pt x="5978" y="1044"/>
                    </a:lnTo>
                    <a:lnTo>
                      <a:pt x="5978" y="1130"/>
                    </a:lnTo>
                    <a:lnTo>
                      <a:pt x="5978" y="1130"/>
                    </a:lnTo>
                    <a:lnTo>
                      <a:pt x="5975" y="1130"/>
                    </a:lnTo>
                    <a:lnTo>
                      <a:pt x="5973" y="1130"/>
                    </a:lnTo>
                    <a:lnTo>
                      <a:pt x="5971" y="1130"/>
                    </a:lnTo>
                    <a:lnTo>
                      <a:pt x="5968" y="1130"/>
                    </a:lnTo>
                    <a:lnTo>
                      <a:pt x="5968" y="1130"/>
                    </a:lnTo>
                    <a:lnTo>
                      <a:pt x="5966" y="1130"/>
                    </a:lnTo>
                    <a:lnTo>
                      <a:pt x="5963" y="1130"/>
                    </a:lnTo>
                    <a:lnTo>
                      <a:pt x="5961" y="1130"/>
                    </a:lnTo>
                    <a:lnTo>
                      <a:pt x="5959" y="1130"/>
                    </a:lnTo>
                    <a:lnTo>
                      <a:pt x="5959" y="1130"/>
                    </a:lnTo>
                    <a:lnTo>
                      <a:pt x="5956" y="1130"/>
                    </a:lnTo>
                    <a:lnTo>
                      <a:pt x="5954" y="1130"/>
                    </a:lnTo>
                    <a:lnTo>
                      <a:pt x="5952" y="1130"/>
                    </a:lnTo>
                    <a:lnTo>
                      <a:pt x="5952" y="1130"/>
                    </a:lnTo>
                    <a:lnTo>
                      <a:pt x="5949" y="1130"/>
                    </a:lnTo>
                    <a:lnTo>
                      <a:pt x="5947" y="1130"/>
                    </a:lnTo>
                    <a:lnTo>
                      <a:pt x="5945" y="1130"/>
                    </a:lnTo>
                    <a:lnTo>
                      <a:pt x="5942" y="1130"/>
                    </a:lnTo>
                    <a:lnTo>
                      <a:pt x="5942" y="1130"/>
                    </a:lnTo>
                    <a:lnTo>
                      <a:pt x="5940" y="1130"/>
                    </a:lnTo>
                    <a:lnTo>
                      <a:pt x="5937" y="1130"/>
                    </a:lnTo>
                    <a:lnTo>
                      <a:pt x="5935" y="1130"/>
                    </a:lnTo>
                    <a:lnTo>
                      <a:pt x="5935" y="1130"/>
                    </a:lnTo>
                    <a:lnTo>
                      <a:pt x="5933" y="1130"/>
                    </a:lnTo>
                    <a:lnTo>
                      <a:pt x="5930" y="1130"/>
                    </a:lnTo>
                    <a:lnTo>
                      <a:pt x="5928" y="1130"/>
                    </a:lnTo>
                    <a:lnTo>
                      <a:pt x="5926" y="1130"/>
                    </a:lnTo>
                    <a:lnTo>
                      <a:pt x="5926" y="1130"/>
                    </a:lnTo>
                    <a:lnTo>
                      <a:pt x="5923" y="1130"/>
                    </a:lnTo>
                    <a:lnTo>
                      <a:pt x="5921" y="1130"/>
                    </a:lnTo>
                    <a:lnTo>
                      <a:pt x="5919" y="1130"/>
                    </a:lnTo>
                    <a:lnTo>
                      <a:pt x="5916" y="1130"/>
                    </a:lnTo>
                    <a:lnTo>
                      <a:pt x="5916" y="1130"/>
                    </a:lnTo>
                    <a:lnTo>
                      <a:pt x="5914" y="1130"/>
                    </a:lnTo>
                    <a:lnTo>
                      <a:pt x="5911" y="1130"/>
                    </a:lnTo>
                    <a:lnTo>
                      <a:pt x="5909" y="1130"/>
                    </a:lnTo>
                    <a:lnTo>
                      <a:pt x="5909" y="1130"/>
                    </a:lnTo>
                    <a:lnTo>
                      <a:pt x="5907" y="1130"/>
                    </a:lnTo>
                    <a:lnTo>
                      <a:pt x="5904" y="1130"/>
                    </a:lnTo>
                    <a:lnTo>
                      <a:pt x="5904" y="1130"/>
                    </a:lnTo>
                    <a:lnTo>
                      <a:pt x="5904" y="1132"/>
                    </a:lnTo>
                    <a:lnTo>
                      <a:pt x="5904" y="1210"/>
                    </a:lnTo>
                    <a:lnTo>
                      <a:pt x="5902" y="1210"/>
                    </a:lnTo>
                    <a:lnTo>
                      <a:pt x="5900" y="1210"/>
                    </a:lnTo>
                    <a:lnTo>
                      <a:pt x="5897" y="1210"/>
                    </a:lnTo>
                    <a:lnTo>
                      <a:pt x="5897" y="1210"/>
                    </a:lnTo>
                    <a:lnTo>
                      <a:pt x="5895" y="1210"/>
                    </a:lnTo>
                    <a:lnTo>
                      <a:pt x="5893" y="1210"/>
                    </a:lnTo>
                    <a:lnTo>
                      <a:pt x="5890" y="1210"/>
                    </a:lnTo>
                    <a:lnTo>
                      <a:pt x="5888" y="1210"/>
                    </a:lnTo>
                    <a:lnTo>
                      <a:pt x="5888" y="1210"/>
                    </a:lnTo>
                    <a:lnTo>
                      <a:pt x="5885" y="1210"/>
                    </a:lnTo>
                    <a:lnTo>
                      <a:pt x="5883" y="1210"/>
                    </a:lnTo>
                    <a:lnTo>
                      <a:pt x="5881" y="1210"/>
                    </a:lnTo>
                    <a:lnTo>
                      <a:pt x="5878" y="1210"/>
                    </a:lnTo>
                    <a:lnTo>
                      <a:pt x="5878" y="1210"/>
                    </a:lnTo>
                    <a:lnTo>
                      <a:pt x="5878" y="1212"/>
                    </a:lnTo>
                    <a:lnTo>
                      <a:pt x="5878" y="1326"/>
                    </a:lnTo>
                    <a:lnTo>
                      <a:pt x="5876" y="1326"/>
                    </a:lnTo>
                    <a:lnTo>
                      <a:pt x="5876" y="1326"/>
                    </a:lnTo>
                    <a:lnTo>
                      <a:pt x="5874" y="1326"/>
                    </a:lnTo>
                    <a:lnTo>
                      <a:pt x="5871" y="1326"/>
                    </a:lnTo>
                    <a:lnTo>
                      <a:pt x="5869" y="1326"/>
                    </a:lnTo>
                    <a:lnTo>
                      <a:pt x="5867" y="1326"/>
                    </a:lnTo>
                    <a:lnTo>
                      <a:pt x="5867" y="1326"/>
                    </a:lnTo>
                    <a:lnTo>
                      <a:pt x="5864" y="1326"/>
                    </a:lnTo>
                    <a:lnTo>
                      <a:pt x="5862" y="1326"/>
                    </a:lnTo>
                    <a:lnTo>
                      <a:pt x="5859" y="1326"/>
                    </a:lnTo>
                    <a:lnTo>
                      <a:pt x="5857" y="1326"/>
                    </a:lnTo>
                    <a:lnTo>
                      <a:pt x="5857" y="1326"/>
                    </a:lnTo>
                    <a:lnTo>
                      <a:pt x="5855" y="1326"/>
                    </a:lnTo>
                    <a:lnTo>
                      <a:pt x="5852" y="1326"/>
                    </a:lnTo>
                    <a:lnTo>
                      <a:pt x="5850" y="1326"/>
                    </a:lnTo>
                    <a:lnTo>
                      <a:pt x="5850" y="1326"/>
                    </a:lnTo>
                    <a:lnTo>
                      <a:pt x="5848" y="1326"/>
                    </a:lnTo>
                    <a:lnTo>
                      <a:pt x="5845" y="1326"/>
                    </a:lnTo>
                    <a:lnTo>
                      <a:pt x="5843" y="1326"/>
                    </a:lnTo>
                    <a:lnTo>
                      <a:pt x="5841" y="1326"/>
                    </a:lnTo>
                    <a:lnTo>
                      <a:pt x="5841" y="1326"/>
                    </a:lnTo>
                    <a:lnTo>
                      <a:pt x="5838" y="1326"/>
                    </a:lnTo>
                    <a:lnTo>
                      <a:pt x="5836" y="1326"/>
                    </a:lnTo>
                    <a:lnTo>
                      <a:pt x="5833" y="1326"/>
                    </a:lnTo>
                    <a:lnTo>
                      <a:pt x="5831" y="1326"/>
                    </a:lnTo>
                    <a:lnTo>
                      <a:pt x="5831" y="1326"/>
                    </a:lnTo>
                    <a:lnTo>
                      <a:pt x="5829" y="1326"/>
                    </a:lnTo>
                    <a:lnTo>
                      <a:pt x="5826" y="1326"/>
                    </a:lnTo>
                    <a:lnTo>
                      <a:pt x="5824" y="1326"/>
                    </a:lnTo>
                    <a:lnTo>
                      <a:pt x="5824" y="1326"/>
                    </a:lnTo>
                    <a:lnTo>
                      <a:pt x="5822" y="1326"/>
                    </a:lnTo>
                    <a:lnTo>
                      <a:pt x="5819" y="1326"/>
                    </a:lnTo>
                    <a:lnTo>
                      <a:pt x="5817" y="1326"/>
                    </a:lnTo>
                    <a:lnTo>
                      <a:pt x="5815" y="1326"/>
                    </a:lnTo>
                    <a:lnTo>
                      <a:pt x="5815" y="1326"/>
                    </a:lnTo>
                    <a:lnTo>
                      <a:pt x="5812" y="1326"/>
                    </a:lnTo>
                    <a:lnTo>
                      <a:pt x="5810" y="1326"/>
                    </a:lnTo>
                    <a:lnTo>
                      <a:pt x="5807" y="1326"/>
                    </a:lnTo>
                    <a:lnTo>
                      <a:pt x="5807" y="1326"/>
                    </a:lnTo>
                    <a:lnTo>
                      <a:pt x="5805" y="1326"/>
                    </a:lnTo>
                    <a:lnTo>
                      <a:pt x="5803" y="1326"/>
                    </a:lnTo>
                    <a:lnTo>
                      <a:pt x="5800" y="1326"/>
                    </a:lnTo>
                    <a:lnTo>
                      <a:pt x="5798" y="1326"/>
                    </a:lnTo>
                    <a:lnTo>
                      <a:pt x="5798" y="1326"/>
                    </a:lnTo>
                    <a:lnTo>
                      <a:pt x="5796" y="1326"/>
                    </a:lnTo>
                    <a:lnTo>
                      <a:pt x="5793" y="1326"/>
                    </a:lnTo>
                    <a:lnTo>
                      <a:pt x="5791" y="1326"/>
                    </a:lnTo>
                    <a:lnTo>
                      <a:pt x="5788" y="1326"/>
                    </a:lnTo>
                    <a:lnTo>
                      <a:pt x="5788" y="1326"/>
                    </a:lnTo>
                    <a:lnTo>
                      <a:pt x="5786" y="1326"/>
                    </a:lnTo>
                    <a:lnTo>
                      <a:pt x="5784" y="1326"/>
                    </a:lnTo>
                    <a:lnTo>
                      <a:pt x="5713" y="1326"/>
                    </a:lnTo>
                    <a:lnTo>
                      <a:pt x="5713" y="1329"/>
                    </a:lnTo>
                    <a:lnTo>
                      <a:pt x="5713" y="1449"/>
                    </a:lnTo>
                    <a:lnTo>
                      <a:pt x="5710" y="1449"/>
                    </a:lnTo>
                    <a:lnTo>
                      <a:pt x="5710" y="1449"/>
                    </a:lnTo>
                    <a:lnTo>
                      <a:pt x="5708" y="1449"/>
                    </a:lnTo>
                    <a:lnTo>
                      <a:pt x="5706" y="1449"/>
                    </a:lnTo>
                    <a:lnTo>
                      <a:pt x="5703" y="1449"/>
                    </a:lnTo>
                    <a:lnTo>
                      <a:pt x="5703" y="1449"/>
                    </a:lnTo>
                    <a:lnTo>
                      <a:pt x="5701" y="1449"/>
                    </a:lnTo>
                    <a:lnTo>
                      <a:pt x="5699" y="1449"/>
                    </a:lnTo>
                    <a:lnTo>
                      <a:pt x="5696" y="1449"/>
                    </a:lnTo>
                    <a:lnTo>
                      <a:pt x="5694" y="1449"/>
                    </a:lnTo>
                    <a:lnTo>
                      <a:pt x="5694" y="1449"/>
                    </a:lnTo>
                    <a:lnTo>
                      <a:pt x="5692" y="1449"/>
                    </a:lnTo>
                    <a:lnTo>
                      <a:pt x="5689" y="1449"/>
                    </a:lnTo>
                    <a:lnTo>
                      <a:pt x="5687" y="1449"/>
                    </a:lnTo>
                    <a:lnTo>
                      <a:pt x="5684" y="1449"/>
                    </a:lnTo>
                    <a:lnTo>
                      <a:pt x="5684" y="1449"/>
                    </a:lnTo>
                    <a:lnTo>
                      <a:pt x="5682" y="1449"/>
                    </a:lnTo>
                    <a:lnTo>
                      <a:pt x="5680" y="1449"/>
                    </a:lnTo>
                    <a:lnTo>
                      <a:pt x="5677" y="1449"/>
                    </a:lnTo>
                    <a:lnTo>
                      <a:pt x="5677" y="1449"/>
                    </a:lnTo>
                    <a:lnTo>
                      <a:pt x="5675" y="1449"/>
                    </a:lnTo>
                    <a:lnTo>
                      <a:pt x="5673" y="1449"/>
                    </a:lnTo>
                    <a:lnTo>
                      <a:pt x="5670" y="1449"/>
                    </a:lnTo>
                    <a:lnTo>
                      <a:pt x="5668" y="1449"/>
                    </a:lnTo>
                    <a:lnTo>
                      <a:pt x="5668" y="1449"/>
                    </a:lnTo>
                    <a:lnTo>
                      <a:pt x="5666" y="1449"/>
                    </a:lnTo>
                    <a:lnTo>
                      <a:pt x="5666" y="1376"/>
                    </a:lnTo>
                    <a:lnTo>
                      <a:pt x="5666" y="732"/>
                    </a:lnTo>
                    <a:lnTo>
                      <a:pt x="5531" y="732"/>
                    </a:lnTo>
                    <a:lnTo>
                      <a:pt x="5531" y="611"/>
                    </a:lnTo>
                    <a:lnTo>
                      <a:pt x="5301" y="611"/>
                    </a:lnTo>
                    <a:lnTo>
                      <a:pt x="5301" y="611"/>
                    </a:lnTo>
                    <a:lnTo>
                      <a:pt x="5301" y="732"/>
                    </a:lnTo>
                    <a:lnTo>
                      <a:pt x="5299" y="732"/>
                    </a:lnTo>
                    <a:lnTo>
                      <a:pt x="5297" y="732"/>
                    </a:lnTo>
                    <a:lnTo>
                      <a:pt x="5294" y="732"/>
                    </a:lnTo>
                    <a:lnTo>
                      <a:pt x="5292" y="732"/>
                    </a:lnTo>
                    <a:lnTo>
                      <a:pt x="5292" y="732"/>
                    </a:lnTo>
                    <a:lnTo>
                      <a:pt x="5290" y="732"/>
                    </a:lnTo>
                    <a:lnTo>
                      <a:pt x="5287" y="732"/>
                    </a:lnTo>
                    <a:lnTo>
                      <a:pt x="5285" y="732"/>
                    </a:lnTo>
                    <a:lnTo>
                      <a:pt x="5285" y="732"/>
                    </a:lnTo>
                    <a:lnTo>
                      <a:pt x="5282" y="732"/>
                    </a:lnTo>
                    <a:lnTo>
                      <a:pt x="5280" y="732"/>
                    </a:lnTo>
                    <a:lnTo>
                      <a:pt x="5278" y="732"/>
                    </a:lnTo>
                    <a:lnTo>
                      <a:pt x="5275" y="732"/>
                    </a:lnTo>
                    <a:lnTo>
                      <a:pt x="5275" y="732"/>
                    </a:lnTo>
                    <a:lnTo>
                      <a:pt x="5273" y="732"/>
                    </a:lnTo>
                    <a:lnTo>
                      <a:pt x="5271" y="732"/>
                    </a:lnTo>
                    <a:lnTo>
                      <a:pt x="5268" y="732"/>
                    </a:lnTo>
                    <a:lnTo>
                      <a:pt x="5268" y="732"/>
                    </a:lnTo>
                    <a:lnTo>
                      <a:pt x="5266" y="732"/>
                    </a:lnTo>
                    <a:lnTo>
                      <a:pt x="5264" y="732"/>
                    </a:lnTo>
                    <a:lnTo>
                      <a:pt x="5261" y="732"/>
                    </a:lnTo>
                    <a:lnTo>
                      <a:pt x="5259" y="732"/>
                    </a:lnTo>
                    <a:lnTo>
                      <a:pt x="5259" y="732"/>
                    </a:lnTo>
                    <a:lnTo>
                      <a:pt x="5256" y="732"/>
                    </a:lnTo>
                    <a:lnTo>
                      <a:pt x="5254" y="732"/>
                    </a:lnTo>
                    <a:lnTo>
                      <a:pt x="5252" y="732"/>
                    </a:lnTo>
                    <a:lnTo>
                      <a:pt x="5249" y="732"/>
                    </a:lnTo>
                    <a:lnTo>
                      <a:pt x="5249" y="732"/>
                    </a:lnTo>
                    <a:lnTo>
                      <a:pt x="5247" y="732"/>
                    </a:lnTo>
                    <a:lnTo>
                      <a:pt x="5245" y="732"/>
                    </a:lnTo>
                    <a:lnTo>
                      <a:pt x="5242" y="732"/>
                    </a:lnTo>
                    <a:lnTo>
                      <a:pt x="5242" y="732"/>
                    </a:lnTo>
                    <a:lnTo>
                      <a:pt x="5240" y="732"/>
                    </a:lnTo>
                    <a:lnTo>
                      <a:pt x="5238" y="732"/>
                    </a:lnTo>
                    <a:lnTo>
                      <a:pt x="5235" y="732"/>
                    </a:lnTo>
                    <a:lnTo>
                      <a:pt x="5233" y="732"/>
                    </a:lnTo>
                    <a:lnTo>
                      <a:pt x="5233" y="732"/>
                    </a:lnTo>
                    <a:lnTo>
                      <a:pt x="5230" y="732"/>
                    </a:lnTo>
                    <a:lnTo>
                      <a:pt x="5228" y="732"/>
                    </a:lnTo>
                    <a:lnTo>
                      <a:pt x="5226" y="732"/>
                    </a:lnTo>
                    <a:lnTo>
                      <a:pt x="5223" y="732"/>
                    </a:lnTo>
                    <a:lnTo>
                      <a:pt x="5223" y="732"/>
                    </a:lnTo>
                    <a:lnTo>
                      <a:pt x="5221" y="732"/>
                    </a:lnTo>
                    <a:lnTo>
                      <a:pt x="5219" y="732"/>
                    </a:lnTo>
                    <a:lnTo>
                      <a:pt x="5216" y="732"/>
                    </a:lnTo>
                    <a:lnTo>
                      <a:pt x="5216" y="732"/>
                    </a:lnTo>
                    <a:lnTo>
                      <a:pt x="5214" y="732"/>
                    </a:lnTo>
                    <a:lnTo>
                      <a:pt x="5212" y="732"/>
                    </a:lnTo>
                    <a:lnTo>
                      <a:pt x="5209" y="732"/>
                    </a:lnTo>
                    <a:lnTo>
                      <a:pt x="5207" y="732"/>
                    </a:lnTo>
                    <a:lnTo>
                      <a:pt x="5207" y="732"/>
                    </a:lnTo>
                    <a:lnTo>
                      <a:pt x="5178" y="732"/>
                    </a:lnTo>
                    <a:lnTo>
                      <a:pt x="5178" y="734"/>
                    </a:lnTo>
                    <a:lnTo>
                      <a:pt x="5178" y="973"/>
                    </a:lnTo>
                    <a:lnTo>
                      <a:pt x="5178" y="973"/>
                    </a:lnTo>
                    <a:lnTo>
                      <a:pt x="5176" y="973"/>
                    </a:lnTo>
                    <a:lnTo>
                      <a:pt x="5174" y="973"/>
                    </a:lnTo>
                    <a:lnTo>
                      <a:pt x="5171" y="973"/>
                    </a:lnTo>
                    <a:lnTo>
                      <a:pt x="5171" y="973"/>
                    </a:lnTo>
                    <a:lnTo>
                      <a:pt x="5169" y="973"/>
                    </a:lnTo>
                    <a:lnTo>
                      <a:pt x="5167" y="973"/>
                    </a:lnTo>
                    <a:lnTo>
                      <a:pt x="5164" y="973"/>
                    </a:lnTo>
                    <a:lnTo>
                      <a:pt x="5162" y="973"/>
                    </a:lnTo>
                    <a:lnTo>
                      <a:pt x="5162" y="973"/>
                    </a:lnTo>
                    <a:lnTo>
                      <a:pt x="5160" y="973"/>
                    </a:lnTo>
                    <a:lnTo>
                      <a:pt x="5157" y="973"/>
                    </a:lnTo>
                    <a:lnTo>
                      <a:pt x="5155" y="973"/>
                    </a:lnTo>
                    <a:lnTo>
                      <a:pt x="5152" y="973"/>
                    </a:lnTo>
                    <a:lnTo>
                      <a:pt x="5152" y="973"/>
                    </a:lnTo>
                    <a:lnTo>
                      <a:pt x="5150" y="973"/>
                    </a:lnTo>
                    <a:lnTo>
                      <a:pt x="5148" y="973"/>
                    </a:lnTo>
                    <a:lnTo>
                      <a:pt x="5145" y="973"/>
                    </a:lnTo>
                    <a:lnTo>
                      <a:pt x="5145" y="973"/>
                    </a:lnTo>
                    <a:lnTo>
                      <a:pt x="5143" y="973"/>
                    </a:lnTo>
                    <a:lnTo>
                      <a:pt x="5141" y="973"/>
                    </a:lnTo>
                    <a:lnTo>
                      <a:pt x="5138" y="973"/>
                    </a:lnTo>
                    <a:lnTo>
                      <a:pt x="5136" y="973"/>
                    </a:lnTo>
                    <a:lnTo>
                      <a:pt x="5136" y="973"/>
                    </a:lnTo>
                    <a:lnTo>
                      <a:pt x="5134" y="973"/>
                    </a:lnTo>
                    <a:lnTo>
                      <a:pt x="5131" y="973"/>
                    </a:lnTo>
                    <a:lnTo>
                      <a:pt x="5129" y="973"/>
                    </a:lnTo>
                    <a:lnTo>
                      <a:pt x="5126" y="973"/>
                    </a:lnTo>
                    <a:lnTo>
                      <a:pt x="5126" y="973"/>
                    </a:lnTo>
                    <a:lnTo>
                      <a:pt x="5124" y="973"/>
                    </a:lnTo>
                    <a:lnTo>
                      <a:pt x="5122" y="973"/>
                    </a:lnTo>
                    <a:lnTo>
                      <a:pt x="5119" y="973"/>
                    </a:lnTo>
                    <a:lnTo>
                      <a:pt x="5119" y="973"/>
                    </a:lnTo>
                    <a:lnTo>
                      <a:pt x="5117" y="973"/>
                    </a:lnTo>
                    <a:lnTo>
                      <a:pt x="5115" y="973"/>
                    </a:lnTo>
                    <a:lnTo>
                      <a:pt x="5112" y="973"/>
                    </a:lnTo>
                    <a:lnTo>
                      <a:pt x="5110" y="973"/>
                    </a:lnTo>
                    <a:lnTo>
                      <a:pt x="5110" y="973"/>
                    </a:lnTo>
                    <a:lnTo>
                      <a:pt x="5108" y="973"/>
                    </a:lnTo>
                    <a:lnTo>
                      <a:pt x="5105" y="973"/>
                    </a:lnTo>
                    <a:lnTo>
                      <a:pt x="5103" y="973"/>
                    </a:lnTo>
                    <a:lnTo>
                      <a:pt x="5103" y="973"/>
                    </a:lnTo>
                    <a:lnTo>
                      <a:pt x="5100" y="973"/>
                    </a:lnTo>
                    <a:lnTo>
                      <a:pt x="5098" y="973"/>
                    </a:lnTo>
                    <a:lnTo>
                      <a:pt x="5096" y="973"/>
                    </a:lnTo>
                    <a:lnTo>
                      <a:pt x="5093" y="973"/>
                    </a:lnTo>
                    <a:lnTo>
                      <a:pt x="5093" y="973"/>
                    </a:lnTo>
                    <a:lnTo>
                      <a:pt x="5091" y="973"/>
                    </a:lnTo>
                    <a:lnTo>
                      <a:pt x="5089" y="973"/>
                    </a:lnTo>
                    <a:lnTo>
                      <a:pt x="5086" y="973"/>
                    </a:lnTo>
                    <a:lnTo>
                      <a:pt x="5084" y="973"/>
                    </a:lnTo>
                    <a:lnTo>
                      <a:pt x="4980" y="973"/>
                    </a:lnTo>
                    <a:lnTo>
                      <a:pt x="4980" y="232"/>
                    </a:lnTo>
                    <a:lnTo>
                      <a:pt x="4980" y="232"/>
                    </a:lnTo>
                    <a:lnTo>
                      <a:pt x="4980" y="0"/>
                    </a:lnTo>
                    <a:close/>
                  </a:path>
                </a:pathLst>
              </a:custGeom>
              <a:solidFill>
                <a:srgbClr val="11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30" name="Freeform 145"/>
              <p:cNvSpPr>
                <a:spLocks/>
              </p:cNvSpPr>
              <p:nvPr/>
            </p:nvSpPr>
            <p:spPr bwMode="auto">
              <a:xfrm>
                <a:off x="-3" y="1660"/>
                <a:ext cx="7567" cy="2676"/>
              </a:xfrm>
              <a:custGeom>
                <a:avLst/>
                <a:gdLst>
                  <a:gd name="T0" fmla="*/ 4921 w 7567"/>
                  <a:gd name="T1" fmla="*/ 173 h 2676"/>
                  <a:gd name="T2" fmla="*/ 4864 w 7567"/>
                  <a:gd name="T3" fmla="*/ 173 h 2676"/>
                  <a:gd name="T4" fmla="*/ 4826 w 7567"/>
                  <a:gd name="T5" fmla="*/ 232 h 2676"/>
                  <a:gd name="T6" fmla="*/ 4682 w 7567"/>
                  <a:gd name="T7" fmla="*/ 476 h 2676"/>
                  <a:gd name="T8" fmla="*/ 4642 w 7567"/>
                  <a:gd name="T9" fmla="*/ 502 h 2676"/>
                  <a:gd name="T10" fmla="*/ 4602 w 7567"/>
                  <a:gd name="T11" fmla="*/ 528 h 2676"/>
                  <a:gd name="T12" fmla="*/ 4166 w 7567"/>
                  <a:gd name="T13" fmla="*/ 597 h 2676"/>
                  <a:gd name="T14" fmla="*/ 4162 w 7567"/>
                  <a:gd name="T15" fmla="*/ 585 h 2676"/>
                  <a:gd name="T16" fmla="*/ 4003 w 7567"/>
                  <a:gd name="T17" fmla="*/ 644 h 2676"/>
                  <a:gd name="T18" fmla="*/ 3961 w 7567"/>
                  <a:gd name="T19" fmla="*/ 928 h 2676"/>
                  <a:gd name="T20" fmla="*/ 3916 w 7567"/>
                  <a:gd name="T21" fmla="*/ 928 h 2676"/>
                  <a:gd name="T22" fmla="*/ 3861 w 7567"/>
                  <a:gd name="T23" fmla="*/ 995 h 2676"/>
                  <a:gd name="T24" fmla="*/ 3812 w 7567"/>
                  <a:gd name="T25" fmla="*/ 1224 h 2676"/>
                  <a:gd name="T26" fmla="*/ 3767 w 7567"/>
                  <a:gd name="T27" fmla="*/ 1224 h 2676"/>
                  <a:gd name="T28" fmla="*/ 3729 w 7567"/>
                  <a:gd name="T29" fmla="*/ 1392 h 2676"/>
                  <a:gd name="T30" fmla="*/ 3689 w 7567"/>
                  <a:gd name="T31" fmla="*/ 1317 h 2676"/>
                  <a:gd name="T32" fmla="*/ 3493 w 7567"/>
                  <a:gd name="T33" fmla="*/ 436 h 2676"/>
                  <a:gd name="T34" fmla="*/ 3341 w 7567"/>
                  <a:gd name="T35" fmla="*/ 583 h 2676"/>
                  <a:gd name="T36" fmla="*/ 3303 w 7567"/>
                  <a:gd name="T37" fmla="*/ 658 h 2676"/>
                  <a:gd name="T38" fmla="*/ 3258 w 7567"/>
                  <a:gd name="T39" fmla="*/ 658 h 2676"/>
                  <a:gd name="T40" fmla="*/ 3152 w 7567"/>
                  <a:gd name="T41" fmla="*/ 763 h 2676"/>
                  <a:gd name="T42" fmla="*/ 3112 w 7567"/>
                  <a:gd name="T43" fmla="*/ 980 h 2676"/>
                  <a:gd name="T44" fmla="*/ 3067 w 7567"/>
                  <a:gd name="T45" fmla="*/ 980 h 2676"/>
                  <a:gd name="T46" fmla="*/ 2909 w 7567"/>
                  <a:gd name="T47" fmla="*/ 1241 h 2676"/>
                  <a:gd name="T48" fmla="*/ 2864 w 7567"/>
                  <a:gd name="T49" fmla="*/ 1241 h 2676"/>
                  <a:gd name="T50" fmla="*/ 2819 w 7567"/>
                  <a:gd name="T51" fmla="*/ 1241 h 2676"/>
                  <a:gd name="T52" fmla="*/ 2062 w 7567"/>
                  <a:gd name="T53" fmla="*/ 334 h 2676"/>
                  <a:gd name="T54" fmla="*/ 1972 w 7567"/>
                  <a:gd name="T55" fmla="*/ 370 h 2676"/>
                  <a:gd name="T56" fmla="*/ 1837 w 7567"/>
                  <a:gd name="T57" fmla="*/ 1132 h 2676"/>
                  <a:gd name="T58" fmla="*/ 1792 w 7567"/>
                  <a:gd name="T59" fmla="*/ 1132 h 2676"/>
                  <a:gd name="T60" fmla="*/ 1726 w 7567"/>
                  <a:gd name="T61" fmla="*/ 1158 h 2676"/>
                  <a:gd name="T62" fmla="*/ 1686 w 7567"/>
                  <a:gd name="T63" fmla="*/ 1201 h 2676"/>
                  <a:gd name="T64" fmla="*/ 1499 w 7567"/>
                  <a:gd name="T65" fmla="*/ 1127 h 2676"/>
                  <a:gd name="T66" fmla="*/ 1459 w 7567"/>
                  <a:gd name="T67" fmla="*/ 1201 h 2676"/>
                  <a:gd name="T68" fmla="*/ 1041 w 7567"/>
                  <a:gd name="T69" fmla="*/ 829 h 2676"/>
                  <a:gd name="T70" fmla="*/ 996 w 7567"/>
                  <a:gd name="T71" fmla="*/ 829 h 2676"/>
                  <a:gd name="T72" fmla="*/ 825 w 7567"/>
                  <a:gd name="T73" fmla="*/ 1070 h 2676"/>
                  <a:gd name="T74" fmla="*/ 326 w 7567"/>
                  <a:gd name="T75" fmla="*/ 618 h 2676"/>
                  <a:gd name="T76" fmla="*/ 282 w 7567"/>
                  <a:gd name="T77" fmla="*/ 618 h 2676"/>
                  <a:gd name="T78" fmla="*/ 104 w 7567"/>
                  <a:gd name="T79" fmla="*/ 1454 h 2676"/>
                  <a:gd name="T80" fmla="*/ 62 w 7567"/>
                  <a:gd name="T81" fmla="*/ 1454 h 2676"/>
                  <a:gd name="T82" fmla="*/ 21 w 7567"/>
                  <a:gd name="T83" fmla="*/ 1534 h 2676"/>
                  <a:gd name="T84" fmla="*/ 7328 w 7567"/>
                  <a:gd name="T85" fmla="*/ 509 h 2676"/>
                  <a:gd name="T86" fmla="*/ 7035 w 7567"/>
                  <a:gd name="T87" fmla="*/ 1693 h 2676"/>
                  <a:gd name="T88" fmla="*/ 6994 w 7567"/>
                  <a:gd name="T89" fmla="*/ 1094 h 2676"/>
                  <a:gd name="T90" fmla="*/ 6439 w 7567"/>
                  <a:gd name="T91" fmla="*/ 879 h 2676"/>
                  <a:gd name="T92" fmla="*/ 6401 w 7567"/>
                  <a:gd name="T93" fmla="*/ 935 h 2676"/>
                  <a:gd name="T94" fmla="*/ 6370 w 7567"/>
                  <a:gd name="T95" fmla="*/ 1364 h 2676"/>
                  <a:gd name="T96" fmla="*/ 6330 w 7567"/>
                  <a:gd name="T97" fmla="*/ 1210 h 2676"/>
                  <a:gd name="T98" fmla="*/ 6122 w 7567"/>
                  <a:gd name="T99" fmla="*/ 1130 h 2676"/>
                  <a:gd name="T100" fmla="*/ 5968 w 7567"/>
                  <a:gd name="T101" fmla="*/ 1130 h 2676"/>
                  <a:gd name="T102" fmla="*/ 5923 w 7567"/>
                  <a:gd name="T103" fmla="*/ 1130 h 2676"/>
                  <a:gd name="T104" fmla="*/ 5883 w 7567"/>
                  <a:gd name="T105" fmla="*/ 1210 h 2676"/>
                  <a:gd name="T106" fmla="*/ 5843 w 7567"/>
                  <a:gd name="T107" fmla="*/ 1326 h 2676"/>
                  <a:gd name="T108" fmla="*/ 5798 w 7567"/>
                  <a:gd name="T109" fmla="*/ 1326 h 2676"/>
                  <a:gd name="T110" fmla="*/ 5689 w 7567"/>
                  <a:gd name="T111" fmla="*/ 1449 h 2676"/>
                  <a:gd name="T112" fmla="*/ 5292 w 7567"/>
                  <a:gd name="T113" fmla="*/ 732 h 2676"/>
                  <a:gd name="T114" fmla="*/ 5249 w 7567"/>
                  <a:gd name="T115" fmla="*/ 732 h 2676"/>
                  <a:gd name="T116" fmla="*/ 5178 w 7567"/>
                  <a:gd name="T117" fmla="*/ 732 h 2676"/>
                  <a:gd name="T118" fmla="*/ 5138 w 7567"/>
                  <a:gd name="T119" fmla="*/ 973 h 2676"/>
                  <a:gd name="T120" fmla="*/ 5093 w 7567"/>
                  <a:gd name="T121" fmla="*/ 973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67" h="2676">
                    <a:moveTo>
                      <a:pt x="4980" y="0"/>
                    </a:moveTo>
                    <a:lnTo>
                      <a:pt x="4959" y="0"/>
                    </a:lnTo>
                    <a:lnTo>
                      <a:pt x="4959" y="3"/>
                    </a:lnTo>
                    <a:lnTo>
                      <a:pt x="4959" y="173"/>
                    </a:lnTo>
                    <a:lnTo>
                      <a:pt x="4956" y="173"/>
                    </a:lnTo>
                    <a:lnTo>
                      <a:pt x="4954" y="173"/>
                    </a:lnTo>
                    <a:lnTo>
                      <a:pt x="4951" y="173"/>
                    </a:lnTo>
                    <a:lnTo>
                      <a:pt x="4951" y="173"/>
                    </a:lnTo>
                    <a:lnTo>
                      <a:pt x="4949" y="173"/>
                    </a:lnTo>
                    <a:lnTo>
                      <a:pt x="4947" y="173"/>
                    </a:lnTo>
                    <a:lnTo>
                      <a:pt x="4944" y="173"/>
                    </a:lnTo>
                    <a:lnTo>
                      <a:pt x="4942" y="173"/>
                    </a:lnTo>
                    <a:lnTo>
                      <a:pt x="4942" y="173"/>
                    </a:lnTo>
                    <a:lnTo>
                      <a:pt x="4940" y="173"/>
                    </a:lnTo>
                    <a:lnTo>
                      <a:pt x="4937" y="173"/>
                    </a:lnTo>
                    <a:lnTo>
                      <a:pt x="4935" y="173"/>
                    </a:lnTo>
                    <a:lnTo>
                      <a:pt x="4933" y="173"/>
                    </a:lnTo>
                    <a:lnTo>
                      <a:pt x="4933" y="173"/>
                    </a:lnTo>
                    <a:lnTo>
                      <a:pt x="4930" y="173"/>
                    </a:lnTo>
                    <a:lnTo>
                      <a:pt x="4928" y="173"/>
                    </a:lnTo>
                    <a:lnTo>
                      <a:pt x="4925" y="173"/>
                    </a:lnTo>
                    <a:lnTo>
                      <a:pt x="4925" y="173"/>
                    </a:lnTo>
                    <a:lnTo>
                      <a:pt x="4923" y="173"/>
                    </a:lnTo>
                    <a:lnTo>
                      <a:pt x="4921" y="173"/>
                    </a:lnTo>
                    <a:lnTo>
                      <a:pt x="4921" y="38"/>
                    </a:lnTo>
                    <a:lnTo>
                      <a:pt x="4921" y="0"/>
                    </a:lnTo>
                    <a:lnTo>
                      <a:pt x="4899" y="0"/>
                    </a:lnTo>
                    <a:lnTo>
                      <a:pt x="4899" y="3"/>
                    </a:lnTo>
                    <a:lnTo>
                      <a:pt x="4899" y="173"/>
                    </a:lnTo>
                    <a:lnTo>
                      <a:pt x="4899" y="173"/>
                    </a:lnTo>
                    <a:lnTo>
                      <a:pt x="4897" y="173"/>
                    </a:lnTo>
                    <a:lnTo>
                      <a:pt x="4895" y="173"/>
                    </a:lnTo>
                    <a:lnTo>
                      <a:pt x="4892" y="173"/>
                    </a:lnTo>
                    <a:lnTo>
                      <a:pt x="4890" y="173"/>
                    </a:lnTo>
                    <a:lnTo>
                      <a:pt x="4890" y="173"/>
                    </a:lnTo>
                    <a:lnTo>
                      <a:pt x="4888" y="173"/>
                    </a:lnTo>
                    <a:lnTo>
                      <a:pt x="4885" y="173"/>
                    </a:lnTo>
                    <a:lnTo>
                      <a:pt x="4883" y="173"/>
                    </a:lnTo>
                    <a:lnTo>
                      <a:pt x="4881" y="173"/>
                    </a:lnTo>
                    <a:lnTo>
                      <a:pt x="4881" y="173"/>
                    </a:lnTo>
                    <a:lnTo>
                      <a:pt x="4878" y="173"/>
                    </a:lnTo>
                    <a:lnTo>
                      <a:pt x="4876" y="173"/>
                    </a:lnTo>
                    <a:lnTo>
                      <a:pt x="4873" y="173"/>
                    </a:lnTo>
                    <a:lnTo>
                      <a:pt x="4873" y="173"/>
                    </a:lnTo>
                    <a:lnTo>
                      <a:pt x="4871" y="173"/>
                    </a:lnTo>
                    <a:lnTo>
                      <a:pt x="4869" y="173"/>
                    </a:lnTo>
                    <a:lnTo>
                      <a:pt x="4866" y="173"/>
                    </a:lnTo>
                    <a:lnTo>
                      <a:pt x="4864" y="173"/>
                    </a:lnTo>
                    <a:lnTo>
                      <a:pt x="4864" y="173"/>
                    </a:lnTo>
                    <a:lnTo>
                      <a:pt x="4862" y="173"/>
                    </a:lnTo>
                    <a:lnTo>
                      <a:pt x="4859" y="173"/>
                    </a:lnTo>
                    <a:lnTo>
                      <a:pt x="4857" y="173"/>
                    </a:lnTo>
                    <a:lnTo>
                      <a:pt x="4855" y="173"/>
                    </a:lnTo>
                    <a:lnTo>
                      <a:pt x="4855" y="173"/>
                    </a:lnTo>
                    <a:lnTo>
                      <a:pt x="4852" y="173"/>
                    </a:lnTo>
                    <a:lnTo>
                      <a:pt x="4852" y="173"/>
                    </a:lnTo>
                    <a:lnTo>
                      <a:pt x="4852" y="175"/>
                    </a:lnTo>
                    <a:lnTo>
                      <a:pt x="4852" y="232"/>
                    </a:lnTo>
                    <a:lnTo>
                      <a:pt x="4850" y="232"/>
                    </a:lnTo>
                    <a:lnTo>
                      <a:pt x="4847" y="232"/>
                    </a:lnTo>
                    <a:lnTo>
                      <a:pt x="4845" y="232"/>
                    </a:lnTo>
                    <a:lnTo>
                      <a:pt x="4843" y="232"/>
                    </a:lnTo>
                    <a:lnTo>
                      <a:pt x="4843" y="232"/>
                    </a:lnTo>
                    <a:lnTo>
                      <a:pt x="4840" y="232"/>
                    </a:lnTo>
                    <a:lnTo>
                      <a:pt x="4838" y="232"/>
                    </a:lnTo>
                    <a:lnTo>
                      <a:pt x="4836" y="232"/>
                    </a:lnTo>
                    <a:lnTo>
                      <a:pt x="4836" y="232"/>
                    </a:lnTo>
                    <a:lnTo>
                      <a:pt x="4833" y="232"/>
                    </a:lnTo>
                    <a:lnTo>
                      <a:pt x="4831" y="232"/>
                    </a:lnTo>
                    <a:lnTo>
                      <a:pt x="4829" y="232"/>
                    </a:lnTo>
                    <a:lnTo>
                      <a:pt x="4826" y="232"/>
                    </a:lnTo>
                    <a:lnTo>
                      <a:pt x="4826" y="232"/>
                    </a:lnTo>
                    <a:lnTo>
                      <a:pt x="4824" y="232"/>
                    </a:lnTo>
                    <a:lnTo>
                      <a:pt x="4821" y="232"/>
                    </a:lnTo>
                    <a:lnTo>
                      <a:pt x="4819" y="232"/>
                    </a:lnTo>
                    <a:lnTo>
                      <a:pt x="4817" y="232"/>
                    </a:lnTo>
                    <a:lnTo>
                      <a:pt x="4817" y="232"/>
                    </a:lnTo>
                    <a:lnTo>
                      <a:pt x="4814" y="232"/>
                    </a:lnTo>
                    <a:lnTo>
                      <a:pt x="4812" y="232"/>
                    </a:lnTo>
                    <a:lnTo>
                      <a:pt x="4810" y="232"/>
                    </a:lnTo>
                    <a:lnTo>
                      <a:pt x="4810" y="232"/>
                    </a:lnTo>
                    <a:lnTo>
                      <a:pt x="4807" y="232"/>
                    </a:lnTo>
                    <a:lnTo>
                      <a:pt x="4805" y="232"/>
                    </a:lnTo>
                    <a:lnTo>
                      <a:pt x="4802" y="232"/>
                    </a:lnTo>
                    <a:lnTo>
                      <a:pt x="4800" y="232"/>
                    </a:lnTo>
                    <a:lnTo>
                      <a:pt x="4800" y="232"/>
                    </a:lnTo>
                    <a:lnTo>
                      <a:pt x="4798" y="232"/>
                    </a:lnTo>
                    <a:lnTo>
                      <a:pt x="4795" y="232"/>
                    </a:lnTo>
                    <a:lnTo>
                      <a:pt x="4793" y="232"/>
                    </a:lnTo>
                    <a:lnTo>
                      <a:pt x="4791" y="232"/>
                    </a:lnTo>
                    <a:lnTo>
                      <a:pt x="4750" y="232"/>
                    </a:lnTo>
                    <a:lnTo>
                      <a:pt x="4750" y="235"/>
                    </a:lnTo>
                    <a:lnTo>
                      <a:pt x="4687" y="474"/>
                    </a:lnTo>
                    <a:lnTo>
                      <a:pt x="4684" y="474"/>
                    </a:lnTo>
                    <a:lnTo>
                      <a:pt x="4682" y="476"/>
                    </a:lnTo>
                    <a:lnTo>
                      <a:pt x="4682" y="476"/>
                    </a:lnTo>
                    <a:lnTo>
                      <a:pt x="4680" y="479"/>
                    </a:lnTo>
                    <a:lnTo>
                      <a:pt x="4677" y="479"/>
                    </a:lnTo>
                    <a:lnTo>
                      <a:pt x="4677" y="479"/>
                    </a:lnTo>
                    <a:lnTo>
                      <a:pt x="4675" y="481"/>
                    </a:lnTo>
                    <a:lnTo>
                      <a:pt x="4672" y="481"/>
                    </a:lnTo>
                    <a:lnTo>
                      <a:pt x="4670" y="483"/>
                    </a:lnTo>
                    <a:lnTo>
                      <a:pt x="4670" y="483"/>
                    </a:lnTo>
                    <a:lnTo>
                      <a:pt x="4668" y="486"/>
                    </a:lnTo>
                    <a:lnTo>
                      <a:pt x="4665" y="486"/>
                    </a:lnTo>
                    <a:lnTo>
                      <a:pt x="4665" y="488"/>
                    </a:lnTo>
                    <a:lnTo>
                      <a:pt x="4663" y="488"/>
                    </a:lnTo>
                    <a:lnTo>
                      <a:pt x="4661" y="490"/>
                    </a:lnTo>
                    <a:lnTo>
                      <a:pt x="4661" y="490"/>
                    </a:lnTo>
                    <a:lnTo>
                      <a:pt x="4658" y="490"/>
                    </a:lnTo>
                    <a:lnTo>
                      <a:pt x="4656" y="493"/>
                    </a:lnTo>
                    <a:lnTo>
                      <a:pt x="4656" y="493"/>
                    </a:lnTo>
                    <a:lnTo>
                      <a:pt x="4654" y="495"/>
                    </a:lnTo>
                    <a:lnTo>
                      <a:pt x="4651" y="495"/>
                    </a:lnTo>
                    <a:lnTo>
                      <a:pt x="4649" y="497"/>
                    </a:lnTo>
                    <a:lnTo>
                      <a:pt x="4649" y="497"/>
                    </a:lnTo>
                    <a:lnTo>
                      <a:pt x="4646" y="500"/>
                    </a:lnTo>
                    <a:lnTo>
                      <a:pt x="4644" y="500"/>
                    </a:lnTo>
                    <a:lnTo>
                      <a:pt x="4644" y="500"/>
                    </a:lnTo>
                    <a:lnTo>
                      <a:pt x="4642" y="502"/>
                    </a:lnTo>
                    <a:lnTo>
                      <a:pt x="4639" y="502"/>
                    </a:lnTo>
                    <a:lnTo>
                      <a:pt x="4639" y="505"/>
                    </a:lnTo>
                    <a:lnTo>
                      <a:pt x="4637" y="505"/>
                    </a:lnTo>
                    <a:lnTo>
                      <a:pt x="4635" y="507"/>
                    </a:lnTo>
                    <a:lnTo>
                      <a:pt x="4635" y="507"/>
                    </a:lnTo>
                    <a:lnTo>
                      <a:pt x="4632" y="509"/>
                    </a:lnTo>
                    <a:lnTo>
                      <a:pt x="4630" y="509"/>
                    </a:lnTo>
                    <a:lnTo>
                      <a:pt x="4628" y="509"/>
                    </a:lnTo>
                    <a:lnTo>
                      <a:pt x="4628" y="512"/>
                    </a:lnTo>
                    <a:lnTo>
                      <a:pt x="4625" y="512"/>
                    </a:lnTo>
                    <a:lnTo>
                      <a:pt x="4623" y="514"/>
                    </a:lnTo>
                    <a:lnTo>
                      <a:pt x="4623" y="514"/>
                    </a:lnTo>
                    <a:lnTo>
                      <a:pt x="4620" y="516"/>
                    </a:lnTo>
                    <a:lnTo>
                      <a:pt x="4618" y="516"/>
                    </a:lnTo>
                    <a:lnTo>
                      <a:pt x="4618" y="519"/>
                    </a:lnTo>
                    <a:lnTo>
                      <a:pt x="4616" y="519"/>
                    </a:lnTo>
                    <a:lnTo>
                      <a:pt x="4613" y="521"/>
                    </a:lnTo>
                    <a:lnTo>
                      <a:pt x="4613" y="521"/>
                    </a:lnTo>
                    <a:lnTo>
                      <a:pt x="4611" y="521"/>
                    </a:lnTo>
                    <a:lnTo>
                      <a:pt x="4609" y="524"/>
                    </a:lnTo>
                    <a:lnTo>
                      <a:pt x="4606" y="524"/>
                    </a:lnTo>
                    <a:lnTo>
                      <a:pt x="4606" y="526"/>
                    </a:lnTo>
                    <a:lnTo>
                      <a:pt x="4604" y="526"/>
                    </a:lnTo>
                    <a:lnTo>
                      <a:pt x="4602" y="528"/>
                    </a:lnTo>
                    <a:lnTo>
                      <a:pt x="4583" y="540"/>
                    </a:lnTo>
                    <a:lnTo>
                      <a:pt x="4434" y="540"/>
                    </a:lnTo>
                    <a:lnTo>
                      <a:pt x="4405" y="505"/>
                    </a:lnTo>
                    <a:lnTo>
                      <a:pt x="4242" y="505"/>
                    </a:lnTo>
                    <a:lnTo>
                      <a:pt x="4242" y="507"/>
                    </a:lnTo>
                    <a:lnTo>
                      <a:pt x="4169" y="604"/>
                    </a:lnTo>
                    <a:lnTo>
                      <a:pt x="4169" y="604"/>
                    </a:lnTo>
                    <a:lnTo>
                      <a:pt x="4169" y="604"/>
                    </a:lnTo>
                    <a:lnTo>
                      <a:pt x="4169" y="602"/>
                    </a:lnTo>
                    <a:lnTo>
                      <a:pt x="4169" y="602"/>
                    </a:lnTo>
                    <a:lnTo>
                      <a:pt x="4169" y="602"/>
                    </a:lnTo>
                    <a:lnTo>
                      <a:pt x="4169" y="602"/>
                    </a:lnTo>
                    <a:lnTo>
                      <a:pt x="4169" y="602"/>
                    </a:lnTo>
                    <a:lnTo>
                      <a:pt x="4169" y="602"/>
                    </a:lnTo>
                    <a:lnTo>
                      <a:pt x="4169" y="599"/>
                    </a:lnTo>
                    <a:lnTo>
                      <a:pt x="4166" y="599"/>
                    </a:lnTo>
                    <a:lnTo>
                      <a:pt x="4166" y="599"/>
                    </a:lnTo>
                    <a:lnTo>
                      <a:pt x="4166" y="599"/>
                    </a:lnTo>
                    <a:lnTo>
                      <a:pt x="4166" y="599"/>
                    </a:lnTo>
                    <a:lnTo>
                      <a:pt x="4166" y="597"/>
                    </a:lnTo>
                    <a:lnTo>
                      <a:pt x="4166" y="597"/>
                    </a:lnTo>
                    <a:lnTo>
                      <a:pt x="4166" y="597"/>
                    </a:lnTo>
                    <a:lnTo>
                      <a:pt x="4166" y="597"/>
                    </a:lnTo>
                    <a:lnTo>
                      <a:pt x="4166" y="597"/>
                    </a:lnTo>
                    <a:lnTo>
                      <a:pt x="4166" y="597"/>
                    </a:lnTo>
                    <a:lnTo>
                      <a:pt x="4166" y="595"/>
                    </a:lnTo>
                    <a:lnTo>
                      <a:pt x="4166" y="595"/>
                    </a:lnTo>
                    <a:lnTo>
                      <a:pt x="4166" y="595"/>
                    </a:lnTo>
                    <a:lnTo>
                      <a:pt x="4164" y="595"/>
                    </a:lnTo>
                    <a:lnTo>
                      <a:pt x="4164" y="595"/>
                    </a:lnTo>
                    <a:lnTo>
                      <a:pt x="4164" y="592"/>
                    </a:lnTo>
                    <a:lnTo>
                      <a:pt x="4164" y="592"/>
                    </a:lnTo>
                    <a:lnTo>
                      <a:pt x="4164" y="592"/>
                    </a:lnTo>
                    <a:lnTo>
                      <a:pt x="4164" y="592"/>
                    </a:lnTo>
                    <a:lnTo>
                      <a:pt x="4164" y="592"/>
                    </a:lnTo>
                    <a:lnTo>
                      <a:pt x="4164" y="590"/>
                    </a:lnTo>
                    <a:lnTo>
                      <a:pt x="4164" y="590"/>
                    </a:lnTo>
                    <a:lnTo>
                      <a:pt x="4164" y="590"/>
                    </a:lnTo>
                    <a:lnTo>
                      <a:pt x="4164" y="590"/>
                    </a:lnTo>
                    <a:lnTo>
                      <a:pt x="4164" y="590"/>
                    </a:lnTo>
                    <a:lnTo>
                      <a:pt x="4164" y="590"/>
                    </a:lnTo>
                    <a:lnTo>
                      <a:pt x="4162" y="587"/>
                    </a:lnTo>
                    <a:lnTo>
                      <a:pt x="4162" y="587"/>
                    </a:lnTo>
                    <a:lnTo>
                      <a:pt x="4162" y="587"/>
                    </a:lnTo>
                    <a:lnTo>
                      <a:pt x="4162" y="587"/>
                    </a:lnTo>
                    <a:lnTo>
                      <a:pt x="4162" y="587"/>
                    </a:lnTo>
                    <a:lnTo>
                      <a:pt x="4162" y="585"/>
                    </a:lnTo>
                    <a:lnTo>
                      <a:pt x="4162" y="585"/>
                    </a:lnTo>
                    <a:lnTo>
                      <a:pt x="4162" y="585"/>
                    </a:lnTo>
                    <a:lnTo>
                      <a:pt x="4124" y="495"/>
                    </a:lnTo>
                    <a:lnTo>
                      <a:pt x="4124" y="455"/>
                    </a:lnTo>
                    <a:lnTo>
                      <a:pt x="4119" y="455"/>
                    </a:lnTo>
                    <a:lnTo>
                      <a:pt x="4119" y="391"/>
                    </a:lnTo>
                    <a:lnTo>
                      <a:pt x="4110" y="391"/>
                    </a:lnTo>
                    <a:lnTo>
                      <a:pt x="4110" y="329"/>
                    </a:lnTo>
                    <a:lnTo>
                      <a:pt x="4098" y="329"/>
                    </a:lnTo>
                    <a:lnTo>
                      <a:pt x="4098" y="329"/>
                    </a:lnTo>
                    <a:lnTo>
                      <a:pt x="4098" y="391"/>
                    </a:lnTo>
                    <a:lnTo>
                      <a:pt x="4096" y="391"/>
                    </a:lnTo>
                    <a:lnTo>
                      <a:pt x="4093" y="391"/>
                    </a:lnTo>
                    <a:lnTo>
                      <a:pt x="4093" y="391"/>
                    </a:lnTo>
                    <a:lnTo>
                      <a:pt x="4091" y="391"/>
                    </a:lnTo>
                    <a:lnTo>
                      <a:pt x="4091" y="391"/>
                    </a:lnTo>
                    <a:lnTo>
                      <a:pt x="4091" y="393"/>
                    </a:lnTo>
                    <a:lnTo>
                      <a:pt x="4091" y="455"/>
                    </a:lnTo>
                    <a:lnTo>
                      <a:pt x="4088" y="455"/>
                    </a:lnTo>
                    <a:lnTo>
                      <a:pt x="4086" y="455"/>
                    </a:lnTo>
                    <a:lnTo>
                      <a:pt x="4084" y="455"/>
                    </a:lnTo>
                    <a:lnTo>
                      <a:pt x="4084" y="455"/>
                    </a:lnTo>
                    <a:lnTo>
                      <a:pt x="4084" y="457"/>
                    </a:lnTo>
                    <a:lnTo>
                      <a:pt x="4084" y="493"/>
                    </a:lnTo>
                    <a:lnTo>
                      <a:pt x="4003" y="644"/>
                    </a:lnTo>
                    <a:lnTo>
                      <a:pt x="4003" y="928"/>
                    </a:lnTo>
                    <a:lnTo>
                      <a:pt x="4001" y="928"/>
                    </a:lnTo>
                    <a:lnTo>
                      <a:pt x="3999" y="928"/>
                    </a:lnTo>
                    <a:lnTo>
                      <a:pt x="3996" y="928"/>
                    </a:lnTo>
                    <a:lnTo>
                      <a:pt x="3994" y="928"/>
                    </a:lnTo>
                    <a:lnTo>
                      <a:pt x="3994" y="928"/>
                    </a:lnTo>
                    <a:lnTo>
                      <a:pt x="3991" y="928"/>
                    </a:lnTo>
                    <a:lnTo>
                      <a:pt x="3989" y="928"/>
                    </a:lnTo>
                    <a:lnTo>
                      <a:pt x="3987" y="928"/>
                    </a:lnTo>
                    <a:lnTo>
                      <a:pt x="3987" y="928"/>
                    </a:lnTo>
                    <a:lnTo>
                      <a:pt x="3984" y="928"/>
                    </a:lnTo>
                    <a:lnTo>
                      <a:pt x="3982" y="928"/>
                    </a:lnTo>
                    <a:lnTo>
                      <a:pt x="3980" y="928"/>
                    </a:lnTo>
                    <a:lnTo>
                      <a:pt x="3977" y="928"/>
                    </a:lnTo>
                    <a:lnTo>
                      <a:pt x="3977" y="928"/>
                    </a:lnTo>
                    <a:lnTo>
                      <a:pt x="3975" y="928"/>
                    </a:lnTo>
                    <a:lnTo>
                      <a:pt x="3973" y="928"/>
                    </a:lnTo>
                    <a:lnTo>
                      <a:pt x="3970" y="928"/>
                    </a:lnTo>
                    <a:lnTo>
                      <a:pt x="3968" y="928"/>
                    </a:lnTo>
                    <a:lnTo>
                      <a:pt x="3968" y="928"/>
                    </a:lnTo>
                    <a:lnTo>
                      <a:pt x="3965" y="928"/>
                    </a:lnTo>
                    <a:lnTo>
                      <a:pt x="3963" y="928"/>
                    </a:lnTo>
                    <a:lnTo>
                      <a:pt x="3961" y="928"/>
                    </a:lnTo>
                    <a:lnTo>
                      <a:pt x="3961" y="928"/>
                    </a:lnTo>
                    <a:lnTo>
                      <a:pt x="3958" y="928"/>
                    </a:lnTo>
                    <a:lnTo>
                      <a:pt x="3956" y="928"/>
                    </a:lnTo>
                    <a:lnTo>
                      <a:pt x="3954" y="928"/>
                    </a:lnTo>
                    <a:lnTo>
                      <a:pt x="3951" y="928"/>
                    </a:lnTo>
                    <a:lnTo>
                      <a:pt x="3951" y="928"/>
                    </a:lnTo>
                    <a:lnTo>
                      <a:pt x="3949" y="928"/>
                    </a:lnTo>
                    <a:lnTo>
                      <a:pt x="3947" y="928"/>
                    </a:lnTo>
                    <a:lnTo>
                      <a:pt x="3944" y="928"/>
                    </a:lnTo>
                    <a:lnTo>
                      <a:pt x="3942" y="928"/>
                    </a:lnTo>
                    <a:lnTo>
                      <a:pt x="3942" y="928"/>
                    </a:lnTo>
                    <a:lnTo>
                      <a:pt x="3939" y="928"/>
                    </a:lnTo>
                    <a:lnTo>
                      <a:pt x="3937" y="928"/>
                    </a:lnTo>
                    <a:lnTo>
                      <a:pt x="3935" y="928"/>
                    </a:lnTo>
                    <a:lnTo>
                      <a:pt x="3935" y="928"/>
                    </a:lnTo>
                    <a:lnTo>
                      <a:pt x="3932" y="928"/>
                    </a:lnTo>
                    <a:lnTo>
                      <a:pt x="3930" y="928"/>
                    </a:lnTo>
                    <a:lnTo>
                      <a:pt x="3928" y="928"/>
                    </a:lnTo>
                    <a:lnTo>
                      <a:pt x="3925" y="928"/>
                    </a:lnTo>
                    <a:lnTo>
                      <a:pt x="3925" y="928"/>
                    </a:lnTo>
                    <a:lnTo>
                      <a:pt x="3923" y="928"/>
                    </a:lnTo>
                    <a:lnTo>
                      <a:pt x="3921" y="928"/>
                    </a:lnTo>
                    <a:lnTo>
                      <a:pt x="3918" y="928"/>
                    </a:lnTo>
                    <a:lnTo>
                      <a:pt x="3918" y="928"/>
                    </a:lnTo>
                    <a:lnTo>
                      <a:pt x="3916" y="928"/>
                    </a:lnTo>
                    <a:lnTo>
                      <a:pt x="3913" y="928"/>
                    </a:lnTo>
                    <a:lnTo>
                      <a:pt x="3911" y="928"/>
                    </a:lnTo>
                    <a:lnTo>
                      <a:pt x="3909" y="928"/>
                    </a:lnTo>
                    <a:lnTo>
                      <a:pt x="3909" y="928"/>
                    </a:lnTo>
                    <a:lnTo>
                      <a:pt x="3892" y="928"/>
                    </a:lnTo>
                    <a:lnTo>
                      <a:pt x="3892" y="931"/>
                    </a:lnTo>
                    <a:lnTo>
                      <a:pt x="3892" y="995"/>
                    </a:lnTo>
                    <a:lnTo>
                      <a:pt x="3892" y="995"/>
                    </a:lnTo>
                    <a:lnTo>
                      <a:pt x="3890" y="995"/>
                    </a:lnTo>
                    <a:lnTo>
                      <a:pt x="3887" y="995"/>
                    </a:lnTo>
                    <a:lnTo>
                      <a:pt x="3885" y="995"/>
                    </a:lnTo>
                    <a:lnTo>
                      <a:pt x="3883" y="995"/>
                    </a:lnTo>
                    <a:lnTo>
                      <a:pt x="3883" y="995"/>
                    </a:lnTo>
                    <a:lnTo>
                      <a:pt x="3880" y="995"/>
                    </a:lnTo>
                    <a:lnTo>
                      <a:pt x="3878" y="995"/>
                    </a:lnTo>
                    <a:lnTo>
                      <a:pt x="3876" y="995"/>
                    </a:lnTo>
                    <a:lnTo>
                      <a:pt x="3873" y="995"/>
                    </a:lnTo>
                    <a:lnTo>
                      <a:pt x="3873" y="995"/>
                    </a:lnTo>
                    <a:lnTo>
                      <a:pt x="3871" y="995"/>
                    </a:lnTo>
                    <a:lnTo>
                      <a:pt x="3869" y="995"/>
                    </a:lnTo>
                    <a:lnTo>
                      <a:pt x="3866" y="995"/>
                    </a:lnTo>
                    <a:lnTo>
                      <a:pt x="3866" y="995"/>
                    </a:lnTo>
                    <a:lnTo>
                      <a:pt x="3864" y="995"/>
                    </a:lnTo>
                    <a:lnTo>
                      <a:pt x="3861" y="995"/>
                    </a:lnTo>
                    <a:lnTo>
                      <a:pt x="3859" y="995"/>
                    </a:lnTo>
                    <a:lnTo>
                      <a:pt x="3857" y="995"/>
                    </a:lnTo>
                    <a:lnTo>
                      <a:pt x="3857" y="995"/>
                    </a:lnTo>
                    <a:lnTo>
                      <a:pt x="3854" y="995"/>
                    </a:lnTo>
                    <a:lnTo>
                      <a:pt x="3852" y="995"/>
                    </a:lnTo>
                    <a:lnTo>
                      <a:pt x="3850" y="995"/>
                    </a:lnTo>
                    <a:lnTo>
                      <a:pt x="3847" y="995"/>
                    </a:lnTo>
                    <a:lnTo>
                      <a:pt x="3847" y="995"/>
                    </a:lnTo>
                    <a:lnTo>
                      <a:pt x="3845" y="995"/>
                    </a:lnTo>
                    <a:lnTo>
                      <a:pt x="3843" y="995"/>
                    </a:lnTo>
                    <a:lnTo>
                      <a:pt x="3840" y="995"/>
                    </a:lnTo>
                    <a:lnTo>
                      <a:pt x="3840" y="995"/>
                    </a:lnTo>
                    <a:lnTo>
                      <a:pt x="3838" y="995"/>
                    </a:lnTo>
                    <a:lnTo>
                      <a:pt x="3835" y="995"/>
                    </a:lnTo>
                    <a:lnTo>
                      <a:pt x="3833" y="995"/>
                    </a:lnTo>
                    <a:lnTo>
                      <a:pt x="3831" y="995"/>
                    </a:lnTo>
                    <a:lnTo>
                      <a:pt x="3831" y="995"/>
                    </a:lnTo>
                    <a:lnTo>
                      <a:pt x="3828" y="995"/>
                    </a:lnTo>
                    <a:lnTo>
                      <a:pt x="3819" y="995"/>
                    </a:lnTo>
                    <a:lnTo>
                      <a:pt x="3819" y="997"/>
                    </a:lnTo>
                    <a:lnTo>
                      <a:pt x="3819" y="1224"/>
                    </a:lnTo>
                    <a:lnTo>
                      <a:pt x="3817" y="1224"/>
                    </a:lnTo>
                    <a:lnTo>
                      <a:pt x="3814" y="1224"/>
                    </a:lnTo>
                    <a:lnTo>
                      <a:pt x="3812" y="1224"/>
                    </a:lnTo>
                    <a:lnTo>
                      <a:pt x="3809" y="1224"/>
                    </a:lnTo>
                    <a:lnTo>
                      <a:pt x="3809" y="1224"/>
                    </a:lnTo>
                    <a:lnTo>
                      <a:pt x="3807" y="1224"/>
                    </a:lnTo>
                    <a:lnTo>
                      <a:pt x="3805" y="1224"/>
                    </a:lnTo>
                    <a:lnTo>
                      <a:pt x="3802" y="1224"/>
                    </a:lnTo>
                    <a:lnTo>
                      <a:pt x="3802" y="1224"/>
                    </a:lnTo>
                    <a:lnTo>
                      <a:pt x="3800" y="1224"/>
                    </a:lnTo>
                    <a:lnTo>
                      <a:pt x="3798" y="1224"/>
                    </a:lnTo>
                    <a:lnTo>
                      <a:pt x="3795" y="1224"/>
                    </a:lnTo>
                    <a:lnTo>
                      <a:pt x="3793" y="1224"/>
                    </a:lnTo>
                    <a:lnTo>
                      <a:pt x="3793" y="1224"/>
                    </a:lnTo>
                    <a:lnTo>
                      <a:pt x="3790" y="1224"/>
                    </a:lnTo>
                    <a:lnTo>
                      <a:pt x="3788" y="1224"/>
                    </a:lnTo>
                    <a:lnTo>
                      <a:pt x="3786" y="1224"/>
                    </a:lnTo>
                    <a:lnTo>
                      <a:pt x="3786" y="1224"/>
                    </a:lnTo>
                    <a:lnTo>
                      <a:pt x="3783" y="1224"/>
                    </a:lnTo>
                    <a:lnTo>
                      <a:pt x="3781" y="1224"/>
                    </a:lnTo>
                    <a:lnTo>
                      <a:pt x="3779" y="1224"/>
                    </a:lnTo>
                    <a:lnTo>
                      <a:pt x="3776" y="1224"/>
                    </a:lnTo>
                    <a:lnTo>
                      <a:pt x="3776" y="1224"/>
                    </a:lnTo>
                    <a:lnTo>
                      <a:pt x="3774" y="1224"/>
                    </a:lnTo>
                    <a:lnTo>
                      <a:pt x="3772" y="1224"/>
                    </a:lnTo>
                    <a:lnTo>
                      <a:pt x="3769" y="1224"/>
                    </a:lnTo>
                    <a:lnTo>
                      <a:pt x="3767" y="1224"/>
                    </a:lnTo>
                    <a:lnTo>
                      <a:pt x="3767" y="1224"/>
                    </a:lnTo>
                    <a:lnTo>
                      <a:pt x="3764" y="1224"/>
                    </a:lnTo>
                    <a:lnTo>
                      <a:pt x="3762" y="1224"/>
                    </a:lnTo>
                    <a:lnTo>
                      <a:pt x="3760" y="1224"/>
                    </a:lnTo>
                    <a:lnTo>
                      <a:pt x="3760" y="1224"/>
                    </a:lnTo>
                    <a:lnTo>
                      <a:pt x="3757" y="1224"/>
                    </a:lnTo>
                    <a:lnTo>
                      <a:pt x="3757" y="1224"/>
                    </a:lnTo>
                    <a:lnTo>
                      <a:pt x="3757" y="1392"/>
                    </a:lnTo>
                    <a:lnTo>
                      <a:pt x="3757" y="1392"/>
                    </a:lnTo>
                    <a:lnTo>
                      <a:pt x="3755" y="1392"/>
                    </a:lnTo>
                    <a:lnTo>
                      <a:pt x="3753" y="1392"/>
                    </a:lnTo>
                    <a:lnTo>
                      <a:pt x="3750" y="1392"/>
                    </a:lnTo>
                    <a:lnTo>
                      <a:pt x="3750" y="1392"/>
                    </a:lnTo>
                    <a:lnTo>
                      <a:pt x="3748" y="1392"/>
                    </a:lnTo>
                    <a:lnTo>
                      <a:pt x="3746" y="1392"/>
                    </a:lnTo>
                    <a:lnTo>
                      <a:pt x="3743" y="1392"/>
                    </a:lnTo>
                    <a:lnTo>
                      <a:pt x="3741" y="1392"/>
                    </a:lnTo>
                    <a:lnTo>
                      <a:pt x="3741" y="1392"/>
                    </a:lnTo>
                    <a:lnTo>
                      <a:pt x="3738" y="1392"/>
                    </a:lnTo>
                    <a:lnTo>
                      <a:pt x="3736" y="1392"/>
                    </a:lnTo>
                    <a:lnTo>
                      <a:pt x="3734" y="1392"/>
                    </a:lnTo>
                    <a:lnTo>
                      <a:pt x="3731" y="1392"/>
                    </a:lnTo>
                    <a:lnTo>
                      <a:pt x="3731" y="1392"/>
                    </a:lnTo>
                    <a:lnTo>
                      <a:pt x="3729" y="1392"/>
                    </a:lnTo>
                    <a:lnTo>
                      <a:pt x="3727" y="1392"/>
                    </a:lnTo>
                    <a:lnTo>
                      <a:pt x="3724" y="1392"/>
                    </a:lnTo>
                    <a:lnTo>
                      <a:pt x="3724" y="1392"/>
                    </a:lnTo>
                    <a:lnTo>
                      <a:pt x="3724" y="1317"/>
                    </a:lnTo>
                    <a:lnTo>
                      <a:pt x="3724" y="1317"/>
                    </a:lnTo>
                    <a:lnTo>
                      <a:pt x="3722" y="1317"/>
                    </a:lnTo>
                    <a:lnTo>
                      <a:pt x="3720" y="1317"/>
                    </a:lnTo>
                    <a:lnTo>
                      <a:pt x="3717" y="1317"/>
                    </a:lnTo>
                    <a:lnTo>
                      <a:pt x="3715" y="1317"/>
                    </a:lnTo>
                    <a:lnTo>
                      <a:pt x="3715" y="1317"/>
                    </a:lnTo>
                    <a:lnTo>
                      <a:pt x="3712" y="1317"/>
                    </a:lnTo>
                    <a:lnTo>
                      <a:pt x="3710" y="1317"/>
                    </a:lnTo>
                    <a:lnTo>
                      <a:pt x="3708" y="1317"/>
                    </a:lnTo>
                    <a:lnTo>
                      <a:pt x="3705" y="1317"/>
                    </a:lnTo>
                    <a:lnTo>
                      <a:pt x="3705" y="1317"/>
                    </a:lnTo>
                    <a:lnTo>
                      <a:pt x="3703" y="1317"/>
                    </a:lnTo>
                    <a:lnTo>
                      <a:pt x="3701" y="1317"/>
                    </a:lnTo>
                    <a:lnTo>
                      <a:pt x="3698" y="1317"/>
                    </a:lnTo>
                    <a:lnTo>
                      <a:pt x="3698" y="1317"/>
                    </a:lnTo>
                    <a:lnTo>
                      <a:pt x="3696" y="1317"/>
                    </a:lnTo>
                    <a:lnTo>
                      <a:pt x="3694" y="1317"/>
                    </a:lnTo>
                    <a:lnTo>
                      <a:pt x="3691" y="1317"/>
                    </a:lnTo>
                    <a:lnTo>
                      <a:pt x="3689" y="1317"/>
                    </a:lnTo>
                    <a:lnTo>
                      <a:pt x="3689" y="1317"/>
                    </a:lnTo>
                    <a:lnTo>
                      <a:pt x="3686" y="1317"/>
                    </a:lnTo>
                    <a:lnTo>
                      <a:pt x="3684" y="1317"/>
                    </a:lnTo>
                    <a:lnTo>
                      <a:pt x="3682" y="1317"/>
                    </a:lnTo>
                    <a:lnTo>
                      <a:pt x="3682" y="1317"/>
                    </a:lnTo>
                    <a:lnTo>
                      <a:pt x="3679" y="1317"/>
                    </a:lnTo>
                    <a:lnTo>
                      <a:pt x="3677" y="1317"/>
                    </a:lnTo>
                    <a:lnTo>
                      <a:pt x="3675" y="1317"/>
                    </a:lnTo>
                    <a:lnTo>
                      <a:pt x="3672" y="1317"/>
                    </a:lnTo>
                    <a:lnTo>
                      <a:pt x="3672" y="1317"/>
                    </a:lnTo>
                    <a:lnTo>
                      <a:pt x="3670" y="1317"/>
                    </a:lnTo>
                    <a:lnTo>
                      <a:pt x="3668" y="1317"/>
                    </a:lnTo>
                    <a:lnTo>
                      <a:pt x="3665"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436"/>
                    </a:lnTo>
                    <a:lnTo>
                      <a:pt x="3377" y="502"/>
                    </a:lnTo>
                    <a:lnTo>
                      <a:pt x="3374" y="502"/>
                    </a:lnTo>
                    <a:lnTo>
                      <a:pt x="3372" y="502"/>
                    </a:lnTo>
                    <a:lnTo>
                      <a:pt x="3370" y="502"/>
                    </a:lnTo>
                    <a:lnTo>
                      <a:pt x="3370" y="502"/>
                    </a:lnTo>
                    <a:lnTo>
                      <a:pt x="3367" y="502"/>
                    </a:lnTo>
                    <a:lnTo>
                      <a:pt x="3365" y="502"/>
                    </a:lnTo>
                    <a:lnTo>
                      <a:pt x="3363" y="502"/>
                    </a:lnTo>
                    <a:lnTo>
                      <a:pt x="3363" y="502"/>
                    </a:lnTo>
                    <a:lnTo>
                      <a:pt x="3360" y="502"/>
                    </a:lnTo>
                    <a:lnTo>
                      <a:pt x="3358" y="502"/>
                    </a:lnTo>
                    <a:lnTo>
                      <a:pt x="3355" y="502"/>
                    </a:lnTo>
                    <a:lnTo>
                      <a:pt x="3353" y="502"/>
                    </a:lnTo>
                    <a:lnTo>
                      <a:pt x="3353" y="502"/>
                    </a:lnTo>
                    <a:lnTo>
                      <a:pt x="3351" y="502"/>
                    </a:lnTo>
                    <a:lnTo>
                      <a:pt x="3348" y="502"/>
                    </a:lnTo>
                    <a:lnTo>
                      <a:pt x="3348" y="502"/>
                    </a:lnTo>
                    <a:lnTo>
                      <a:pt x="3348" y="505"/>
                    </a:lnTo>
                    <a:lnTo>
                      <a:pt x="3348" y="583"/>
                    </a:lnTo>
                    <a:lnTo>
                      <a:pt x="3346" y="583"/>
                    </a:lnTo>
                    <a:lnTo>
                      <a:pt x="3344" y="583"/>
                    </a:lnTo>
                    <a:lnTo>
                      <a:pt x="3341" y="583"/>
                    </a:lnTo>
                    <a:lnTo>
                      <a:pt x="3341" y="583"/>
                    </a:lnTo>
                    <a:lnTo>
                      <a:pt x="3339" y="583"/>
                    </a:lnTo>
                    <a:lnTo>
                      <a:pt x="3337" y="583"/>
                    </a:lnTo>
                    <a:lnTo>
                      <a:pt x="3334" y="583"/>
                    </a:lnTo>
                    <a:lnTo>
                      <a:pt x="3332" y="583"/>
                    </a:lnTo>
                    <a:lnTo>
                      <a:pt x="3332" y="583"/>
                    </a:lnTo>
                    <a:lnTo>
                      <a:pt x="3329" y="583"/>
                    </a:lnTo>
                    <a:lnTo>
                      <a:pt x="3329" y="585"/>
                    </a:lnTo>
                    <a:lnTo>
                      <a:pt x="3329" y="658"/>
                    </a:lnTo>
                    <a:lnTo>
                      <a:pt x="3329" y="658"/>
                    </a:lnTo>
                    <a:lnTo>
                      <a:pt x="3327" y="658"/>
                    </a:lnTo>
                    <a:lnTo>
                      <a:pt x="3325" y="658"/>
                    </a:lnTo>
                    <a:lnTo>
                      <a:pt x="3322" y="658"/>
                    </a:lnTo>
                    <a:lnTo>
                      <a:pt x="3320" y="658"/>
                    </a:lnTo>
                    <a:lnTo>
                      <a:pt x="3320" y="658"/>
                    </a:lnTo>
                    <a:lnTo>
                      <a:pt x="3318" y="658"/>
                    </a:lnTo>
                    <a:lnTo>
                      <a:pt x="3315" y="658"/>
                    </a:lnTo>
                    <a:lnTo>
                      <a:pt x="3313" y="658"/>
                    </a:lnTo>
                    <a:lnTo>
                      <a:pt x="3310" y="658"/>
                    </a:lnTo>
                    <a:lnTo>
                      <a:pt x="3310" y="658"/>
                    </a:lnTo>
                    <a:lnTo>
                      <a:pt x="3308" y="658"/>
                    </a:lnTo>
                    <a:lnTo>
                      <a:pt x="3306" y="658"/>
                    </a:lnTo>
                    <a:lnTo>
                      <a:pt x="3303" y="658"/>
                    </a:lnTo>
                    <a:lnTo>
                      <a:pt x="3303" y="658"/>
                    </a:lnTo>
                    <a:lnTo>
                      <a:pt x="3301" y="658"/>
                    </a:lnTo>
                    <a:lnTo>
                      <a:pt x="3299" y="658"/>
                    </a:lnTo>
                    <a:lnTo>
                      <a:pt x="3296" y="658"/>
                    </a:lnTo>
                    <a:lnTo>
                      <a:pt x="3294" y="658"/>
                    </a:lnTo>
                    <a:lnTo>
                      <a:pt x="3294" y="658"/>
                    </a:lnTo>
                    <a:lnTo>
                      <a:pt x="3292" y="658"/>
                    </a:lnTo>
                    <a:lnTo>
                      <a:pt x="3289" y="658"/>
                    </a:lnTo>
                    <a:lnTo>
                      <a:pt x="3287" y="658"/>
                    </a:lnTo>
                    <a:lnTo>
                      <a:pt x="3287" y="658"/>
                    </a:lnTo>
                    <a:lnTo>
                      <a:pt x="3284" y="658"/>
                    </a:lnTo>
                    <a:lnTo>
                      <a:pt x="3282" y="658"/>
                    </a:lnTo>
                    <a:lnTo>
                      <a:pt x="3280" y="658"/>
                    </a:lnTo>
                    <a:lnTo>
                      <a:pt x="3277" y="658"/>
                    </a:lnTo>
                    <a:lnTo>
                      <a:pt x="3277" y="658"/>
                    </a:lnTo>
                    <a:lnTo>
                      <a:pt x="3275" y="658"/>
                    </a:lnTo>
                    <a:lnTo>
                      <a:pt x="3273" y="658"/>
                    </a:lnTo>
                    <a:lnTo>
                      <a:pt x="3270" y="658"/>
                    </a:lnTo>
                    <a:lnTo>
                      <a:pt x="3268" y="658"/>
                    </a:lnTo>
                    <a:lnTo>
                      <a:pt x="3268" y="658"/>
                    </a:lnTo>
                    <a:lnTo>
                      <a:pt x="3266" y="658"/>
                    </a:lnTo>
                    <a:lnTo>
                      <a:pt x="3263" y="658"/>
                    </a:lnTo>
                    <a:lnTo>
                      <a:pt x="3261" y="658"/>
                    </a:lnTo>
                    <a:lnTo>
                      <a:pt x="3261" y="658"/>
                    </a:lnTo>
                    <a:lnTo>
                      <a:pt x="3258" y="658"/>
                    </a:lnTo>
                    <a:lnTo>
                      <a:pt x="3256" y="658"/>
                    </a:lnTo>
                    <a:lnTo>
                      <a:pt x="3254" y="658"/>
                    </a:lnTo>
                    <a:lnTo>
                      <a:pt x="3254" y="658"/>
                    </a:lnTo>
                    <a:lnTo>
                      <a:pt x="3185" y="658"/>
                    </a:lnTo>
                    <a:lnTo>
                      <a:pt x="3185" y="661"/>
                    </a:lnTo>
                    <a:lnTo>
                      <a:pt x="3185" y="763"/>
                    </a:lnTo>
                    <a:lnTo>
                      <a:pt x="3185" y="763"/>
                    </a:lnTo>
                    <a:lnTo>
                      <a:pt x="3183" y="763"/>
                    </a:lnTo>
                    <a:lnTo>
                      <a:pt x="3180" y="763"/>
                    </a:lnTo>
                    <a:lnTo>
                      <a:pt x="3178" y="763"/>
                    </a:lnTo>
                    <a:lnTo>
                      <a:pt x="3176" y="763"/>
                    </a:lnTo>
                    <a:lnTo>
                      <a:pt x="3176" y="763"/>
                    </a:lnTo>
                    <a:lnTo>
                      <a:pt x="3173" y="763"/>
                    </a:lnTo>
                    <a:lnTo>
                      <a:pt x="3171" y="763"/>
                    </a:lnTo>
                    <a:lnTo>
                      <a:pt x="3169" y="763"/>
                    </a:lnTo>
                    <a:lnTo>
                      <a:pt x="3169" y="763"/>
                    </a:lnTo>
                    <a:lnTo>
                      <a:pt x="3166" y="763"/>
                    </a:lnTo>
                    <a:lnTo>
                      <a:pt x="3164" y="763"/>
                    </a:lnTo>
                    <a:lnTo>
                      <a:pt x="3162" y="763"/>
                    </a:lnTo>
                    <a:lnTo>
                      <a:pt x="3159" y="763"/>
                    </a:lnTo>
                    <a:lnTo>
                      <a:pt x="3159" y="763"/>
                    </a:lnTo>
                    <a:lnTo>
                      <a:pt x="3157" y="763"/>
                    </a:lnTo>
                    <a:lnTo>
                      <a:pt x="3154" y="763"/>
                    </a:lnTo>
                    <a:lnTo>
                      <a:pt x="3152" y="763"/>
                    </a:lnTo>
                    <a:lnTo>
                      <a:pt x="3152" y="763"/>
                    </a:lnTo>
                    <a:lnTo>
                      <a:pt x="3150" y="763"/>
                    </a:lnTo>
                    <a:lnTo>
                      <a:pt x="3147" y="763"/>
                    </a:lnTo>
                    <a:lnTo>
                      <a:pt x="3147" y="765"/>
                    </a:lnTo>
                    <a:lnTo>
                      <a:pt x="3147" y="980"/>
                    </a:lnTo>
                    <a:lnTo>
                      <a:pt x="3145" y="980"/>
                    </a:lnTo>
                    <a:lnTo>
                      <a:pt x="3145" y="980"/>
                    </a:lnTo>
                    <a:lnTo>
                      <a:pt x="3143" y="980"/>
                    </a:lnTo>
                    <a:lnTo>
                      <a:pt x="3140" y="980"/>
                    </a:lnTo>
                    <a:lnTo>
                      <a:pt x="3138" y="980"/>
                    </a:lnTo>
                    <a:lnTo>
                      <a:pt x="3136" y="980"/>
                    </a:lnTo>
                    <a:lnTo>
                      <a:pt x="3136" y="980"/>
                    </a:lnTo>
                    <a:lnTo>
                      <a:pt x="3133" y="980"/>
                    </a:lnTo>
                    <a:lnTo>
                      <a:pt x="3131" y="980"/>
                    </a:lnTo>
                    <a:lnTo>
                      <a:pt x="3128" y="980"/>
                    </a:lnTo>
                    <a:lnTo>
                      <a:pt x="3128" y="980"/>
                    </a:lnTo>
                    <a:lnTo>
                      <a:pt x="3126" y="980"/>
                    </a:lnTo>
                    <a:lnTo>
                      <a:pt x="3124" y="980"/>
                    </a:lnTo>
                    <a:lnTo>
                      <a:pt x="3121" y="980"/>
                    </a:lnTo>
                    <a:lnTo>
                      <a:pt x="3119" y="980"/>
                    </a:lnTo>
                    <a:lnTo>
                      <a:pt x="3119" y="980"/>
                    </a:lnTo>
                    <a:lnTo>
                      <a:pt x="3117" y="980"/>
                    </a:lnTo>
                    <a:lnTo>
                      <a:pt x="3114" y="980"/>
                    </a:lnTo>
                    <a:lnTo>
                      <a:pt x="3112" y="980"/>
                    </a:lnTo>
                    <a:lnTo>
                      <a:pt x="3110" y="980"/>
                    </a:lnTo>
                    <a:lnTo>
                      <a:pt x="3110" y="980"/>
                    </a:lnTo>
                    <a:lnTo>
                      <a:pt x="3107" y="980"/>
                    </a:lnTo>
                    <a:lnTo>
                      <a:pt x="3105" y="980"/>
                    </a:lnTo>
                    <a:lnTo>
                      <a:pt x="3102" y="980"/>
                    </a:lnTo>
                    <a:lnTo>
                      <a:pt x="3102" y="980"/>
                    </a:lnTo>
                    <a:lnTo>
                      <a:pt x="3100" y="980"/>
                    </a:lnTo>
                    <a:lnTo>
                      <a:pt x="3098" y="980"/>
                    </a:lnTo>
                    <a:lnTo>
                      <a:pt x="3095" y="980"/>
                    </a:lnTo>
                    <a:lnTo>
                      <a:pt x="3093" y="980"/>
                    </a:lnTo>
                    <a:lnTo>
                      <a:pt x="3093" y="980"/>
                    </a:lnTo>
                    <a:lnTo>
                      <a:pt x="3091" y="980"/>
                    </a:lnTo>
                    <a:lnTo>
                      <a:pt x="3088" y="980"/>
                    </a:lnTo>
                    <a:lnTo>
                      <a:pt x="3086" y="980"/>
                    </a:lnTo>
                    <a:lnTo>
                      <a:pt x="3086" y="980"/>
                    </a:lnTo>
                    <a:lnTo>
                      <a:pt x="3084" y="980"/>
                    </a:lnTo>
                    <a:lnTo>
                      <a:pt x="3081" y="980"/>
                    </a:lnTo>
                    <a:lnTo>
                      <a:pt x="3079" y="980"/>
                    </a:lnTo>
                    <a:lnTo>
                      <a:pt x="3076" y="980"/>
                    </a:lnTo>
                    <a:lnTo>
                      <a:pt x="3076" y="980"/>
                    </a:lnTo>
                    <a:lnTo>
                      <a:pt x="3074" y="980"/>
                    </a:lnTo>
                    <a:lnTo>
                      <a:pt x="3072" y="980"/>
                    </a:lnTo>
                    <a:lnTo>
                      <a:pt x="3069" y="980"/>
                    </a:lnTo>
                    <a:lnTo>
                      <a:pt x="3067" y="980"/>
                    </a:lnTo>
                    <a:lnTo>
                      <a:pt x="3067" y="980"/>
                    </a:lnTo>
                    <a:lnTo>
                      <a:pt x="3065" y="980"/>
                    </a:lnTo>
                    <a:lnTo>
                      <a:pt x="3062" y="980"/>
                    </a:lnTo>
                    <a:lnTo>
                      <a:pt x="3060" y="980"/>
                    </a:lnTo>
                    <a:lnTo>
                      <a:pt x="3060" y="980"/>
                    </a:lnTo>
                    <a:lnTo>
                      <a:pt x="3057" y="980"/>
                    </a:lnTo>
                    <a:lnTo>
                      <a:pt x="3055" y="980"/>
                    </a:lnTo>
                    <a:lnTo>
                      <a:pt x="3053" y="980"/>
                    </a:lnTo>
                    <a:lnTo>
                      <a:pt x="3001" y="980"/>
                    </a:lnTo>
                    <a:lnTo>
                      <a:pt x="2925" y="1014"/>
                    </a:lnTo>
                    <a:lnTo>
                      <a:pt x="2925" y="1014"/>
                    </a:lnTo>
                    <a:lnTo>
                      <a:pt x="2925" y="1063"/>
                    </a:lnTo>
                    <a:lnTo>
                      <a:pt x="2923" y="1063"/>
                    </a:lnTo>
                    <a:lnTo>
                      <a:pt x="2920" y="1063"/>
                    </a:lnTo>
                    <a:lnTo>
                      <a:pt x="2920" y="1063"/>
                    </a:lnTo>
                    <a:lnTo>
                      <a:pt x="2918" y="1063"/>
                    </a:lnTo>
                    <a:lnTo>
                      <a:pt x="2916" y="1063"/>
                    </a:lnTo>
                    <a:lnTo>
                      <a:pt x="2913" y="1063"/>
                    </a:lnTo>
                    <a:lnTo>
                      <a:pt x="2911" y="1063"/>
                    </a:lnTo>
                    <a:lnTo>
                      <a:pt x="2911" y="1063"/>
                    </a:lnTo>
                    <a:lnTo>
                      <a:pt x="2909" y="1063"/>
                    </a:lnTo>
                    <a:lnTo>
                      <a:pt x="2909" y="1063"/>
                    </a:lnTo>
                    <a:lnTo>
                      <a:pt x="2909" y="1066"/>
                    </a:lnTo>
                    <a:lnTo>
                      <a:pt x="2909" y="1241"/>
                    </a:lnTo>
                    <a:lnTo>
                      <a:pt x="2906" y="1241"/>
                    </a:lnTo>
                    <a:lnTo>
                      <a:pt x="2904" y="1241"/>
                    </a:lnTo>
                    <a:lnTo>
                      <a:pt x="2901" y="1241"/>
                    </a:lnTo>
                    <a:lnTo>
                      <a:pt x="2901" y="1241"/>
                    </a:lnTo>
                    <a:lnTo>
                      <a:pt x="2899" y="1241"/>
                    </a:lnTo>
                    <a:lnTo>
                      <a:pt x="2897" y="1241"/>
                    </a:lnTo>
                    <a:lnTo>
                      <a:pt x="2894" y="1241"/>
                    </a:lnTo>
                    <a:lnTo>
                      <a:pt x="2892" y="1241"/>
                    </a:lnTo>
                    <a:lnTo>
                      <a:pt x="2892" y="1241"/>
                    </a:lnTo>
                    <a:lnTo>
                      <a:pt x="2890" y="1241"/>
                    </a:lnTo>
                    <a:lnTo>
                      <a:pt x="2887" y="1241"/>
                    </a:lnTo>
                    <a:lnTo>
                      <a:pt x="2885" y="1241"/>
                    </a:lnTo>
                    <a:lnTo>
                      <a:pt x="2883" y="1241"/>
                    </a:lnTo>
                    <a:lnTo>
                      <a:pt x="2883" y="1241"/>
                    </a:lnTo>
                    <a:lnTo>
                      <a:pt x="2880" y="1241"/>
                    </a:lnTo>
                    <a:lnTo>
                      <a:pt x="2878" y="1241"/>
                    </a:lnTo>
                    <a:lnTo>
                      <a:pt x="2875" y="1241"/>
                    </a:lnTo>
                    <a:lnTo>
                      <a:pt x="2875" y="1241"/>
                    </a:lnTo>
                    <a:lnTo>
                      <a:pt x="2873" y="1241"/>
                    </a:lnTo>
                    <a:lnTo>
                      <a:pt x="2871" y="1241"/>
                    </a:lnTo>
                    <a:lnTo>
                      <a:pt x="2868" y="1241"/>
                    </a:lnTo>
                    <a:lnTo>
                      <a:pt x="2866" y="1241"/>
                    </a:lnTo>
                    <a:lnTo>
                      <a:pt x="2866" y="1241"/>
                    </a:lnTo>
                    <a:lnTo>
                      <a:pt x="2864" y="1241"/>
                    </a:lnTo>
                    <a:lnTo>
                      <a:pt x="2861" y="1241"/>
                    </a:lnTo>
                    <a:lnTo>
                      <a:pt x="2859" y="1241"/>
                    </a:lnTo>
                    <a:lnTo>
                      <a:pt x="2857" y="1241"/>
                    </a:lnTo>
                    <a:lnTo>
                      <a:pt x="2857" y="1241"/>
                    </a:lnTo>
                    <a:lnTo>
                      <a:pt x="2854" y="1241"/>
                    </a:lnTo>
                    <a:lnTo>
                      <a:pt x="2852" y="1241"/>
                    </a:lnTo>
                    <a:lnTo>
                      <a:pt x="2849" y="1241"/>
                    </a:lnTo>
                    <a:lnTo>
                      <a:pt x="2849" y="1241"/>
                    </a:lnTo>
                    <a:lnTo>
                      <a:pt x="2847" y="1241"/>
                    </a:lnTo>
                    <a:lnTo>
                      <a:pt x="2845" y="1241"/>
                    </a:lnTo>
                    <a:lnTo>
                      <a:pt x="2842" y="1241"/>
                    </a:lnTo>
                    <a:lnTo>
                      <a:pt x="2840" y="1241"/>
                    </a:lnTo>
                    <a:lnTo>
                      <a:pt x="2840" y="1241"/>
                    </a:lnTo>
                    <a:lnTo>
                      <a:pt x="2838" y="1241"/>
                    </a:lnTo>
                    <a:lnTo>
                      <a:pt x="2835" y="1241"/>
                    </a:lnTo>
                    <a:lnTo>
                      <a:pt x="2833" y="1241"/>
                    </a:lnTo>
                    <a:lnTo>
                      <a:pt x="2831" y="1241"/>
                    </a:lnTo>
                    <a:lnTo>
                      <a:pt x="2831" y="1241"/>
                    </a:lnTo>
                    <a:lnTo>
                      <a:pt x="2828" y="1241"/>
                    </a:lnTo>
                    <a:lnTo>
                      <a:pt x="2826" y="1241"/>
                    </a:lnTo>
                    <a:lnTo>
                      <a:pt x="2823" y="1241"/>
                    </a:lnTo>
                    <a:lnTo>
                      <a:pt x="2823" y="1241"/>
                    </a:lnTo>
                    <a:lnTo>
                      <a:pt x="2821" y="1241"/>
                    </a:lnTo>
                    <a:lnTo>
                      <a:pt x="2819" y="1241"/>
                    </a:lnTo>
                    <a:lnTo>
                      <a:pt x="2816" y="1241"/>
                    </a:lnTo>
                    <a:lnTo>
                      <a:pt x="2814" y="1241"/>
                    </a:lnTo>
                    <a:lnTo>
                      <a:pt x="2814"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296"/>
                    </a:lnTo>
                    <a:lnTo>
                      <a:pt x="2076" y="334"/>
                    </a:lnTo>
                    <a:lnTo>
                      <a:pt x="2074" y="334"/>
                    </a:lnTo>
                    <a:lnTo>
                      <a:pt x="2071" y="334"/>
                    </a:lnTo>
                    <a:lnTo>
                      <a:pt x="2071" y="334"/>
                    </a:lnTo>
                    <a:lnTo>
                      <a:pt x="2069" y="334"/>
                    </a:lnTo>
                    <a:lnTo>
                      <a:pt x="2067" y="334"/>
                    </a:lnTo>
                    <a:lnTo>
                      <a:pt x="2064" y="334"/>
                    </a:lnTo>
                    <a:lnTo>
                      <a:pt x="2062" y="334"/>
                    </a:lnTo>
                    <a:lnTo>
                      <a:pt x="2062" y="334"/>
                    </a:lnTo>
                    <a:lnTo>
                      <a:pt x="2060" y="334"/>
                    </a:lnTo>
                    <a:lnTo>
                      <a:pt x="2057" y="334"/>
                    </a:lnTo>
                    <a:lnTo>
                      <a:pt x="2055" y="334"/>
                    </a:lnTo>
                    <a:lnTo>
                      <a:pt x="2055" y="334"/>
                    </a:lnTo>
                    <a:lnTo>
                      <a:pt x="2053" y="334"/>
                    </a:lnTo>
                    <a:lnTo>
                      <a:pt x="2050" y="334"/>
                    </a:lnTo>
                    <a:lnTo>
                      <a:pt x="2048" y="334"/>
                    </a:lnTo>
                    <a:lnTo>
                      <a:pt x="2045" y="334"/>
                    </a:lnTo>
                    <a:lnTo>
                      <a:pt x="2045" y="334"/>
                    </a:lnTo>
                    <a:lnTo>
                      <a:pt x="2043" y="334"/>
                    </a:lnTo>
                    <a:lnTo>
                      <a:pt x="2041" y="334"/>
                    </a:lnTo>
                    <a:lnTo>
                      <a:pt x="2038" y="334"/>
                    </a:lnTo>
                    <a:lnTo>
                      <a:pt x="2038" y="334"/>
                    </a:lnTo>
                    <a:lnTo>
                      <a:pt x="1986" y="334"/>
                    </a:lnTo>
                    <a:lnTo>
                      <a:pt x="1986" y="336"/>
                    </a:lnTo>
                    <a:lnTo>
                      <a:pt x="1986" y="370"/>
                    </a:lnTo>
                    <a:lnTo>
                      <a:pt x="1984" y="370"/>
                    </a:lnTo>
                    <a:lnTo>
                      <a:pt x="1982" y="370"/>
                    </a:lnTo>
                    <a:lnTo>
                      <a:pt x="1979" y="370"/>
                    </a:lnTo>
                    <a:lnTo>
                      <a:pt x="1979" y="370"/>
                    </a:lnTo>
                    <a:lnTo>
                      <a:pt x="1977" y="370"/>
                    </a:lnTo>
                    <a:lnTo>
                      <a:pt x="1975" y="370"/>
                    </a:lnTo>
                    <a:lnTo>
                      <a:pt x="1972" y="370"/>
                    </a:lnTo>
                    <a:lnTo>
                      <a:pt x="1972" y="370"/>
                    </a:lnTo>
                    <a:lnTo>
                      <a:pt x="1970" y="370"/>
                    </a:lnTo>
                    <a:lnTo>
                      <a:pt x="1967" y="370"/>
                    </a:lnTo>
                    <a:lnTo>
                      <a:pt x="1965" y="370"/>
                    </a:lnTo>
                    <a:lnTo>
                      <a:pt x="1963" y="370"/>
                    </a:lnTo>
                    <a:lnTo>
                      <a:pt x="1963" y="370"/>
                    </a:lnTo>
                    <a:lnTo>
                      <a:pt x="1960" y="370"/>
                    </a:lnTo>
                    <a:lnTo>
                      <a:pt x="1958" y="370"/>
                    </a:lnTo>
                    <a:lnTo>
                      <a:pt x="1956" y="370"/>
                    </a:lnTo>
                    <a:lnTo>
                      <a:pt x="1953" y="370"/>
                    </a:lnTo>
                    <a:lnTo>
                      <a:pt x="1953" y="370"/>
                    </a:lnTo>
                    <a:lnTo>
                      <a:pt x="1856" y="370"/>
                    </a:lnTo>
                    <a:lnTo>
                      <a:pt x="1856" y="372"/>
                    </a:lnTo>
                    <a:lnTo>
                      <a:pt x="1856" y="1132"/>
                    </a:lnTo>
                    <a:lnTo>
                      <a:pt x="1856" y="1132"/>
                    </a:lnTo>
                    <a:lnTo>
                      <a:pt x="1854" y="1132"/>
                    </a:lnTo>
                    <a:lnTo>
                      <a:pt x="1852" y="1132"/>
                    </a:lnTo>
                    <a:lnTo>
                      <a:pt x="1849" y="1132"/>
                    </a:lnTo>
                    <a:lnTo>
                      <a:pt x="1847" y="1132"/>
                    </a:lnTo>
                    <a:lnTo>
                      <a:pt x="1847" y="1132"/>
                    </a:lnTo>
                    <a:lnTo>
                      <a:pt x="1845" y="1132"/>
                    </a:lnTo>
                    <a:lnTo>
                      <a:pt x="1842" y="1132"/>
                    </a:lnTo>
                    <a:lnTo>
                      <a:pt x="1840" y="1132"/>
                    </a:lnTo>
                    <a:lnTo>
                      <a:pt x="1840" y="1132"/>
                    </a:lnTo>
                    <a:lnTo>
                      <a:pt x="1837" y="1132"/>
                    </a:lnTo>
                    <a:lnTo>
                      <a:pt x="1835" y="1132"/>
                    </a:lnTo>
                    <a:lnTo>
                      <a:pt x="1833" y="1132"/>
                    </a:lnTo>
                    <a:lnTo>
                      <a:pt x="1830" y="1132"/>
                    </a:lnTo>
                    <a:lnTo>
                      <a:pt x="1830" y="1132"/>
                    </a:lnTo>
                    <a:lnTo>
                      <a:pt x="1828" y="1132"/>
                    </a:lnTo>
                    <a:lnTo>
                      <a:pt x="1826" y="1132"/>
                    </a:lnTo>
                    <a:lnTo>
                      <a:pt x="1823" y="1132"/>
                    </a:lnTo>
                    <a:lnTo>
                      <a:pt x="1821" y="1132"/>
                    </a:lnTo>
                    <a:lnTo>
                      <a:pt x="1821" y="1132"/>
                    </a:lnTo>
                    <a:lnTo>
                      <a:pt x="1818" y="1132"/>
                    </a:lnTo>
                    <a:lnTo>
                      <a:pt x="1816" y="1132"/>
                    </a:lnTo>
                    <a:lnTo>
                      <a:pt x="1814" y="1132"/>
                    </a:lnTo>
                    <a:lnTo>
                      <a:pt x="1814" y="1132"/>
                    </a:lnTo>
                    <a:lnTo>
                      <a:pt x="1811" y="1132"/>
                    </a:lnTo>
                    <a:lnTo>
                      <a:pt x="1809" y="1132"/>
                    </a:lnTo>
                    <a:lnTo>
                      <a:pt x="1807" y="1132"/>
                    </a:lnTo>
                    <a:lnTo>
                      <a:pt x="1804" y="1132"/>
                    </a:lnTo>
                    <a:lnTo>
                      <a:pt x="1804" y="1132"/>
                    </a:lnTo>
                    <a:lnTo>
                      <a:pt x="1802" y="1132"/>
                    </a:lnTo>
                    <a:lnTo>
                      <a:pt x="1800" y="1132"/>
                    </a:lnTo>
                    <a:lnTo>
                      <a:pt x="1797" y="1132"/>
                    </a:lnTo>
                    <a:lnTo>
                      <a:pt x="1797" y="1132"/>
                    </a:lnTo>
                    <a:lnTo>
                      <a:pt x="1795" y="1132"/>
                    </a:lnTo>
                    <a:lnTo>
                      <a:pt x="1792" y="1132"/>
                    </a:lnTo>
                    <a:lnTo>
                      <a:pt x="1790" y="1132"/>
                    </a:lnTo>
                    <a:lnTo>
                      <a:pt x="1788" y="1132"/>
                    </a:lnTo>
                    <a:lnTo>
                      <a:pt x="1788" y="1132"/>
                    </a:lnTo>
                    <a:lnTo>
                      <a:pt x="1785" y="1132"/>
                    </a:lnTo>
                    <a:lnTo>
                      <a:pt x="1783" y="1132"/>
                    </a:lnTo>
                    <a:lnTo>
                      <a:pt x="1781" y="1132"/>
                    </a:lnTo>
                    <a:lnTo>
                      <a:pt x="1778" y="1132"/>
                    </a:lnTo>
                    <a:lnTo>
                      <a:pt x="1778" y="1132"/>
                    </a:lnTo>
                    <a:lnTo>
                      <a:pt x="1776" y="1132"/>
                    </a:lnTo>
                    <a:lnTo>
                      <a:pt x="1774" y="1132"/>
                    </a:lnTo>
                    <a:lnTo>
                      <a:pt x="1771" y="1132"/>
                    </a:lnTo>
                    <a:lnTo>
                      <a:pt x="1771" y="1132"/>
                    </a:lnTo>
                    <a:lnTo>
                      <a:pt x="1769" y="1132"/>
                    </a:lnTo>
                    <a:lnTo>
                      <a:pt x="1766" y="1132"/>
                    </a:lnTo>
                    <a:lnTo>
                      <a:pt x="1764" y="1132"/>
                    </a:lnTo>
                    <a:lnTo>
                      <a:pt x="1762" y="1132"/>
                    </a:lnTo>
                    <a:lnTo>
                      <a:pt x="1736" y="1132"/>
                    </a:lnTo>
                    <a:lnTo>
                      <a:pt x="1736" y="1134"/>
                    </a:lnTo>
                    <a:lnTo>
                      <a:pt x="1736" y="1158"/>
                    </a:lnTo>
                    <a:lnTo>
                      <a:pt x="1733" y="1158"/>
                    </a:lnTo>
                    <a:lnTo>
                      <a:pt x="1733" y="1158"/>
                    </a:lnTo>
                    <a:lnTo>
                      <a:pt x="1731" y="1158"/>
                    </a:lnTo>
                    <a:lnTo>
                      <a:pt x="1729" y="1158"/>
                    </a:lnTo>
                    <a:lnTo>
                      <a:pt x="1726" y="1158"/>
                    </a:lnTo>
                    <a:lnTo>
                      <a:pt x="1726" y="1158"/>
                    </a:lnTo>
                    <a:lnTo>
                      <a:pt x="1724" y="1158"/>
                    </a:lnTo>
                    <a:lnTo>
                      <a:pt x="1722" y="1158"/>
                    </a:lnTo>
                    <a:lnTo>
                      <a:pt x="1719" y="1158"/>
                    </a:lnTo>
                    <a:lnTo>
                      <a:pt x="1717" y="1158"/>
                    </a:lnTo>
                    <a:lnTo>
                      <a:pt x="1717" y="1158"/>
                    </a:lnTo>
                    <a:lnTo>
                      <a:pt x="1714" y="1158"/>
                    </a:lnTo>
                    <a:lnTo>
                      <a:pt x="1712" y="1158"/>
                    </a:lnTo>
                    <a:lnTo>
                      <a:pt x="1712" y="1160"/>
                    </a:lnTo>
                    <a:lnTo>
                      <a:pt x="1712" y="1201"/>
                    </a:lnTo>
                    <a:lnTo>
                      <a:pt x="1712" y="1201"/>
                    </a:lnTo>
                    <a:lnTo>
                      <a:pt x="1710" y="1201"/>
                    </a:lnTo>
                    <a:lnTo>
                      <a:pt x="1707" y="1201"/>
                    </a:lnTo>
                    <a:lnTo>
                      <a:pt x="1705" y="1201"/>
                    </a:lnTo>
                    <a:lnTo>
                      <a:pt x="1705" y="1201"/>
                    </a:lnTo>
                    <a:lnTo>
                      <a:pt x="1703" y="1201"/>
                    </a:lnTo>
                    <a:lnTo>
                      <a:pt x="1700" y="1201"/>
                    </a:lnTo>
                    <a:lnTo>
                      <a:pt x="1698" y="1201"/>
                    </a:lnTo>
                    <a:lnTo>
                      <a:pt x="1696" y="1201"/>
                    </a:lnTo>
                    <a:lnTo>
                      <a:pt x="1696" y="1201"/>
                    </a:lnTo>
                    <a:lnTo>
                      <a:pt x="1693" y="1201"/>
                    </a:lnTo>
                    <a:lnTo>
                      <a:pt x="1691" y="1201"/>
                    </a:lnTo>
                    <a:lnTo>
                      <a:pt x="1688" y="1201"/>
                    </a:lnTo>
                    <a:lnTo>
                      <a:pt x="1686" y="1201"/>
                    </a:lnTo>
                    <a:lnTo>
                      <a:pt x="1686" y="1201"/>
                    </a:lnTo>
                    <a:lnTo>
                      <a:pt x="1684" y="1201"/>
                    </a:lnTo>
                    <a:lnTo>
                      <a:pt x="1681" y="1201"/>
                    </a:lnTo>
                    <a:lnTo>
                      <a:pt x="1679" y="1201"/>
                    </a:lnTo>
                    <a:lnTo>
                      <a:pt x="1679" y="1201"/>
                    </a:lnTo>
                    <a:lnTo>
                      <a:pt x="1677" y="1201"/>
                    </a:lnTo>
                    <a:lnTo>
                      <a:pt x="1674" y="1201"/>
                    </a:lnTo>
                    <a:lnTo>
                      <a:pt x="1672" y="1201"/>
                    </a:lnTo>
                    <a:lnTo>
                      <a:pt x="1672" y="1201"/>
                    </a:lnTo>
                    <a:lnTo>
                      <a:pt x="1670" y="1201"/>
                    </a:lnTo>
                    <a:lnTo>
                      <a:pt x="1570" y="1201"/>
                    </a:lnTo>
                    <a:lnTo>
                      <a:pt x="1570" y="1127"/>
                    </a:lnTo>
                    <a:lnTo>
                      <a:pt x="1551" y="1127"/>
                    </a:lnTo>
                    <a:lnTo>
                      <a:pt x="1551" y="1085"/>
                    </a:lnTo>
                    <a:lnTo>
                      <a:pt x="1511" y="1085"/>
                    </a:lnTo>
                    <a:lnTo>
                      <a:pt x="1511" y="1087"/>
                    </a:lnTo>
                    <a:lnTo>
                      <a:pt x="1511" y="1127"/>
                    </a:lnTo>
                    <a:lnTo>
                      <a:pt x="1509" y="1127"/>
                    </a:lnTo>
                    <a:lnTo>
                      <a:pt x="1506" y="1127"/>
                    </a:lnTo>
                    <a:lnTo>
                      <a:pt x="1506" y="1127"/>
                    </a:lnTo>
                    <a:lnTo>
                      <a:pt x="1504" y="1127"/>
                    </a:lnTo>
                    <a:lnTo>
                      <a:pt x="1502" y="1127"/>
                    </a:lnTo>
                    <a:lnTo>
                      <a:pt x="1499" y="1127"/>
                    </a:lnTo>
                    <a:lnTo>
                      <a:pt x="1499" y="1127"/>
                    </a:lnTo>
                    <a:lnTo>
                      <a:pt x="1497" y="1127"/>
                    </a:lnTo>
                    <a:lnTo>
                      <a:pt x="1495" y="1127"/>
                    </a:lnTo>
                    <a:lnTo>
                      <a:pt x="1495" y="1127"/>
                    </a:lnTo>
                    <a:lnTo>
                      <a:pt x="1495" y="1127"/>
                    </a:lnTo>
                    <a:lnTo>
                      <a:pt x="1495" y="1201"/>
                    </a:lnTo>
                    <a:lnTo>
                      <a:pt x="1492" y="1201"/>
                    </a:lnTo>
                    <a:lnTo>
                      <a:pt x="1490" y="1201"/>
                    </a:lnTo>
                    <a:lnTo>
                      <a:pt x="1490" y="1201"/>
                    </a:lnTo>
                    <a:lnTo>
                      <a:pt x="1487" y="1201"/>
                    </a:lnTo>
                    <a:lnTo>
                      <a:pt x="1485" y="1201"/>
                    </a:lnTo>
                    <a:lnTo>
                      <a:pt x="1483" y="1201"/>
                    </a:lnTo>
                    <a:lnTo>
                      <a:pt x="1480" y="1201"/>
                    </a:lnTo>
                    <a:lnTo>
                      <a:pt x="1480" y="1201"/>
                    </a:lnTo>
                    <a:lnTo>
                      <a:pt x="1478" y="1201"/>
                    </a:lnTo>
                    <a:lnTo>
                      <a:pt x="1476" y="1201"/>
                    </a:lnTo>
                    <a:lnTo>
                      <a:pt x="1473" y="1201"/>
                    </a:lnTo>
                    <a:lnTo>
                      <a:pt x="1471" y="1201"/>
                    </a:lnTo>
                    <a:lnTo>
                      <a:pt x="1471" y="1201"/>
                    </a:lnTo>
                    <a:lnTo>
                      <a:pt x="1469" y="1201"/>
                    </a:lnTo>
                    <a:lnTo>
                      <a:pt x="1466" y="1201"/>
                    </a:lnTo>
                    <a:lnTo>
                      <a:pt x="1464" y="1201"/>
                    </a:lnTo>
                    <a:lnTo>
                      <a:pt x="1464" y="1201"/>
                    </a:lnTo>
                    <a:lnTo>
                      <a:pt x="1461" y="1201"/>
                    </a:lnTo>
                    <a:lnTo>
                      <a:pt x="1459" y="1201"/>
                    </a:lnTo>
                    <a:lnTo>
                      <a:pt x="1457" y="1201"/>
                    </a:lnTo>
                    <a:lnTo>
                      <a:pt x="1454" y="1201"/>
                    </a:lnTo>
                    <a:lnTo>
                      <a:pt x="1454" y="1201"/>
                    </a:lnTo>
                    <a:lnTo>
                      <a:pt x="1452" y="1201"/>
                    </a:lnTo>
                    <a:lnTo>
                      <a:pt x="1450" y="1201"/>
                    </a:lnTo>
                    <a:lnTo>
                      <a:pt x="1447" y="1201"/>
                    </a:lnTo>
                    <a:lnTo>
                      <a:pt x="1447" y="1201"/>
                    </a:lnTo>
                    <a:lnTo>
                      <a:pt x="1447" y="1175"/>
                    </a:lnTo>
                    <a:lnTo>
                      <a:pt x="1447" y="1151"/>
                    </a:lnTo>
                    <a:lnTo>
                      <a:pt x="1447" y="829"/>
                    </a:lnTo>
                    <a:lnTo>
                      <a:pt x="1251" y="829"/>
                    </a:lnTo>
                    <a:lnTo>
                      <a:pt x="1251" y="753"/>
                    </a:lnTo>
                    <a:lnTo>
                      <a:pt x="1057" y="753"/>
                    </a:lnTo>
                    <a:lnTo>
                      <a:pt x="1057" y="756"/>
                    </a:lnTo>
                    <a:lnTo>
                      <a:pt x="1057" y="829"/>
                    </a:lnTo>
                    <a:lnTo>
                      <a:pt x="1055" y="829"/>
                    </a:lnTo>
                    <a:lnTo>
                      <a:pt x="1052" y="829"/>
                    </a:lnTo>
                    <a:lnTo>
                      <a:pt x="1050" y="829"/>
                    </a:lnTo>
                    <a:lnTo>
                      <a:pt x="1050" y="829"/>
                    </a:lnTo>
                    <a:lnTo>
                      <a:pt x="1048" y="829"/>
                    </a:lnTo>
                    <a:lnTo>
                      <a:pt x="1045" y="829"/>
                    </a:lnTo>
                    <a:lnTo>
                      <a:pt x="1043" y="829"/>
                    </a:lnTo>
                    <a:lnTo>
                      <a:pt x="1041" y="829"/>
                    </a:lnTo>
                    <a:lnTo>
                      <a:pt x="1041" y="829"/>
                    </a:lnTo>
                    <a:lnTo>
                      <a:pt x="1038" y="829"/>
                    </a:lnTo>
                    <a:lnTo>
                      <a:pt x="1036" y="829"/>
                    </a:lnTo>
                    <a:lnTo>
                      <a:pt x="1033" y="829"/>
                    </a:lnTo>
                    <a:lnTo>
                      <a:pt x="1033" y="829"/>
                    </a:lnTo>
                    <a:lnTo>
                      <a:pt x="1031" y="829"/>
                    </a:lnTo>
                    <a:lnTo>
                      <a:pt x="1029" y="829"/>
                    </a:lnTo>
                    <a:lnTo>
                      <a:pt x="1026" y="829"/>
                    </a:lnTo>
                    <a:lnTo>
                      <a:pt x="1024" y="829"/>
                    </a:lnTo>
                    <a:lnTo>
                      <a:pt x="1024" y="829"/>
                    </a:lnTo>
                    <a:lnTo>
                      <a:pt x="1022" y="829"/>
                    </a:lnTo>
                    <a:lnTo>
                      <a:pt x="1019" y="829"/>
                    </a:lnTo>
                    <a:lnTo>
                      <a:pt x="1017" y="829"/>
                    </a:lnTo>
                    <a:lnTo>
                      <a:pt x="1015" y="829"/>
                    </a:lnTo>
                    <a:lnTo>
                      <a:pt x="1015" y="829"/>
                    </a:lnTo>
                    <a:lnTo>
                      <a:pt x="1012" y="829"/>
                    </a:lnTo>
                    <a:lnTo>
                      <a:pt x="1010" y="829"/>
                    </a:lnTo>
                    <a:lnTo>
                      <a:pt x="1007" y="829"/>
                    </a:lnTo>
                    <a:lnTo>
                      <a:pt x="1007" y="829"/>
                    </a:lnTo>
                    <a:lnTo>
                      <a:pt x="1005" y="829"/>
                    </a:lnTo>
                    <a:lnTo>
                      <a:pt x="1003" y="829"/>
                    </a:lnTo>
                    <a:lnTo>
                      <a:pt x="1000" y="829"/>
                    </a:lnTo>
                    <a:lnTo>
                      <a:pt x="998" y="829"/>
                    </a:lnTo>
                    <a:lnTo>
                      <a:pt x="998" y="829"/>
                    </a:lnTo>
                    <a:lnTo>
                      <a:pt x="996" y="829"/>
                    </a:lnTo>
                    <a:lnTo>
                      <a:pt x="993" y="829"/>
                    </a:lnTo>
                    <a:lnTo>
                      <a:pt x="991" y="829"/>
                    </a:lnTo>
                    <a:lnTo>
                      <a:pt x="989" y="829"/>
                    </a:lnTo>
                    <a:lnTo>
                      <a:pt x="989" y="829"/>
                    </a:lnTo>
                    <a:lnTo>
                      <a:pt x="986" y="829"/>
                    </a:lnTo>
                    <a:lnTo>
                      <a:pt x="984" y="829"/>
                    </a:lnTo>
                    <a:lnTo>
                      <a:pt x="854" y="829"/>
                    </a:lnTo>
                    <a:lnTo>
                      <a:pt x="854" y="829"/>
                    </a:lnTo>
                    <a:lnTo>
                      <a:pt x="854" y="1070"/>
                    </a:lnTo>
                    <a:lnTo>
                      <a:pt x="851" y="1070"/>
                    </a:lnTo>
                    <a:lnTo>
                      <a:pt x="849" y="1070"/>
                    </a:lnTo>
                    <a:lnTo>
                      <a:pt x="847" y="1070"/>
                    </a:lnTo>
                    <a:lnTo>
                      <a:pt x="844" y="1070"/>
                    </a:lnTo>
                    <a:lnTo>
                      <a:pt x="844" y="1070"/>
                    </a:lnTo>
                    <a:lnTo>
                      <a:pt x="842" y="1070"/>
                    </a:lnTo>
                    <a:lnTo>
                      <a:pt x="840" y="1070"/>
                    </a:lnTo>
                    <a:lnTo>
                      <a:pt x="837" y="1070"/>
                    </a:lnTo>
                    <a:lnTo>
                      <a:pt x="837" y="1070"/>
                    </a:lnTo>
                    <a:lnTo>
                      <a:pt x="835" y="1070"/>
                    </a:lnTo>
                    <a:lnTo>
                      <a:pt x="832" y="1070"/>
                    </a:lnTo>
                    <a:lnTo>
                      <a:pt x="830" y="1070"/>
                    </a:lnTo>
                    <a:lnTo>
                      <a:pt x="828" y="1070"/>
                    </a:lnTo>
                    <a:lnTo>
                      <a:pt x="828" y="1070"/>
                    </a:lnTo>
                    <a:lnTo>
                      <a:pt x="825" y="1070"/>
                    </a:lnTo>
                    <a:lnTo>
                      <a:pt x="823" y="1070"/>
                    </a:lnTo>
                    <a:lnTo>
                      <a:pt x="821" y="1070"/>
                    </a:lnTo>
                    <a:lnTo>
                      <a:pt x="818" y="1070"/>
                    </a:lnTo>
                    <a:lnTo>
                      <a:pt x="818" y="1070"/>
                    </a:lnTo>
                    <a:lnTo>
                      <a:pt x="818" y="864"/>
                    </a:lnTo>
                    <a:lnTo>
                      <a:pt x="818" y="618"/>
                    </a:lnTo>
                    <a:lnTo>
                      <a:pt x="601" y="618"/>
                    </a:lnTo>
                    <a:lnTo>
                      <a:pt x="601" y="547"/>
                    </a:lnTo>
                    <a:lnTo>
                      <a:pt x="350" y="547"/>
                    </a:lnTo>
                    <a:lnTo>
                      <a:pt x="350" y="550"/>
                    </a:lnTo>
                    <a:lnTo>
                      <a:pt x="350" y="618"/>
                    </a:lnTo>
                    <a:lnTo>
                      <a:pt x="348" y="618"/>
                    </a:lnTo>
                    <a:lnTo>
                      <a:pt x="345" y="618"/>
                    </a:lnTo>
                    <a:lnTo>
                      <a:pt x="343" y="618"/>
                    </a:lnTo>
                    <a:lnTo>
                      <a:pt x="343" y="618"/>
                    </a:lnTo>
                    <a:lnTo>
                      <a:pt x="341" y="618"/>
                    </a:lnTo>
                    <a:lnTo>
                      <a:pt x="338" y="618"/>
                    </a:lnTo>
                    <a:lnTo>
                      <a:pt x="336" y="618"/>
                    </a:lnTo>
                    <a:lnTo>
                      <a:pt x="336" y="618"/>
                    </a:lnTo>
                    <a:lnTo>
                      <a:pt x="334" y="618"/>
                    </a:lnTo>
                    <a:lnTo>
                      <a:pt x="331" y="618"/>
                    </a:lnTo>
                    <a:lnTo>
                      <a:pt x="329" y="618"/>
                    </a:lnTo>
                    <a:lnTo>
                      <a:pt x="326" y="618"/>
                    </a:lnTo>
                    <a:lnTo>
                      <a:pt x="326" y="618"/>
                    </a:lnTo>
                    <a:lnTo>
                      <a:pt x="324" y="618"/>
                    </a:lnTo>
                    <a:lnTo>
                      <a:pt x="322" y="618"/>
                    </a:lnTo>
                    <a:lnTo>
                      <a:pt x="319" y="618"/>
                    </a:lnTo>
                    <a:lnTo>
                      <a:pt x="317" y="618"/>
                    </a:lnTo>
                    <a:lnTo>
                      <a:pt x="317" y="618"/>
                    </a:lnTo>
                    <a:lnTo>
                      <a:pt x="315" y="618"/>
                    </a:lnTo>
                    <a:lnTo>
                      <a:pt x="312" y="618"/>
                    </a:lnTo>
                    <a:lnTo>
                      <a:pt x="310" y="618"/>
                    </a:lnTo>
                    <a:lnTo>
                      <a:pt x="310" y="618"/>
                    </a:lnTo>
                    <a:lnTo>
                      <a:pt x="308" y="618"/>
                    </a:lnTo>
                    <a:lnTo>
                      <a:pt x="305" y="618"/>
                    </a:lnTo>
                    <a:lnTo>
                      <a:pt x="303" y="618"/>
                    </a:lnTo>
                    <a:lnTo>
                      <a:pt x="300" y="618"/>
                    </a:lnTo>
                    <a:lnTo>
                      <a:pt x="300" y="618"/>
                    </a:lnTo>
                    <a:lnTo>
                      <a:pt x="298" y="618"/>
                    </a:lnTo>
                    <a:lnTo>
                      <a:pt x="296" y="618"/>
                    </a:lnTo>
                    <a:lnTo>
                      <a:pt x="293" y="618"/>
                    </a:lnTo>
                    <a:lnTo>
                      <a:pt x="293" y="618"/>
                    </a:lnTo>
                    <a:lnTo>
                      <a:pt x="291" y="618"/>
                    </a:lnTo>
                    <a:lnTo>
                      <a:pt x="289" y="618"/>
                    </a:lnTo>
                    <a:lnTo>
                      <a:pt x="286" y="618"/>
                    </a:lnTo>
                    <a:lnTo>
                      <a:pt x="284" y="618"/>
                    </a:lnTo>
                    <a:lnTo>
                      <a:pt x="284" y="618"/>
                    </a:lnTo>
                    <a:lnTo>
                      <a:pt x="282" y="618"/>
                    </a:lnTo>
                    <a:lnTo>
                      <a:pt x="144" y="618"/>
                    </a:lnTo>
                    <a:lnTo>
                      <a:pt x="144" y="618"/>
                    </a:lnTo>
                    <a:lnTo>
                      <a:pt x="144" y="1454"/>
                    </a:lnTo>
                    <a:lnTo>
                      <a:pt x="142" y="1454"/>
                    </a:lnTo>
                    <a:lnTo>
                      <a:pt x="140" y="1454"/>
                    </a:lnTo>
                    <a:lnTo>
                      <a:pt x="140" y="1454"/>
                    </a:lnTo>
                    <a:lnTo>
                      <a:pt x="137" y="1454"/>
                    </a:lnTo>
                    <a:lnTo>
                      <a:pt x="135" y="1454"/>
                    </a:lnTo>
                    <a:lnTo>
                      <a:pt x="133" y="1454"/>
                    </a:lnTo>
                    <a:lnTo>
                      <a:pt x="130" y="1454"/>
                    </a:lnTo>
                    <a:lnTo>
                      <a:pt x="130" y="1454"/>
                    </a:lnTo>
                    <a:lnTo>
                      <a:pt x="128" y="1454"/>
                    </a:lnTo>
                    <a:lnTo>
                      <a:pt x="126" y="1454"/>
                    </a:lnTo>
                    <a:lnTo>
                      <a:pt x="123" y="1454"/>
                    </a:lnTo>
                    <a:lnTo>
                      <a:pt x="123" y="1454"/>
                    </a:lnTo>
                    <a:lnTo>
                      <a:pt x="121" y="1454"/>
                    </a:lnTo>
                    <a:lnTo>
                      <a:pt x="118" y="1454"/>
                    </a:lnTo>
                    <a:lnTo>
                      <a:pt x="116" y="1454"/>
                    </a:lnTo>
                    <a:lnTo>
                      <a:pt x="114" y="1454"/>
                    </a:lnTo>
                    <a:lnTo>
                      <a:pt x="114" y="1454"/>
                    </a:lnTo>
                    <a:lnTo>
                      <a:pt x="111" y="1454"/>
                    </a:lnTo>
                    <a:lnTo>
                      <a:pt x="109" y="1454"/>
                    </a:lnTo>
                    <a:lnTo>
                      <a:pt x="107" y="1454"/>
                    </a:lnTo>
                    <a:lnTo>
                      <a:pt x="104" y="1454"/>
                    </a:lnTo>
                    <a:lnTo>
                      <a:pt x="104" y="1454"/>
                    </a:lnTo>
                    <a:lnTo>
                      <a:pt x="102" y="1454"/>
                    </a:lnTo>
                    <a:lnTo>
                      <a:pt x="99" y="1454"/>
                    </a:lnTo>
                    <a:lnTo>
                      <a:pt x="97" y="1454"/>
                    </a:lnTo>
                    <a:lnTo>
                      <a:pt x="97" y="1454"/>
                    </a:lnTo>
                    <a:lnTo>
                      <a:pt x="95" y="1454"/>
                    </a:lnTo>
                    <a:lnTo>
                      <a:pt x="92" y="1454"/>
                    </a:lnTo>
                    <a:lnTo>
                      <a:pt x="90" y="1454"/>
                    </a:lnTo>
                    <a:lnTo>
                      <a:pt x="88" y="1454"/>
                    </a:lnTo>
                    <a:lnTo>
                      <a:pt x="88" y="1454"/>
                    </a:lnTo>
                    <a:lnTo>
                      <a:pt x="85" y="1454"/>
                    </a:lnTo>
                    <a:lnTo>
                      <a:pt x="83" y="1454"/>
                    </a:lnTo>
                    <a:lnTo>
                      <a:pt x="81" y="1454"/>
                    </a:lnTo>
                    <a:lnTo>
                      <a:pt x="78" y="1454"/>
                    </a:lnTo>
                    <a:lnTo>
                      <a:pt x="78" y="1454"/>
                    </a:lnTo>
                    <a:lnTo>
                      <a:pt x="76" y="1454"/>
                    </a:lnTo>
                    <a:lnTo>
                      <a:pt x="73" y="1454"/>
                    </a:lnTo>
                    <a:lnTo>
                      <a:pt x="71" y="1454"/>
                    </a:lnTo>
                    <a:lnTo>
                      <a:pt x="71" y="1454"/>
                    </a:lnTo>
                    <a:lnTo>
                      <a:pt x="69" y="1454"/>
                    </a:lnTo>
                    <a:lnTo>
                      <a:pt x="66" y="1454"/>
                    </a:lnTo>
                    <a:lnTo>
                      <a:pt x="64" y="1454"/>
                    </a:lnTo>
                    <a:lnTo>
                      <a:pt x="62" y="1454"/>
                    </a:lnTo>
                    <a:lnTo>
                      <a:pt x="62" y="1454"/>
                    </a:lnTo>
                    <a:lnTo>
                      <a:pt x="59" y="1454"/>
                    </a:lnTo>
                    <a:lnTo>
                      <a:pt x="57" y="1454"/>
                    </a:lnTo>
                    <a:lnTo>
                      <a:pt x="55" y="1454"/>
                    </a:lnTo>
                    <a:lnTo>
                      <a:pt x="52" y="1454"/>
                    </a:lnTo>
                    <a:lnTo>
                      <a:pt x="52" y="1454"/>
                    </a:lnTo>
                    <a:lnTo>
                      <a:pt x="50" y="1454"/>
                    </a:lnTo>
                    <a:lnTo>
                      <a:pt x="50" y="1454"/>
                    </a:lnTo>
                    <a:lnTo>
                      <a:pt x="50" y="1456"/>
                    </a:lnTo>
                    <a:lnTo>
                      <a:pt x="50" y="1534"/>
                    </a:lnTo>
                    <a:lnTo>
                      <a:pt x="47" y="1534"/>
                    </a:lnTo>
                    <a:lnTo>
                      <a:pt x="45" y="1534"/>
                    </a:lnTo>
                    <a:lnTo>
                      <a:pt x="43" y="1534"/>
                    </a:lnTo>
                    <a:lnTo>
                      <a:pt x="43" y="1534"/>
                    </a:lnTo>
                    <a:lnTo>
                      <a:pt x="40" y="1534"/>
                    </a:lnTo>
                    <a:lnTo>
                      <a:pt x="38" y="1534"/>
                    </a:lnTo>
                    <a:lnTo>
                      <a:pt x="36" y="1534"/>
                    </a:lnTo>
                    <a:lnTo>
                      <a:pt x="33" y="1534"/>
                    </a:lnTo>
                    <a:lnTo>
                      <a:pt x="33" y="1534"/>
                    </a:lnTo>
                    <a:lnTo>
                      <a:pt x="31" y="1534"/>
                    </a:lnTo>
                    <a:lnTo>
                      <a:pt x="29" y="1534"/>
                    </a:lnTo>
                    <a:lnTo>
                      <a:pt x="26" y="1534"/>
                    </a:lnTo>
                    <a:lnTo>
                      <a:pt x="26" y="1534"/>
                    </a:lnTo>
                    <a:lnTo>
                      <a:pt x="24" y="1534"/>
                    </a:lnTo>
                    <a:lnTo>
                      <a:pt x="21" y="1534"/>
                    </a:lnTo>
                    <a:lnTo>
                      <a:pt x="19" y="1534"/>
                    </a:lnTo>
                    <a:lnTo>
                      <a:pt x="17" y="1534"/>
                    </a:lnTo>
                    <a:lnTo>
                      <a:pt x="17" y="1534"/>
                    </a:lnTo>
                    <a:lnTo>
                      <a:pt x="14" y="1534"/>
                    </a:lnTo>
                    <a:lnTo>
                      <a:pt x="12" y="1534"/>
                    </a:lnTo>
                    <a:lnTo>
                      <a:pt x="10" y="1534"/>
                    </a:lnTo>
                    <a:lnTo>
                      <a:pt x="7" y="1534"/>
                    </a:lnTo>
                    <a:lnTo>
                      <a:pt x="7" y="1534"/>
                    </a:lnTo>
                    <a:lnTo>
                      <a:pt x="5" y="1534"/>
                    </a:lnTo>
                    <a:lnTo>
                      <a:pt x="3" y="1534"/>
                    </a:lnTo>
                    <a:lnTo>
                      <a:pt x="0" y="1534"/>
                    </a:lnTo>
                    <a:lnTo>
                      <a:pt x="0" y="1534"/>
                    </a:lnTo>
                    <a:lnTo>
                      <a:pt x="0" y="1537"/>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512"/>
                    </a:lnTo>
                    <a:lnTo>
                      <a:pt x="7072" y="1693"/>
                    </a:lnTo>
                    <a:lnTo>
                      <a:pt x="7070" y="1693"/>
                    </a:lnTo>
                    <a:lnTo>
                      <a:pt x="7070" y="1693"/>
                    </a:lnTo>
                    <a:lnTo>
                      <a:pt x="7068" y="1693"/>
                    </a:lnTo>
                    <a:lnTo>
                      <a:pt x="7065" y="1693"/>
                    </a:lnTo>
                    <a:lnTo>
                      <a:pt x="7063" y="1693"/>
                    </a:lnTo>
                    <a:lnTo>
                      <a:pt x="7063" y="1693"/>
                    </a:lnTo>
                    <a:lnTo>
                      <a:pt x="7061" y="1693"/>
                    </a:lnTo>
                    <a:lnTo>
                      <a:pt x="7058" y="1693"/>
                    </a:lnTo>
                    <a:lnTo>
                      <a:pt x="7056" y="1693"/>
                    </a:lnTo>
                    <a:lnTo>
                      <a:pt x="7054" y="1693"/>
                    </a:lnTo>
                    <a:lnTo>
                      <a:pt x="7054" y="1693"/>
                    </a:lnTo>
                    <a:lnTo>
                      <a:pt x="7051" y="1693"/>
                    </a:lnTo>
                    <a:lnTo>
                      <a:pt x="7049" y="1693"/>
                    </a:lnTo>
                    <a:lnTo>
                      <a:pt x="7046" y="1693"/>
                    </a:lnTo>
                    <a:lnTo>
                      <a:pt x="7046" y="1693"/>
                    </a:lnTo>
                    <a:lnTo>
                      <a:pt x="7044" y="1693"/>
                    </a:lnTo>
                    <a:lnTo>
                      <a:pt x="7042" y="1693"/>
                    </a:lnTo>
                    <a:lnTo>
                      <a:pt x="7039" y="1693"/>
                    </a:lnTo>
                    <a:lnTo>
                      <a:pt x="7037" y="1693"/>
                    </a:lnTo>
                    <a:lnTo>
                      <a:pt x="7037" y="1693"/>
                    </a:lnTo>
                    <a:lnTo>
                      <a:pt x="7035" y="1693"/>
                    </a:lnTo>
                    <a:lnTo>
                      <a:pt x="7032" y="1693"/>
                    </a:lnTo>
                    <a:lnTo>
                      <a:pt x="7030" y="1693"/>
                    </a:lnTo>
                    <a:lnTo>
                      <a:pt x="7030" y="1693"/>
                    </a:lnTo>
                    <a:lnTo>
                      <a:pt x="7030" y="1094"/>
                    </a:lnTo>
                    <a:lnTo>
                      <a:pt x="7028" y="1094"/>
                    </a:lnTo>
                    <a:lnTo>
                      <a:pt x="7028" y="1094"/>
                    </a:lnTo>
                    <a:lnTo>
                      <a:pt x="7025" y="1094"/>
                    </a:lnTo>
                    <a:lnTo>
                      <a:pt x="7023" y="1094"/>
                    </a:lnTo>
                    <a:lnTo>
                      <a:pt x="7020" y="1094"/>
                    </a:lnTo>
                    <a:lnTo>
                      <a:pt x="7020" y="1094"/>
                    </a:lnTo>
                    <a:lnTo>
                      <a:pt x="7018" y="1094"/>
                    </a:lnTo>
                    <a:lnTo>
                      <a:pt x="7016" y="1094"/>
                    </a:lnTo>
                    <a:lnTo>
                      <a:pt x="7013" y="1094"/>
                    </a:lnTo>
                    <a:lnTo>
                      <a:pt x="7011" y="1094"/>
                    </a:lnTo>
                    <a:lnTo>
                      <a:pt x="7011" y="1094"/>
                    </a:lnTo>
                    <a:lnTo>
                      <a:pt x="7009" y="1094"/>
                    </a:lnTo>
                    <a:lnTo>
                      <a:pt x="7006" y="1094"/>
                    </a:lnTo>
                    <a:lnTo>
                      <a:pt x="7004" y="1094"/>
                    </a:lnTo>
                    <a:lnTo>
                      <a:pt x="7001" y="1094"/>
                    </a:lnTo>
                    <a:lnTo>
                      <a:pt x="7001" y="1094"/>
                    </a:lnTo>
                    <a:lnTo>
                      <a:pt x="6999" y="1094"/>
                    </a:lnTo>
                    <a:lnTo>
                      <a:pt x="6997" y="1094"/>
                    </a:lnTo>
                    <a:lnTo>
                      <a:pt x="6994" y="1094"/>
                    </a:lnTo>
                    <a:lnTo>
                      <a:pt x="6994" y="1094"/>
                    </a:lnTo>
                    <a:lnTo>
                      <a:pt x="6992" y="1094"/>
                    </a:lnTo>
                    <a:lnTo>
                      <a:pt x="6990" y="1094"/>
                    </a:lnTo>
                    <a:lnTo>
                      <a:pt x="6987" y="1094"/>
                    </a:lnTo>
                    <a:lnTo>
                      <a:pt x="6985" y="1094"/>
                    </a:lnTo>
                    <a:lnTo>
                      <a:pt x="6985" y="1094"/>
                    </a:lnTo>
                    <a:lnTo>
                      <a:pt x="6983" y="1094"/>
                    </a:lnTo>
                    <a:lnTo>
                      <a:pt x="6980" y="1094"/>
                    </a:lnTo>
                    <a:lnTo>
                      <a:pt x="6978" y="1094"/>
                    </a:lnTo>
                    <a:lnTo>
                      <a:pt x="6905" y="1094"/>
                    </a:lnTo>
                    <a:lnTo>
                      <a:pt x="6905" y="1059"/>
                    </a:lnTo>
                    <a:lnTo>
                      <a:pt x="6519" y="1059"/>
                    </a:lnTo>
                    <a:lnTo>
                      <a:pt x="6519" y="935"/>
                    </a:lnTo>
                    <a:lnTo>
                      <a:pt x="6486" y="935"/>
                    </a:lnTo>
                    <a:lnTo>
                      <a:pt x="6477" y="895"/>
                    </a:lnTo>
                    <a:lnTo>
                      <a:pt x="6472" y="895"/>
                    </a:lnTo>
                    <a:lnTo>
                      <a:pt x="6472" y="879"/>
                    </a:lnTo>
                    <a:lnTo>
                      <a:pt x="6465" y="879"/>
                    </a:lnTo>
                    <a:lnTo>
                      <a:pt x="6465" y="850"/>
                    </a:lnTo>
                    <a:lnTo>
                      <a:pt x="6446" y="850"/>
                    </a:lnTo>
                    <a:lnTo>
                      <a:pt x="6446" y="853"/>
                    </a:lnTo>
                    <a:lnTo>
                      <a:pt x="6446" y="879"/>
                    </a:lnTo>
                    <a:lnTo>
                      <a:pt x="6443" y="879"/>
                    </a:lnTo>
                    <a:lnTo>
                      <a:pt x="6441" y="879"/>
                    </a:lnTo>
                    <a:lnTo>
                      <a:pt x="6439" y="879"/>
                    </a:lnTo>
                    <a:lnTo>
                      <a:pt x="6439" y="879"/>
                    </a:lnTo>
                    <a:lnTo>
                      <a:pt x="6436" y="879"/>
                    </a:lnTo>
                    <a:lnTo>
                      <a:pt x="6436" y="881"/>
                    </a:lnTo>
                    <a:lnTo>
                      <a:pt x="6436" y="895"/>
                    </a:lnTo>
                    <a:lnTo>
                      <a:pt x="6436" y="895"/>
                    </a:lnTo>
                    <a:lnTo>
                      <a:pt x="6434" y="895"/>
                    </a:lnTo>
                    <a:lnTo>
                      <a:pt x="6432" y="895"/>
                    </a:lnTo>
                    <a:lnTo>
                      <a:pt x="6432" y="898"/>
                    </a:lnTo>
                    <a:lnTo>
                      <a:pt x="6425" y="935"/>
                    </a:lnTo>
                    <a:lnTo>
                      <a:pt x="6422" y="935"/>
                    </a:lnTo>
                    <a:lnTo>
                      <a:pt x="6420" y="935"/>
                    </a:lnTo>
                    <a:lnTo>
                      <a:pt x="6420" y="935"/>
                    </a:lnTo>
                    <a:lnTo>
                      <a:pt x="6417" y="935"/>
                    </a:lnTo>
                    <a:lnTo>
                      <a:pt x="6417" y="935"/>
                    </a:lnTo>
                    <a:lnTo>
                      <a:pt x="6415" y="935"/>
                    </a:lnTo>
                    <a:lnTo>
                      <a:pt x="6413" y="935"/>
                    </a:lnTo>
                    <a:lnTo>
                      <a:pt x="6413" y="935"/>
                    </a:lnTo>
                    <a:lnTo>
                      <a:pt x="6410" y="935"/>
                    </a:lnTo>
                    <a:lnTo>
                      <a:pt x="6408" y="935"/>
                    </a:lnTo>
                    <a:lnTo>
                      <a:pt x="6408" y="935"/>
                    </a:lnTo>
                    <a:lnTo>
                      <a:pt x="6406" y="935"/>
                    </a:lnTo>
                    <a:lnTo>
                      <a:pt x="6406" y="935"/>
                    </a:lnTo>
                    <a:lnTo>
                      <a:pt x="6403" y="935"/>
                    </a:lnTo>
                    <a:lnTo>
                      <a:pt x="6401" y="935"/>
                    </a:lnTo>
                    <a:lnTo>
                      <a:pt x="6401" y="935"/>
                    </a:lnTo>
                    <a:lnTo>
                      <a:pt x="6399" y="935"/>
                    </a:lnTo>
                    <a:lnTo>
                      <a:pt x="6399" y="935"/>
                    </a:lnTo>
                    <a:lnTo>
                      <a:pt x="6396" y="935"/>
                    </a:lnTo>
                    <a:lnTo>
                      <a:pt x="6394" y="935"/>
                    </a:lnTo>
                    <a:lnTo>
                      <a:pt x="6394" y="935"/>
                    </a:lnTo>
                    <a:lnTo>
                      <a:pt x="6391" y="935"/>
                    </a:lnTo>
                    <a:lnTo>
                      <a:pt x="6391" y="935"/>
                    </a:lnTo>
                    <a:lnTo>
                      <a:pt x="6389" y="935"/>
                    </a:lnTo>
                    <a:lnTo>
                      <a:pt x="6387" y="935"/>
                    </a:lnTo>
                    <a:lnTo>
                      <a:pt x="6387" y="938"/>
                    </a:lnTo>
                    <a:lnTo>
                      <a:pt x="6387" y="1130"/>
                    </a:lnTo>
                    <a:lnTo>
                      <a:pt x="6387" y="1130"/>
                    </a:lnTo>
                    <a:lnTo>
                      <a:pt x="6384" y="1130"/>
                    </a:lnTo>
                    <a:lnTo>
                      <a:pt x="6382" y="1130"/>
                    </a:lnTo>
                    <a:lnTo>
                      <a:pt x="6380" y="1130"/>
                    </a:lnTo>
                    <a:lnTo>
                      <a:pt x="6377" y="1130"/>
                    </a:lnTo>
                    <a:lnTo>
                      <a:pt x="6377" y="1130"/>
                    </a:lnTo>
                    <a:lnTo>
                      <a:pt x="6375" y="1130"/>
                    </a:lnTo>
                    <a:lnTo>
                      <a:pt x="6373" y="1130"/>
                    </a:lnTo>
                    <a:lnTo>
                      <a:pt x="6370" y="1130"/>
                    </a:lnTo>
                    <a:lnTo>
                      <a:pt x="6370" y="1130"/>
                    </a:lnTo>
                    <a:lnTo>
                      <a:pt x="6370" y="1132"/>
                    </a:lnTo>
                    <a:lnTo>
                      <a:pt x="6370" y="1364"/>
                    </a:lnTo>
                    <a:lnTo>
                      <a:pt x="6368" y="1364"/>
                    </a:lnTo>
                    <a:lnTo>
                      <a:pt x="6365" y="1364"/>
                    </a:lnTo>
                    <a:lnTo>
                      <a:pt x="6365" y="1364"/>
                    </a:lnTo>
                    <a:lnTo>
                      <a:pt x="6363" y="1364"/>
                    </a:lnTo>
                    <a:lnTo>
                      <a:pt x="6361" y="1364"/>
                    </a:lnTo>
                    <a:lnTo>
                      <a:pt x="6358" y="1364"/>
                    </a:lnTo>
                    <a:lnTo>
                      <a:pt x="6358" y="1364"/>
                    </a:lnTo>
                    <a:lnTo>
                      <a:pt x="6356" y="1364"/>
                    </a:lnTo>
                    <a:lnTo>
                      <a:pt x="6354" y="1364"/>
                    </a:lnTo>
                    <a:lnTo>
                      <a:pt x="6351" y="1364"/>
                    </a:lnTo>
                    <a:lnTo>
                      <a:pt x="6349" y="1364"/>
                    </a:lnTo>
                    <a:lnTo>
                      <a:pt x="6349" y="1364"/>
                    </a:lnTo>
                    <a:lnTo>
                      <a:pt x="6347" y="1364"/>
                    </a:lnTo>
                    <a:lnTo>
                      <a:pt x="6344" y="1364"/>
                    </a:lnTo>
                    <a:lnTo>
                      <a:pt x="6344" y="1364"/>
                    </a:lnTo>
                    <a:lnTo>
                      <a:pt x="6344" y="1210"/>
                    </a:lnTo>
                    <a:lnTo>
                      <a:pt x="6342" y="1210"/>
                    </a:lnTo>
                    <a:lnTo>
                      <a:pt x="6339" y="1210"/>
                    </a:lnTo>
                    <a:lnTo>
                      <a:pt x="6339" y="1210"/>
                    </a:lnTo>
                    <a:lnTo>
                      <a:pt x="6337" y="1210"/>
                    </a:lnTo>
                    <a:lnTo>
                      <a:pt x="6335" y="1210"/>
                    </a:lnTo>
                    <a:lnTo>
                      <a:pt x="6332" y="1210"/>
                    </a:lnTo>
                    <a:lnTo>
                      <a:pt x="6332" y="1210"/>
                    </a:lnTo>
                    <a:lnTo>
                      <a:pt x="6330" y="1210"/>
                    </a:lnTo>
                    <a:lnTo>
                      <a:pt x="6328" y="1210"/>
                    </a:lnTo>
                    <a:lnTo>
                      <a:pt x="6325" y="1210"/>
                    </a:lnTo>
                    <a:lnTo>
                      <a:pt x="6323" y="1210"/>
                    </a:lnTo>
                    <a:lnTo>
                      <a:pt x="6323" y="1210"/>
                    </a:lnTo>
                    <a:lnTo>
                      <a:pt x="6321" y="1210"/>
                    </a:lnTo>
                    <a:lnTo>
                      <a:pt x="6318" y="1210"/>
                    </a:lnTo>
                    <a:lnTo>
                      <a:pt x="6316" y="1210"/>
                    </a:lnTo>
                    <a:lnTo>
                      <a:pt x="6313" y="1210"/>
                    </a:lnTo>
                    <a:lnTo>
                      <a:pt x="6313" y="1210"/>
                    </a:lnTo>
                    <a:lnTo>
                      <a:pt x="6311" y="1210"/>
                    </a:lnTo>
                    <a:lnTo>
                      <a:pt x="6309" y="1210"/>
                    </a:lnTo>
                    <a:lnTo>
                      <a:pt x="6306" y="1210"/>
                    </a:lnTo>
                    <a:lnTo>
                      <a:pt x="6306" y="1210"/>
                    </a:lnTo>
                    <a:lnTo>
                      <a:pt x="6304" y="1210"/>
                    </a:lnTo>
                    <a:lnTo>
                      <a:pt x="6302" y="1210"/>
                    </a:lnTo>
                    <a:lnTo>
                      <a:pt x="6299" y="1210"/>
                    </a:lnTo>
                    <a:lnTo>
                      <a:pt x="6297" y="1210"/>
                    </a:lnTo>
                    <a:lnTo>
                      <a:pt x="6297" y="1210"/>
                    </a:lnTo>
                    <a:lnTo>
                      <a:pt x="6295" y="1210"/>
                    </a:lnTo>
                    <a:lnTo>
                      <a:pt x="6292" y="1210"/>
                    </a:lnTo>
                    <a:lnTo>
                      <a:pt x="6290" y="1210"/>
                    </a:lnTo>
                    <a:lnTo>
                      <a:pt x="6280" y="1210"/>
                    </a:lnTo>
                    <a:lnTo>
                      <a:pt x="6280" y="1130"/>
                    </a:lnTo>
                    <a:lnTo>
                      <a:pt x="6122" y="1130"/>
                    </a:lnTo>
                    <a:lnTo>
                      <a:pt x="6122" y="1042"/>
                    </a:lnTo>
                    <a:lnTo>
                      <a:pt x="6103" y="1042"/>
                    </a:lnTo>
                    <a:lnTo>
                      <a:pt x="6103" y="990"/>
                    </a:lnTo>
                    <a:lnTo>
                      <a:pt x="5997" y="990"/>
                    </a:lnTo>
                    <a:lnTo>
                      <a:pt x="5997" y="992"/>
                    </a:lnTo>
                    <a:lnTo>
                      <a:pt x="5997" y="1042"/>
                    </a:lnTo>
                    <a:lnTo>
                      <a:pt x="5994" y="1042"/>
                    </a:lnTo>
                    <a:lnTo>
                      <a:pt x="5992" y="1042"/>
                    </a:lnTo>
                    <a:lnTo>
                      <a:pt x="5992" y="1042"/>
                    </a:lnTo>
                    <a:lnTo>
                      <a:pt x="5989" y="1042"/>
                    </a:lnTo>
                    <a:lnTo>
                      <a:pt x="5987" y="1042"/>
                    </a:lnTo>
                    <a:lnTo>
                      <a:pt x="5985" y="1042"/>
                    </a:lnTo>
                    <a:lnTo>
                      <a:pt x="5985" y="1042"/>
                    </a:lnTo>
                    <a:lnTo>
                      <a:pt x="5982" y="1042"/>
                    </a:lnTo>
                    <a:lnTo>
                      <a:pt x="5980" y="1042"/>
                    </a:lnTo>
                    <a:lnTo>
                      <a:pt x="5978" y="1042"/>
                    </a:lnTo>
                    <a:lnTo>
                      <a:pt x="5978" y="1044"/>
                    </a:lnTo>
                    <a:lnTo>
                      <a:pt x="5978" y="1130"/>
                    </a:lnTo>
                    <a:lnTo>
                      <a:pt x="5978" y="1130"/>
                    </a:lnTo>
                    <a:lnTo>
                      <a:pt x="5975" y="1130"/>
                    </a:lnTo>
                    <a:lnTo>
                      <a:pt x="5973" y="1130"/>
                    </a:lnTo>
                    <a:lnTo>
                      <a:pt x="5971" y="1130"/>
                    </a:lnTo>
                    <a:lnTo>
                      <a:pt x="5968" y="1130"/>
                    </a:lnTo>
                    <a:lnTo>
                      <a:pt x="5968" y="1130"/>
                    </a:lnTo>
                    <a:lnTo>
                      <a:pt x="5966" y="1130"/>
                    </a:lnTo>
                    <a:lnTo>
                      <a:pt x="5963" y="1130"/>
                    </a:lnTo>
                    <a:lnTo>
                      <a:pt x="5961" y="1130"/>
                    </a:lnTo>
                    <a:lnTo>
                      <a:pt x="5959" y="1130"/>
                    </a:lnTo>
                    <a:lnTo>
                      <a:pt x="5959" y="1130"/>
                    </a:lnTo>
                    <a:lnTo>
                      <a:pt x="5956" y="1130"/>
                    </a:lnTo>
                    <a:lnTo>
                      <a:pt x="5954" y="1130"/>
                    </a:lnTo>
                    <a:lnTo>
                      <a:pt x="5952" y="1130"/>
                    </a:lnTo>
                    <a:lnTo>
                      <a:pt x="5952" y="1130"/>
                    </a:lnTo>
                    <a:lnTo>
                      <a:pt x="5949" y="1130"/>
                    </a:lnTo>
                    <a:lnTo>
                      <a:pt x="5947" y="1130"/>
                    </a:lnTo>
                    <a:lnTo>
                      <a:pt x="5945" y="1130"/>
                    </a:lnTo>
                    <a:lnTo>
                      <a:pt x="5942" y="1130"/>
                    </a:lnTo>
                    <a:lnTo>
                      <a:pt x="5942" y="1130"/>
                    </a:lnTo>
                    <a:lnTo>
                      <a:pt x="5940" y="1130"/>
                    </a:lnTo>
                    <a:lnTo>
                      <a:pt x="5937" y="1130"/>
                    </a:lnTo>
                    <a:lnTo>
                      <a:pt x="5935" y="1130"/>
                    </a:lnTo>
                    <a:lnTo>
                      <a:pt x="5935" y="1130"/>
                    </a:lnTo>
                    <a:lnTo>
                      <a:pt x="5933" y="1130"/>
                    </a:lnTo>
                    <a:lnTo>
                      <a:pt x="5930" y="1130"/>
                    </a:lnTo>
                    <a:lnTo>
                      <a:pt x="5928" y="1130"/>
                    </a:lnTo>
                    <a:lnTo>
                      <a:pt x="5926" y="1130"/>
                    </a:lnTo>
                    <a:lnTo>
                      <a:pt x="5926" y="1130"/>
                    </a:lnTo>
                    <a:lnTo>
                      <a:pt x="5923" y="1130"/>
                    </a:lnTo>
                    <a:lnTo>
                      <a:pt x="5921" y="1130"/>
                    </a:lnTo>
                    <a:lnTo>
                      <a:pt x="5919" y="1130"/>
                    </a:lnTo>
                    <a:lnTo>
                      <a:pt x="5916" y="1130"/>
                    </a:lnTo>
                    <a:lnTo>
                      <a:pt x="5916" y="1130"/>
                    </a:lnTo>
                    <a:lnTo>
                      <a:pt x="5914" y="1130"/>
                    </a:lnTo>
                    <a:lnTo>
                      <a:pt x="5911" y="1130"/>
                    </a:lnTo>
                    <a:lnTo>
                      <a:pt x="5909" y="1130"/>
                    </a:lnTo>
                    <a:lnTo>
                      <a:pt x="5909" y="1130"/>
                    </a:lnTo>
                    <a:lnTo>
                      <a:pt x="5907" y="1130"/>
                    </a:lnTo>
                    <a:lnTo>
                      <a:pt x="5904" y="1130"/>
                    </a:lnTo>
                    <a:lnTo>
                      <a:pt x="5904" y="1130"/>
                    </a:lnTo>
                    <a:lnTo>
                      <a:pt x="5904" y="1132"/>
                    </a:lnTo>
                    <a:lnTo>
                      <a:pt x="5904" y="1210"/>
                    </a:lnTo>
                    <a:lnTo>
                      <a:pt x="5902" y="1210"/>
                    </a:lnTo>
                    <a:lnTo>
                      <a:pt x="5900" y="1210"/>
                    </a:lnTo>
                    <a:lnTo>
                      <a:pt x="5897" y="1210"/>
                    </a:lnTo>
                    <a:lnTo>
                      <a:pt x="5897" y="1210"/>
                    </a:lnTo>
                    <a:lnTo>
                      <a:pt x="5895" y="1210"/>
                    </a:lnTo>
                    <a:lnTo>
                      <a:pt x="5893" y="1210"/>
                    </a:lnTo>
                    <a:lnTo>
                      <a:pt x="5890" y="1210"/>
                    </a:lnTo>
                    <a:lnTo>
                      <a:pt x="5888" y="1210"/>
                    </a:lnTo>
                    <a:lnTo>
                      <a:pt x="5888" y="1210"/>
                    </a:lnTo>
                    <a:lnTo>
                      <a:pt x="5885" y="1210"/>
                    </a:lnTo>
                    <a:lnTo>
                      <a:pt x="5883" y="1210"/>
                    </a:lnTo>
                    <a:lnTo>
                      <a:pt x="5881" y="1210"/>
                    </a:lnTo>
                    <a:lnTo>
                      <a:pt x="5878" y="1210"/>
                    </a:lnTo>
                    <a:lnTo>
                      <a:pt x="5878" y="1210"/>
                    </a:lnTo>
                    <a:lnTo>
                      <a:pt x="5878" y="1212"/>
                    </a:lnTo>
                    <a:lnTo>
                      <a:pt x="5878" y="1326"/>
                    </a:lnTo>
                    <a:lnTo>
                      <a:pt x="5876" y="1326"/>
                    </a:lnTo>
                    <a:lnTo>
                      <a:pt x="5876" y="1326"/>
                    </a:lnTo>
                    <a:lnTo>
                      <a:pt x="5874" y="1326"/>
                    </a:lnTo>
                    <a:lnTo>
                      <a:pt x="5871" y="1326"/>
                    </a:lnTo>
                    <a:lnTo>
                      <a:pt x="5869" y="1326"/>
                    </a:lnTo>
                    <a:lnTo>
                      <a:pt x="5867" y="1326"/>
                    </a:lnTo>
                    <a:lnTo>
                      <a:pt x="5867" y="1326"/>
                    </a:lnTo>
                    <a:lnTo>
                      <a:pt x="5864" y="1326"/>
                    </a:lnTo>
                    <a:lnTo>
                      <a:pt x="5862" y="1326"/>
                    </a:lnTo>
                    <a:lnTo>
                      <a:pt x="5859" y="1326"/>
                    </a:lnTo>
                    <a:lnTo>
                      <a:pt x="5857" y="1326"/>
                    </a:lnTo>
                    <a:lnTo>
                      <a:pt x="5857" y="1326"/>
                    </a:lnTo>
                    <a:lnTo>
                      <a:pt x="5855" y="1326"/>
                    </a:lnTo>
                    <a:lnTo>
                      <a:pt x="5852" y="1326"/>
                    </a:lnTo>
                    <a:lnTo>
                      <a:pt x="5850" y="1326"/>
                    </a:lnTo>
                    <a:lnTo>
                      <a:pt x="5850" y="1326"/>
                    </a:lnTo>
                    <a:lnTo>
                      <a:pt x="5848" y="1326"/>
                    </a:lnTo>
                    <a:lnTo>
                      <a:pt x="5845" y="1326"/>
                    </a:lnTo>
                    <a:lnTo>
                      <a:pt x="5843" y="1326"/>
                    </a:lnTo>
                    <a:lnTo>
                      <a:pt x="5841" y="1326"/>
                    </a:lnTo>
                    <a:lnTo>
                      <a:pt x="5841" y="1326"/>
                    </a:lnTo>
                    <a:lnTo>
                      <a:pt x="5838" y="1326"/>
                    </a:lnTo>
                    <a:lnTo>
                      <a:pt x="5836" y="1326"/>
                    </a:lnTo>
                    <a:lnTo>
                      <a:pt x="5833" y="1326"/>
                    </a:lnTo>
                    <a:lnTo>
                      <a:pt x="5831" y="1326"/>
                    </a:lnTo>
                    <a:lnTo>
                      <a:pt x="5831" y="1326"/>
                    </a:lnTo>
                    <a:lnTo>
                      <a:pt x="5829" y="1326"/>
                    </a:lnTo>
                    <a:lnTo>
                      <a:pt x="5826" y="1326"/>
                    </a:lnTo>
                    <a:lnTo>
                      <a:pt x="5824" y="1326"/>
                    </a:lnTo>
                    <a:lnTo>
                      <a:pt x="5824" y="1326"/>
                    </a:lnTo>
                    <a:lnTo>
                      <a:pt x="5822" y="1326"/>
                    </a:lnTo>
                    <a:lnTo>
                      <a:pt x="5819" y="1326"/>
                    </a:lnTo>
                    <a:lnTo>
                      <a:pt x="5817" y="1326"/>
                    </a:lnTo>
                    <a:lnTo>
                      <a:pt x="5815" y="1326"/>
                    </a:lnTo>
                    <a:lnTo>
                      <a:pt x="5815" y="1326"/>
                    </a:lnTo>
                    <a:lnTo>
                      <a:pt x="5812" y="1326"/>
                    </a:lnTo>
                    <a:lnTo>
                      <a:pt x="5810" y="1326"/>
                    </a:lnTo>
                    <a:lnTo>
                      <a:pt x="5807" y="1326"/>
                    </a:lnTo>
                    <a:lnTo>
                      <a:pt x="5807" y="1326"/>
                    </a:lnTo>
                    <a:lnTo>
                      <a:pt x="5805" y="1326"/>
                    </a:lnTo>
                    <a:lnTo>
                      <a:pt x="5803" y="1326"/>
                    </a:lnTo>
                    <a:lnTo>
                      <a:pt x="5800" y="1326"/>
                    </a:lnTo>
                    <a:lnTo>
                      <a:pt x="5798" y="1326"/>
                    </a:lnTo>
                    <a:lnTo>
                      <a:pt x="5798" y="1326"/>
                    </a:lnTo>
                    <a:lnTo>
                      <a:pt x="5796" y="1326"/>
                    </a:lnTo>
                    <a:lnTo>
                      <a:pt x="5793" y="1326"/>
                    </a:lnTo>
                    <a:lnTo>
                      <a:pt x="5791" y="1326"/>
                    </a:lnTo>
                    <a:lnTo>
                      <a:pt x="5788" y="1326"/>
                    </a:lnTo>
                    <a:lnTo>
                      <a:pt x="5788" y="1326"/>
                    </a:lnTo>
                    <a:lnTo>
                      <a:pt x="5786" y="1326"/>
                    </a:lnTo>
                    <a:lnTo>
                      <a:pt x="5784" y="1326"/>
                    </a:lnTo>
                    <a:lnTo>
                      <a:pt x="5713" y="1326"/>
                    </a:lnTo>
                    <a:lnTo>
                      <a:pt x="5713" y="1329"/>
                    </a:lnTo>
                    <a:lnTo>
                      <a:pt x="5713" y="1449"/>
                    </a:lnTo>
                    <a:lnTo>
                      <a:pt x="5710" y="1449"/>
                    </a:lnTo>
                    <a:lnTo>
                      <a:pt x="5710" y="1449"/>
                    </a:lnTo>
                    <a:lnTo>
                      <a:pt x="5708" y="1449"/>
                    </a:lnTo>
                    <a:lnTo>
                      <a:pt x="5706" y="1449"/>
                    </a:lnTo>
                    <a:lnTo>
                      <a:pt x="5703" y="1449"/>
                    </a:lnTo>
                    <a:lnTo>
                      <a:pt x="5703" y="1449"/>
                    </a:lnTo>
                    <a:lnTo>
                      <a:pt x="5701" y="1449"/>
                    </a:lnTo>
                    <a:lnTo>
                      <a:pt x="5699" y="1449"/>
                    </a:lnTo>
                    <a:lnTo>
                      <a:pt x="5696" y="1449"/>
                    </a:lnTo>
                    <a:lnTo>
                      <a:pt x="5694" y="1449"/>
                    </a:lnTo>
                    <a:lnTo>
                      <a:pt x="5694" y="1449"/>
                    </a:lnTo>
                    <a:lnTo>
                      <a:pt x="5692" y="1449"/>
                    </a:lnTo>
                    <a:lnTo>
                      <a:pt x="5689" y="1449"/>
                    </a:lnTo>
                    <a:lnTo>
                      <a:pt x="5687" y="1449"/>
                    </a:lnTo>
                    <a:lnTo>
                      <a:pt x="5684" y="1449"/>
                    </a:lnTo>
                    <a:lnTo>
                      <a:pt x="5684" y="1449"/>
                    </a:lnTo>
                    <a:lnTo>
                      <a:pt x="5682" y="1449"/>
                    </a:lnTo>
                    <a:lnTo>
                      <a:pt x="5680" y="1449"/>
                    </a:lnTo>
                    <a:lnTo>
                      <a:pt x="5677" y="1449"/>
                    </a:lnTo>
                    <a:lnTo>
                      <a:pt x="5677" y="1449"/>
                    </a:lnTo>
                    <a:lnTo>
                      <a:pt x="5675" y="1449"/>
                    </a:lnTo>
                    <a:lnTo>
                      <a:pt x="5673" y="1449"/>
                    </a:lnTo>
                    <a:lnTo>
                      <a:pt x="5670" y="1449"/>
                    </a:lnTo>
                    <a:lnTo>
                      <a:pt x="5668" y="1449"/>
                    </a:lnTo>
                    <a:lnTo>
                      <a:pt x="5668" y="1449"/>
                    </a:lnTo>
                    <a:lnTo>
                      <a:pt x="5666" y="1449"/>
                    </a:lnTo>
                    <a:lnTo>
                      <a:pt x="5666" y="1376"/>
                    </a:lnTo>
                    <a:lnTo>
                      <a:pt x="5666" y="732"/>
                    </a:lnTo>
                    <a:lnTo>
                      <a:pt x="5531" y="732"/>
                    </a:lnTo>
                    <a:lnTo>
                      <a:pt x="5531" y="611"/>
                    </a:lnTo>
                    <a:lnTo>
                      <a:pt x="5301" y="611"/>
                    </a:lnTo>
                    <a:lnTo>
                      <a:pt x="5301" y="611"/>
                    </a:lnTo>
                    <a:lnTo>
                      <a:pt x="5301" y="732"/>
                    </a:lnTo>
                    <a:lnTo>
                      <a:pt x="5299" y="732"/>
                    </a:lnTo>
                    <a:lnTo>
                      <a:pt x="5297" y="732"/>
                    </a:lnTo>
                    <a:lnTo>
                      <a:pt x="5294" y="732"/>
                    </a:lnTo>
                    <a:lnTo>
                      <a:pt x="5292" y="732"/>
                    </a:lnTo>
                    <a:lnTo>
                      <a:pt x="5292" y="732"/>
                    </a:lnTo>
                    <a:lnTo>
                      <a:pt x="5290" y="732"/>
                    </a:lnTo>
                    <a:lnTo>
                      <a:pt x="5287" y="732"/>
                    </a:lnTo>
                    <a:lnTo>
                      <a:pt x="5285" y="732"/>
                    </a:lnTo>
                    <a:lnTo>
                      <a:pt x="5285" y="732"/>
                    </a:lnTo>
                    <a:lnTo>
                      <a:pt x="5282" y="732"/>
                    </a:lnTo>
                    <a:lnTo>
                      <a:pt x="5280" y="732"/>
                    </a:lnTo>
                    <a:lnTo>
                      <a:pt x="5278" y="732"/>
                    </a:lnTo>
                    <a:lnTo>
                      <a:pt x="5275" y="732"/>
                    </a:lnTo>
                    <a:lnTo>
                      <a:pt x="5275" y="732"/>
                    </a:lnTo>
                    <a:lnTo>
                      <a:pt x="5273" y="732"/>
                    </a:lnTo>
                    <a:lnTo>
                      <a:pt x="5271" y="732"/>
                    </a:lnTo>
                    <a:lnTo>
                      <a:pt x="5268" y="732"/>
                    </a:lnTo>
                    <a:lnTo>
                      <a:pt x="5268" y="732"/>
                    </a:lnTo>
                    <a:lnTo>
                      <a:pt x="5266" y="732"/>
                    </a:lnTo>
                    <a:lnTo>
                      <a:pt x="5264" y="732"/>
                    </a:lnTo>
                    <a:lnTo>
                      <a:pt x="5261" y="732"/>
                    </a:lnTo>
                    <a:lnTo>
                      <a:pt x="5259" y="732"/>
                    </a:lnTo>
                    <a:lnTo>
                      <a:pt x="5259" y="732"/>
                    </a:lnTo>
                    <a:lnTo>
                      <a:pt x="5256" y="732"/>
                    </a:lnTo>
                    <a:lnTo>
                      <a:pt x="5254" y="732"/>
                    </a:lnTo>
                    <a:lnTo>
                      <a:pt x="5252" y="732"/>
                    </a:lnTo>
                    <a:lnTo>
                      <a:pt x="5249" y="732"/>
                    </a:lnTo>
                    <a:lnTo>
                      <a:pt x="5249" y="732"/>
                    </a:lnTo>
                    <a:lnTo>
                      <a:pt x="5247" y="732"/>
                    </a:lnTo>
                    <a:lnTo>
                      <a:pt x="5245" y="732"/>
                    </a:lnTo>
                    <a:lnTo>
                      <a:pt x="5242" y="732"/>
                    </a:lnTo>
                    <a:lnTo>
                      <a:pt x="5242" y="732"/>
                    </a:lnTo>
                    <a:lnTo>
                      <a:pt x="5240" y="732"/>
                    </a:lnTo>
                    <a:lnTo>
                      <a:pt x="5238" y="732"/>
                    </a:lnTo>
                    <a:lnTo>
                      <a:pt x="5235" y="732"/>
                    </a:lnTo>
                    <a:lnTo>
                      <a:pt x="5233" y="732"/>
                    </a:lnTo>
                    <a:lnTo>
                      <a:pt x="5233" y="732"/>
                    </a:lnTo>
                    <a:lnTo>
                      <a:pt x="5230" y="732"/>
                    </a:lnTo>
                    <a:lnTo>
                      <a:pt x="5228" y="732"/>
                    </a:lnTo>
                    <a:lnTo>
                      <a:pt x="5226" y="732"/>
                    </a:lnTo>
                    <a:lnTo>
                      <a:pt x="5223" y="732"/>
                    </a:lnTo>
                    <a:lnTo>
                      <a:pt x="5223" y="732"/>
                    </a:lnTo>
                    <a:lnTo>
                      <a:pt x="5221" y="732"/>
                    </a:lnTo>
                    <a:lnTo>
                      <a:pt x="5219" y="732"/>
                    </a:lnTo>
                    <a:lnTo>
                      <a:pt x="5216" y="732"/>
                    </a:lnTo>
                    <a:lnTo>
                      <a:pt x="5216" y="732"/>
                    </a:lnTo>
                    <a:lnTo>
                      <a:pt x="5214" y="732"/>
                    </a:lnTo>
                    <a:lnTo>
                      <a:pt x="5212" y="732"/>
                    </a:lnTo>
                    <a:lnTo>
                      <a:pt x="5209" y="732"/>
                    </a:lnTo>
                    <a:lnTo>
                      <a:pt x="5207" y="732"/>
                    </a:lnTo>
                    <a:lnTo>
                      <a:pt x="5207" y="732"/>
                    </a:lnTo>
                    <a:lnTo>
                      <a:pt x="5178" y="732"/>
                    </a:lnTo>
                    <a:lnTo>
                      <a:pt x="5178" y="734"/>
                    </a:lnTo>
                    <a:lnTo>
                      <a:pt x="5178" y="973"/>
                    </a:lnTo>
                    <a:lnTo>
                      <a:pt x="5178" y="973"/>
                    </a:lnTo>
                    <a:lnTo>
                      <a:pt x="5176" y="973"/>
                    </a:lnTo>
                    <a:lnTo>
                      <a:pt x="5174" y="973"/>
                    </a:lnTo>
                    <a:lnTo>
                      <a:pt x="5171" y="973"/>
                    </a:lnTo>
                    <a:lnTo>
                      <a:pt x="5171" y="973"/>
                    </a:lnTo>
                    <a:lnTo>
                      <a:pt x="5169" y="973"/>
                    </a:lnTo>
                    <a:lnTo>
                      <a:pt x="5167" y="973"/>
                    </a:lnTo>
                    <a:lnTo>
                      <a:pt x="5164" y="973"/>
                    </a:lnTo>
                    <a:lnTo>
                      <a:pt x="5162" y="973"/>
                    </a:lnTo>
                    <a:lnTo>
                      <a:pt x="5162" y="973"/>
                    </a:lnTo>
                    <a:lnTo>
                      <a:pt x="5160" y="973"/>
                    </a:lnTo>
                    <a:lnTo>
                      <a:pt x="5157" y="973"/>
                    </a:lnTo>
                    <a:lnTo>
                      <a:pt x="5155" y="973"/>
                    </a:lnTo>
                    <a:lnTo>
                      <a:pt x="5152" y="973"/>
                    </a:lnTo>
                    <a:lnTo>
                      <a:pt x="5152" y="973"/>
                    </a:lnTo>
                    <a:lnTo>
                      <a:pt x="5150" y="973"/>
                    </a:lnTo>
                    <a:lnTo>
                      <a:pt x="5148" y="973"/>
                    </a:lnTo>
                    <a:lnTo>
                      <a:pt x="5145" y="973"/>
                    </a:lnTo>
                    <a:lnTo>
                      <a:pt x="5145" y="973"/>
                    </a:lnTo>
                    <a:lnTo>
                      <a:pt x="5143" y="973"/>
                    </a:lnTo>
                    <a:lnTo>
                      <a:pt x="5141" y="973"/>
                    </a:lnTo>
                    <a:lnTo>
                      <a:pt x="5138" y="973"/>
                    </a:lnTo>
                    <a:lnTo>
                      <a:pt x="5136" y="973"/>
                    </a:lnTo>
                    <a:lnTo>
                      <a:pt x="5136" y="973"/>
                    </a:lnTo>
                    <a:lnTo>
                      <a:pt x="5134" y="973"/>
                    </a:lnTo>
                    <a:lnTo>
                      <a:pt x="5131" y="973"/>
                    </a:lnTo>
                    <a:lnTo>
                      <a:pt x="5129" y="973"/>
                    </a:lnTo>
                    <a:lnTo>
                      <a:pt x="5126" y="973"/>
                    </a:lnTo>
                    <a:lnTo>
                      <a:pt x="5126" y="973"/>
                    </a:lnTo>
                    <a:lnTo>
                      <a:pt x="5124" y="973"/>
                    </a:lnTo>
                    <a:lnTo>
                      <a:pt x="5122" y="973"/>
                    </a:lnTo>
                    <a:lnTo>
                      <a:pt x="5119" y="973"/>
                    </a:lnTo>
                    <a:lnTo>
                      <a:pt x="5119" y="973"/>
                    </a:lnTo>
                    <a:lnTo>
                      <a:pt x="5117" y="973"/>
                    </a:lnTo>
                    <a:lnTo>
                      <a:pt x="5115" y="973"/>
                    </a:lnTo>
                    <a:lnTo>
                      <a:pt x="5112" y="973"/>
                    </a:lnTo>
                    <a:lnTo>
                      <a:pt x="5110" y="973"/>
                    </a:lnTo>
                    <a:lnTo>
                      <a:pt x="5110" y="973"/>
                    </a:lnTo>
                    <a:lnTo>
                      <a:pt x="5108" y="973"/>
                    </a:lnTo>
                    <a:lnTo>
                      <a:pt x="5105" y="973"/>
                    </a:lnTo>
                    <a:lnTo>
                      <a:pt x="5103" y="973"/>
                    </a:lnTo>
                    <a:lnTo>
                      <a:pt x="5103" y="973"/>
                    </a:lnTo>
                    <a:lnTo>
                      <a:pt x="5100" y="973"/>
                    </a:lnTo>
                    <a:lnTo>
                      <a:pt x="5098" y="973"/>
                    </a:lnTo>
                    <a:lnTo>
                      <a:pt x="5096" y="973"/>
                    </a:lnTo>
                    <a:lnTo>
                      <a:pt x="5093" y="973"/>
                    </a:lnTo>
                    <a:lnTo>
                      <a:pt x="5093" y="973"/>
                    </a:lnTo>
                    <a:lnTo>
                      <a:pt x="5091" y="973"/>
                    </a:lnTo>
                    <a:lnTo>
                      <a:pt x="5089" y="973"/>
                    </a:lnTo>
                    <a:lnTo>
                      <a:pt x="5086" y="973"/>
                    </a:lnTo>
                    <a:lnTo>
                      <a:pt x="5084" y="973"/>
                    </a:lnTo>
                    <a:lnTo>
                      <a:pt x="4980" y="973"/>
                    </a:lnTo>
                    <a:lnTo>
                      <a:pt x="4980" y="232"/>
                    </a:lnTo>
                    <a:lnTo>
                      <a:pt x="4980" y="232"/>
                    </a:lnTo>
                    <a:lnTo>
                      <a:pt x="49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31" name="Freeform 147"/>
              <p:cNvSpPr>
                <a:spLocks noEditPoints="1"/>
              </p:cNvSpPr>
              <p:nvPr/>
            </p:nvSpPr>
            <p:spPr bwMode="auto">
              <a:xfrm>
                <a:off x="-3" y="1660"/>
                <a:ext cx="7567" cy="2676"/>
              </a:xfrm>
              <a:custGeom>
                <a:avLst/>
                <a:gdLst>
                  <a:gd name="T0" fmla="*/ 5188 w 7567"/>
                  <a:gd name="T1" fmla="*/ 983 h 2676"/>
                  <a:gd name="T2" fmla="*/ 5521 w 7567"/>
                  <a:gd name="T3" fmla="*/ 741 h 2676"/>
                  <a:gd name="T4" fmla="*/ 5722 w 7567"/>
                  <a:gd name="T5" fmla="*/ 1336 h 2676"/>
                  <a:gd name="T6" fmla="*/ 5978 w 7567"/>
                  <a:gd name="T7" fmla="*/ 1139 h 2676"/>
                  <a:gd name="T8" fmla="*/ 6094 w 7567"/>
                  <a:gd name="T9" fmla="*/ 1042 h 2676"/>
                  <a:gd name="T10" fmla="*/ 6271 w 7567"/>
                  <a:gd name="T11" fmla="*/ 1220 h 2676"/>
                  <a:gd name="T12" fmla="*/ 6380 w 7567"/>
                  <a:gd name="T13" fmla="*/ 1139 h 2676"/>
                  <a:gd name="T14" fmla="*/ 6446 w 7567"/>
                  <a:gd name="T15" fmla="*/ 905 h 2676"/>
                  <a:gd name="T16" fmla="*/ 6462 w 7567"/>
                  <a:gd name="T17" fmla="*/ 888 h 2676"/>
                  <a:gd name="T18" fmla="*/ 6510 w 7567"/>
                  <a:gd name="T19" fmla="*/ 1068 h 2676"/>
                  <a:gd name="T20" fmla="*/ 7030 w 7567"/>
                  <a:gd name="T21" fmla="*/ 1705 h 2676"/>
                  <a:gd name="T22" fmla="*/ 7359 w 7567"/>
                  <a:gd name="T23" fmla="*/ 1004 h 2676"/>
                  <a:gd name="T24" fmla="*/ 7489 w 7567"/>
                  <a:gd name="T25" fmla="*/ 1534 h 2676"/>
                  <a:gd name="T26" fmla="*/ 59 w 7567"/>
                  <a:gd name="T27" fmla="*/ 1534 h 2676"/>
                  <a:gd name="T28" fmla="*/ 360 w 7567"/>
                  <a:gd name="T29" fmla="*/ 557 h 2676"/>
                  <a:gd name="T30" fmla="*/ 854 w 7567"/>
                  <a:gd name="T31" fmla="*/ 1080 h 2676"/>
                  <a:gd name="T32" fmla="*/ 1242 w 7567"/>
                  <a:gd name="T33" fmla="*/ 829 h 2676"/>
                  <a:gd name="T34" fmla="*/ 1504 w 7567"/>
                  <a:gd name="T35" fmla="*/ 1201 h 2676"/>
                  <a:gd name="T36" fmla="*/ 1551 w 7567"/>
                  <a:gd name="T37" fmla="*/ 1137 h 2676"/>
                  <a:gd name="T38" fmla="*/ 1736 w 7567"/>
                  <a:gd name="T39" fmla="*/ 1168 h 2676"/>
                  <a:gd name="T40" fmla="*/ 1996 w 7567"/>
                  <a:gd name="T41" fmla="*/ 379 h 2676"/>
                  <a:gd name="T42" fmla="*/ 2138 w 7567"/>
                  <a:gd name="T43" fmla="*/ 344 h 2676"/>
                  <a:gd name="T44" fmla="*/ 2388 w 7567"/>
                  <a:gd name="T45" fmla="*/ 1099 h 2676"/>
                  <a:gd name="T46" fmla="*/ 2909 w 7567"/>
                  <a:gd name="T47" fmla="*/ 1250 h 2676"/>
                  <a:gd name="T48" fmla="*/ 3147 w 7567"/>
                  <a:gd name="T49" fmla="*/ 990 h 2676"/>
                  <a:gd name="T50" fmla="*/ 3339 w 7567"/>
                  <a:gd name="T51" fmla="*/ 668 h 2676"/>
                  <a:gd name="T52" fmla="*/ 3386 w 7567"/>
                  <a:gd name="T53" fmla="*/ 502 h 2676"/>
                  <a:gd name="T54" fmla="*/ 3523 w 7567"/>
                  <a:gd name="T55" fmla="*/ 592 h 2676"/>
                  <a:gd name="T56" fmla="*/ 3606 w 7567"/>
                  <a:gd name="T57" fmla="*/ 772 h 2676"/>
                  <a:gd name="T58" fmla="*/ 3715 w 7567"/>
                  <a:gd name="T59" fmla="*/ 1392 h 2676"/>
                  <a:gd name="T60" fmla="*/ 3828 w 7567"/>
                  <a:gd name="T61" fmla="*/ 1224 h 2676"/>
                  <a:gd name="T62" fmla="*/ 4013 w 7567"/>
                  <a:gd name="T63" fmla="*/ 647 h 2676"/>
                  <a:gd name="T64" fmla="*/ 4110 w 7567"/>
                  <a:gd name="T65" fmla="*/ 400 h 2676"/>
                  <a:gd name="T66" fmla="*/ 4176 w 7567"/>
                  <a:gd name="T67" fmla="*/ 609 h 2676"/>
                  <a:gd name="T68" fmla="*/ 4691 w 7567"/>
                  <a:gd name="T69" fmla="*/ 481 h 2676"/>
                  <a:gd name="T70" fmla="*/ 4909 w 7567"/>
                  <a:gd name="T71" fmla="*/ 183 h 2676"/>
                  <a:gd name="T72" fmla="*/ 4968 w 7567"/>
                  <a:gd name="T73" fmla="*/ 173 h 2676"/>
                  <a:gd name="T74" fmla="*/ 4899 w 7567"/>
                  <a:gd name="T75" fmla="*/ 173 h 2676"/>
                  <a:gd name="T76" fmla="*/ 4169 w 7567"/>
                  <a:gd name="T77" fmla="*/ 604 h 2676"/>
                  <a:gd name="T78" fmla="*/ 4091 w 7567"/>
                  <a:gd name="T79" fmla="*/ 391 h 2676"/>
                  <a:gd name="T80" fmla="*/ 3819 w 7567"/>
                  <a:gd name="T81" fmla="*/ 1224 h 2676"/>
                  <a:gd name="T82" fmla="*/ 3590 w 7567"/>
                  <a:gd name="T83" fmla="*/ 763 h 2676"/>
                  <a:gd name="T84" fmla="*/ 3377 w 7567"/>
                  <a:gd name="T85" fmla="*/ 502 h 2676"/>
                  <a:gd name="T86" fmla="*/ 3001 w 7567"/>
                  <a:gd name="T87" fmla="*/ 980 h 2676"/>
                  <a:gd name="T88" fmla="*/ 2388 w 7567"/>
                  <a:gd name="T89" fmla="*/ 1089 h 2676"/>
                  <a:gd name="T90" fmla="*/ 1986 w 7567"/>
                  <a:gd name="T91" fmla="*/ 370 h 2676"/>
                  <a:gd name="T92" fmla="*/ 1551 w 7567"/>
                  <a:gd name="T93" fmla="*/ 1127 h 2676"/>
                  <a:gd name="T94" fmla="*/ 1251 w 7567"/>
                  <a:gd name="T95" fmla="*/ 753 h 2676"/>
                  <a:gd name="T96" fmla="*/ 350 w 7567"/>
                  <a:gd name="T97" fmla="*/ 547 h 2676"/>
                  <a:gd name="T98" fmla="*/ 7567 w 7567"/>
                  <a:gd name="T99" fmla="*/ 1534 h 2676"/>
                  <a:gd name="T100" fmla="*/ 7072 w 7567"/>
                  <a:gd name="T101" fmla="*/ 509 h 2676"/>
                  <a:gd name="T102" fmla="*/ 6477 w 7567"/>
                  <a:gd name="T103" fmla="*/ 895 h 2676"/>
                  <a:gd name="T104" fmla="*/ 6432 w 7567"/>
                  <a:gd name="T105" fmla="*/ 895 h 2676"/>
                  <a:gd name="T106" fmla="*/ 6280 w 7567"/>
                  <a:gd name="T107" fmla="*/ 1130 h 2676"/>
                  <a:gd name="T108" fmla="*/ 5904 w 7567"/>
                  <a:gd name="T109" fmla="*/ 1130 h 2676"/>
                  <a:gd name="T110" fmla="*/ 5531 w 7567"/>
                  <a:gd name="T111" fmla="*/ 611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67" h="2676">
                    <a:moveTo>
                      <a:pt x="4970" y="10"/>
                    </a:moveTo>
                    <a:lnTo>
                      <a:pt x="4970" y="232"/>
                    </a:lnTo>
                    <a:lnTo>
                      <a:pt x="4970" y="242"/>
                    </a:lnTo>
                    <a:lnTo>
                      <a:pt x="4970" y="242"/>
                    </a:lnTo>
                    <a:lnTo>
                      <a:pt x="4970" y="973"/>
                    </a:lnTo>
                    <a:lnTo>
                      <a:pt x="4970" y="983"/>
                    </a:lnTo>
                    <a:lnTo>
                      <a:pt x="4980" y="983"/>
                    </a:lnTo>
                    <a:lnTo>
                      <a:pt x="5178" y="983"/>
                    </a:lnTo>
                    <a:lnTo>
                      <a:pt x="5188" y="983"/>
                    </a:lnTo>
                    <a:lnTo>
                      <a:pt x="5188" y="973"/>
                    </a:lnTo>
                    <a:lnTo>
                      <a:pt x="5188" y="741"/>
                    </a:lnTo>
                    <a:lnTo>
                      <a:pt x="5301" y="741"/>
                    </a:lnTo>
                    <a:lnTo>
                      <a:pt x="5311" y="741"/>
                    </a:lnTo>
                    <a:lnTo>
                      <a:pt x="5311" y="732"/>
                    </a:lnTo>
                    <a:lnTo>
                      <a:pt x="5311" y="621"/>
                    </a:lnTo>
                    <a:lnTo>
                      <a:pt x="5521" y="621"/>
                    </a:lnTo>
                    <a:lnTo>
                      <a:pt x="5521" y="732"/>
                    </a:lnTo>
                    <a:lnTo>
                      <a:pt x="5521" y="741"/>
                    </a:lnTo>
                    <a:lnTo>
                      <a:pt x="5531" y="741"/>
                    </a:lnTo>
                    <a:lnTo>
                      <a:pt x="5656" y="741"/>
                    </a:lnTo>
                    <a:lnTo>
                      <a:pt x="5656" y="1449"/>
                    </a:lnTo>
                    <a:lnTo>
                      <a:pt x="5656" y="1459"/>
                    </a:lnTo>
                    <a:lnTo>
                      <a:pt x="5666" y="1459"/>
                    </a:lnTo>
                    <a:lnTo>
                      <a:pt x="5713" y="1459"/>
                    </a:lnTo>
                    <a:lnTo>
                      <a:pt x="5722" y="1459"/>
                    </a:lnTo>
                    <a:lnTo>
                      <a:pt x="5722" y="1449"/>
                    </a:lnTo>
                    <a:lnTo>
                      <a:pt x="5722" y="1336"/>
                    </a:lnTo>
                    <a:lnTo>
                      <a:pt x="5878" y="1336"/>
                    </a:lnTo>
                    <a:lnTo>
                      <a:pt x="5888" y="1336"/>
                    </a:lnTo>
                    <a:lnTo>
                      <a:pt x="5888" y="1326"/>
                    </a:lnTo>
                    <a:lnTo>
                      <a:pt x="5888" y="1220"/>
                    </a:lnTo>
                    <a:lnTo>
                      <a:pt x="5904" y="1220"/>
                    </a:lnTo>
                    <a:lnTo>
                      <a:pt x="5914" y="1220"/>
                    </a:lnTo>
                    <a:lnTo>
                      <a:pt x="5914" y="1210"/>
                    </a:lnTo>
                    <a:lnTo>
                      <a:pt x="5914" y="1139"/>
                    </a:lnTo>
                    <a:lnTo>
                      <a:pt x="5978" y="1139"/>
                    </a:lnTo>
                    <a:lnTo>
                      <a:pt x="5987" y="1139"/>
                    </a:lnTo>
                    <a:lnTo>
                      <a:pt x="5987" y="1130"/>
                    </a:lnTo>
                    <a:lnTo>
                      <a:pt x="5987" y="1051"/>
                    </a:lnTo>
                    <a:lnTo>
                      <a:pt x="5997" y="1051"/>
                    </a:lnTo>
                    <a:lnTo>
                      <a:pt x="6006" y="1051"/>
                    </a:lnTo>
                    <a:lnTo>
                      <a:pt x="6006" y="1042"/>
                    </a:lnTo>
                    <a:lnTo>
                      <a:pt x="6006" y="999"/>
                    </a:lnTo>
                    <a:lnTo>
                      <a:pt x="6094" y="999"/>
                    </a:lnTo>
                    <a:lnTo>
                      <a:pt x="6094" y="1042"/>
                    </a:lnTo>
                    <a:lnTo>
                      <a:pt x="6094" y="1051"/>
                    </a:lnTo>
                    <a:lnTo>
                      <a:pt x="6103" y="1051"/>
                    </a:lnTo>
                    <a:lnTo>
                      <a:pt x="6112" y="1051"/>
                    </a:lnTo>
                    <a:lnTo>
                      <a:pt x="6112" y="1130"/>
                    </a:lnTo>
                    <a:lnTo>
                      <a:pt x="6112" y="1139"/>
                    </a:lnTo>
                    <a:lnTo>
                      <a:pt x="6122" y="1139"/>
                    </a:lnTo>
                    <a:lnTo>
                      <a:pt x="6271" y="1139"/>
                    </a:lnTo>
                    <a:lnTo>
                      <a:pt x="6271" y="1210"/>
                    </a:lnTo>
                    <a:lnTo>
                      <a:pt x="6271" y="1220"/>
                    </a:lnTo>
                    <a:lnTo>
                      <a:pt x="6280" y="1220"/>
                    </a:lnTo>
                    <a:lnTo>
                      <a:pt x="6335" y="1220"/>
                    </a:lnTo>
                    <a:lnTo>
                      <a:pt x="6335" y="1364"/>
                    </a:lnTo>
                    <a:lnTo>
                      <a:pt x="6335" y="1373"/>
                    </a:lnTo>
                    <a:lnTo>
                      <a:pt x="6344" y="1373"/>
                    </a:lnTo>
                    <a:lnTo>
                      <a:pt x="6370" y="1373"/>
                    </a:lnTo>
                    <a:lnTo>
                      <a:pt x="6380" y="1373"/>
                    </a:lnTo>
                    <a:lnTo>
                      <a:pt x="6380" y="1364"/>
                    </a:lnTo>
                    <a:lnTo>
                      <a:pt x="6380" y="1139"/>
                    </a:lnTo>
                    <a:lnTo>
                      <a:pt x="6387" y="1139"/>
                    </a:lnTo>
                    <a:lnTo>
                      <a:pt x="6396" y="1139"/>
                    </a:lnTo>
                    <a:lnTo>
                      <a:pt x="6396" y="1130"/>
                    </a:lnTo>
                    <a:lnTo>
                      <a:pt x="6396" y="947"/>
                    </a:lnTo>
                    <a:lnTo>
                      <a:pt x="6425" y="947"/>
                    </a:lnTo>
                    <a:lnTo>
                      <a:pt x="6432" y="947"/>
                    </a:lnTo>
                    <a:lnTo>
                      <a:pt x="6432" y="938"/>
                    </a:lnTo>
                    <a:lnTo>
                      <a:pt x="6441" y="905"/>
                    </a:lnTo>
                    <a:lnTo>
                      <a:pt x="6446" y="905"/>
                    </a:lnTo>
                    <a:lnTo>
                      <a:pt x="6446" y="895"/>
                    </a:lnTo>
                    <a:lnTo>
                      <a:pt x="6446" y="888"/>
                    </a:lnTo>
                    <a:lnTo>
                      <a:pt x="6455" y="888"/>
                    </a:lnTo>
                    <a:lnTo>
                      <a:pt x="6455" y="879"/>
                    </a:lnTo>
                    <a:lnTo>
                      <a:pt x="6455" y="860"/>
                    </a:lnTo>
                    <a:lnTo>
                      <a:pt x="6455" y="860"/>
                    </a:lnTo>
                    <a:lnTo>
                      <a:pt x="6455" y="879"/>
                    </a:lnTo>
                    <a:lnTo>
                      <a:pt x="6455" y="888"/>
                    </a:lnTo>
                    <a:lnTo>
                      <a:pt x="6462" y="888"/>
                    </a:lnTo>
                    <a:lnTo>
                      <a:pt x="6462" y="895"/>
                    </a:lnTo>
                    <a:lnTo>
                      <a:pt x="6462" y="905"/>
                    </a:lnTo>
                    <a:lnTo>
                      <a:pt x="6469" y="905"/>
                    </a:lnTo>
                    <a:lnTo>
                      <a:pt x="6477" y="938"/>
                    </a:lnTo>
                    <a:lnTo>
                      <a:pt x="6479" y="947"/>
                    </a:lnTo>
                    <a:lnTo>
                      <a:pt x="6486" y="947"/>
                    </a:lnTo>
                    <a:lnTo>
                      <a:pt x="6510" y="947"/>
                    </a:lnTo>
                    <a:lnTo>
                      <a:pt x="6510" y="1059"/>
                    </a:lnTo>
                    <a:lnTo>
                      <a:pt x="6510" y="1068"/>
                    </a:lnTo>
                    <a:lnTo>
                      <a:pt x="6519" y="1068"/>
                    </a:lnTo>
                    <a:lnTo>
                      <a:pt x="6895" y="1068"/>
                    </a:lnTo>
                    <a:lnTo>
                      <a:pt x="6895" y="1094"/>
                    </a:lnTo>
                    <a:lnTo>
                      <a:pt x="6895" y="1104"/>
                    </a:lnTo>
                    <a:lnTo>
                      <a:pt x="6905" y="1104"/>
                    </a:lnTo>
                    <a:lnTo>
                      <a:pt x="7020" y="1104"/>
                    </a:lnTo>
                    <a:lnTo>
                      <a:pt x="7020" y="1695"/>
                    </a:lnTo>
                    <a:lnTo>
                      <a:pt x="7020" y="1705"/>
                    </a:lnTo>
                    <a:lnTo>
                      <a:pt x="7030" y="1705"/>
                    </a:lnTo>
                    <a:lnTo>
                      <a:pt x="7072" y="1705"/>
                    </a:lnTo>
                    <a:lnTo>
                      <a:pt x="7082" y="1705"/>
                    </a:lnTo>
                    <a:lnTo>
                      <a:pt x="7082" y="1695"/>
                    </a:lnTo>
                    <a:lnTo>
                      <a:pt x="7082" y="519"/>
                    </a:lnTo>
                    <a:lnTo>
                      <a:pt x="7318" y="519"/>
                    </a:lnTo>
                    <a:lnTo>
                      <a:pt x="7318" y="995"/>
                    </a:lnTo>
                    <a:lnTo>
                      <a:pt x="7318" y="1004"/>
                    </a:lnTo>
                    <a:lnTo>
                      <a:pt x="7328" y="1004"/>
                    </a:lnTo>
                    <a:lnTo>
                      <a:pt x="7359" y="1004"/>
                    </a:lnTo>
                    <a:lnTo>
                      <a:pt x="7359" y="1215"/>
                    </a:lnTo>
                    <a:lnTo>
                      <a:pt x="7359" y="1224"/>
                    </a:lnTo>
                    <a:lnTo>
                      <a:pt x="7368" y="1224"/>
                    </a:lnTo>
                    <a:lnTo>
                      <a:pt x="7392" y="1224"/>
                    </a:lnTo>
                    <a:lnTo>
                      <a:pt x="7392" y="1499"/>
                    </a:lnTo>
                    <a:lnTo>
                      <a:pt x="7392" y="1508"/>
                    </a:lnTo>
                    <a:lnTo>
                      <a:pt x="7401" y="1508"/>
                    </a:lnTo>
                    <a:lnTo>
                      <a:pt x="7489" y="1508"/>
                    </a:lnTo>
                    <a:lnTo>
                      <a:pt x="7489" y="1534"/>
                    </a:lnTo>
                    <a:lnTo>
                      <a:pt x="7489" y="1544"/>
                    </a:lnTo>
                    <a:lnTo>
                      <a:pt x="7498" y="1544"/>
                    </a:lnTo>
                    <a:lnTo>
                      <a:pt x="7557" y="1544"/>
                    </a:lnTo>
                    <a:lnTo>
                      <a:pt x="7557" y="2666"/>
                    </a:lnTo>
                    <a:lnTo>
                      <a:pt x="10" y="2666"/>
                    </a:lnTo>
                    <a:lnTo>
                      <a:pt x="10" y="1544"/>
                    </a:lnTo>
                    <a:lnTo>
                      <a:pt x="50" y="1544"/>
                    </a:lnTo>
                    <a:lnTo>
                      <a:pt x="59" y="1544"/>
                    </a:lnTo>
                    <a:lnTo>
                      <a:pt x="59" y="1534"/>
                    </a:lnTo>
                    <a:lnTo>
                      <a:pt x="59" y="1463"/>
                    </a:lnTo>
                    <a:lnTo>
                      <a:pt x="144" y="1463"/>
                    </a:lnTo>
                    <a:lnTo>
                      <a:pt x="154" y="1463"/>
                    </a:lnTo>
                    <a:lnTo>
                      <a:pt x="154" y="1454"/>
                    </a:lnTo>
                    <a:lnTo>
                      <a:pt x="154" y="628"/>
                    </a:lnTo>
                    <a:lnTo>
                      <a:pt x="350" y="628"/>
                    </a:lnTo>
                    <a:lnTo>
                      <a:pt x="360" y="628"/>
                    </a:lnTo>
                    <a:lnTo>
                      <a:pt x="360" y="618"/>
                    </a:lnTo>
                    <a:lnTo>
                      <a:pt x="360" y="557"/>
                    </a:lnTo>
                    <a:lnTo>
                      <a:pt x="591" y="557"/>
                    </a:lnTo>
                    <a:lnTo>
                      <a:pt x="591" y="618"/>
                    </a:lnTo>
                    <a:lnTo>
                      <a:pt x="591" y="628"/>
                    </a:lnTo>
                    <a:lnTo>
                      <a:pt x="601" y="628"/>
                    </a:lnTo>
                    <a:lnTo>
                      <a:pt x="809" y="628"/>
                    </a:lnTo>
                    <a:lnTo>
                      <a:pt x="809" y="1070"/>
                    </a:lnTo>
                    <a:lnTo>
                      <a:pt x="809" y="1080"/>
                    </a:lnTo>
                    <a:lnTo>
                      <a:pt x="818" y="1080"/>
                    </a:lnTo>
                    <a:lnTo>
                      <a:pt x="854" y="1080"/>
                    </a:lnTo>
                    <a:lnTo>
                      <a:pt x="863" y="1080"/>
                    </a:lnTo>
                    <a:lnTo>
                      <a:pt x="863" y="1070"/>
                    </a:lnTo>
                    <a:lnTo>
                      <a:pt x="863" y="838"/>
                    </a:lnTo>
                    <a:lnTo>
                      <a:pt x="1057" y="838"/>
                    </a:lnTo>
                    <a:lnTo>
                      <a:pt x="1067" y="838"/>
                    </a:lnTo>
                    <a:lnTo>
                      <a:pt x="1067" y="829"/>
                    </a:lnTo>
                    <a:lnTo>
                      <a:pt x="1067" y="763"/>
                    </a:lnTo>
                    <a:lnTo>
                      <a:pt x="1242" y="763"/>
                    </a:lnTo>
                    <a:lnTo>
                      <a:pt x="1242" y="829"/>
                    </a:lnTo>
                    <a:lnTo>
                      <a:pt x="1242" y="838"/>
                    </a:lnTo>
                    <a:lnTo>
                      <a:pt x="1251" y="838"/>
                    </a:lnTo>
                    <a:lnTo>
                      <a:pt x="1438" y="838"/>
                    </a:lnTo>
                    <a:lnTo>
                      <a:pt x="1438" y="1201"/>
                    </a:lnTo>
                    <a:lnTo>
                      <a:pt x="1438" y="1210"/>
                    </a:lnTo>
                    <a:lnTo>
                      <a:pt x="1447" y="1210"/>
                    </a:lnTo>
                    <a:lnTo>
                      <a:pt x="1495" y="1210"/>
                    </a:lnTo>
                    <a:lnTo>
                      <a:pt x="1504" y="1210"/>
                    </a:lnTo>
                    <a:lnTo>
                      <a:pt x="1504" y="1201"/>
                    </a:lnTo>
                    <a:lnTo>
                      <a:pt x="1504" y="1137"/>
                    </a:lnTo>
                    <a:lnTo>
                      <a:pt x="1511" y="1137"/>
                    </a:lnTo>
                    <a:lnTo>
                      <a:pt x="1521" y="1137"/>
                    </a:lnTo>
                    <a:lnTo>
                      <a:pt x="1521" y="1127"/>
                    </a:lnTo>
                    <a:lnTo>
                      <a:pt x="1521" y="1094"/>
                    </a:lnTo>
                    <a:lnTo>
                      <a:pt x="1542" y="1094"/>
                    </a:lnTo>
                    <a:lnTo>
                      <a:pt x="1542" y="1127"/>
                    </a:lnTo>
                    <a:lnTo>
                      <a:pt x="1542" y="1137"/>
                    </a:lnTo>
                    <a:lnTo>
                      <a:pt x="1551" y="1137"/>
                    </a:lnTo>
                    <a:lnTo>
                      <a:pt x="1561" y="1137"/>
                    </a:lnTo>
                    <a:lnTo>
                      <a:pt x="1561" y="1201"/>
                    </a:lnTo>
                    <a:lnTo>
                      <a:pt x="1561" y="1210"/>
                    </a:lnTo>
                    <a:lnTo>
                      <a:pt x="1570" y="1210"/>
                    </a:lnTo>
                    <a:lnTo>
                      <a:pt x="1712" y="1210"/>
                    </a:lnTo>
                    <a:lnTo>
                      <a:pt x="1722" y="1210"/>
                    </a:lnTo>
                    <a:lnTo>
                      <a:pt x="1722" y="1201"/>
                    </a:lnTo>
                    <a:lnTo>
                      <a:pt x="1722" y="1168"/>
                    </a:lnTo>
                    <a:lnTo>
                      <a:pt x="1736" y="1168"/>
                    </a:lnTo>
                    <a:lnTo>
                      <a:pt x="1745" y="1168"/>
                    </a:lnTo>
                    <a:lnTo>
                      <a:pt x="1745" y="1158"/>
                    </a:lnTo>
                    <a:lnTo>
                      <a:pt x="1745" y="1141"/>
                    </a:lnTo>
                    <a:lnTo>
                      <a:pt x="1856" y="1141"/>
                    </a:lnTo>
                    <a:lnTo>
                      <a:pt x="1866" y="1141"/>
                    </a:lnTo>
                    <a:lnTo>
                      <a:pt x="1866" y="1132"/>
                    </a:lnTo>
                    <a:lnTo>
                      <a:pt x="1866" y="379"/>
                    </a:lnTo>
                    <a:lnTo>
                      <a:pt x="1986" y="379"/>
                    </a:lnTo>
                    <a:lnTo>
                      <a:pt x="1996" y="379"/>
                    </a:lnTo>
                    <a:lnTo>
                      <a:pt x="1996" y="370"/>
                    </a:lnTo>
                    <a:lnTo>
                      <a:pt x="1996" y="344"/>
                    </a:lnTo>
                    <a:lnTo>
                      <a:pt x="2076" y="344"/>
                    </a:lnTo>
                    <a:lnTo>
                      <a:pt x="2086" y="344"/>
                    </a:lnTo>
                    <a:lnTo>
                      <a:pt x="2086" y="334"/>
                    </a:lnTo>
                    <a:lnTo>
                      <a:pt x="2086" y="303"/>
                    </a:lnTo>
                    <a:lnTo>
                      <a:pt x="2138" y="303"/>
                    </a:lnTo>
                    <a:lnTo>
                      <a:pt x="2138" y="334"/>
                    </a:lnTo>
                    <a:lnTo>
                      <a:pt x="2138" y="344"/>
                    </a:lnTo>
                    <a:lnTo>
                      <a:pt x="2147" y="344"/>
                    </a:lnTo>
                    <a:lnTo>
                      <a:pt x="2228" y="344"/>
                    </a:lnTo>
                    <a:lnTo>
                      <a:pt x="2228" y="370"/>
                    </a:lnTo>
                    <a:lnTo>
                      <a:pt x="2228" y="379"/>
                    </a:lnTo>
                    <a:lnTo>
                      <a:pt x="2237" y="379"/>
                    </a:lnTo>
                    <a:lnTo>
                      <a:pt x="2379" y="379"/>
                    </a:lnTo>
                    <a:lnTo>
                      <a:pt x="2379" y="1089"/>
                    </a:lnTo>
                    <a:lnTo>
                      <a:pt x="2379" y="1099"/>
                    </a:lnTo>
                    <a:lnTo>
                      <a:pt x="2388" y="1099"/>
                    </a:lnTo>
                    <a:lnTo>
                      <a:pt x="2646" y="1099"/>
                    </a:lnTo>
                    <a:lnTo>
                      <a:pt x="2646" y="1184"/>
                    </a:lnTo>
                    <a:lnTo>
                      <a:pt x="2646" y="1194"/>
                    </a:lnTo>
                    <a:lnTo>
                      <a:pt x="2656" y="1194"/>
                    </a:lnTo>
                    <a:lnTo>
                      <a:pt x="2710" y="1194"/>
                    </a:lnTo>
                    <a:lnTo>
                      <a:pt x="2710" y="1241"/>
                    </a:lnTo>
                    <a:lnTo>
                      <a:pt x="2710" y="1250"/>
                    </a:lnTo>
                    <a:lnTo>
                      <a:pt x="2719" y="1250"/>
                    </a:lnTo>
                    <a:lnTo>
                      <a:pt x="2909" y="1250"/>
                    </a:lnTo>
                    <a:lnTo>
                      <a:pt x="2918" y="1250"/>
                    </a:lnTo>
                    <a:lnTo>
                      <a:pt x="2918" y="1241"/>
                    </a:lnTo>
                    <a:lnTo>
                      <a:pt x="2918" y="1073"/>
                    </a:lnTo>
                    <a:lnTo>
                      <a:pt x="2925" y="1073"/>
                    </a:lnTo>
                    <a:lnTo>
                      <a:pt x="2935" y="1073"/>
                    </a:lnTo>
                    <a:lnTo>
                      <a:pt x="2935" y="1063"/>
                    </a:lnTo>
                    <a:lnTo>
                      <a:pt x="2935" y="1021"/>
                    </a:lnTo>
                    <a:lnTo>
                      <a:pt x="3001" y="990"/>
                    </a:lnTo>
                    <a:lnTo>
                      <a:pt x="3147" y="990"/>
                    </a:lnTo>
                    <a:lnTo>
                      <a:pt x="3157" y="990"/>
                    </a:lnTo>
                    <a:lnTo>
                      <a:pt x="3157" y="980"/>
                    </a:lnTo>
                    <a:lnTo>
                      <a:pt x="3157" y="772"/>
                    </a:lnTo>
                    <a:lnTo>
                      <a:pt x="3185" y="772"/>
                    </a:lnTo>
                    <a:lnTo>
                      <a:pt x="3195" y="772"/>
                    </a:lnTo>
                    <a:lnTo>
                      <a:pt x="3195" y="763"/>
                    </a:lnTo>
                    <a:lnTo>
                      <a:pt x="3195" y="668"/>
                    </a:lnTo>
                    <a:lnTo>
                      <a:pt x="3329" y="668"/>
                    </a:lnTo>
                    <a:lnTo>
                      <a:pt x="3339" y="668"/>
                    </a:lnTo>
                    <a:lnTo>
                      <a:pt x="3339" y="658"/>
                    </a:lnTo>
                    <a:lnTo>
                      <a:pt x="3339" y="592"/>
                    </a:lnTo>
                    <a:lnTo>
                      <a:pt x="3348" y="592"/>
                    </a:lnTo>
                    <a:lnTo>
                      <a:pt x="3358" y="592"/>
                    </a:lnTo>
                    <a:lnTo>
                      <a:pt x="3358" y="583"/>
                    </a:lnTo>
                    <a:lnTo>
                      <a:pt x="3358" y="512"/>
                    </a:lnTo>
                    <a:lnTo>
                      <a:pt x="3377" y="512"/>
                    </a:lnTo>
                    <a:lnTo>
                      <a:pt x="3386" y="512"/>
                    </a:lnTo>
                    <a:lnTo>
                      <a:pt x="3386" y="502"/>
                    </a:lnTo>
                    <a:lnTo>
                      <a:pt x="3386" y="445"/>
                    </a:lnTo>
                    <a:lnTo>
                      <a:pt x="3483" y="445"/>
                    </a:lnTo>
                    <a:lnTo>
                      <a:pt x="3483" y="502"/>
                    </a:lnTo>
                    <a:lnTo>
                      <a:pt x="3483" y="512"/>
                    </a:lnTo>
                    <a:lnTo>
                      <a:pt x="3493" y="512"/>
                    </a:lnTo>
                    <a:lnTo>
                      <a:pt x="3514" y="512"/>
                    </a:lnTo>
                    <a:lnTo>
                      <a:pt x="3514" y="583"/>
                    </a:lnTo>
                    <a:lnTo>
                      <a:pt x="3514" y="592"/>
                    </a:lnTo>
                    <a:lnTo>
                      <a:pt x="3523" y="592"/>
                    </a:lnTo>
                    <a:lnTo>
                      <a:pt x="3530" y="592"/>
                    </a:lnTo>
                    <a:lnTo>
                      <a:pt x="3530" y="658"/>
                    </a:lnTo>
                    <a:lnTo>
                      <a:pt x="3530" y="668"/>
                    </a:lnTo>
                    <a:lnTo>
                      <a:pt x="3540" y="668"/>
                    </a:lnTo>
                    <a:lnTo>
                      <a:pt x="3580" y="668"/>
                    </a:lnTo>
                    <a:lnTo>
                      <a:pt x="3580" y="763"/>
                    </a:lnTo>
                    <a:lnTo>
                      <a:pt x="3580" y="772"/>
                    </a:lnTo>
                    <a:lnTo>
                      <a:pt x="3590" y="772"/>
                    </a:lnTo>
                    <a:lnTo>
                      <a:pt x="3606" y="772"/>
                    </a:lnTo>
                    <a:lnTo>
                      <a:pt x="3606" y="1222"/>
                    </a:lnTo>
                    <a:lnTo>
                      <a:pt x="3606" y="1231"/>
                    </a:lnTo>
                    <a:lnTo>
                      <a:pt x="3616" y="1231"/>
                    </a:lnTo>
                    <a:lnTo>
                      <a:pt x="3639" y="1231"/>
                    </a:lnTo>
                    <a:lnTo>
                      <a:pt x="3639" y="1317"/>
                    </a:lnTo>
                    <a:lnTo>
                      <a:pt x="3639" y="1326"/>
                    </a:lnTo>
                    <a:lnTo>
                      <a:pt x="3649" y="1326"/>
                    </a:lnTo>
                    <a:lnTo>
                      <a:pt x="3715" y="1326"/>
                    </a:lnTo>
                    <a:lnTo>
                      <a:pt x="3715" y="1392"/>
                    </a:lnTo>
                    <a:lnTo>
                      <a:pt x="3715" y="1402"/>
                    </a:lnTo>
                    <a:lnTo>
                      <a:pt x="3724" y="1402"/>
                    </a:lnTo>
                    <a:lnTo>
                      <a:pt x="3757" y="1402"/>
                    </a:lnTo>
                    <a:lnTo>
                      <a:pt x="3767" y="1402"/>
                    </a:lnTo>
                    <a:lnTo>
                      <a:pt x="3767" y="1392"/>
                    </a:lnTo>
                    <a:lnTo>
                      <a:pt x="3767" y="1234"/>
                    </a:lnTo>
                    <a:lnTo>
                      <a:pt x="3819" y="1234"/>
                    </a:lnTo>
                    <a:lnTo>
                      <a:pt x="3828" y="1234"/>
                    </a:lnTo>
                    <a:lnTo>
                      <a:pt x="3828" y="1224"/>
                    </a:lnTo>
                    <a:lnTo>
                      <a:pt x="3828" y="1004"/>
                    </a:lnTo>
                    <a:lnTo>
                      <a:pt x="3892" y="1004"/>
                    </a:lnTo>
                    <a:lnTo>
                      <a:pt x="3902" y="1004"/>
                    </a:lnTo>
                    <a:lnTo>
                      <a:pt x="3902" y="995"/>
                    </a:lnTo>
                    <a:lnTo>
                      <a:pt x="3902" y="938"/>
                    </a:lnTo>
                    <a:lnTo>
                      <a:pt x="4003" y="938"/>
                    </a:lnTo>
                    <a:lnTo>
                      <a:pt x="4013" y="938"/>
                    </a:lnTo>
                    <a:lnTo>
                      <a:pt x="4013" y="928"/>
                    </a:lnTo>
                    <a:lnTo>
                      <a:pt x="4013" y="647"/>
                    </a:lnTo>
                    <a:lnTo>
                      <a:pt x="4093" y="497"/>
                    </a:lnTo>
                    <a:lnTo>
                      <a:pt x="4093" y="495"/>
                    </a:lnTo>
                    <a:lnTo>
                      <a:pt x="4093" y="493"/>
                    </a:lnTo>
                    <a:lnTo>
                      <a:pt x="4093" y="464"/>
                    </a:lnTo>
                    <a:lnTo>
                      <a:pt x="4100" y="464"/>
                    </a:lnTo>
                    <a:lnTo>
                      <a:pt x="4100" y="455"/>
                    </a:lnTo>
                    <a:lnTo>
                      <a:pt x="4100" y="400"/>
                    </a:lnTo>
                    <a:lnTo>
                      <a:pt x="4100" y="400"/>
                    </a:lnTo>
                    <a:lnTo>
                      <a:pt x="4110" y="400"/>
                    </a:lnTo>
                    <a:lnTo>
                      <a:pt x="4110" y="455"/>
                    </a:lnTo>
                    <a:lnTo>
                      <a:pt x="4110" y="464"/>
                    </a:lnTo>
                    <a:lnTo>
                      <a:pt x="4114" y="464"/>
                    </a:lnTo>
                    <a:lnTo>
                      <a:pt x="4114" y="495"/>
                    </a:lnTo>
                    <a:lnTo>
                      <a:pt x="4114" y="497"/>
                    </a:lnTo>
                    <a:lnTo>
                      <a:pt x="4114" y="500"/>
                    </a:lnTo>
                    <a:lnTo>
                      <a:pt x="4162" y="609"/>
                    </a:lnTo>
                    <a:lnTo>
                      <a:pt x="4166" y="623"/>
                    </a:lnTo>
                    <a:lnTo>
                      <a:pt x="4176" y="609"/>
                    </a:lnTo>
                    <a:lnTo>
                      <a:pt x="4247" y="514"/>
                    </a:lnTo>
                    <a:lnTo>
                      <a:pt x="4401" y="514"/>
                    </a:lnTo>
                    <a:lnTo>
                      <a:pt x="4427" y="547"/>
                    </a:lnTo>
                    <a:lnTo>
                      <a:pt x="4429" y="550"/>
                    </a:lnTo>
                    <a:lnTo>
                      <a:pt x="4434" y="550"/>
                    </a:lnTo>
                    <a:lnTo>
                      <a:pt x="4583" y="550"/>
                    </a:lnTo>
                    <a:lnTo>
                      <a:pt x="4585" y="550"/>
                    </a:lnTo>
                    <a:lnTo>
                      <a:pt x="4587" y="550"/>
                    </a:lnTo>
                    <a:lnTo>
                      <a:pt x="4691" y="481"/>
                    </a:lnTo>
                    <a:lnTo>
                      <a:pt x="4694" y="479"/>
                    </a:lnTo>
                    <a:lnTo>
                      <a:pt x="4696" y="476"/>
                    </a:lnTo>
                    <a:lnTo>
                      <a:pt x="4758" y="242"/>
                    </a:lnTo>
                    <a:lnTo>
                      <a:pt x="4852" y="242"/>
                    </a:lnTo>
                    <a:lnTo>
                      <a:pt x="4862" y="242"/>
                    </a:lnTo>
                    <a:lnTo>
                      <a:pt x="4862" y="232"/>
                    </a:lnTo>
                    <a:lnTo>
                      <a:pt x="4862" y="183"/>
                    </a:lnTo>
                    <a:lnTo>
                      <a:pt x="4899" y="183"/>
                    </a:lnTo>
                    <a:lnTo>
                      <a:pt x="4909" y="183"/>
                    </a:lnTo>
                    <a:lnTo>
                      <a:pt x="4909" y="173"/>
                    </a:lnTo>
                    <a:lnTo>
                      <a:pt x="4909" y="10"/>
                    </a:lnTo>
                    <a:lnTo>
                      <a:pt x="4911" y="10"/>
                    </a:lnTo>
                    <a:lnTo>
                      <a:pt x="4911" y="173"/>
                    </a:lnTo>
                    <a:lnTo>
                      <a:pt x="4911" y="183"/>
                    </a:lnTo>
                    <a:lnTo>
                      <a:pt x="4921" y="183"/>
                    </a:lnTo>
                    <a:lnTo>
                      <a:pt x="4959" y="183"/>
                    </a:lnTo>
                    <a:lnTo>
                      <a:pt x="4968" y="183"/>
                    </a:lnTo>
                    <a:lnTo>
                      <a:pt x="4968" y="173"/>
                    </a:lnTo>
                    <a:lnTo>
                      <a:pt x="4968" y="10"/>
                    </a:lnTo>
                    <a:lnTo>
                      <a:pt x="4970" y="10"/>
                    </a:lnTo>
                    <a:close/>
                    <a:moveTo>
                      <a:pt x="4980" y="0"/>
                    </a:moveTo>
                    <a:lnTo>
                      <a:pt x="4959" y="0"/>
                    </a:lnTo>
                    <a:lnTo>
                      <a:pt x="4959" y="173"/>
                    </a:lnTo>
                    <a:lnTo>
                      <a:pt x="4921" y="173"/>
                    </a:lnTo>
                    <a:lnTo>
                      <a:pt x="4921" y="0"/>
                    </a:lnTo>
                    <a:lnTo>
                      <a:pt x="4899" y="0"/>
                    </a:lnTo>
                    <a:lnTo>
                      <a:pt x="4899" y="173"/>
                    </a:lnTo>
                    <a:lnTo>
                      <a:pt x="4852" y="173"/>
                    </a:lnTo>
                    <a:lnTo>
                      <a:pt x="4852" y="232"/>
                    </a:lnTo>
                    <a:lnTo>
                      <a:pt x="4750" y="232"/>
                    </a:lnTo>
                    <a:lnTo>
                      <a:pt x="4687" y="474"/>
                    </a:lnTo>
                    <a:lnTo>
                      <a:pt x="4583" y="540"/>
                    </a:lnTo>
                    <a:lnTo>
                      <a:pt x="4434" y="540"/>
                    </a:lnTo>
                    <a:lnTo>
                      <a:pt x="4405" y="505"/>
                    </a:lnTo>
                    <a:lnTo>
                      <a:pt x="4242" y="505"/>
                    </a:lnTo>
                    <a:lnTo>
                      <a:pt x="4169" y="604"/>
                    </a:lnTo>
                    <a:lnTo>
                      <a:pt x="4124" y="495"/>
                    </a:lnTo>
                    <a:lnTo>
                      <a:pt x="4124" y="455"/>
                    </a:lnTo>
                    <a:lnTo>
                      <a:pt x="4119" y="455"/>
                    </a:lnTo>
                    <a:lnTo>
                      <a:pt x="4119" y="391"/>
                    </a:lnTo>
                    <a:lnTo>
                      <a:pt x="4110" y="391"/>
                    </a:lnTo>
                    <a:lnTo>
                      <a:pt x="4110" y="329"/>
                    </a:lnTo>
                    <a:lnTo>
                      <a:pt x="4098" y="329"/>
                    </a:lnTo>
                    <a:lnTo>
                      <a:pt x="4098" y="391"/>
                    </a:lnTo>
                    <a:lnTo>
                      <a:pt x="4091" y="391"/>
                    </a:lnTo>
                    <a:lnTo>
                      <a:pt x="4091" y="455"/>
                    </a:lnTo>
                    <a:lnTo>
                      <a:pt x="4084" y="455"/>
                    </a:lnTo>
                    <a:lnTo>
                      <a:pt x="4084" y="493"/>
                    </a:lnTo>
                    <a:lnTo>
                      <a:pt x="4003" y="644"/>
                    </a:lnTo>
                    <a:lnTo>
                      <a:pt x="4003" y="928"/>
                    </a:lnTo>
                    <a:lnTo>
                      <a:pt x="3892" y="928"/>
                    </a:lnTo>
                    <a:lnTo>
                      <a:pt x="3892" y="995"/>
                    </a:lnTo>
                    <a:lnTo>
                      <a:pt x="3819" y="995"/>
                    </a:lnTo>
                    <a:lnTo>
                      <a:pt x="3819" y="1224"/>
                    </a:lnTo>
                    <a:lnTo>
                      <a:pt x="3757" y="1224"/>
                    </a:lnTo>
                    <a:lnTo>
                      <a:pt x="3757" y="1392"/>
                    </a:lnTo>
                    <a:lnTo>
                      <a:pt x="3724" y="1392"/>
                    </a:lnTo>
                    <a:lnTo>
                      <a:pt x="3724"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502"/>
                    </a:lnTo>
                    <a:lnTo>
                      <a:pt x="3348" y="502"/>
                    </a:lnTo>
                    <a:lnTo>
                      <a:pt x="3348" y="583"/>
                    </a:lnTo>
                    <a:lnTo>
                      <a:pt x="3329" y="583"/>
                    </a:lnTo>
                    <a:lnTo>
                      <a:pt x="3329" y="658"/>
                    </a:lnTo>
                    <a:lnTo>
                      <a:pt x="3185" y="658"/>
                    </a:lnTo>
                    <a:lnTo>
                      <a:pt x="3185" y="763"/>
                    </a:lnTo>
                    <a:lnTo>
                      <a:pt x="3147" y="763"/>
                    </a:lnTo>
                    <a:lnTo>
                      <a:pt x="3147" y="980"/>
                    </a:lnTo>
                    <a:lnTo>
                      <a:pt x="3001" y="980"/>
                    </a:lnTo>
                    <a:lnTo>
                      <a:pt x="2925" y="1014"/>
                    </a:lnTo>
                    <a:lnTo>
                      <a:pt x="2925" y="1063"/>
                    </a:lnTo>
                    <a:lnTo>
                      <a:pt x="2909" y="1063"/>
                    </a:lnTo>
                    <a:lnTo>
                      <a:pt x="2909"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334"/>
                    </a:lnTo>
                    <a:lnTo>
                      <a:pt x="1986" y="334"/>
                    </a:lnTo>
                    <a:lnTo>
                      <a:pt x="1986" y="370"/>
                    </a:lnTo>
                    <a:lnTo>
                      <a:pt x="1856" y="370"/>
                    </a:lnTo>
                    <a:lnTo>
                      <a:pt x="1856" y="1132"/>
                    </a:lnTo>
                    <a:lnTo>
                      <a:pt x="1736" y="1132"/>
                    </a:lnTo>
                    <a:lnTo>
                      <a:pt x="1736" y="1158"/>
                    </a:lnTo>
                    <a:lnTo>
                      <a:pt x="1712" y="1158"/>
                    </a:lnTo>
                    <a:lnTo>
                      <a:pt x="1712" y="1201"/>
                    </a:lnTo>
                    <a:lnTo>
                      <a:pt x="1570" y="1201"/>
                    </a:lnTo>
                    <a:lnTo>
                      <a:pt x="1570" y="1127"/>
                    </a:lnTo>
                    <a:lnTo>
                      <a:pt x="1551" y="1127"/>
                    </a:lnTo>
                    <a:lnTo>
                      <a:pt x="1551" y="1085"/>
                    </a:lnTo>
                    <a:lnTo>
                      <a:pt x="1511" y="1085"/>
                    </a:lnTo>
                    <a:lnTo>
                      <a:pt x="1511" y="1127"/>
                    </a:lnTo>
                    <a:lnTo>
                      <a:pt x="1495" y="1127"/>
                    </a:lnTo>
                    <a:lnTo>
                      <a:pt x="1495" y="1201"/>
                    </a:lnTo>
                    <a:lnTo>
                      <a:pt x="1447" y="1201"/>
                    </a:lnTo>
                    <a:lnTo>
                      <a:pt x="1447" y="829"/>
                    </a:lnTo>
                    <a:lnTo>
                      <a:pt x="1251" y="829"/>
                    </a:lnTo>
                    <a:lnTo>
                      <a:pt x="1251" y="753"/>
                    </a:lnTo>
                    <a:lnTo>
                      <a:pt x="1057" y="753"/>
                    </a:lnTo>
                    <a:lnTo>
                      <a:pt x="1057" y="829"/>
                    </a:lnTo>
                    <a:lnTo>
                      <a:pt x="854" y="829"/>
                    </a:lnTo>
                    <a:lnTo>
                      <a:pt x="854" y="1070"/>
                    </a:lnTo>
                    <a:lnTo>
                      <a:pt x="818" y="1070"/>
                    </a:lnTo>
                    <a:lnTo>
                      <a:pt x="818" y="618"/>
                    </a:lnTo>
                    <a:lnTo>
                      <a:pt x="601" y="618"/>
                    </a:lnTo>
                    <a:lnTo>
                      <a:pt x="601" y="547"/>
                    </a:lnTo>
                    <a:lnTo>
                      <a:pt x="350" y="547"/>
                    </a:lnTo>
                    <a:lnTo>
                      <a:pt x="350" y="618"/>
                    </a:lnTo>
                    <a:lnTo>
                      <a:pt x="144" y="618"/>
                    </a:lnTo>
                    <a:lnTo>
                      <a:pt x="144" y="1454"/>
                    </a:lnTo>
                    <a:lnTo>
                      <a:pt x="50" y="1454"/>
                    </a:lnTo>
                    <a:lnTo>
                      <a:pt x="50" y="1534"/>
                    </a:lnTo>
                    <a:lnTo>
                      <a:pt x="0" y="1534"/>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1695"/>
                    </a:lnTo>
                    <a:lnTo>
                      <a:pt x="7030" y="1695"/>
                    </a:lnTo>
                    <a:lnTo>
                      <a:pt x="7030" y="1094"/>
                    </a:lnTo>
                    <a:lnTo>
                      <a:pt x="6905" y="1094"/>
                    </a:lnTo>
                    <a:lnTo>
                      <a:pt x="6905" y="1059"/>
                    </a:lnTo>
                    <a:lnTo>
                      <a:pt x="6519" y="1059"/>
                    </a:lnTo>
                    <a:lnTo>
                      <a:pt x="6519" y="938"/>
                    </a:lnTo>
                    <a:lnTo>
                      <a:pt x="6486" y="938"/>
                    </a:lnTo>
                    <a:lnTo>
                      <a:pt x="6477" y="895"/>
                    </a:lnTo>
                    <a:lnTo>
                      <a:pt x="6472" y="895"/>
                    </a:lnTo>
                    <a:lnTo>
                      <a:pt x="6472" y="879"/>
                    </a:lnTo>
                    <a:lnTo>
                      <a:pt x="6465" y="879"/>
                    </a:lnTo>
                    <a:lnTo>
                      <a:pt x="6465" y="850"/>
                    </a:lnTo>
                    <a:lnTo>
                      <a:pt x="6446" y="850"/>
                    </a:lnTo>
                    <a:lnTo>
                      <a:pt x="6446" y="879"/>
                    </a:lnTo>
                    <a:lnTo>
                      <a:pt x="6436" y="879"/>
                    </a:lnTo>
                    <a:lnTo>
                      <a:pt x="6436" y="895"/>
                    </a:lnTo>
                    <a:lnTo>
                      <a:pt x="6432" y="895"/>
                    </a:lnTo>
                    <a:lnTo>
                      <a:pt x="6425" y="938"/>
                    </a:lnTo>
                    <a:lnTo>
                      <a:pt x="6387" y="938"/>
                    </a:lnTo>
                    <a:lnTo>
                      <a:pt x="6387" y="1130"/>
                    </a:lnTo>
                    <a:lnTo>
                      <a:pt x="6370" y="1130"/>
                    </a:lnTo>
                    <a:lnTo>
                      <a:pt x="6370" y="1364"/>
                    </a:lnTo>
                    <a:lnTo>
                      <a:pt x="6344" y="1364"/>
                    </a:lnTo>
                    <a:lnTo>
                      <a:pt x="6344" y="1210"/>
                    </a:lnTo>
                    <a:lnTo>
                      <a:pt x="6280" y="1210"/>
                    </a:lnTo>
                    <a:lnTo>
                      <a:pt x="6280" y="1130"/>
                    </a:lnTo>
                    <a:lnTo>
                      <a:pt x="6122" y="1130"/>
                    </a:lnTo>
                    <a:lnTo>
                      <a:pt x="6122" y="1042"/>
                    </a:lnTo>
                    <a:lnTo>
                      <a:pt x="6103" y="1042"/>
                    </a:lnTo>
                    <a:lnTo>
                      <a:pt x="6103" y="990"/>
                    </a:lnTo>
                    <a:lnTo>
                      <a:pt x="5997" y="990"/>
                    </a:lnTo>
                    <a:lnTo>
                      <a:pt x="5997" y="1042"/>
                    </a:lnTo>
                    <a:lnTo>
                      <a:pt x="5978" y="1042"/>
                    </a:lnTo>
                    <a:lnTo>
                      <a:pt x="5978" y="1130"/>
                    </a:lnTo>
                    <a:lnTo>
                      <a:pt x="5904" y="1130"/>
                    </a:lnTo>
                    <a:lnTo>
                      <a:pt x="5904" y="1210"/>
                    </a:lnTo>
                    <a:lnTo>
                      <a:pt x="5878" y="1210"/>
                    </a:lnTo>
                    <a:lnTo>
                      <a:pt x="5878" y="1326"/>
                    </a:lnTo>
                    <a:lnTo>
                      <a:pt x="5713" y="1326"/>
                    </a:lnTo>
                    <a:lnTo>
                      <a:pt x="5713" y="1449"/>
                    </a:lnTo>
                    <a:lnTo>
                      <a:pt x="5666" y="1449"/>
                    </a:lnTo>
                    <a:lnTo>
                      <a:pt x="5666" y="732"/>
                    </a:lnTo>
                    <a:lnTo>
                      <a:pt x="5531" y="732"/>
                    </a:lnTo>
                    <a:lnTo>
                      <a:pt x="5531" y="611"/>
                    </a:lnTo>
                    <a:lnTo>
                      <a:pt x="5301" y="611"/>
                    </a:lnTo>
                    <a:lnTo>
                      <a:pt x="5301" y="732"/>
                    </a:lnTo>
                    <a:lnTo>
                      <a:pt x="5178" y="732"/>
                    </a:lnTo>
                    <a:lnTo>
                      <a:pt x="5178" y="973"/>
                    </a:lnTo>
                    <a:lnTo>
                      <a:pt x="4980" y="973"/>
                    </a:lnTo>
                    <a:lnTo>
                      <a:pt x="4980" y="232"/>
                    </a:lnTo>
                    <a:lnTo>
                      <a:pt x="4980" y="232"/>
                    </a:lnTo>
                    <a:lnTo>
                      <a:pt x="49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32" name="Freeform 148"/>
              <p:cNvSpPr>
                <a:spLocks noEditPoints="1"/>
              </p:cNvSpPr>
              <p:nvPr/>
            </p:nvSpPr>
            <p:spPr bwMode="auto">
              <a:xfrm>
                <a:off x="-3" y="1660"/>
                <a:ext cx="7567" cy="2676"/>
              </a:xfrm>
              <a:custGeom>
                <a:avLst/>
                <a:gdLst>
                  <a:gd name="T0" fmla="*/ 5188 w 7567"/>
                  <a:gd name="T1" fmla="*/ 983 h 2676"/>
                  <a:gd name="T2" fmla="*/ 5521 w 7567"/>
                  <a:gd name="T3" fmla="*/ 741 h 2676"/>
                  <a:gd name="T4" fmla="*/ 5722 w 7567"/>
                  <a:gd name="T5" fmla="*/ 1336 h 2676"/>
                  <a:gd name="T6" fmla="*/ 5978 w 7567"/>
                  <a:gd name="T7" fmla="*/ 1139 h 2676"/>
                  <a:gd name="T8" fmla="*/ 6094 w 7567"/>
                  <a:gd name="T9" fmla="*/ 1042 h 2676"/>
                  <a:gd name="T10" fmla="*/ 6271 w 7567"/>
                  <a:gd name="T11" fmla="*/ 1220 h 2676"/>
                  <a:gd name="T12" fmla="*/ 6380 w 7567"/>
                  <a:gd name="T13" fmla="*/ 1139 h 2676"/>
                  <a:gd name="T14" fmla="*/ 6446 w 7567"/>
                  <a:gd name="T15" fmla="*/ 905 h 2676"/>
                  <a:gd name="T16" fmla="*/ 6462 w 7567"/>
                  <a:gd name="T17" fmla="*/ 888 h 2676"/>
                  <a:gd name="T18" fmla="*/ 6510 w 7567"/>
                  <a:gd name="T19" fmla="*/ 1068 h 2676"/>
                  <a:gd name="T20" fmla="*/ 7030 w 7567"/>
                  <a:gd name="T21" fmla="*/ 1705 h 2676"/>
                  <a:gd name="T22" fmla="*/ 7359 w 7567"/>
                  <a:gd name="T23" fmla="*/ 1004 h 2676"/>
                  <a:gd name="T24" fmla="*/ 7489 w 7567"/>
                  <a:gd name="T25" fmla="*/ 1534 h 2676"/>
                  <a:gd name="T26" fmla="*/ 59 w 7567"/>
                  <a:gd name="T27" fmla="*/ 1534 h 2676"/>
                  <a:gd name="T28" fmla="*/ 360 w 7567"/>
                  <a:gd name="T29" fmla="*/ 557 h 2676"/>
                  <a:gd name="T30" fmla="*/ 854 w 7567"/>
                  <a:gd name="T31" fmla="*/ 1080 h 2676"/>
                  <a:gd name="T32" fmla="*/ 1242 w 7567"/>
                  <a:gd name="T33" fmla="*/ 829 h 2676"/>
                  <a:gd name="T34" fmla="*/ 1504 w 7567"/>
                  <a:gd name="T35" fmla="*/ 1201 h 2676"/>
                  <a:gd name="T36" fmla="*/ 1551 w 7567"/>
                  <a:gd name="T37" fmla="*/ 1137 h 2676"/>
                  <a:gd name="T38" fmla="*/ 1736 w 7567"/>
                  <a:gd name="T39" fmla="*/ 1168 h 2676"/>
                  <a:gd name="T40" fmla="*/ 1996 w 7567"/>
                  <a:gd name="T41" fmla="*/ 379 h 2676"/>
                  <a:gd name="T42" fmla="*/ 2138 w 7567"/>
                  <a:gd name="T43" fmla="*/ 344 h 2676"/>
                  <a:gd name="T44" fmla="*/ 2388 w 7567"/>
                  <a:gd name="T45" fmla="*/ 1099 h 2676"/>
                  <a:gd name="T46" fmla="*/ 2909 w 7567"/>
                  <a:gd name="T47" fmla="*/ 1250 h 2676"/>
                  <a:gd name="T48" fmla="*/ 3147 w 7567"/>
                  <a:gd name="T49" fmla="*/ 990 h 2676"/>
                  <a:gd name="T50" fmla="*/ 3339 w 7567"/>
                  <a:gd name="T51" fmla="*/ 668 h 2676"/>
                  <a:gd name="T52" fmla="*/ 3386 w 7567"/>
                  <a:gd name="T53" fmla="*/ 502 h 2676"/>
                  <a:gd name="T54" fmla="*/ 3523 w 7567"/>
                  <a:gd name="T55" fmla="*/ 592 h 2676"/>
                  <a:gd name="T56" fmla="*/ 3606 w 7567"/>
                  <a:gd name="T57" fmla="*/ 772 h 2676"/>
                  <a:gd name="T58" fmla="*/ 3715 w 7567"/>
                  <a:gd name="T59" fmla="*/ 1392 h 2676"/>
                  <a:gd name="T60" fmla="*/ 3828 w 7567"/>
                  <a:gd name="T61" fmla="*/ 1224 h 2676"/>
                  <a:gd name="T62" fmla="*/ 4013 w 7567"/>
                  <a:gd name="T63" fmla="*/ 647 h 2676"/>
                  <a:gd name="T64" fmla="*/ 4110 w 7567"/>
                  <a:gd name="T65" fmla="*/ 400 h 2676"/>
                  <a:gd name="T66" fmla="*/ 4176 w 7567"/>
                  <a:gd name="T67" fmla="*/ 609 h 2676"/>
                  <a:gd name="T68" fmla="*/ 4691 w 7567"/>
                  <a:gd name="T69" fmla="*/ 481 h 2676"/>
                  <a:gd name="T70" fmla="*/ 4909 w 7567"/>
                  <a:gd name="T71" fmla="*/ 183 h 2676"/>
                  <a:gd name="T72" fmla="*/ 4968 w 7567"/>
                  <a:gd name="T73" fmla="*/ 173 h 2676"/>
                  <a:gd name="T74" fmla="*/ 4899 w 7567"/>
                  <a:gd name="T75" fmla="*/ 173 h 2676"/>
                  <a:gd name="T76" fmla="*/ 4169 w 7567"/>
                  <a:gd name="T77" fmla="*/ 604 h 2676"/>
                  <a:gd name="T78" fmla="*/ 4091 w 7567"/>
                  <a:gd name="T79" fmla="*/ 391 h 2676"/>
                  <a:gd name="T80" fmla="*/ 3819 w 7567"/>
                  <a:gd name="T81" fmla="*/ 1224 h 2676"/>
                  <a:gd name="T82" fmla="*/ 3590 w 7567"/>
                  <a:gd name="T83" fmla="*/ 763 h 2676"/>
                  <a:gd name="T84" fmla="*/ 3377 w 7567"/>
                  <a:gd name="T85" fmla="*/ 502 h 2676"/>
                  <a:gd name="T86" fmla="*/ 3001 w 7567"/>
                  <a:gd name="T87" fmla="*/ 980 h 2676"/>
                  <a:gd name="T88" fmla="*/ 2388 w 7567"/>
                  <a:gd name="T89" fmla="*/ 1089 h 2676"/>
                  <a:gd name="T90" fmla="*/ 1986 w 7567"/>
                  <a:gd name="T91" fmla="*/ 370 h 2676"/>
                  <a:gd name="T92" fmla="*/ 1551 w 7567"/>
                  <a:gd name="T93" fmla="*/ 1127 h 2676"/>
                  <a:gd name="T94" fmla="*/ 1251 w 7567"/>
                  <a:gd name="T95" fmla="*/ 753 h 2676"/>
                  <a:gd name="T96" fmla="*/ 350 w 7567"/>
                  <a:gd name="T97" fmla="*/ 547 h 2676"/>
                  <a:gd name="T98" fmla="*/ 7567 w 7567"/>
                  <a:gd name="T99" fmla="*/ 1534 h 2676"/>
                  <a:gd name="T100" fmla="*/ 7072 w 7567"/>
                  <a:gd name="T101" fmla="*/ 509 h 2676"/>
                  <a:gd name="T102" fmla="*/ 6477 w 7567"/>
                  <a:gd name="T103" fmla="*/ 895 h 2676"/>
                  <a:gd name="T104" fmla="*/ 6432 w 7567"/>
                  <a:gd name="T105" fmla="*/ 895 h 2676"/>
                  <a:gd name="T106" fmla="*/ 6280 w 7567"/>
                  <a:gd name="T107" fmla="*/ 1130 h 2676"/>
                  <a:gd name="T108" fmla="*/ 5904 w 7567"/>
                  <a:gd name="T109" fmla="*/ 1130 h 2676"/>
                  <a:gd name="T110" fmla="*/ 5531 w 7567"/>
                  <a:gd name="T111" fmla="*/ 611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67" h="2676">
                    <a:moveTo>
                      <a:pt x="4970" y="10"/>
                    </a:moveTo>
                    <a:lnTo>
                      <a:pt x="4970" y="232"/>
                    </a:lnTo>
                    <a:lnTo>
                      <a:pt x="4970" y="242"/>
                    </a:lnTo>
                    <a:lnTo>
                      <a:pt x="4970" y="242"/>
                    </a:lnTo>
                    <a:lnTo>
                      <a:pt x="4970" y="973"/>
                    </a:lnTo>
                    <a:lnTo>
                      <a:pt x="4970" y="983"/>
                    </a:lnTo>
                    <a:lnTo>
                      <a:pt x="4980" y="983"/>
                    </a:lnTo>
                    <a:lnTo>
                      <a:pt x="5178" y="983"/>
                    </a:lnTo>
                    <a:lnTo>
                      <a:pt x="5188" y="983"/>
                    </a:lnTo>
                    <a:lnTo>
                      <a:pt x="5188" y="973"/>
                    </a:lnTo>
                    <a:lnTo>
                      <a:pt x="5188" y="741"/>
                    </a:lnTo>
                    <a:lnTo>
                      <a:pt x="5301" y="741"/>
                    </a:lnTo>
                    <a:lnTo>
                      <a:pt x="5311" y="741"/>
                    </a:lnTo>
                    <a:lnTo>
                      <a:pt x="5311" y="732"/>
                    </a:lnTo>
                    <a:lnTo>
                      <a:pt x="5311" y="621"/>
                    </a:lnTo>
                    <a:lnTo>
                      <a:pt x="5521" y="621"/>
                    </a:lnTo>
                    <a:lnTo>
                      <a:pt x="5521" y="732"/>
                    </a:lnTo>
                    <a:lnTo>
                      <a:pt x="5521" y="741"/>
                    </a:lnTo>
                    <a:lnTo>
                      <a:pt x="5531" y="741"/>
                    </a:lnTo>
                    <a:lnTo>
                      <a:pt x="5656" y="741"/>
                    </a:lnTo>
                    <a:lnTo>
                      <a:pt x="5656" y="1449"/>
                    </a:lnTo>
                    <a:lnTo>
                      <a:pt x="5656" y="1459"/>
                    </a:lnTo>
                    <a:lnTo>
                      <a:pt x="5666" y="1459"/>
                    </a:lnTo>
                    <a:lnTo>
                      <a:pt x="5713" y="1459"/>
                    </a:lnTo>
                    <a:lnTo>
                      <a:pt x="5722" y="1459"/>
                    </a:lnTo>
                    <a:lnTo>
                      <a:pt x="5722" y="1449"/>
                    </a:lnTo>
                    <a:lnTo>
                      <a:pt x="5722" y="1336"/>
                    </a:lnTo>
                    <a:lnTo>
                      <a:pt x="5878" y="1336"/>
                    </a:lnTo>
                    <a:lnTo>
                      <a:pt x="5888" y="1336"/>
                    </a:lnTo>
                    <a:lnTo>
                      <a:pt x="5888" y="1326"/>
                    </a:lnTo>
                    <a:lnTo>
                      <a:pt x="5888" y="1220"/>
                    </a:lnTo>
                    <a:lnTo>
                      <a:pt x="5904" y="1220"/>
                    </a:lnTo>
                    <a:lnTo>
                      <a:pt x="5914" y="1220"/>
                    </a:lnTo>
                    <a:lnTo>
                      <a:pt x="5914" y="1210"/>
                    </a:lnTo>
                    <a:lnTo>
                      <a:pt x="5914" y="1139"/>
                    </a:lnTo>
                    <a:lnTo>
                      <a:pt x="5978" y="1139"/>
                    </a:lnTo>
                    <a:lnTo>
                      <a:pt x="5987" y="1139"/>
                    </a:lnTo>
                    <a:lnTo>
                      <a:pt x="5987" y="1130"/>
                    </a:lnTo>
                    <a:lnTo>
                      <a:pt x="5987" y="1051"/>
                    </a:lnTo>
                    <a:lnTo>
                      <a:pt x="5997" y="1051"/>
                    </a:lnTo>
                    <a:lnTo>
                      <a:pt x="6006" y="1051"/>
                    </a:lnTo>
                    <a:lnTo>
                      <a:pt x="6006" y="1042"/>
                    </a:lnTo>
                    <a:lnTo>
                      <a:pt x="6006" y="999"/>
                    </a:lnTo>
                    <a:lnTo>
                      <a:pt x="6094" y="999"/>
                    </a:lnTo>
                    <a:lnTo>
                      <a:pt x="6094" y="1042"/>
                    </a:lnTo>
                    <a:lnTo>
                      <a:pt x="6094" y="1051"/>
                    </a:lnTo>
                    <a:lnTo>
                      <a:pt x="6103" y="1051"/>
                    </a:lnTo>
                    <a:lnTo>
                      <a:pt x="6112" y="1051"/>
                    </a:lnTo>
                    <a:lnTo>
                      <a:pt x="6112" y="1130"/>
                    </a:lnTo>
                    <a:lnTo>
                      <a:pt x="6112" y="1139"/>
                    </a:lnTo>
                    <a:lnTo>
                      <a:pt x="6122" y="1139"/>
                    </a:lnTo>
                    <a:lnTo>
                      <a:pt x="6271" y="1139"/>
                    </a:lnTo>
                    <a:lnTo>
                      <a:pt x="6271" y="1210"/>
                    </a:lnTo>
                    <a:lnTo>
                      <a:pt x="6271" y="1220"/>
                    </a:lnTo>
                    <a:lnTo>
                      <a:pt x="6280" y="1220"/>
                    </a:lnTo>
                    <a:lnTo>
                      <a:pt x="6335" y="1220"/>
                    </a:lnTo>
                    <a:lnTo>
                      <a:pt x="6335" y="1364"/>
                    </a:lnTo>
                    <a:lnTo>
                      <a:pt x="6335" y="1373"/>
                    </a:lnTo>
                    <a:lnTo>
                      <a:pt x="6344" y="1373"/>
                    </a:lnTo>
                    <a:lnTo>
                      <a:pt x="6370" y="1373"/>
                    </a:lnTo>
                    <a:lnTo>
                      <a:pt x="6380" y="1373"/>
                    </a:lnTo>
                    <a:lnTo>
                      <a:pt x="6380" y="1364"/>
                    </a:lnTo>
                    <a:lnTo>
                      <a:pt x="6380" y="1139"/>
                    </a:lnTo>
                    <a:lnTo>
                      <a:pt x="6387" y="1139"/>
                    </a:lnTo>
                    <a:lnTo>
                      <a:pt x="6396" y="1139"/>
                    </a:lnTo>
                    <a:lnTo>
                      <a:pt x="6396" y="1130"/>
                    </a:lnTo>
                    <a:lnTo>
                      <a:pt x="6396" y="947"/>
                    </a:lnTo>
                    <a:lnTo>
                      <a:pt x="6425" y="947"/>
                    </a:lnTo>
                    <a:lnTo>
                      <a:pt x="6432" y="947"/>
                    </a:lnTo>
                    <a:lnTo>
                      <a:pt x="6432" y="938"/>
                    </a:lnTo>
                    <a:lnTo>
                      <a:pt x="6441" y="905"/>
                    </a:lnTo>
                    <a:lnTo>
                      <a:pt x="6446" y="905"/>
                    </a:lnTo>
                    <a:lnTo>
                      <a:pt x="6446" y="895"/>
                    </a:lnTo>
                    <a:lnTo>
                      <a:pt x="6446" y="888"/>
                    </a:lnTo>
                    <a:lnTo>
                      <a:pt x="6455" y="888"/>
                    </a:lnTo>
                    <a:lnTo>
                      <a:pt x="6455" y="879"/>
                    </a:lnTo>
                    <a:lnTo>
                      <a:pt x="6455" y="860"/>
                    </a:lnTo>
                    <a:lnTo>
                      <a:pt x="6455" y="860"/>
                    </a:lnTo>
                    <a:lnTo>
                      <a:pt x="6455" y="879"/>
                    </a:lnTo>
                    <a:lnTo>
                      <a:pt x="6455" y="888"/>
                    </a:lnTo>
                    <a:lnTo>
                      <a:pt x="6462" y="888"/>
                    </a:lnTo>
                    <a:lnTo>
                      <a:pt x="6462" y="895"/>
                    </a:lnTo>
                    <a:lnTo>
                      <a:pt x="6462" y="905"/>
                    </a:lnTo>
                    <a:lnTo>
                      <a:pt x="6469" y="905"/>
                    </a:lnTo>
                    <a:lnTo>
                      <a:pt x="6477" y="938"/>
                    </a:lnTo>
                    <a:lnTo>
                      <a:pt x="6479" y="947"/>
                    </a:lnTo>
                    <a:lnTo>
                      <a:pt x="6486" y="947"/>
                    </a:lnTo>
                    <a:lnTo>
                      <a:pt x="6510" y="947"/>
                    </a:lnTo>
                    <a:lnTo>
                      <a:pt x="6510" y="1059"/>
                    </a:lnTo>
                    <a:lnTo>
                      <a:pt x="6510" y="1068"/>
                    </a:lnTo>
                    <a:lnTo>
                      <a:pt x="6519" y="1068"/>
                    </a:lnTo>
                    <a:lnTo>
                      <a:pt x="6895" y="1068"/>
                    </a:lnTo>
                    <a:lnTo>
                      <a:pt x="6895" y="1094"/>
                    </a:lnTo>
                    <a:lnTo>
                      <a:pt x="6895" y="1104"/>
                    </a:lnTo>
                    <a:lnTo>
                      <a:pt x="6905" y="1104"/>
                    </a:lnTo>
                    <a:lnTo>
                      <a:pt x="7020" y="1104"/>
                    </a:lnTo>
                    <a:lnTo>
                      <a:pt x="7020" y="1695"/>
                    </a:lnTo>
                    <a:lnTo>
                      <a:pt x="7020" y="1705"/>
                    </a:lnTo>
                    <a:lnTo>
                      <a:pt x="7030" y="1705"/>
                    </a:lnTo>
                    <a:lnTo>
                      <a:pt x="7072" y="1705"/>
                    </a:lnTo>
                    <a:lnTo>
                      <a:pt x="7082" y="1705"/>
                    </a:lnTo>
                    <a:lnTo>
                      <a:pt x="7082" y="1695"/>
                    </a:lnTo>
                    <a:lnTo>
                      <a:pt x="7082" y="519"/>
                    </a:lnTo>
                    <a:lnTo>
                      <a:pt x="7318" y="519"/>
                    </a:lnTo>
                    <a:lnTo>
                      <a:pt x="7318" y="995"/>
                    </a:lnTo>
                    <a:lnTo>
                      <a:pt x="7318" y="1004"/>
                    </a:lnTo>
                    <a:lnTo>
                      <a:pt x="7328" y="1004"/>
                    </a:lnTo>
                    <a:lnTo>
                      <a:pt x="7359" y="1004"/>
                    </a:lnTo>
                    <a:lnTo>
                      <a:pt x="7359" y="1215"/>
                    </a:lnTo>
                    <a:lnTo>
                      <a:pt x="7359" y="1224"/>
                    </a:lnTo>
                    <a:lnTo>
                      <a:pt x="7368" y="1224"/>
                    </a:lnTo>
                    <a:lnTo>
                      <a:pt x="7392" y="1224"/>
                    </a:lnTo>
                    <a:lnTo>
                      <a:pt x="7392" y="1499"/>
                    </a:lnTo>
                    <a:lnTo>
                      <a:pt x="7392" y="1508"/>
                    </a:lnTo>
                    <a:lnTo>
                      <a:pt x="7401" y="1508"/>
                    </a:lnTo>
                    <a:lnTo>
                      <a:pt x="7489" y="1508"/>
                    </a:lnTo>
                    <a:lnTo>
                      <a:pt x="7489" y="1534"/>
                    </a:lnTo>
                    <a:lnTo>
                      <a:pt x="7489" y="1544"/>
                    </a:lnTo>
                    <a:lnTo>
                      <a:pt x="7498" y="1544"/>
                    </a:lnTo>
                    <a:lnTo>
                      <a:pt x="7557" y="1544"/>
                    </a:lnTo>
                    <a:lnTo>
                      <a:pt x="7557" y="2666"/>
                    </a:lnTo>
                    <a:lnTo>
                      <a:pt x="10" y="2666"/>
                    </a:lnTo>
                    <a:lnTo>
                      <a:pt x="10" y="1544"/>
                    </a:lnTo>
                    <a:lnTo>
                      <a:pt x="50" y="1544"/>
                    </a:lnTo>
                    <a:lnTo>
                      <a:pt x="59" y="1544"/>
                    </a:lnTo>
                    <a:lnTo>
                      <a:pt x="59" y="1534"/>
                    </a:lnTo>
                    <a:lnTo>
                      <a:pt x="59" y="1463"/>
                    </a:lnTo>
                    <a:lnTo>
                      <a:pt x="144" y="1463"/>
                    </a:lnTo>
                    <a:lnTo>
                      <a:pt x="154" y="1463"/>
                    </a:lnTo>
                    <a:lnTo>
                      <a:pt x="154" y="1454"/>
                    </a:lnTo>
                    <a:lnTo>
                      <a:pt x="154" y="628"/>
                    </a:lnTo>
                    <a:lnTo>
                      <a:pt x="350" y="628"/>
                    </a:lnTo>
                    <a:lnTo>
                      <a:pt x="360" y="628"/>
                    </a:lnTo>
                    <a:lnTo>
                      <a:pt x="360" y="618"/>
                    </a:lnTo>
                    <a:lnTo>
                      <a:pt x="360" y="557"/>
                    </a:lnTo>
                    <a:lnTo>
                      <a:pt x="591" y="557"/>
                    </a:lnTo>
                    <a:lnTo>
                      <a:pt x="591" y="618"/>
                    </a:lnTo>
                    <a:lnTo>
                      <a:pt x="591" y="628"/>
                    </a:lnTo>
                    <a:lnTo>
                      <a:pt x="601" y="628"/>
                    </a:lnTo>
                    <a:lnTo>
                      <a:pt x="809" y="628"/>
                    </a:lnTo>
                    <a:lnTo>
                      <a:pt x="809" y="1070"/>
                    </a:lnTo>
                    <a:lnTo>
                      <a:pt x="809" y="1080"/>
                    </a:lnTo>
                    <a:lnTo>
                      <a:pt x="818" y="1080"/>
                    </a:lnTo>
                    <a:lnTo>
                      <a:pt x="854" y="1080"/>
                    </a:lnTo>
                    <a:lnTo>
                      <a:pt x="863" y="1080"/>
                    </a:lnTo>
                    <a:lnTo>
                      <a:pt x="863" y="1070"/>
                    </a:lnTo>
                    <a:lnTo>
                      <a:pt x="863" y="838"/>
                    </a:lnTo>
                    <a:lnTo>
                      <a:pt x="1057" y="838"/>
                    </a:lnTo>
                    <a:lnTo>
                      <a:pt x="1067" y="838"/>
                    </a:lnTo>
                    <a:lnTo>
                      <a:pt x="1067" y="829"/>
                    </a:lnTo>
                    <a:lnTo>
                      <a:pt x="1067" y="763"/>
                    </a:lnTo>
                    <a:lnTo>
                      <a:pt x="1242" y="763"/>
                    </a:lnTo>
                    <a:lnTo>
                      <a:pt x="1242" y="829"/>
                    </a:lnTo>
                    <a:lnTo>
                      <a:pt x="1242" y="838"/>
                    </a:lnTo>
                    <a:lnTo>
                      <a:pt x="1251" y="838"/>
                    </a:lnTo>
                    <a:lnTo>
                      <a:pt x="1438" y="838"/>
                    </a:lnTo>
                    <a:lnTo>
                      <a:pt x="1438" y="1201"/>
                    </a:lnTo>
                    <a:lnTo>
                      <a:pt x="1438" y="1210"/>
                    </a:lnTo>
                    <a:lnTo>
                      <a:pt x="1447" y="1210"/>
                    </a:lnTo>
                    <a:lnTo>
                      <a:pt x="1495" y="1210"/>
                    </a:lnTo>
                    <a:lnTo>
                      <a:pt x="1504" y="1210"/>
                    </a:lnTo>
                    <a:lnTo>
                      <a:pt x="1504" y="1201"/>
                    </a:lnTo>
                    <a:lnTo>
                      <a:pt x="1504" y="1137"/>
                    </a:lnTo>
                    <a:lnTo>
                      <a:pt x="1511" y="1137"/>
                    </a:lnTo>
                    <a:lnTo>
                      <a:pt x="1521" y="1137"/>
                    </a:lnTo>
                    <a:lnTo>
                      <a:pt x="1521" y="1127"/>
                    </a:lnTo>
                    <a:lnTo>
                      <a:pt x="1521" y="1094"/>
                    </a:lnTo>
                    <a:lnTo>
                      <a:pt x="1542" y="1094"/>
                    </a:lnTo>
                    <a:lnTo>
                      <a:pt x="1542" y="1127"/>
                    </a:lnTo>
                    <a:lnTo>
                      <a:pt x="1542" y="1137"/>
                    </a:lnTo>
                    <a:lnTo>
                      <a:pt x="1551" y="1137"/>
                    </a:lnTo>
                    <a:lnTo>
                      <a:pt x="1561" y="1137"/>
                    </a:lnTo>
                    <a:lnTo>
                      <a:pt x="1561" y="1201"/>
                    </a:lnTo>
                    <a:lnTo>
                      <a:pt x="1561" y="1210"/>
                    </a:lnTo>
                    <a:lnTo>
                      <a:pt x="1570" y="1210"/>
                    </a:lnTo>
                    <a:lnTo>
                      <a:pt x="1712" y="1210"/>
                    </a:lnTo>
                    <a:lnTo>
                      <a:pt x="1722" y="1210"/>
                    </a:lnTo>
                    <a:lnTo>
                      <a:pt x="1722" y="1201"/>
                    </a:lnTo>
                    <a:lnTo>
                      <a:pt x="1722" y="1168"/>
                    </a:lnTo>
                    <a:lnTo>
                      <a:pt x="1736" y="1168"/>
                    </a:lnTo>
                    <a:lnTo>
                      <a:pt x="1745" y="1168"/>
                    </a:lnTo>
                    <a:lnTo>
                      <a:pt x="1745" y="1158"/>
                    </a:lnTo>
                    <a:lnTo>
                      <a:pt x="1745" y="1141"/>
                    </a:lnTo>
                    <a:lnTo>
                      <a:pt x="1856" y="1141"/>
                    </a:lnTo>
                    <a:lnTo>
                      <a:pt x="1866" y="1141"/>
                    </a:lnTo>
                    <a:lnTo>
                      <a:pt x="1866" y="1132"/>
                    </a:lnTo>
                    <a:lnTo>
                      <a:pt x="1866" y="379"/>
                    </a:lnTo>
                    <a:lnTo>
                      <a:pt x="1986" y="379"/>
                    </a:lnTo>
                    <a:lnTo>
                      <a:pt x="1996" y="379"/>
                    </a:lnTo>
                    <a:lnTo>
                      <a:pt x="1996" y="370"/>
                    </a:lnTo>
                    <a:lnTo>
                      <a:pt x="1996" y="344"/>
                    </a:lnTo>
                    <a:lnTo>
                      <a:pt x="2076" y="344"/>
                    </a:lnTo>
                    <a:lnTo>
                      <a:pt x="2086" y="344"/>
                    </a:lnTo>
                    <a:lnTo>
                      <a:pt x="2086" y="334"/>
                    </a:lnTo>
                    <a:lnTo>
                      <a:pt x="2086" y="303"/>
                    </a:lnTo>
                    <a:lnTo>
                      <a:pt x="2138" y="303"/>
                    </a:lnTo>
                    <a:lnTo>
                      <a:pt x="2138" y="334"/>
                    </a:lnTo>
                    <a:lnTo>
                      <a:pt x="2138" y="344"/>
                    </a:lnTo>
                    <a:lnTo>
                      <a:pt x="2147" y="344"/>
                    </a:lnTo>
                    <a:lnTo>
                      <a:pt x="2228" y="344"/>
                    </a:lnTo>
                    <a:lnTo>
                      <a:pt x="2228" y="370"/>
                    </a:lnTo>
                    <a:lnTo>
                      <a:pt x="2228" y="379"/>
                    </a:lnTo>
                    <a:lnTo>
                      <a:pt x="2237" y="379"/>
                    </a:lnTo>
                    <a:lnTo>
                      <a:pt x="2379" y="379"/>
                    </a:lnTo>
                    <a:lnTo>
                      <a:pt x="2379" y="1089"/>
                    </a:lnTo>
                    <a:lnTo>
                      <a:pt x="2379" y="1099"/>
                    </a:lnTo>
                    <a:lnTo>
                      <a:pt x="2388" y="1099"/>
                    </a:lnTo>
                    <a:lnTo>
                      <a:pt x="2646" y="1099"/>
                    </a:lnTo>
                    <a:lnTo>
                      <a:pt x="2646" y="1184"/>
                    </a:lnTo>
                    <a:lnTo>
                      <a:pt x="2646" y="1194"/>
                    </a:lnTo>
                    <a:lnTo>
                      <a:pt x="2656" y="1194"/>
                    </a:lnTo>
                    <a:lnTo>
                      <a:pt x="2710" y="1194"/>
                    </a:lnTo>
                    <a:lnTo>
                      <a:pt x="2710" y="1241"/>
                    </a:lnTo>
                    <a:lnTo>
                      <a:pt x="2710" y="1250"/>
                    </a:lnTo>
                    <a:lnTo>
                      <a:pt x="2719" y="1250"/>
                    </a:lnTo>
                    <a:lnTo>
                      <a:pt x="2909" y="1250"/>
                    </a:lnTo>
                    <a:lnTo>
                      <a:pt x="2918" y="1250"/>
                    </a:lnTo>
                    <a:lnTo>
                      <a:pt x="2918" y="1241"/>
                    </a:lnTo>
                    <a:lnTo>
                      <a:pt x="2918" y="1073"/>
                    </a:lnTo>
                    <a:lnTo>
                      <a:pt x="2925" y="1073"/>
                    </a:lnTo>
                    <a:lnTo>
                      <a:pt x="2935" y="1073"/>
                    </a:lnTo>
                    <a:lnTo>
                      <a:pt x="2935" y="1063"/>
                    </a:lnTo>
                    <a:lnTo>
                      <a:pt x="2935" y="1021"/>
                    </a:lnTo>
                    <a:lnTo>
                      <a:pt x="3001" y="990"/>
                    </a:lnTo>
                    <a:lnTo>
                      <a:pt x="3147" y="990"/>
                    </a:lnTo>
                    <a:lnTo>
                      <a:pt x="3157" y="990"/>
                    </a:lnTo>
                    <a:lnTo>
                      <a:pt x="3157" y="980"/>
                    </a:lnTo>
                    <a:lnTo>
                      <a:pt x="3157" y="772"/>
                    </a:lnTo>
                    <a:lnTo>
                      <a:pt x="3185" y="772"/>
                    </a:lnTo>
                    <a:lnTo>
                      <a:pt x="3195" y="772"/>
                    </a:lnTo>
                    <a:lnTo>
                      <a:pt x="3195" y="763"/>
                    </a:lnTo>
                    <a:lnTo>
                      <a:pt x="3195" y="668"/>
                    </a:lnTo>
                    <a:lnTo>
                      <a:pt x="3329" y="668"/>
                    </a:lnTo>
                    <a:lnTo>
                      <a:pt x="3339" y="668"/>
                    </a:lnTo>
                    <a:lnTo>
                      <a:pt x="3339" y="658"/>
                    </a:lnTo>
                    <a:lnTo>
                      <a:pt x="3339" y="592"/>
                    </a:lnTo>
                    <a:lnTo>
                      <a:pt x="3348" y="592"/>
                    </a:lnTo>
                    <a:lnTo>
                      <a:pt x="3358" y="592"/>
                    </a:lnTo>
                    <a:lnTo>
                      <a:pt x="3358" y="583"/>
                    </a:lnTo>
                    <a:lnTo>
                      <a:pt x="3358" y="512"/>
                    </a:lnTo>
                    <a:lnTo>
                      <a:pt x="3377" y="512"/>
                    </a:lnTo>
                    <a:lnTo>
                      <a:pt x="3386" y="512"/>
                    </a:lnTo>
                    <a:lnTo>
                      <a:pt x="3386" y="502"/>
                    </a:lnTo>
                    <a:lnTo>
                      <a:pt x="3386" y="445"/>
                    </a:lnTo>
                    <a:lnTo>
                      <a:pt x="3483" y="445"/>
                    </a:lnTo>
                    <a:lnTo>
                      <a:pt x="3483" y="502"/>
                    </a:lnTo>
                    <a:lnTo>
                      <a:pt x="3483" y="512"/>
                    </a:lnTo>
                    <a:lnTo>
                      <a:pt x="3493" y="512"/>
                    </a:lnTo>
                    <a:lnTo>
                      <a:pt x="3514" y="512"/>
                    </a:lnTo>
                    <a:lnTo>
                      <a:pt x="3514" y="583"/>
                    </a:lnTo>
                    <a:lnTo>
                      <a:pt x="3514" y="592"/>
                    </a:lnTo>
                    <a:lnTo>
                      <a:pt x="3523" y="592"/>
                    </a:lnTo>
                    <a:lnTo>
                      <a:pt x="3530" y="592"/>
                    </a:lnTo>
                    <a:lnTo>
                      <a:pt x="3530" y="658"/>
                    </a:lnTo>
                    <a:lnTo>
                      <a:pt x="3530" y="668"/>
                    </a:lnTo>
                    <a:lnTo>
                      <a:pt x="3540" y="668"/>
                    </a:lnTo>
                    <a:lnTo>
                      <a:pt x="3580" y="668"/>
                    </a:lnTo>
                    <a:lnTo>
                      <a:pt x="3580" y="763"/>
                    </a:lnTo>
                    <a:lnTo>
                      <a:pt x="3580" y="772"/>
                    </a:lnTo>
                    <a:lnTo>
                      <a:pt x="3590" y="772"/>
                    </a:lnTo>
                    <a:lnTo>
                      <a:pt x="3606" y="772"/>
                    </a:lnTo>
                    <a:lnTo>
                      <a:pt x="3606" y="1222"/>
                    </a:lnTo>
                    <a:lnTo>
                      <a:pt x="3606" y="1231"/>
                    </a:lnTo>
                    <a:lnTo>
                      <a:pt x="3616" y="1231"/>
                    </a:lnTo>
                    <a:lnTo>
                      <a:pt x="3639" y="1231"/>
                    </a:lnTo>
                    <a:lnTo>
                      <a:pt x="3639" y="1317"/>
                    </a:lnTo>
                    <a:lnTo>
                      <a:pt x="3639" y="1326"/>
                    </a:lnTo>
                    <a:lnTo>
                      <a:pt x="3649" y="1326"/>
                    </a:lnTo>
                    <a:lnTo>
                      <a:pt x="3715" y="1326"/>
                    </a:lnTo>
                    <a:lnTo>
                      <a:pt x="3715" y="1392"/>
                    </a:lnTo>
                    <a:lnTo>
                      <a:pt x="3715" y="1402"/>
                    </a:lnTo>
                    <a:lnTo>
                      <a:pt x="3724" y="1402"/>
                    </a:lnTo>
                    <a:lnTo>
                      <a:pt x="3757" y="1402"/>
                    </a:lnTo>
                    <a:lnTo>
                      <a:pt x="3767" y="1402"/>
                    </a:lnTo>
                    <a:lnTo>
                      <a:pt x="3767" y="1392"/>
                    </a:lnTo>
                    <a:lnTo>
                      <a:pt x="3767" y="1234"/>
                    </a:lnTo>
                    <a:lnTo>
                      <a:pt x="3819" y="1234"/>
                    </a:lnTo>
                    <a:lnTo>
                      <a:pt x="3828" y="1234"/>
                    </a:lnTo>
                    <a:lnTo>
                      <a:pt x="3828" y="1224"/>
                    </a:lnTo>
                    <a:lnTo>
                      <a:pt x="3828" y="1004"/>
                    </a:lnTo>
                    <a:lnTo>
                      <a:pt x="3892" y="1004"/>
                    </a:lnTo>
                    <a:lnTo>
                      <a:pt x="3902" y="1004"/>
                    </a:lnTo>
                    <a:lnTo>
                      <a:pt x="3902" y="995"/>
                    </a:lnTo>
                    <a:lnTo>
                      <a:pt x="3902" y="938"/>
                    </a:lnTo>
                    <a:lnTo>
                      <a:pt x="4003" y="938"/>
                    </a:lnTo>
                    <a:lnTo>
                      <a:pt x="4013" y="938"/>
                    </a:lnTo>
                    <a:lnTo>
                      <a:pt x="4013" y="928"/>
                    </a:lnTo>
                    <a:lnTo>
                      <a:pt x="4013" y="647"/>
                    </a:lnTo>
                    <a:lnTo>
                      <a:pt x="4093" y="497"/>
                    </a:lnTo>
                    <a:lnTo>
                      <a:pt x="4093" y="495"/>
                    </a:lnTo>
                    <a:lnTo>
                      <a:pt x="4093" y="493"/>
                    </a:lnTo>
                    <a:lnTo>
                      <a:pt x="4093" y="464"/>
                    </a:lnTo>
                    <a:lnTo>
                      <a:pt x="4100" y="464"/>
                    </a:lnTo>
                    <a:lnTo>
                      <a:pt x="4100" y="455"/>
                    </a:lnTo>
                    <a:lnTo>
                      <a:pt x="4100" y="400"/>
                    </a:lnTo>
                    <a:lnTo>
                      <a:pt x="4100" y="400"/>
                    </a:lnTo>
                    <a:lnTo>
                      <a:pt x="4110" y="400"/>
                    </a:lnTo>
                    <a:lnTo>
                      <a:pt x="4110" y="455"/>
                    </a:lnTo>
                    <a:lnTo>
                      <a:pt x="4110" y="464"/>
                    </a:lnTo>
                    <a:lnTo>
                      <a:pt x="4114" y="464"/>
                    </a:lnTo>
                    <a:lnTo>
                      <a:pt x="4114" y="495"/>
                    </a:lnTo>
                    <a:lnTo>
                      <a:pt x="4114" y="497"/>
                    </a:lnTo>
                    <a:lnTo>
                      <a:pt x="4114" y="500"/>
                    </a:lnTo>
                    <a:lnTo>
                      <a:pt x="4162" y="609"/>
                    </a:lnTo>
                    <a:lnTo>
                      <a:pt x="4166" y="623"/>
                    </a:lnTo>
                    <a:lnTo>
                      <a:pt x="4176" y="609"/>
                    </a:lnTo>
                    <a:lnTo>
                      <a:pt x="4247" y="514"/>
                    </a:lnTo>
                    <a:lnTo>
                      <a:pt x="4401" y="514"/>
                    </a:lnTo>
                    <a:lnTo>
                      <a:pt x="4427" y="547"/>
                    </a:lnTo>
                    <a:lnTo>
                      <a:pt x="4429" y="550"/>
                    </a:lnTo>
                    <a:lnTo>
                      <a:pt x="4434" y="550"/>
                    </a:lnTo>
                    <a:lnTo>
                      <a:pt x="4583" y="550"/>
                    </a:lnTo>
                    <a:lnTo>
                      <a:pt x="4585" y="550"/>
                    </a:lnTo>
                    <a:lnTo>
                      <a:pt x="4587" y="550"/>
                    </a:lnTo>
                    <a:lnTo>
                      <a:pt x="4691" y="481"/>
                    </a:lnTo>
                    <a:lnTo>
                      <a:pt x="4694" y="479"/>
                    </a:lnTo>
                    <a:lnTo>
                      <a:pt x="4696" y="476"/>
                    </a:lnTo>
                    <a:lnTo>
                      <a:pt x="4758" y="242"/>
                    </a:lnTo>
                    <a:lnTo>
                      <a:pt x="4852" y="242"/>
                    </a:lnTo>
                    <a:lnTo>
                      <a:pt x="4862" y="242"/>
                    </a:lnTo>
                    <a:lnTo>
                      <a:pt x="4862" y="232"/>
                    </a:lnTo>
                    <a:lnTo>
                      <a:pt x="4862" y="183"/>
                    </a:lnTo>
                    <a:lnTo>
                      <a:pt x="4899" y="183"/>
                    </a:lnTo>
                    <a:lnTo>
                      <a:pt x="4909" y="183"/>
                    </a:lnTo>
                    <a:lnTo>
                      <a:pt x="4909" y="173"/>
                    </a:lnTo>
                    <a:lnTo>
                      <a:pt x="4909" y="10"/>
                    </a:lnTo>
                    <a:lnTo>
                      <a:pt x="4911" y="10"/>
                    </a:lnTo>
                    <a:lnTo>
                      <a:pt x="4911" y="173"/>
                    </a:lnTo>
                    <a:lnTo>
                      <a:pt x="4911" y="183"/>
                    </a:lnTo>
                    <a:lnTo>
                      <a:pt x="4921" y="183"/>
                    </a:lnTo>
                    <a:lnTo>
                      <a:pt x="4959" y="183"/>
                    </a:lnTo>
                    <a:lnTo>
                      <a:pt x="4968" y="183"/>
                    </a:lnTo>
                    <a:lnTo>
                      <a:pt x="4968" y="173"/>
                    </a:lnTo>
                    <a:lnTo>
                      <a:pt x="4968" y="10"/>
                    </a:lnTo>
                    <a:lnTo>
                      <a:pt x="4970" y="10"/>
                    </a:lnTo>
                    <a:moveTo>
                      <a:pt x="4980" y="0"/>
                    </a:moveTo>
                    <a:lnTo>
                      <a:pt x="4959" y="0"/>
                    </a:lnTo>
                    <a:lnTo>
                      <a:pt x="4959" y="173"/>
                    </a:lnTo>
                    <a:lnTo>
                      <a:pt x="4921" y="173"/>
                    </a:lnTo>
                    <a:lnTo>
                      <a:pt x="4921" y="0"/>
                    </a:lnTo>
                    <a:lnTo>
                      <a:pt x="4899" y="0"/>
                    </a:lnTo>
                    <a:lnTo>
                      <a:pt x="4899" y="173"/>
                    </a:lnTo>
                    <a:lnTo>
                      <a:pt x="4852" y="173"/>
                    </a:lnTo>
                    <a:lnTo>
                      <a:pt x="4852" y="232"/>
                    </a:lnTo>
                    <a:lnTo>
                      <a:pt x="4750" y="232"/>
                    </a:lnTo>
                    <a:lnTo>
                      <a:pt x="4687" y="474"/>
                    </a:lnTo>
                    <a:lnTo>
                      <a:pt x="4583" y="540"/>
                    </a:lnTo>
                    <a:lnTo>
                      <a:pt x="4434" y="540"/>
                    </a:lnTo>
                    <a:lnTo>
                      <a:pt x="4405" y="505"/>
                    </a:lnTo>
                    <a:lnTo>
                      <a:pt x="4242" y="505"/>
                    </a:lnTo>
                    <a:lnTo>
                      <a:pt x="4169" y="604"/>
                    </a:lnTo>
                    <a:lnTo>
                      <a:pt x="4124" y="495"/>
                    </a:lnTo>
                    <a:lnTo>
                      <a:pt x="4124" y="455"/>
                    </a:lnTo>
                    <a:lnTo>
                      <a:pt x="4119" y="455"/>
                    </a:lnTo>
                    <a:lnTo>
                      <a:pt x="4119" y="391"/>
                    </a:lnTo>
                    <a:lnTo>
                      <a:pt x="4110" y="391"/>
                    </a:lnTo>
                    <a:lnTo>
                      <a:pt x="4110" y="329"/>
                    </a:lnTo>
                    <a:lnTo>
                      <a:pt x="4098" y="329"/>
                    </a:lnTo>
                    <a:lnTo>
                      <a:pt x="4098" y="391"/>
                    </a:lnTo>
                    <a:lnTo>
                      <a:pt x="4091" y="391"/>
                    </a:lnTo>
                    <a:lnTo>
                      <a:pt x="4091" y="455"/>
                    </a:lnTo>
                    <a:lnTo>
                      <a:pt x="4084" y="455"/>
                    </a:lnTo>
                    <a:lnTo>
                      <a:pt x="4084" y="493"/>
                    </a:lnTo>
                    <a:lnTo>
                      <a:pt x="4003" y="644"/>
                    </a:lnTo>
                    <a:lnTo>
                      <a:pt x="4003" y="928"/>
                    </a:lnTo>
                    <a:lnTo>
                      <a:pt x="3892" y="928"/>
                    </a:lnTo>
                    <a:lnTo>
                      <a:pt x="3892" y="995"/>
                    </a:lnTo>
                    <a:lnTo>
                      <a:pt x="3819" y="995"/>
                    </a:lnTo>
                    <a:lnTo>
                      <a:pt x="3819" y="1224"/>
                    </a:lnTo>
                    <a:lnTo>
                      <a:pt x="3757" y="1224"/>
                    </a:lnTo>
                    <a:lnTo>
                      <a:pt x="3757" y="1392"/>
                    </a:lnTo>
                    <a:lnTo>
                      <a:pt x="3724" y="1392"/>
                    </a:lnTo>
                    <a:lnTo>
                      <a:pt x="3724"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502"/>
                    </a:lnTo>
                    <a:lnTo>
                      <a:pt x="3348" y="502"/>
                    </a:lnTo>
                    <a:lnTo>
                      <a:pt x="3348" y="583"/>
                    </a:lnTo>
                    <a:lnTo>
                      <a:pt x="3329" y="583"/>
                    </a:lnTo>
                    <a:lnTo>
                      <a:pt x="3329" y="658"/>
                    </a:lnTo>
                    <a:lnTo>
                      <a:pt x="3185" y="658"/>
                    </a:lnTo>
                    <a:lnTo>
                      <a:pt x="3185" y="763"/>
                    </a:lnTo>
                    <a:lnTo>
                      <a:pt x="3147" y="763"/>
                    </a:lnTo>
                    <a:lnTo>
                      <a:pt x="3147" y="980"/>
                    </a:lnTo>
                    <a:lnTo>
                      <a:pt x="3001" y="980"/>
                    </a:lnTo>
                    <a:lnTo>
                      <a:pt x="2925" y="1014"/>
                    </a:lnTo>
                    <a:lnTo>
                      <a:pt x="2925" y="1063"/>
                    </a:lnTo>
                    <a:lnTo>
                      <a:pt x="2909" y="1063"/>
                    </a:lnTo>
                    <a:lnTo>
                      <a:pt x="2909"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334"/>
                    </a:lnTo>
                    <a:lnTo>
                      <a:pt x="1986" y="334"/>
                    </a:lnTo>
                    <a:lnTo>
                      <a:pt x="1986" y="370"/>
                    </a:lnTo>
                    <a:lnTo>
                      <a:pt x="1856" y="370"/>
                    </a:lnTo>
                    <a:lnTo>
                      <a:pt x="1856" y="1132"/>
                    </a:lnTo>
                    <a:lnTo>
                      <a:pt x="1736" y="1132"/>
                    </a:lnTo>
                    <a:lnTo>
                      <a:pt x="1736" y="1158"/>
                    </a:lnTo>
                    <a:lnTo>
                      <a:pt x="1712" y="1158"/>
                    </a:lnTo>
                    <a:lnTo>
                      <a:pt x="1712" y="1201"/>
                    </a:lnTo>
                    <a:lnTo>
                      <a:pt x="1570" y="1201"/>
                    </a:lnTo>
                    <a:lnTo>
                      <a:pt x="1570" y="1127"/>
                    </a:lnTo>
                    <a:lnTo>
                      <a:pt x="1551" y="1127"/>
                    </a:lnTo>
                    <a:lnTo>
                      <a:pt x="1551" y="1085"/>
                    </a:lnTo>
                    <a:lnTo>
                      <a:pt x="1511" y="1085"/>
                    </a:lnTo>
                    <a:lnTo>
                      <a:pt x="1511" y="1127"/>
                    </a:lnTo>
                    <a:lnTo>
                      <a:pt x="1495" y="1127"/>
                    </a:lnTo>
                    <a:lnTo>
                      <a:pt x="1495" y="1201"/>
                    </a:lnTo>
                    <a:lnTo>
                      <a:pt x="1447" y="1201"/>
                    </a:lnTo>
                    <a:lnTo>
                      <a:pt x="1447" y="829"/>
                    </a:lnTo>
                    <a:lnTo>
                      <a:pt x="1251" y="829"/>
                    </a:lnTo>
                    <a:lnTo>
                      <a:pt x="1251" y="753"/>
                    </a:lnTo>
                    <a:lnTo>
                      <a:pt x="1057" y="753"/>
                    </a:lnTo>
                    <a:lnTo>
                      <a:pt x="1057" y="829"/>
                    </a:lnTo>
                    <a:lnTo>
                      <a:pt x="854" y="829"/>
                    </a:lnTo>
                    <a:lnTo>
                      <a:pt x="854" y="1070"/>
                    </a:lnTo>
                    <a:lnTo>
                      <a:pt x="818" y="1070"/>
                    </a:lnTo>
                    <a:lnTo>
                      <a:pt x="818" y="618"/>
                    </a:lnTo>
                    <a:lnTo>
                      <a:pt x="601" y="618"/>
                    </a:lnTo>
                    <a:lnTo>
                      <a:pt x="601" y="547"/>
                    </a:lnTo>
                    <a:lnTo>
                      <a:pt x="350" y="547"/>
                    </a:lnTo>
                    <a:lnTo>
                      <a:pt x="350" y="618"/>
                    </a:lnTo>
                    <a:lnTo>
                      <a:pt x="144" y="618"/>
                    </a:lnTo>
                    <a:lnTo>
                      <a:pt x="144" y="1454"/>
                    </a:lnTo>
                    <a:lnTo>
                      <a:pt x="50" y="1454"/>
                    </a:lnTo>
                    <a:lnTo>
                      <a:pt x="50" y="1534"/>
                    </a:lnTo>
                    <a:lnTo>
                      <a:pt x="0" y="1534"/>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1695"/>
                    </a:lnTo>
                    <a:lnTo>
                      <a:pt x="7030" y="1695"/>
                    </a:lnTo>
                    <a:lnTo>
                      <a:pt x="7030" y="1094"/>
                    </a:lnTo>
                    <a:lnTo>
                      <a:pt x="6905" y="1094"/>
                    </a:lnTo>
                    <a:lnTo>
                      <a:pt x="6905" y="1059"/>
                    </a:lnTo>
                    <a:lnTo>
                      <a:pt x="6519" y="1059"/>
                    </a:lnTo>
                    <a:lnTo>
                      <a:pt x="6519" y="938"/>
                    </a:lnTo>
                    <a:lnTo>
                      <a:pt x="6486" y="938"/>
                    </a:lnTo>
                    <a:lnTo>
                      <a:pt x="6477" y="895"/>
                    </a:lnTo>
                    <a:lnTo>
                      <a:pt x="6472" y="895"/>
                    </a:lnTo>
                    <a:lnTo>
                      <a:pt x="6472" y="879"/>
                    </a:lnTo>
                    <a:lnTo>
                      <a:pt x="6465" y="879"/>
                    </a:lnTo>
                    <a:lnTo>
                      <a:pt x="6465" y="850"/>
                    </a:lnTo>
                    <a:lnTo>
                      <a:pt x="6446" y="850"/>
                    </a:lnTo>
                    <a:lnTo>
                      <a:pt x="6446" y="879"/>
                    </a:lnTo>
                    <a:lnTo>
                      <a:pt x="6436" y="879"/>
                    </a:lnTo>
                    <a:lnTo>
                      <a:pt x="6436" y="895"/>
                    </a:lnTo>
                    <a:lnTo>
                      <a:pt x="6432" y="895"/>
                    </a:lnTo>
                    <a:lnTo>
                      <a:pt x="6425" y="938"/>
                    </a:lnTo>
                    <a:lnTo>
                      <a:pt x="6387" y="938"/>
                    </a:lnTo>
                    <a:lnTo>
                      <a:pt x="6387" y="1130"/>
                    </a:lnTo>
                    <a:lnTo>
                      <a:pt x="6370" y="1130"/>
                    </a:lnTo>
                    <a:lnTo>
                      <a:pt x="6370" y="1364"/>
                    </a:lnTo>
                    <a:lnTo>
                      <a:pt x="6344" y="1364"/>
                    </a:lnTo>
                    <a:lnTo>
                      <a:pt x="6344" y="1210"/>
                    </a:lnTo>
                    <a:lnTo>
                      <a:pt x="6280" y="1210"/>
                    </a:lnTo>
                    <a:lnTo>
                      <a:pt x="6280" y="1130"/>
                    </a:lnTo>
                    <a:lnTo>
                      <a:pt x="6122" y="1130"/>
                    </a:lnTo>
                    <a:lnTo>
                      <a:pt x="6122" y="1042"/>
                    </a:lnTo>
                    <a:lnTo>
                      <a:pt x="6103" y="1042"/>
                    </a:lnTo>
                    <a:lnTo>
                      <a:pt x="6103" y="990"/>
                    </a:lnTo>
                    <a:lnTo>
                      <a:pt x="5997" y="990"/>
                    </a:lnTo>
                    <a:lnTo>
                      <a:pt x="5997" y="1042"/>
                    </a:lnTo>
                    <a:lnTo>
                      <a:pt x="5978" y="1042"/>
                    </a:lnTo>
                    <a:lnTo>
                      <a:pt x="5978" y="1130"/>
                    </a:lnTo>
                    <a:lnTo>
                      <a:pt x="5904" y="1130"/>
                    </a:lnTo>
                    <a:lnTo>
                      <a:pt x="5904" y="1210"/>
                    </a:lnTo>
                    <a:lnTo>
                      <a:pt x="5878" y="1210"/>
                    </a:lnTo>
                    <a:lnTo>
                      <a:pt x="5878" y="1326"/>
                    </a:lnTo>
                    <a:lnTo>
                      <a:pt x="5713" y="1326"/>
                    </a:lnTo>
                    <a:lnTo>
                      <a:pt x="5713" y="1449"/>
                    </a:lnTo>
                    <a:lnTo>
                      <a:pt x="5666" y="1449"/>
                    </a:lnTo>
                    <a:lnTo>
                      <a:pt x="5666" y="732"/>
                    </a:lnTo>
                    <a:lnTo>
                      <a:pt x="5531" y="732"/>
                    </a:lnTo>
                    <a:lnTo>
                      <a:pt x="5531" y="611"/>
                    </a:lnTo>
                    <a:lnTo>
                      <a:pt x="5301" y="611"/>
                    </a:lnTo>
                    <a:lnTo>
                      <a:pt x="5301" y="732"/>
                    </a:lnTo>
                    <a:lnTo>
                      <a:pt x="5178" y="732"/>
                    </a:lnTo>
                    <a:lnTo>
                      <a:pt x="5178" y="973"/>
                    </a:lnTo>
                    <a:lnTo>
                      <a:pt x="4980" y="973"/>
                    </a:lnTo>
                    <a:lnTo>
                      <a:pt x="4980" y="232"/>
                    </a:lnTo>
                    <a:lnTo>
                      <a:pt x="4980" y="232"/>
                    </a:lnTo>
                    <a:lnTo>
                      <a:pt x="49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grpSp>
        <p:grpSp>
          <p:nvGrpSpPr>
            <p:cNvPr id="17" name="Group 41"/>
            <p:cNvGrpSpPr>
              <a:grpSpLocks noChangeAspect="1"/>
            </p:cNvGrpSpPr>
            <p:nvPr/>
          </p:nvGrpSpPr>
          <p:grpSpPr bwMode="auto">
            <a:xfrm flipH="1">
              <a:off x="6034177" y="3845169"/>
              <a:ext cx="6239885" cy="2465577"/>
              <a:chOff x="-95" y="1253"/>
              <a:chExt cx="7661" cy="3175"/>
            </a:xfrm>
          </p:grpSpPr>
          <p:sp>
            <p:nvSpPr>
              <p:cNvPr id="19" name="AutoShape 40"/>
              <p:cNvSpPr>
                <a:spLocks noChangeAspect="1" noChangeArrowheads="1" noTextEdit="1"/>
              </p:cNvSpPr>
              <p:nvPr/>
            </p:nvSpPr>
            <p:spPr bwMode="auto">
              <a:xfrm>
                <a:off x="-95" y="1253"/>
                <a:ext cx="7661"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0" name="Freeform 42"/>
              <p:cNvSpPr>
                <a:spLocks noEditPoints="1"/>
              </p:cNvSpPr>
              <p:nvPr/>
            </p:nvSpPr>
            <p:spPr bwMode="auto">
              <a:xfrm>
                <a:off x="47" y="1755"/>
                <a:ext cx="6930" cy="1359"/>
              </a:xfrm>
              <a:custGeom>
                <a:avLst/>
                <a:gdLst>
                  <a:gd name="T0" fmla="*/ 5734 w 6930"/>
                  <a:gd name="T1" fmla="*/ 1231 h 1359"/>
                  <a:gd name="T2" fmla="*/ 5760 w 6930"/>
                  <a:gd name="T3" fmla="*/ 1129 h 1359"/>
                  <a:gd name="T4" fmla="*/ 5760 w 6930"/>
                  <a:gd name="T5" fmla="*/ 1186 h 1359"/>
                  <a:gd name="T6" fmla="*/ 5760 w 6930"/>
                  <a:gd name="T7" fmla="*/ 1129 h 1359"/>
                  <a:gd name="T8" fmla="*/ 2764 w 6930"/>
                  <a:gd name="T9" fmla="*/ 1146 h 1359"/>
                  <a:gd name="T10" fmla="*/ 5835 w 6930"/>
                  <a:gd name="T11" fmla="*/ 1042 h 1359"/>
                  <a:gd name="T12" fmla="*/ 5835 w 6930"/>
                  <a:gd name="T13" fmla="*/ 1054 h 1359"/>
                  <a:gd name="T14" fmla="*/ 5835 w 6930"/>
                  <a:gd name="T15" fmla="*/ 1042 h 1359"/>
                  <a:gd name="T16" fmla="*/ 2781 w 6930"/>
                  <a:gd name="T17" fmla="*/ 1046 h 1359"/>
                  <a:gd name="T18" fmla="*/ 2783 w 6930"/>
                  <a:gd name="T19" fmla="*/ 1044 h 1359"/>
                  <a:gd name="T20" fmla="*/ 3674 w 6930"/>
                  <a:gd name="T21" fmla="*/ 994 h 1359"/>
                  <a:gd name="T22" fmla="*/ 3674 w 6930"/>
                  <a:gd name="T23" fmla="*/ 1162 h 1359"/>
                  <a:gd name="T24" fmla="*/ 5854 w 6930"/>
                  <a:gd name="T25" fmla="*/ 990 h 1359"/>
                  <a:gd name="T26" fmla="*/ 5852 w 6930"/>
                  <a:gd name="T27" fmla="*/ 1025 h 1359"/>
                  <a:gd name="T28" fmla="*/ 5854 w 6930"/>
                  <a:gd name="T29" fmla="*/ 990 h 1359"/>
                  <a:gd name="T30" fmla="*/ 6242 w 6930"/>
                  <a:gd name="T31" fmla="*/ 1113 h 1359"/>
                  <a:gd name="T32" fmla="*/ 6245 w 6930"/>
                  <a:gd name="T33" fmla="*/ 1110 h 1359"/>
                  <a:gd name="T34" fmla="*/ 6292 w 6930"/>
                  <a:gd name="T35" fmla="*/ 878 h 1359"/>
                  <a:gd name="T36" fmla="*/ 6292 w 6930"/>
                  <a:gd name="T37" fmla="*/ 885 h 1359"/>
                  <a:gd name="T38" fmla="*/ 6301 w 6930"/>
                  <a:gd name="T39" fmla="*/ 850 h 1359"/>
                  <a:gd name="T40" fmla="*/ 6301 w 6930"/>
                  <a:gd name="T41" fmla="*/ 871 h 1359"/>
                  <a:gd name="T42" fmla="*/ 6301 w 6930"/>
                  <a:gd name="T43" fmla="*/ 850 h 1359"/>
                  <a:gd name="T44" fmla="*/ 3003 w 6930"/>
                  <a:gd name="T45" fmla="*/ 885 h 1359"/>
                  <a:gd name="T46" fmla="*/ 5036 w 6930"/>
                  <a:gd name="T47" fmla="*/ 732 h 1359"/>
                  <a:gd name="T48" fmla="*/ 5036 w 6930"/>
                  <a:gd name="T49" fmla="*/ 878 h 1359"/>
                  <a:gd name="T50" fmla="*/ 3041 w 6930"/>
                  <a:gd name="T51" fmla="*/ 658 h 1359"/>
                  <a:gd name="T52" fmla="*/ 3043 w 6930"/>
                  <a:gd name="T53" fmla="*/ 724 h 1359"/>
                  <a:gd name="T54" fmla="*/ 2 w 6930"/>
                  <a:gd name="T55" fmla="*/ 618 h 1359"/>
                  <a:gd name="T56" fmla="*/ 2 w 6930"/>
                  <a:gd name="T57" fmla="*/ 1359 h 1359"/>
                  <a:gd name="T58" fmla="*/ 5157 w 6930"/>
                  <a:gd name="T59" fmla="*/ 611 h 1359"/>
                  <a:gd name="T60" fmla="*/ 5157 w 6930"/>
                  <a:gd name="T61" fmla="*/ 611 h 1359"/>
                  <a:gd name="T62" fmla="*/ 6928 w 6930"/>
                  <a:gd name="T63" fmla="*/ 999 h 1359"/>
                  <a:gd name="T64" fmla="*/ 3204 w 6930"/>
                  <a:gd name="T65" fmla="*/ 502 h 1359"/>
                  <a:gd name="T66" fmla="*/ 3204 w 6930"/>
                  <a:gd name="T67" fmla="*/ 563 h 1359"/>
                  <a:gd name="T68" fmla="*/ 3939 w 6930"/>
                  <a:gd name="T69" fmla="*/ 455 h 1359"/>
                  <a:gd name="T70" fmla="*/ 3859 w 6930"/>
                  <a:gd name="T71" fmla="*/ 833 h 1359"/>
                  <a:gd name="T72" fmla="*/ 3941 w 6930"/>
                  <a:gd name="T73" fmla="*/ 490 h 1359"/>
                  <a:gd name="T74" fmla="*/ 3232 w 6930"/>
                  <a:gd name="T75" fmla="*/ 436 h 1359"/>
                  <a:gd name="T76" fmla="*/ 3232 w 6930"/>
                  <a:gd name="T77" fmla="*/ 471 h 1359"/>
                  <a:gd name="T78" fmla="*/ 3946 w 6930"/>
                  <a:gd name="T79" fmla="*/ 391 h 1359"/>
                  <a:gd name="T80" fmla="*/ 3946 w 6930"/>
                  <a:gd name="T81" fmla="*/ 450 h 1359"/>
                  <a:gd name="T82" fmla="*/ 3946 w 6930"/>
                  <a:gd name="T83" fmla="*/ 391 h 1359"/>
                  <a:gd name="T84" fmla="*/ 1712 w 6930"/>
                  <a:gd name="T85" fmla="*/ 1037 h 1359"/>
                  <a:gd name="T86" fmla="*/ 3956 w 6930"/>
                  <a:gd name="T87" fmla="*/ 329 h 1359"/>
                  <a:gd name="T88" fmla="*/ 3956 w 6930"/>
                  <a:gd name="T89" fmla="*/ 384 h 1359"/>
                  <a:gd name="T90" fmla="*/ 3956 w 6930"/>
                  <a:gd name="T91" fmla="*/ 329 h 1359"/>
                  <a:gd name="T92" fmla="*/ 4552 w 6930"/>
                  <a:gd name="T93" fmla="*/ 433 h 1359"/>
                  <a:gd name="T94" fmla="*/ 4757 w 6930"/>
                  <a:gd name="T95" fmla="*/ 0 h 1359"/>
                  <a:gd name="T96" fmla="*/ 4757 w 6930"/>
                  <a:gd name="T97" fmla="*/ 125 h 1359"/>
                  <a:gd name="T98" fmla="*/ 4757 w 6930"/>
                  <a:gd name="T99"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59">
                    <a:moveTo>
                      <a:pt x="5736" y="1210"/>
                    </a:moveTo>
                    <a:lnTo>
                      <a:pt x="5734" y="1210"/>
                    </a:lnTo>
                    <a:lnTo>
                      <a:pt x="5734" y="1231"/>
                    </a:lnTo>
                    <a:lnTo>
                      <a:pt x="5736" y="1231"/>
                    </a:lnTo>
                    <a:lnTo>
                      <a:pt x="5736" y="1210"/>
                    </a:lnTo>
                    <a:close/>
                    <a:moveTo>
                      <a:pt x="5760" y="1129"/>
                    </a:moveTo>
                    <a:lnTo>
                      <a:pt x="5760" y="1129"/>
                    </a:lnTo>
                    <a:lnTo>
                      <a:pt x="5760" y="1186"/>
                    </a:lnTo>
                    <a:lnTo>
                      <a:pt x="5760" y="1186"/>
                    </a:lnTo>
                    <a:lnTo>
                      <a:pt x="5760" y="1184"/>
                    </a:lnTo>
                    <a:lnTo>
                      <a:pt x="5760" y="1184"/>
                    </a:lnTo>
                    <a:lnTo>
                      <a:pt x="5760" y="1129"/>
                    </a:lnTo>
                    <a:close/>
                    <a:moveTo>
                      <a:pt x="2764" y="1063"/>
                    </a:moveTo>
                    <a:lnTo>
                      <a:pt x="2764" y="1063"/>
                    </a:lnTo>
                    <a:lnTo>
                      <a:pt x="2764" y="1146"/>
                    </a:lnTo>
                    <a:lnTo>
                      <a:pt x="2764" y="1146"/>
                    </a:lnTo>
                    <a:lnTo>
                      <a:pt x="2764" y="1063"/>
                    </a:lnTo>
                    <a:close/>
                    <a:moveTo>
                      <a:pt x="5835" y="1042"/>
                    </a:moveTo>
                    <a:lnTo>
                      <a:pt x="5833" y="1042"/>
                    </a:lnTo>
                    <a:lnTo>
                      <a:pt x="5833" y="1054"/>
                    </a:lnTo>
                    <a:lnTo>
                      <a:pt x="5835" y="1054"/>
                    </a:lnTo>
                    <a:lnTo>
                      <a:pt x="5835" y="1054"/>
                    </a:lnTo>
                    <a:lnTo>
                      <a:pt x="5835" y="1054"/>
                    </a:lnTo>
                    <a:lnTo>
                      <a:pt x="5835" y="1042"/>
                    </a:lnTo>
                    <a:close/>
                    <a:moveTo>
                      <a:pt x="2783" y="1013"/>
                    </a:moveTo>
                    <a:lnTo>
                      <a:pt x="2781" y="1013"/>
                    </a:lnTo>
                    <a:lnTo>
                      <a:pt x="2781" y="1046"/>
                    </a:lnTo>
                    <a:lnTo>
                      <a:pt x="2781" y="1046"/>
                    </a:lnTo>
                    <a:lnTo>
                      <a:pt x="2781" y="1044"/>
                    </a:lnTo>
                    <a:lnTo>
                      <a:pt x="2783" y="1044"/>
                    </a:lnTo>
                    <a:lnTo>
                      <a:pt x="2783" y="1013"/>
                    </a:lnTo>
                    <a:close/>
                    <a:moveTo>
                      <a:pt x="3674" y="994"/>
                    </a:moveTo>
                    <a:lnTo>
                      <a:pt x="3674" y="994"/>
                    </a:lnTo>
                    <a:lnTo>
                      <a:pt x="3674" y="1162"/>
                    </a:lnTo>
                    <a:lnTo>
                      <a:pt x="3674" y="1162"/>
                    </a:lnTo>
                    <a:lnTo>
                      <a:pt x="3674" y="1162"/>
                    </a:lnTo>
                    <a:lnTo>
                      <a:pt x="3674" y="1162"/>
                    </a:lnTo>
                    <a:lnTo>
                      <a:pt x="3674" y="994"/>
                    </a:lnTo>
                    <a:close/>
                    <a:moveTo>
                      <a:pt x="5854" y="990"/>
                    </a:moveTo>
                    <a:lnTo>
                      <a:pt x="5852" y="990"/>
                    </a:lnTo>
                    <a:lnTo>
                      <a:pt x="5852" y="1025"/>
                    </a:lnTo>
                    <a:lnTo>
                      <a:pt x="5852" y="1025"/>
                    </a:lnTo>
                    <a:lnTo>
                      <a:pt x="5852" y="1023"/>
                    </a:lnTo>
                    <a:lnTo>
                      <a:pt x="5854" y="1023"/>
                    </a:lnTo>
                    <a:lnTo>
                      <a:pt x="5854" y="990"/>
                    </a:lnTo>
                    <a:close/>
                    <a:moveTo>
                      <a:pt x="6245" y="938"/>
                    </a:moveTo>
                    <a:lnTo>
                      <a:pt x="6242" y="938"/>
                    </a:lnTo>
                    <a:lnTo>
                      <a:pt x="6242" y="1113"/>
                    </a:lnTo>
                    <a:lnTo>
                      <a:pt x="6245" y="1113"/>
                    </a:lnTo>
                    <a:lnTo>
                      <a:pt x="6245" y="1110"/>
                    </a:lnTo>
                    <a:lnTo>
                      <a:pt x="6245" y="1110"/>
                    </a:lnTo>
                    <a:lnTo>
                      <a:pt x="6245" y="938"/>
                    </a:lnTo>
                    <a:close/>
                    <a:moveTo>
                      <a:pt x="6294" y="878"/>
                    </a:moveTo>
                    <a:lnTo>
                      <a:pt x="6292" y="878"/>
                    </a:lnTo>
                    <a:lnTo>
                      <a:pt x="6292" y="888"/>
                    </a:lnTo>
                    <a:lnTo>
                      <a:pt x="6292" y="888"/>
                    </a:lnTo>
                    <a:lnTo>
                      <a:pt x="6292" y="885"/>
                    </a:lnTo>
                    <a:lnTo>
                      <a:pt x="6294" y="885"/>
                    </a:lnTo>
                    <a:lnTo>
                      <a:pt x="6294" y="878"/>
                    </a:lnTo>
                    <a:close/>
                    <a:moveTo>
                      <a:pt x="6301" y="850"/>
                    </a:moveTo>
                    <a:lnTo>
                      <a:pt x="6301" y="850"/>
                    </a:lnTo>
                    <a:lnTo>
                      <a:pt x="6301" y="871"/>
                    </a:lnTo>
                    <a:lnTo>
                      <a:pt x="6301" y="871"/>
                    </a:lnTo>
                    <a:lnTo>
                      <a:pt x="6301" y="869"/>
                    </a:lnTo>
                    <a:lnTo>
                      <a:pt x="6301" y="869"/>
                    </a:lnTo>
                    <a:lnTo>
                      <a:pt x="6301" y="850"/>
                    </a:lnTo>
                    <a:close/>
                    <a:moveTo>
                      <a:pt x="3005" y="762"/>
                    </a:moveTo>
                    <a:lnTo>
                      <a:pt x="3003" y="762"/>
                    </a:lnTo>
                    <a:lnTo>
                      <a:pt x="3003" y="885"/>
                    </a:lnTo>
                    <a:lnTo>
                      <a:pt x="3005" y="885"/>
                    </a:lnTo>
                    <a:lnTo>
                      <a:pt x="3005" y="762"/>
                    </a:lnTo>
                    <a:close/>
                    <a:moveTo>
                      <a:pt x="5036" y="732"/>
                    </a:moveTo>
                    <a:lnTo>
                      <a:pt x="5034" y="732"/>
                    </a:lnTo>
                    <a:lnTo>
                      <a:pt x="5034" y="878"/>
                    </a:lnTo>
                    <a:lnTo>
                      <a:pt x="5036" y="878"/>
                    </a:lnTo>
                    <a:lnTo>
                      <a:pt x="5036" y="732"/>
                    </a:lnTo>
                    <a:close/>
                    <a:moveTo>
                      <a:pt x="3043" y="658"/>
                    </a:moveTo>
                    <a:lnTo>
                      <a:pt x="3041" y="658"/>
                    </a:lnTo>
                    <a:lnTo>
                      <a:pt x="3041" y="727"/>
                    </a:lnTo>
                    <a:lnTo>
                      <a:pt x="3043" y="727"/>
                    </a:lnTo>
                    <a:lnTo>
                      <a:pt x="3043" y="724"/>
                    </a:lnTo>
                    <a:lnTo>
                      <a:pt x="3043" y="724"/>
                    </a:lnTo>
                    <a:lnTo>
                      <a:pt x="3043" y="658"/>
                    </a:lnTo>
                    <a:close/>
                    <a:moveTo>
                      <a:pt x="2" y="618"/>
                    </a:moveTo>
                    <a:lnTo>
                      <a:pt x="0" y="618"/>
                    </a:lnTo>
                    <a:lnTo>
                      <a:pt x="0" y="1359"/>
                    </a:lnTo>
                    <a:lnTo>
                      <a:pt x="2" y="1359"/>
                    </a:lnTo>
                    <a:lnTo>
                      <a:pt x="2" y="618"/>
                    </a:lnTo>
                    <a:close/>
                    <a:moveTo>
                      <a:pt x="5157" y="611"/>
                    </a:moveTo>
                    <a:lnTo>
                      <a:pt x="5157" y="611"/>
                    </a:lnTo>
                    <a:lnTo>
                      <a:pt x="5157" y="637"/>
                    </a:lnTo>
                    <a:lnTo>
                      <a:pt x="5157" y="637"/>
                    </a:lnTo>
                    <a:lnTo>
                      <a:pt x="5157" y="611"/>
                    </a:lnTo>
                    <a:close/>
                    <a:moveTo>
                      <a:pt x="6930" y="509"/>
                    </a:moveTo>
                    <a:lnTo>
                      <a:pt x="6928" y="509"/>
                    </a:lnTo>
                    <a:lnTo>
                      <a:pt x="6928" y="999"/>
                    </a:lnTo>
                    <a:lnTo>
                      <a:pt x="6930" y="999"/>
                    </a:lnTo>
                    <a:lnTo>
                      <a:pt x="6930" y="509"/>
                    </a:lnTo>
                    <a:close/>
                    <a:moveTo>
                      <a:pt x="3204" y="502"/>
                    </a:moveTo>
                    <a:lnTo>
                      <a:pt x="3204" y="502"/>
                    </a:lnTo>
                    <a:lnTo>
                      <a:pt x="3204" y="563"/>
                    </a:lnTo>
                    <a:lnTo>
                      <a:pt x="3204" y="563"/>
                    </a:lnTo>
                    <a:lnTo>
                      <a:pt x="3204" y="502"/>
                    </a:lnTo>
                    <a:close/>
                    <a:moveTo>
                      <a:pt x="3941" y="455"/>
                    </a:moveTo>
                    <a:lnTo>
                      <a:pt x="3939" y="455"/>
                    </a:lnTo>
                    <a:lnTo>
                      <a:pt x="3939" y="492"/>
                    </a:lnTo>
                    <a:lnTo>
                      <a:pt x="3859" y="644"/>
                    </a:lnTo>
                    <a:lnTo>
                      <a:pt x="3859" y="833"/>
                    </a:lnTo>
                    <a:lnTo>
                      <a:pt x="3859" y="833"/>
                    </a:lnTo>
                    <a:lnTo>
                      <a:pt x="3859" y="642"/>
                    </a:lnTo>
                    <a:lnTo>
                      <a:pt x="3941" y="490"/>
                    </a:lnTo>
                    <a:lnTo>
                      <a:pt x="3941" y="455"/>
                    </a:lnTo>
                    <a:close/>
                    <a:moveTo>
                      <a:pt x="3234" y="436"/>
                    </a:moveTo>
                    <a:lnTo>
                      <a:pt x="3232" y="436"/>
                    </a:lnTo>
                    <a:lnTo>
                      <a:pt x="3232" y="474"/>
                    </a:lnTo>
                    <a:lnTo>
                      <a:pt x="3232" y="474"/>
                    </a:lnTo>
                    <a:lnTo>
                      <a:pt x="3232" y="471"/>
                    </a:lnTo>
                    <a:lnTo>
                      <a:pt x="3234" y="471"/>
                    </a:lnTo>
                    <a:lnTo>
                      <a:pt x="3234" y="436"/>
                    </a:lnTo>
                    <a:close/>
                    <a:moveTo>
                      <a:pt x="3946" y="391"/>
                    </a:moveTo>
                    <a:lnTo>
                      <a:pt x="3946" y="391"/>
                    </a:lnTo>
                    <a:lnTo>
                      <a:pt x="3946" y="450"/>
                    </a:lnTo>
                    <a:lnTo>
                      <a:pt x="3946" y="450"/>
                    </a:lnTo>
                    <a:lnTo>
                      <a:pt x="3946" y="447"/>
                    </a:lnTo>
                    <a:lnTo>
                      <a:pt x="3946" y="447"/>
                    </a:lnTo>
                    <a:lnTo>
                      <a:pt x="3946" y="391"/>
                    </a:lnTo>
                    <a:close/>
                    <a:moveTo>
                      <a:pt x="1714" y="369"/>
                    </a:moveTo>
                    <a:lnTo>
                      <a:pt x="1712" y="369"/>
                    </a:lnTo>
                    <a:lnTo>
                      <a:pt x="1712" y="1037"/>
                    </a:lnTo>
                    <a:lnTo>
                      <a:pt x="1714" y="1037"/>
                    </a:lnTo>
                    <a:lnTo>
                      <a:pt x="1714" y="369"/>
                    </a:lnTo>
                    <a:close/>
                    <a:moveTo>
                      <a:pt x="3956" y="329"/>
                    </a:moveTo>
                    <a:lnTo>
                      <a:pt x="3953" y="329"/>
                    </a:lnTo>
                    <a:lnTo>
                      <a:pt x="3953" y="384"/>
                    </a:lnTo>
                    <a:lnTo>
                      <a:pt x="3956" y="384"/>
                    </a:lnTo>
                    <a:lnTo>
                      <a:pt x="3956" y="381"/>
                    </a:lnTo>
                    <a:lnTo>
                      <a:pt x="3956" y="381"/>
                    </a:lnTo>
                    <a:lnTo>
                      <a:pt x="3956" y="329"/>
                    </a:lnTo>
                    <a:close/>
                    <a:moveTo>
                      <a:pt x="4608" y="232"/>
                    </a:moveTo>
                    <a:lnTo>
                      <a:pt x="4606" y="232"/>
                    </a:lnTo>
                    <a:lnTo>
                      <a:pt x="4552" y="433"/>
                    </a:lnTo>
                    <a:lnTo>
                      <a:pt x="4554" y="431"/>
                    </a:lnTo>
                    <a:lnTo>
                      <a:pt x="4608" y="232"/>
                    </a:lnTo>
                    <a:close/>
                    <a:moveTo>
                      <a:pt x="4757" y="0"/>
                    </a:moveTo>
                    <a:lnTo>
                      <a:pt x="4755" y="0"/>
                    </a:lnTo>
                    <a:lnTo>
                      <a:pt x="4755" y="125"/>
                    </a:lnTo>
                    <a:lnTo>
                      <a:pt x="4757" y="125"/>
                    </a:lnTo>
                    <a:lnTo>
                      <a:pt x="4757" y="123"/>
                    </a:lnTo>
                    <a:lnTo>
                      <a:pt x="4757" y="123"/>
                    </a:lnTo>
                    <a:lnTo>
                      <a:pt x="475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1" name="Freeform 43"/>
              <p:cNvSpPr>
                <a:spLocks noEditPoints="1"/>
              </p:cNvSpPr>
              <p:nvPr/>
            </p:nvSpPr>
            <p:spPr bwMode="auto">
              <a:xfrm>
                <a:off x="47" y="1755"/>
                <a:ext cx="6930" cy="1359"/>
              </a:xfrm>
              <a:custGeom>
                <a:avLst/>
                <a:gdLst>
                  <a:gd name="T0" fmla="*/ 5734 w 6930"/>
                  <a:gd name="T1" fmla="*/ 1231 h 1359"/>
                  <a:gd name="T2" fmla="*/ 5760 w 6930"/>
                  <a:gd name="T3" fmla="*/ 1129 h 1359"/>
                  <a:gd name="T4" fmla="*/ 5760 w 6930"/>
                  <a:gd name="T5" fmla="*/ 1186 h 1359"/>
                  <a:gd name="T6" fmla="*/ 5760 w 6930"/>
                  <a:gd name="T7" fmla="*/ 1129 h 1359"/>
                  <a:gd name="T8" fmla="*/ 2764 w 6930"/>
                  <a:gd name="T9" fmla="*/ 1146 h 1359"/>
                  <a:gd name="T10" fmla="*/ 5835 w 6930"/>
                  <a:gd name="T11" fmla="*/ 1042 h 1359"/>
                  <a:gd name="T12" fmla="*/ 5835 w 6930"/>
                  <a:gd name="T13" fmla="*/ 1054 h 1359"/>
                  <a:gd name="T14" fmla="*/ 5835 w 6930"/>
                  <a:gd name="T15" fmla="*/ 1042 h 1359"/>
                  <a:gd name="T16" fmla="*/ 2781 w 6930"/>
                  <a:gd name="T17" fmla="*/ 1046 h 1359"/>
                  <a:gd name="T18" fmla="*/ 2783 w 6930"/>
                  <a:gd name="T19" fmla="*/ 1044 h 1359"/>
                  <a:gd name="T20" fmla="*/ 3674 w 6930"/>
                  <a:gd name="T21" fmla="*/ 994 h 1359"/>
                  <a:gd name="T22" fmla="*/ 3674 w 6930"/>
                  <a:gd name="T23" fmla="*/ 1162 h 1359"/>
                  <a:gd name="T24" fmla="*/ 5854 w 6930"/>
                  <a:gd name="T25" fmla="*/ 990 h 1359"/>
                  <a:gd name="T26" fmla="*/ 5852 w 6930"/>
                  <a:gd name="T27" fmla="*/ 1025 h 1359"/>
                  <a:gd name="T28" fmla="*/ 5854 w 6930"/>
                  <a:gd name="T29" fmla="*/ 990 h 1359"/>
                  <a:gd name="T30" fmla="*/ 6242 w 6930"/>
                  <a:gd name="T31" fmla="*/ 1113 h 1359"/>
                  <a:gd name="T32" fmla="*/ 6245 w 6930"/>
                  <a:gd name="T33" fmla="*/ 1110 h 1359"/>
                  <a:gd name="T34" fmla="*/ 6292 w 6930"/>
                  <a:gd name="T35" fmla="*/ 878 h 1359"/>
                  <a:gd name="T36" fmla="*/ 6292 w 6930"/>
                  <a:gd name="T37" fmla="*/ 885 h 1359"/>
                  <a:gd name="T38" fmla="*/ 6301 w 6930"/>
                  <a:gd name="T39" fmla="*/ 850 h 1359"/>
                  <a:gd name="T40" fmla="*/ 6301 w 6930"/>
                  <a:gd name="T41" fmla="*/ 871 h 1359"/>
                  <a:gd name="T42" fmla="*/ 6301 w 6930"/>
                  <a:gd name="T43" fmla="*/ 850 h 1359"/>
                  <a:gd name="T44" fmla="*/ 3003 w 6930"/>
                  <a:gd name="T45" fmla="*/ 885 h 1359"/>
                  <a:gd name="T46" fmla="*/ 5036 w 6930"/>
                  <a:gd name="T47" fmla="*/ 732 h 1359"/>
                  <a:gd name="T48" fmla="*/ 5036 w 6930"/>
                  <a:gd name="T49" fmla="*/ 878 h 1359"/>
                  <a:gd name="T50" fmla="*/ 3041 w 6930"/>
                  <a:gd name="T51" fmla="*/ 658 h 1359"/>
                  <a:gd name="T52" fmla="*/ 3043 w 6930"/>
                  <a:gd name="T53" fmla="*/ 724 h 1359"/>
                  <a:gd name="T54" fmla="*/ 2 w 6930"/>
                  <a:gd name="T55" fmla="*/ 618 h 1359"/>
                  <a:gd name="T56" fmla="*/ 2 w 6930"/>
                  <a:gd name="T57" fmla="*/ 1359 h 1359"/>
                  <a:gd name="T58" fmla="*/ 5157 w 6930"/>
                  <a:gd name="T59" fmla="*/ 611 h 1359"/>
                  <a:gd name="T60" fmla="*/ 5157 w 6930"/>
                  <a:gd name="T61" fmla="*/ 611 h 1359"/>
                  <a:gd name="T62" fmla="*/ 6928 w 6930"/>
                  <a:gd name="T63" fmla="*/ 999 h 1359"/>
                  <a:gd name="T64" fmla="*/ 3204 w 6930"/>
                  <a:gd name="T65" fmla="*/ 502 h 1359"/>
                  <a:gd name="T66" fmla="*/ 3204 w 6930"/>
                  <a:gd name="T67" fmla="*/ 563 h 1359"/>
                  <a:gd name="T68" fmla="*/ 3939 w 6930"/>
                  <a:gd name="T69" fmla="*/ 455 h 1359"/>
                  <a:gd name="T70" fmla="*/ 3859 w 6930"/>
                  <a:gd name="T71" fmla="*/ 833 h 1359"/>
                  <a:gd name="T72" fmla="*/ 3941 w 6930"/>
                  <a:gd name="T73" fmla="*/ 490 h 1359"/>
                  <a:gd name="T74" fmla="*/ 3232 w 6930"/>
                  <a:gd name="T75" fmla="*/ 436 h 1359"/>
                  <a:gd name="T76" fmla="*/ 3232 w 6930"/>
                  <a:gd name="T77" fmla="*/ 471 h 1359"/>
                  <a:gd name="T78" fmla="*/ 3946 w 6930"/>
                  <a:gd name="T79" fmla="*/ 391 h 1359"/>
                  <a:gd name="T80" fmla="*/ 3946 w 6930"/>
                  <a:gd name="T81" fmla="*/ 450 h 1359"/>
                  <a:gd name="T82" fmla="*/ 3946 w 6930"/>
                  <a:gd name="T83" fmla="*/ 391 h 1359"/>
                  <a:gd name="T84" fmla="*/ 1712 w 6930"/>
                  <a:gd name="T85" fmla="*/ 1037 h 1359"/>
                  <a:gd name="T86" fmla="*/ 3956 w 6930"/>
                  <a:gd name="T87" fmla="*/ 329 h 1359"/>
                  <a:gd name="T88" fmla="*/ 3956 w 6930"/>
                  <a:gd name="T89" fmla="*/ 384 h 1359"/>
                  <a:gd name="T90" fmla="*/ 3956 w 6930"/>
                  <a:gd name="T91" fmla="*/ 329 h 1359"/>
                  <a:gd name="T92" fmla="*/ 4552 w 6930"/>
                  <a:gd name="T93" fmla="*/ 433 h 1359"/>
                  <a:gd name="T94" fmla="*/ 4757 w 6930"/>
                  <a:gd name="T95" fmla="*/ 0 h 1359"/>
                  <a:gd name="T96" fmla="*/ 4757 w 6930"/>
                  <a:gd name="T97" fmla="*/ 125 h 1359"/>
                  <a:gd name="T98" fmla="*/ 4757 w 6930"/>
                  <a:gd name="T99" fmla="*/ 0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59">
                    <a:moveTo>
                      <a:pt x="5736" y="1210"/>
                    </a:moveTo>
                    <a:lnTo>
                      <a:pt x="5734" y="1210"/>
                    </a:lnTo>
                    <a:lnTo>
                      <a:pt x="5734" y="1231"/>
                    </a:lnTo>
                    <a:lnTo>
                      <a:pt x="5736" y="1231"/>
                    </a:lnTo>
                    <a:lnTo>
                      <a:pt x="5736" y="1210"/>
                    </a:lnTo>
                    <a:moveTo>
                      <a:pt x="5760" y="1129"/>
                    </a:moveTo>
                    <a:lnTo>
                      <a:pt x="5760" y="1129"/>
                    </a:lnTo>
                    <a:lnTo>
                      <a:pt x="5760" y="1186"/>
                    </a:lnTo>
                    <a:lnTo>
                      <a:pt x="5760" y="1186"/>
                    </a:lnTo>
                    <a:lnTo>
                      <a:pt x="5760" y="1184"/>
                    </a:lnTo>
                    <a:lnTo>
                      <a:pt x="5760" y="1184"/>
                    </a:lnTo>
                    <a:lnTo>
                      <a:pt x="5760" y="1129"/>
                    </a:lnTo>
                    <a:moveTo>
                      <a:pt x="2764" y="1063"/>
                    </a:moveTo>
                    <a:lnTo>
                      <a:pt x="2764" y="1063"/>
                    </a:lnTo>
                    <a:lnTo>
                      <a:pt x="2764" y="1146"/>
                    </a:lnTo>
                    <a:lnTo>
                      <a:pt x="2764" y="1146"/>
                    </a:lnTo>
                    <a:lnTo>
                      <a:pt x="2764" y="1063"/>
                    </a:lnTo>
                    <a:moveTo>
                      <a:pt x="5835" y="1042"/>
                    </a:moveTo>
                    <a:lnTo>
                      <a:pt x="5833" y="1042"/>
                    </a:lnTo>
                    <a:lnTo>
                      <a:pt x="5833" y="1054"/>
                    </a:lnTo>
                    <a:lnTo>
                      <a:pt x="5835" y="1054"/>
                    </a:lnTo>
                    <a:lnTo>
                      <a:pt x="5835" y="1054"/>
                    </a:lnTo>
                    <a:lnTo>
                      <a:pt x="5835" y="1054"/>
                    </a:lnTo>
                    <a:lnTo>
                      <a:pt x="5835" y="1042"/>
                    </a:lnTo>
                    <a:moveTo>
                      <a:pt x="2783" y="1013"/>
                    </a:moveTo>
                    <a:lnTo>
                      <a:pt x="2781" y="1013"/>
                    </a:lnTo>
                    <a:lnTo>
                      <a:pt x="2781" y="1046"/>
                    </a:lnTo>
                    <a:lnTo>
                      <a:pt x="2781" y="1046"/>
                    </a:lnTo>
                    <a:lnTo>
                      <a:pt x="2781" y="1044"/>
                    </a:lnTo>
                    <a:lnTo>
                      <a:pt x="2783" y="1044"/>
                    </a:lnTo>
                    <a:lnTo>
                      <a:pt x="2783" y="1013"/>
                    </a:lnTo>
                    <a:moveTo>
                      <a:pt x="3674" y="994"/>
                    </a:moveTo>
                    <a:lnTo>
                      <a:pt x="3674" y="994"/>
                    </a:lnTo>
                    <a:lnTo>
                      <a:pt x="3674" y="1162"/>
                    </a:lnTo>
                    <a:lnTo>
                      <a:pt x="3674" y="1162"/>
                    </a:lnTo>
                    <a:lnTo>
                      <a:pt x="3674" y="1162"/>
                    </a:lnTo>
                    <a:lnTo>
                      <a:pt x="3674" y="1162"/>
                    </a:lnTo>
                    <a:lnTo>
                      <a:pt x="3674" y="994"/>
                    </a:lnTo>
                    <a:moveTo>
                      <a:pt x="5854" y="990"/>
                    </a:moveTo>
                    <a:lnTo>
                      <a:pt x="5852" y="990"/>
                    </a:lnTo>
                    <a:lnTo>
                      <a:pt x="5852" y="1025"/>
                    </a:lnTo>
                    <a:lnTo>
                      <a:pt x="5852" y="1025"/>
                    </a:lnTo>
                    <a:lnTo>
                      <a:pt x="5852" y="1023"/>
                    </a:lnTo>
                    <a:lnTo>
                      <a:pt x="5854" y="1023"/>
                    </a:lnTo>
                    <a:lnTo>
                      <a:pt x="5854" y="990"/>
                    </a:lnTo>
                    <a:moveTo>
                      <a:pt x="6245" y="938"/>
                    </a:moveTo>
                    <a:lnTo>
                      <a:pt x="6242" y="938"/>
                    </a:lnTo>
                    <a:lnTo>
                      <a:pt x="6242" y="1113"/>
                    </a:lnTo>
                    <a:lnTo>
                      <a:pt x="6245" y="1113"/>
                    </a:lnTo>
                    <a:lnTo>
                      <a:pt x="6245" y="1110"/>
                    </a:lnTo>
                    <a:lnTo>
                      <a:pt x="6245" y="1110"/>
                    </a:lnTo>
                    <a:lnTo>
                      <a:pt x="6245" y="938"/>
                    </a:lnTo>
                    <a:moveTo>
                      <a:pt x="6294" y="878"/>
                    </a:moveTo>
                    <a:lnTo>
                      <a:pt x="6292" y="878"/>
                    </a:lnTo>
                    <a:lnTo>
                      <a:pt x="6292" y="888"/>
                    </a:lnTo>
                    <a:lnTo>
                      <a:pt x="6292" y="888"/>
                    </a:lnTo>
                    <a:lnTo>
                      <a:pt x="6292" y="885"/>
                    </a:lnTo>
                    <a:lnTo>
                      <a:pt x="6294" y="885"/>
                    </a:lnTo>
                    <a:lnTo>
                      <a:pt x="6294" y="878"/>
                    </a:lnTo>
                    <a:moveTo>
                      <a:pt x="6301" y="850"/>
                    </a:moveTo>
                    <a:lnTo>
                      <a:pt x="6301" y="850"/>
                    </a:lnTo>
                    <a:lnTo>
                      <a:pt x="6301" y="871"/>
                    </a:lnTo>
                    <a:lnTo>
                      <a:pt x="6301" y="871"/>
                    </a:lnTo>
                    <a:lnTo>
                      <a:pt x="6301" y="869"/>
                    </a:lnTo>
                    <a:lnTo>
                      <a:pt x="6301" y="869"/>
                    </a:lnTo>
                    <a:lnTo>
                      <a:pt x="6301" y="850"/>
                    </a:lnTo>
                    <a:moveTo>
                      <a:pt x="3005" y="762"/>
                    </a:moveTo>
                    <a:lnTo>
                      <a:pt x="3003" y="762"/>
                    </a:lnTo>
                    <a:lnTo>
                      <a:pt x="3003" y="885"/>
                    </a:lnTo>
                    <a:lnTo>
                      <a:pt x="3005" y="885"/>
                    </a:lnTo>
                    <a:lnTo>
                      <a:pt x="3005" y="762"/>
                    </a:lnTo>
                    <a:moveTo>
                      <a:pt x="5036" y="732"/>
                    </a:moveTo>
                    <a:lnTo>
                      <a:pt x="5034" y="732"/>
                    </a:lnTo>
                    <a:lnTo>
                      <a:pt x="5034" y="878"/>
                    </a:lnTo>
                    <a:lnTo>
                      <a:pt x="5036" y="878"/>
                    </a:lnTo>
                    <a:lnTo>
                      <a:pt x="5036" y="732"/>
                    </a:lnTo>
                    <a:moveTo>
                      <a:pt x="3043" y="658"/>
                    </a:moveTo>
                    <a:lnTo>
                      <a:pt x="3041" y="658"/>
                    </a:lnTo>
                    <a:lnTo>
                      <a:pt x="3041" y="727"/>
                    </a:lnTo>
                    <a:lnTo>
                      <a:pt x="3043" y="727"/>
                    </a:lnTo>
                    <a:lnTo>
                      <a:pt x="3043" y="724"/>
                    </a:lnTo>
                    <a:lnTo>
                      <a:pt x="3043" y="724"/>
                    </a:lnTo>
                    <a:lnTo>
                      <a:pt x="3043" y="658"/>
                    </a:lnTo>
                    <a:moveTo>
                      <a:pt x="2" y="618"/>
                    </a:moveTo>
                    <a:lnTo>
                      <a:pt x="0" y="618"/>
                    </a:lnTo>
                    <a:lnTo>
                      <a:pt x="0" y="1359"/>
                    </a:lnTo>
                    <a:lnTo>
                      <a:pt x="2" y="1359"/>
                    </a:lnTo>
                    <a:lnTo>
                      <a:pt x="2" y="618"/>
                    </a:lnTo>
                    <a:moveTo>
                      <a:pt x="5157" y="611"/>
                    </a:moveTo>
                    <a:lnTo>
                      <a:pt x="5157" y="611"/>
                    </a:lnTo>
                    <a:lnTo>
                      <a:pt x="5157" y="637"/>
                    </a:lnTo>
                    <a:lnTo>
                      <a:pt x="5157" y="637"/>
                    </a:lnTo>
                    <a:lnTo>
                      <a:pt x="5157" y="611"/>
                    </a:lnTo>
                    <a:moveTo>
                      <a:pt x="6930" y="509"/>
                    </a:moveTo>
                    <a:lnTo>
                      <a:pt x="6928" y="509"/>
                    </a:lnTo>
                    <a:lnTo>
                      <a:pt x="6928" y="999"/>
                    </a:lnTo>
                    <a:lnTo>
                      <a:pt x="6930" y="999"/>
                    </a:lnTo>
                    <a:lnTo>
                      <a:pt x="6930" y="509"/>
                    </a:lnTo>
                    <a:moveTo>
                      <a:pt x="3204" y="502"/>
                    </a:moveTo>
                    <a:lnTo>
                      <a:pt x="3204" y="502"/>
                    </a:lnTo>
                    <a:lnTo>
                      <a:pt x="3204" y="563"/>
                    </a:lnTo>
                    <a:lnTo>
                      <a:pt x="3204" y="563"/>
                    </a:lnTo>
                    <a:lnTo>
                      <a:pt x="3204" y="502"/>
                    </a:lnTo>
                    <a:moveTo>
                      <a:pt x="3941" y="455"/>
                    </a:moveTo>
                    <a:lnTo>
                      <a:pt x="3939" y="455"/>
                    </a:lnTo>
                    <a:lnTo>
                      <a:pt x="3939" y="492"/>
                    </a:lnTo>
                    <a:lnTo>
                      <a:pt x="3859" y="644"/>
                    </a:lnTo>
                    <a:lnTo>
                      <a:pt x="3859" y="833"/>
                    </a:lnTo>
                    <a:lnTo>
                      <a:pt x="3859" y="833"/>
                    </a:lnTo>
                    <a:lnTo>
                      <a:pt x="3859" y="642"/>
                    </a:lnTo>
                    <a:lnTo>
                      <a:pt x="3941" y="490"/>
                    </a:lnTo>
                    <a:lnTo>
                      <a:pt x="3941" y="455"/>
                    </a:lnTo>
                    <a:moveTo>
                      <a:pt x="3234" y="436"/>
                    </a:moveTo>
                    <a:lnTo>
                      <a:pt x="3232" y="436"/>
                    </a:lnTo>
                    <a:lnTo>
                      <a:pt x="3232" y="474"/>
                    </a:lnTo>
                    <a:lnTo>
                      <a:pt x="3232" y="474"/>
                    </a:lnTo>
                    <a:lnTo>
                      <a:pt x="3232" y="471"/>
                    </a:lnTo>
                    <a:lnTo>
                      <a:pt x="3234" y="471"/>
                    </a:lnTo>
                    <a:lnTo>
                      <a:pt x="3234" y="436"/>
                    </a:lnTo>
                    <a:moveTo>
                      <a:pt x="3946" y="391"/>
                    </a:moveTo>
                    <a:lnTo>
                      <a:pt x="3946" y="391"/>
                    </a:lnTo>
                    <a:lnTo>
                      <a:pt x="3946" y="450"/>
                    </a:lnTo>
                    <a:lnTo>
                      <a:pt x="3946" y="450"/>
                    </a:lnTo>
                    <a:lnTo>
                      <a:pt x="3946" y="447"/>
                    </a:lnTo>
                    <a:lnTo>
                      <a:pt x="3946" y="447"/>
                    </a:lnTo>
                    <a:lnTo>
                      <a:pt x="3946" y="391"/>
                    </a:lnTo>
                    <a:moveTo>
                      <a:pt x="1714" y="369"/>
                    </a:moveTo>
                    <a:lnTo>
                      <a:pt x="1712" y="369"/>
                    </a:lnTo>
                    <a:lnTo>
                      <a:pt x="1712" y="1037"/>
                    </a:lnTo>
                    <a:lnTo>
                      <a:pt x="1714" y="1037"/>
                    </a:lnTo>
                    <a:lnTo>
                      <a:pt x="1714" y="369"/>
                    </a:lnTo>
                    <a:moveTo>
                      <a:pt x="3956" y="329"/>
                    </a:moveTo>
                    <a:lnTo>
                      <a:pt x="3953" y="329"/>
                    </a:lnTo>
                    <a:lnTo>
                      <a:pt x="3953" y="384"/>
                    </a:lnTo>
                    <a:lnTo>
                      <a:pt x="3956" y="384"/>
                    </a:lnTo>
                    <a:lnTo>
                      <a:pt x="3956" y="381"/>
                    </a:lnTo>
                    <a:lnTo>
                      <a:pt x="3956" y="381"/>
                    </a:lnTo>
                    <a:lnTo>
                      <a:pt x="3956" y="329"/>
                    </a:lnTo>
                    <a:moveTo>
                      <a:pt x="4608" y="232"/>
                    </a:moveTo>
                    <a:lnTo>
                      <a:pt x="4606" y="232"/>
                    </a:lnTo>
                    <a:lnTo>
                      <a:pt x="4552" y="433"/>
                    </a:lnTo>
                    <a:lnTo>
                      <a:pt x="4554" y="431"/>
                    </a:lnTo>
                    <a:lnTo>
                      <a:pt x="4608" y="232"/>
                    </a:lnTo>
                    <a:moveTo>
                      <a:pt x="4757" y="0"/>
                    </a:moveTo>
                    <a:lnTo>
                      <a:pt x="4755" y="0"/>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2" name="Freeform 44"/>
              <p:cNvSpPr>
                <a:spLocks noEditPoints="1"/>
              </p:cNvSpPr>
              <p:nvPr/>
            </p:nvSpPr>
            <p:spPr bwMode="auto">
              <a:xfrm>
                <a:off x="49" y="1755"/>
                <a:ext cx="6931" cy="1359"/>
              </a:xfrm>
              <a:custGeom>
                <a:avLst/>
                <a:gdLst>
                  <a:gd name="T0" fmla="*/ 3613 w 6931"/>
                  <a:gd name="T1" fmla="*/ 1222 h 1359"/>
                  <a:gd name="T2" fmla="*/ 5736 w 6931"/>
                  <a:gd name="T3" fmla="*/ 1207 h 1359"/>
                  <a:gd name="T4" fmla="*/ 5734 w 6931"/>
                  <a:gd name="T5" fmla="*/ 1231 h 1359"/>
                  <a:gd name="T6" fmla="*/ 5760 w 6931"/>
                  <a:gd name="T7" fmla="*/ 1127 h 1359"/>
                  <a:gd name="T8" fmla="*/ 5758 w 6931"/>
                  <a:gd name="T9" fmla="*/ 1184 h 1359"/>
                  <a:gd name="T10" fmla="*/ 5760 w 6931"/>
                  <a:gd name="T11" fmla="*/ 1181 h 1359"/>
                  <a:gd name="T12" fmla="*/ 2762 w 6931"/>
                  <a:gd name="T13" fmla="*/ 1061 h 1359"/>
                  <a:gd name="T14" fmla="*/ 2764 w 6931"/>
                  <a:gd name="T15" fmla="*/ 1146 h 1359"/>
                  <a:gd name="T16" fmla="*/ 5833 w 6931"/>
                  <a:gd name="T17" fmla="*/ 1039 h 1359"/>
                  <a:gd name="T18" fmla="*/ 5836 w 6931"/>
                  <a:gd name="T19" fmla="*/ 1054 h 1359"/>
                  <a:gd name="T20" fmla="*/ 5836 w 6931"/>
                  <a:gd name="T21" fmla="*/ 1039 h 1359"/>
                  <a:gd name="T22" fmla="*/ 2781 w 6931"/>
                  <a:gd name="T23" fmla="*/ 1013 h 1359"/>
                  <a:gd name="T24" fmla="*/ 2781 w 6931"/>
                  <a:gd name="T25" fmla="*/ 1042 h 1359"/>
                  <a:gd name="T26" fmla="*/ 3675 w 6931"/>
                  <a:gd name="T27" fmla="*/ 992 h 1359"/>
                  <a:gd name="T28" fmla="*/ 3672 w 6931"/>
                  <a:gd name="T29" fmla="*/ 1162 h 1359"/>
                  <a:gd name="T30" fmla="*/ 3675 w 6931"/>
                  <a:gd name="T31" fmla="*/ 1160 h 1359"/>
                  <a:gd name="T32" fmla="*/ 5852 w 6931"/>
                  <a:gd name="T33" fmla="*/ 990 h 1359"/>
                  <a:gd name="T34" fmla="*/ 5852 w 6931"/>
                  <a:gd name="T35" fmla="*/ 1023 h 1359"/>
                  <a:gd name="T36" fmla="*/ 5855 w 6931"/>
                  <a:gd name="T37" fmla="*/ 990 h 1359"/>
                  <a:gd name="T38" fmla="*/ 6243 w 6931"/>
                  <a:gd name="T39" fmla="*/ 938 h 1359"/>
                  <a:gd name="T40" fmla="*/ 6245 w 6931"/>
                  <a:gd name="T41" fmla="*/ 1108 h 1359"/>
                  <a:gd name="T42" fmla="*/ 6295 w 6931"/>
                  <a:gd name="T43" fmla="*/ 878 h 1359"/>
                  <a:gd name="T44" fmla="*/ 6292 w 6931"/>
                  <a:gd name="T45" fmla="*/ 885 h 1359"/>
                  <a:gd name="T46" fmla="*/ 6295 w 6931"/>
                  <a:gd name="T47" fmla="*/ 885 h 1359"/>
                  <a:gd name="T48" fmla="*/ 6299 w 6931"/>
                  <a:gd name="T49" fmla="*/ 850 h 1359"/>
                  <a:gd name="T50" fmla="*/ 6302 w 6931"/>
                  <a:gd name="T51" fmla="*/ 869 h 1359"/>
                  <a:gd name="T52" fmla="*/ 6302 w 6931"/>
                  <a:gd name="T53" fmla="*/ 850 h 1359"/>
                  <a:gd name="T54" fmla="*/ 3003 w 6931"/>
                  <a:gd name="T55" fmla="*/ 762 h 1359"/>
                  <a:gd name="T56" fmla="*/ 3005 w 6931"/>
                  <a:gd name="T57" fmla="*/ 762 h 1359"/>
                  <a:gd name="T58" fmla="*/ 5034 w 6931"/>
                  <a:gd name="T59" fmla="*/ 732 h 1359"/>
                  <a:gd name="T60" fmla="*/ 5037 w 6931"/>
                  <a:gd name="T61" fmla="*/ 732 h 1359"/>
                  <a:gd name="T62" fmla="*/ 3041 w 6931"/>
                  <a:gd name="T63" fmla="*/ 658 h 1359"/>
                  <a:gd name="T64" fmla="*/ 3041 w 6931"/>
                  <a:gd name="T65" fmla="*/ 722 h 1359"/>
                  <a:gd name="T66" fmla="*/ 0 w 6931"/>
                  <a:gd name="T67" fmla="*/ 616 h 1359"/>
                  <a:gd name="T68" fmla="*/ 0 w 6931"/>
                  <a:gd name="T69" fmla="*/ 1359 h 1359"/>
                  <a:gd name="T70" fmla="*/ 5157 w 6931"/>
                  <a:gd name="T71" fmla="*/ 608 h 1359"/>
                  <a:gd name="T72" fmla="*/ 5155 w 6931"/>
                  <a:gd name="T73" fmla="*/ 637 h 1359"/>
                  <a:gd name="T74" fmla="*/ 6931 w 6931"/>
                  <a:gd name="T75" fmla="*/ 507 h 1359"/>
                  <a:gd name="T76" fmla="*/ 6928 w 6931"/>
                  <a:gd name="T77" fmla="*/ 999 h 1359"/>
                  <a:gd name="T78" fmla="*/ 3204 w 6931"/>
                  <a:gd name="T79" fmla="*/ 500 h 1359"/>
                  <a:gd name="T80" fmla="*/ 3202 w 6931"/>
                  <a:gd name="T81" fmla="*/ 563 h 1359"/>
                  <a:gd name="T82" fmla="*/ 3204 w 6931"/>
                  <a:gd name="T83" fmla="*/ 561 h 1359"/>
                  <a:gd name="T84" fmla="*/ 3939 w 6931"/>
                  <a:gd name="T85" fmla="*/ 452 h 1359"/>
                  <a:gd name="T86" fmla="*/ 3857 w 6931"/>
                  <a:gd name="T87" fmla="*/ 642 h 1359"/>
                  <a:gd name="T88" fmla="*/ 3859 w 6931"/>
                  <a:gd name="T89" fmla="*/ 639 h 1359"/>
                  <a:gd name="T90" fmla="*/ 3232 w 6931"/>
                  <a:gd name="T91" fmla="*/ 433 h 1359"/>
                  <a:gd name="T92" fmla="*/ 3232 w 6931"/>
                  <a:gd name="T93" fmla="*/ 471 h 1359"/>
                  <a:gd name="T94" fmla="*/ 3232 w 6931"/>
                  <a:gd name="T95" fmla="*/ 471 h 1359"/>
                  <a:gd name="T96" fmla="*/ 3944 w 6931"/>
                  <a:gd name="T97" fmla="*/ 391 h 1359"/>
                  <a:gd name="T98" fmla="*/ 3947 w 6931"/>
                  <a:gd name="T99" fmla="*/ 447 h 1359"/>
                  <a:gd name="T100" fmla="*/ 3947 w 6931"/>
                  <a:gd name="T101" fmla="*/ 391 h 1359"/>
                  <a:gd name="T102" fmla="*/ 1712 w 6931"/>
                  <a:gd name="T103" fmla="*/ 369 h 1359"/>
                  <a:gd name="T104" fmla="*/ 1714 w 6931"/>
                  <a:gd name="T105" fmla="*/ 367 h 1359"/>
                  <a:gd name="T106" fmla="*/ 3954 w 6931"/>
                  <a:gd name="T107" fmla="*/ 329 h 1359"/>
                  <a:gd name="T108" fmla="*/ 3954 w 6931"/>
                  <a:gd name="T109" fmla="*/ 381 h 1359"/>
                  <a:gd name="T110" fmla="*/ 4609 w 6931"/>
                  <a:gd name="T111" fmla="*/ 230 h 1359"/>
                  <a:gd name="T112" fmla="*/ 4552 w 6931"/>
                  <a:gd name="T113" fmla="*/ 431 h 1359"/>
                  <a:gd name="T114" fmla="*/ 4758 w 6931"/>
                  <a:gd name="T115" fmla="*/ 0 h 1359"/>
                  <a:gd name="T116" fmla="*/ 4755 w 6931"/>
                  <a:gd name="T117" fmla="*/ 123 h 1359"/>
                  <a:gd name="T118" fmla="*/ 4758 w 6931"/>
                  <a:gd name="T119" fmla="*/ 121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1" h="1359">
                    <a:moveTo>
                      <a:pt x="3616" y="1222"/>
                    </a:moveTo>
                    <a:lnTo>
                      <a:pt x="3613" y="1222"/>
                    </a:lnTo>
                    <a:lnTo>
                      <a:pt x="3613" y="1222"/>
                    </a:lnTo>
                    <a:lnTo>
                      <a:pt x="3616" y="1222"/>
                    </a:lnTo>
                    <a:lnTo>
                      <a:pt x="3616" y="1222"/>
                    </a:lnTo>
                    <a:close/>
                    <a:moveTo>
                      <a:pt x="5736" y="1207"/>
                    </a:moveTo>
                    <a:lnTo>
                      <a:pt x="5734" y="1207"/>
                    </a:lnTo>
                    <a:lnTo>
                      <a:pt x="5734" y="1210"/>
                    </a:lnTo>
                    <a:lnTo>
                      <a:pt x="5734" y="1231"/>
                    </a:lnTo>
                    <a:lnTo>
                      <a:pt x="5736" y="1231"/>
                    </a:lnTo>
                    <a:lnTo>
                      <a:pt x="5736" y="1207"/>
                    </a:lnTo>
                    <a:close/>
                    <a:moveTo>
                      <a:pt x="5760" y="1127"/>
                    </a:moveTo>
                    <a:lnTo>
                      <a:pt x="5758" y="1127"/>
                    </a:lnTo>
                    <a:lnTo>
                      <a:pt x="5758" y="1129"/>
                    </a:lnTo>
                    <a:lnTo>
                      <a:pt x="5758" y="1184"/>
                    </a:lnTo>
                    <a:lnTo>
                      <a:pt x="5760" y="1184"/>
                    </a:lnTo>
                    <a:lnTo>
                      <a:pt x="5760" y="1181"/>
                    </a:lnTo>
                    <a:lnTo>
                      <a:pt x="5760" y="1181"/>
                    </a:lnTo>
                    <a:lnTo>
                      <a:pt x="5760" y="1127"/>
                    </a:lnTo>
                    <a:close/>
                    <a:moveTo>
                      <a:pt x="2764" y="1061"/>
                    </a:moveTo>
                    <a:lnTo>
                      <a:pt x="2762" y="1061"/>
                    </a:lnTo>
                    <a:lnTo>
                      <a:pt x="2762" y="1063"/>
                    </a:lnTo>
                    <a:lnTo>
                      <a:pt x="2762" y="1146"/>
                    </a:lnTo>
                    <a:lnTo>
                      <a:pt x="2764" y="1146"/>
                    </a:lnTo>
                    <a:lnTo>
                      <a:pt x="2764" y="1061"/>
                    </a:lnTo>
                    <a:close/>
                    <a:moveTo>
                      <a:pt x="5836" y="1039"/>
                    </a:moveTo>
                    <a:lnTo>
                      <a:pt x="5833" y="1039"/>
                    </a:lnTo>
                    <a:lnTo>
                      <a:pt x="5833" y="1042"/>
                    </a:lnTo>
                    <a:lnTo>
                      <a:pt x="5833" y="1054"/>
                    </a:lnTo>
                    <a:lnTo>
                      <a:pt x="5836" y="1054"/>
                    </a:lnTo>
                    <a:lnTo>
                      <a:pt x="5836" y="1051"/>
                    </a:lnTo>
                    <a:lnTo>
                      <a:pt x="5836" y="1051"/>
                    </a:lnTo>
                    <a:lnTo>
                      <a:pt x="5836" y="1039"/>
                    </a:lnTo>
                    <a:close/>
                    <a:moveTo>
                      <a:pt x="2783" y="1011"/>
                    </a:moveTo>
                    <a:lnTo>
                      <a:pt x="2781" y="1011"/>
                    </a:lnTo>
                    <a:lnTo>
                      <a:pt x="2781" y="1013"/>
                    </a:lnTo>
                    <a:lnTo>
                      <a:pt x="2781" y="1044"/>
                    </a:lnTo>
                    <a:lnTo>
                      <a:pt x="2781" y="1044"/>
                    </a:lnTo>
                    <a:lnTo>
                      <a:pt x="2781" y="1042"/>
                    </a:lnTo>
                    <a:lnTo>
                      <a:pt x="2783" y="1042"/>
                    </a:lnTo>
                    <a:lnTo>
                      <a:pt x="2783" y="1011"/>
                    </a:lnTo>
                    <a:close/>
                    <a:moveTo>
                      <a:pt x="3675" y="992"/>
                    </a:moveTo>
                    <a:lnTo>
                      <a:pt x="3672" y="992"/>
                    </a:lnTo>
                    <a:lnTo>
                      <a:pt x="3672" y="994"/>
                    </a:lnTo>
                    <a:lnTo>
                      <a:pt x="3672" y="1162"/>
                    </a:lnTo>
                    <a:lnTo>
                      <a:pt x="3675" y="1162"/>
                    </a:lnTo>
                    <a:lnTo>
                      <a:pt x="3675" y="1160"/>
                    </a:lnTo>
                    <a:lnTo>
                      <a:pt x="3675" y="1160"/>
                    </a:lnTo>
                    <a:lnTo>
                      <a:pt x="3675" y="992"/>
                    </a:lnTo>
                    <a:close/>
                    <a:moveTo>
                      <a:pt x="5855" y="990"/>
                    </a:moveTo>
                    <a:lnTo>
                      <a:pt x="5852" y="990"/>
                    </a:lnTo>
                    <a:lnTo>
                      <a:pt x="5852" y="990"/>
                    </a:lnTo>
                    <a:lnTo>
                      <a:pt x="5852" y="1023"/>
                    </a:lnTo>
                    <a:lnTo>
                      <a:pt x="5852" y="1023"/>
                    </a:lnTo>
                    <a:lnTo>
                      <a:pt x="5852" y="1023"/>
                    </a:lnTo>
                    <a:lnTo>
                      <a:pt x="5855" y="1023"/>
                    </a:lnTo>
                    <a:lnTo>
                      <a:pt x="5855" y="990"/>
                    </a:lnTo>
                    <a:close/>
                    <a:moveTo>
                      <a:pt x="6245" y="935"/>
                    </a:moveTo>
                    <a:lnTo>
                      <a:pt x="6243" y="935"/>
                    </a:lnTo>
                    <a:lnTo>
                      <a:pt x="6243" y="938"/>
                    </a:lnTo>
                    <a:lnTo>
                      <a:pt x="6243" y="1110"/>
                    </a:lnTo>
                    <a:lnTo>
                      <a:pt x="6245" y="1110"/>
                    </a:lnTo>
                    <a:lnTo>
                      <a:pt x="6245" y="1108"/>
                    </a:lnTo>
                    <a:lnTo>
                      <a:pt x="6245" y="1108"/>
                    </a:lnTo>
                    <a:lnTo>
                      <a:pt x="6245" y="935"/>
                    </a:lnTo>
                    <a:close/>
                    <a:moveTo>
                      <a:pt x="6295" y="878"/>
                    </a:moveTo>
                    <a:lnTo>
                      <a:pt x="6292" y="878"/>
                    </a:lnTo>
                    <a:lnTo>
                      <a:pt x="6292" y="878"/>
                    </a:lnTo>
                    <a:lnTo>
                      <a:pt x="6292" y="885"/>
                    </a:lnTo>
                    <a:lnTo>
                      <a:pt x="6292" y="885"/>
                    </a:lnTo>
                    <a:lnTo>
                      <a:pt x="6292" y="885"/>
                    </a:lnTo>
                    <a:lnTo>
                      <a:pt x="6295" y="885"/>
                    </a:lnTo>
                    <a:lnTo>
                      <a:pt x="6295" y="878"/>
                    </a:lnTo>
                    <a:close/>
                    <a:moveTo>
                      <a:pt x="6302" y="850"/>
                    </a:moveTo>
                    <a:lnTo>
                      <a:pt x="6299" y="850"/>
                    </a:lnTo>
                    <a:lnTo>
                      <a:pt x="6299" y="850"/>
                    </a:lnTo>
                    <a:lnTo>
                      <a:pt x="6299" y="869"/>
                    </a:lnTo>
                    <a:lnTo>
                      <a:pt x="6302" y="869"/>
                    </a:lnTo>
                    <a:lnTo>
                      <a:pt x="6302" y="869"/>
                    </a:lnTo>
                    <a:lnTo>
                      <a:pt x="6302" y="869"/>
                    </a:lnTo>
                    <a:lnTo>
                      <a:pt x="6302" y="850"/>
                    </a:lnTo>
                    <a:close/>
                    <a:moveTo>
                      <a:pt x="3005" y="762"/>
                    </a:moveTo>
                    <a:lnTo>
                      <a:pt x="3003" y="762"/>
                    </a:lnTo>
                    <a:lnTo>
                      <a:pt x="3003" y="762"/>
                    </a:lnTo>
                    <a:lnTo>
                      <a:pt x="3003" y="885"/>
                    </a:lnTo>
                    <a:lnTo>
                      <a:pt x="3005" y="885"/>
                    </a:lnTo>
                    <a:lnTo>
                      <a:pt x="3005" y="762"/>
                    </a:lnTo>
                    <a:close/>
                    <a:moveTo>
                      <a:pt x="5037" y="732"/>
                    </a:moveTo>
                    <a:lnTo>
                      <a:pt x="5034" y="732"/>
                    </a:lnTo>
                    <a:lnTo>
                      <a:pt x="5034" y="732"/>
                    </a:lnTo>
                    <a:lnTo>
                      <a:pt x="5034" y="878"/>
                    </a:lnTo>
                    <a:lnTo>
                      <a:pt x="5037" y="878"/>
                    </a:lnTo>
                    <a:lnTo>
                      <a:pt x="5037" y="732"/>
                    </a:lnTo>
                    <a:close/>
                    <a:moveTo>
                      <a:pt x="3043" y="656"/>
                    </a:moveTo>
                    <a:lnTo>
                      <a:pt x="3041" y="656"/>
                    </a:lnTo>
                    <a:lnTo>
                      <a:pt x="3041" y="658"/>
                    </a:lnTo>
                    <a:lnTo>
                      <a:pt x="3041" y="724"/>
                    </a:lnTo>
                    <a:lnTo>
                      <a:pt x="3041" y="724"/>
                    </a:lnTo>
                    <a:lnTo>
                      <a:pt x="3041" y="722"/>
                    </a:lnTo>
                    <a:lnTo>
                      <a:pt x="3043" y="722"/>
                    </a:lnTo>
                    <a:lnTo>
                      <a:pt x="3043" y="656"/>
                    </a:lnTo>
                    <a:close/>
                    <a:moveTo>
                      <a:pt x="0" y="616"/>
                    </a:moveTo>
                    <a:lnTo>
                      <a:pt x="0" y="616"/>
                    </a:lnTo>
                    <a:lnTo>
                      <a:pt x="0" y="618"/>
                    </a:lnTo>
                    <a:lnTo>
                      <a:pt x="0" y="1359"/>
                    </a:lnTo>
                    <a:lnTo>
                      <a:pt x="0" y="1359"/>
                    </a:lnTo>
                    <a:lnTo>
                      <a:pt x="0" y="616"/>
                    </a:lnTo>
                    <a:close/>
                    <a:moveTo>
                      <a:pt x="5157" y="608"/>
                    </a:moveTo>
                    <a:lnTo>
                      <a:pt x="5155" y="608"/>
                    </a:lnTo>
                    <a:lnTo>
                      <a:pt x="5155" y="611"/>
                    </a:lnTo>
                    <a:lnTo>
                      <a:pt x="5155" y="637"/>
                    </a:lnTo>
                    <a:lnTo>
                      <a:pt x="5157" y="637"/>
                    </a:lnTo>
                    <a:lnTo>
                      <a:pt x="5157" y="608"/>
                    </a:lnTo>
                    <a:close/>
                    <a:moveTo>
                      <a:pt x="6931" y="507"/>
                    </a:moveTo>
                    <a:lnTo>
                      <a:pt x="6928" y="507"/>
                    </a:lnTo>
                    <a:lnTo>
                      <a:pt x="6928" y="509"/>
                    </a:lnTo>
                    <a:lnTo>
                      <a:pt x="6928" y="999"/>
                    </a:lnTo>
                    <a:lnTo>
                      <a:pt x="6931" y="999"/>
                    </a:lnTo>
                    <a:lnTo>
                      <a:pt x="6931" y="507"/>
                    </a:lnTo>
                    <a:close/>
                    <a:moveTo>
                      <a:pt x="3204" y="500"/>
                    </a:moveTo>
                    <a:lnTo>
                      <a:pt x="3202" y="500"/>
                    </a:lnTo>
                    <a:lnTo>
                      <a:pt x="3202" y="502"/>
                    </a:lnTo>
                    <a:lnTo>
                      <a:pt x="3202" y="563"/>
                    </a:lnTo>
                    <a:lnTo>
                      <a:pt x="3204" y="563"/>
                    </a:lnTo>
                    <a:lnTo>
                      <a:pt x="3204" y="561"/>
                    </a:lnTo>
                    <a:lnTo>
                      <a:pt x="3204" y="561"/>
                    </a:lnTo>
                    <a:lnTo>
                      <a:pt x="3204" y="500"/>
                    </a:lnTo>
                    <a:close/>
                    <a:moveTo>
                      <a:pt x="3942" y="452"/>
                    </a:moveTo>
                    <a:lnTo>
                      <a:pt x="3939" y="452"/>
                    </a:lnTo>
                    <a:lnTo>
                      <a:pt x="3939" y="455"/>
                    </a:lnTo>
                    <a:lnTo>
                      <a:pt x="3939" y="490"/>
                    </a:lnTo>
                    <a:lnTo>
                      <a:pt x="3857" y="642"/>
                    </a:lnTo>
                    <a:lnTo>
                      <a:pt x="3857" y="833"/>
                    </a:lnTo>
                    <a:lnTo>
                      <a:pt x="3859" y="833"/>
                    </a:lnTo>
                    <a:lnTo>
                      <a:pt x="3859" y="639"/>
                    </a:lnTo>
                    <a:lnTo>
                      <a:pt x="3942" y="488"/>
                    </a:lnTo>
                    <a:lnTo>
                      <a:pt x="3942" y="452"/>
                    </a:lnTo>
                    <a:close/>
                    <a:moveTo>
                      <a:pt x="3232" y="433"/>
                    </a:moveTo>
                    <a:lnTo>
                      <a:pt x="3232" y="433"/>
                    </a:lnTo>
                    <a:lnTo>
                      <a:pt x="3232" y="436"/>
                    </a:lnTo>
                    <a:lnTo>
                      <a:pt x="3232" y="471"/>
                    </a:lnTo>
                    <a:lnTo>
                      <a:pt x="3232" y="471"/>
                    </a:lnTo>
                    <a:lnTo>
                      <a:pt x="3232" y="471"/>
                    </a:lnTo>
                    <a:lnTo>
                      <a:pt x="3232" y="471"/>
                    </a:lnTo>
                    <a:lnTo>
                      <a:pt x="3232" y="433"/>
                    </a:lnTo>
                    <a:close/>
                    <a:moveTo>
                      <a:pt x="3947" y="391"/>
                    </a:moveTo>
                    <a:lnTo>
                      <a:pt x="3944" y="391"/>
                    </a:lnTo>
                    <a:lnTo>
                      <a:pt x="3944" y="391"/>
                    </a:lnTo>
                    <a:lnTo>
                      <a:pt x="3944" y="447"/>
                    </a:lnTo>
                    <a:lnTo>
                      <a:pt x="3947" y="447"/>
                    </a:lnTo>
                    <a:lnTo>
                      <a:pt x="3947" y="445"/>
                    </a:lnTo>
                    <a:lnTo>
                      <a:pt x="3947" y="445"/>
                    </a:lnTo>
                    <a:lnTo>
                      <a:pt x="3947" y="391"/>
                    </a:lnTo>
                    <a:close/>
                    <a:moveTo>
                      <a:pt x="1714" y="367"/>
                    </a:moveTo>
                    <a:lnTo>
                      <a:pt x="1712" y="367"/>
                    </a:lnTo>
                    <a:lnTo>
                      <a:pt x="1712" y="369"/>
                    </a:lnTo>
                    <a:lnTo>
                      <a:pt x="1712" y="1037"/>
                    </a:lnTo>
                    <a:lnTo>
                      <a:pt x="1714" y="1037"/>
                    </a:lnTo>
                    <a:lnTo>
                      <a:pt x="1714" y="367"/>
                    </a:lnTo>
                    <a:close/>
                    <a:moveTo>
                      <a:pt x="3956" y="327"/>
                    </a:moveTo>
                    <a:lnTo>
                      <a:pt x="3954" y="327"/>
                    </a:lnTo>
                    <a:lnTo>
                      <a:pt x="3954" y="329"/>
                    </a:lnTo>
                    <a:lnTo>
                      <a:pt x="3954" y="381"/>
                    </a:lnTo>
                    <a:lnTo>
                      <a:pt x="3954" y="381"/>
                    </a:lnTo>
                    <a:lnTo>
                      <a:pt x="3954" y="381"/>
                    </a:lnTo>
                    <a:lnTo>
                      <a:pt x="3956" y="381"/>
                    </a:lnTo>
                    <a:lnTo>
                      <a:pt x="3956" y="327"/>
                    </a:lnTo>
                    <a:close/>
                    <a:moveTo>
                      <a:pt x="4609" y="230"/>
                    </a:moveTo>
                    <a:lnTo>
                      <a:pt x="4606" y="230"/>
                    </a:lnTo>
                    <a:lnTo>
                      <a:pt x="4606" y="232"/>
                    </a:lnTo>
                    <a:lnTo>
                      <a:pt x="4552" y="431"/>
                    </a:lnTo>
                    <a:lnTo>
                      <a:pt x="4554" y="431"/>
                    </a:lnTo>
                    <a:lnTo>
                      <a:pt x="4609" y="230"/>
                    </a:lnTo>
                    <a:close/>
                    <a:moveTo>
                      <a:pt x="4758" y="0"/>
                    </a:moveTo>
                    <a:lnTo>
                      <a:pt x="4755" y="0"/>
                    </a:lnTo>
                    <a:lnTo>
                      <a:pt x="4755" y="0"/>
                    </a:lnTo>
                    <a:lnTo>
                      <a:pt x="4755" y="123"/>
                    </a:lnTo>
                    <a:lnTo>
                      <a:pt x="4758" y="123"/>
                    </a:lnTo>
                    <a:lnTo>
                      <a:pt x="4758" y="121"/>
                    </a:lnTo>
                    <a:lnTo>
                      <a:pt x="4758" y="121"/>
                    </a:lnTo>
                    <a:lnTo>
                      <a:pt x="4758" y="0"/>
                    </a:ln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3" name="Freeform 45"/>
              <p:cNvSpPr>
                <a:spLocks noEditPoints="1"/>
              </p:cNvSpPr>
              <p:nvPr/>
            </p:nvSpPr>
            <p:spPr bwMode="auto">
              <a:xfrm>
                <a:off x="49" y="1755"/>
                <a:ext cx="6931" cy="1359"/>
              </a:xfrm>
              <a:custGeom>
                <a:avLst/>
                <a:gdLst>
                  <a:gd name="T0" fmla="*/ 3613 w 6931"/>
                  <a:gd name="T1" fmla="*/ 1222 h 1359"/>
                  <a:gd name="T2" fmla="*/ 5736 w 6931"/>
                  <a:gd name="T3" fmla="*/ 1207 h 1359"/>
                  <a:gd name="T4" fmla="*/ 5734 w 6931"/>
                  <a:gd name="T5" fmla="*/ 1231 h 1359"/>
                  <a:gd name="T6" fmla="*/ 5760 w 6931"/>
                  <a:gd name="T7" fmla="*/ 1127 h 1359"/>
                  <a:gd name="T8" fmla="*/ 5758 w 6931"/>
                  <a:gd name="T9" fmla="*/ 1184 h 1359"/>
                  <a:gd name="T10" fmla="*/ 5760 w 6931"/>
                  <a:gd name="T11" fmla="*/ 1181 h 1359"/>
                  <a:gd name="T12" fmla="*/ 2762 w 6931"/>
                  <a:gd name="T13" fmla="*/ 1061 h 1359"/>
                  <a:gd name="T14" fmla="*/ 2764 w 6931"/>
                  <a:gd name="T15" fmla="*/ 1146 h 1359"/>
                  <a:gd name="T16" fmla="*/ 5833 w 6931"/>
                  <a:gd name="T17" fmla="*/ 1039 h 1359"/>
                  <a:gd name="T18" fmla="*/ 5836 w 6931"/>
                  <a:gd name="T19" fmla="*/ 1054 h 1359"/>
                  <a:gd name="T20" fmla="*/ 5836 w 6931"/>
                  <a:gd name="T21" fmla="*/ 1039 h 1359"/>
                  <a:gd name="T22" fmla="*/ 2781 w 6931"/>
                  <a:gd name="T23" fmla="*/ 1013 h 1359"/>
                  <a:gd name="T24" fmla="*/ 2781 w 6931"/>
                  <a:gd name="T25" fmla="*/ 1042 h 1359"/>
                  <a:gd name="T26" fmla="*/ 3675 w 6931"/>
                  <a:gd name="T27" fmla="*/ 992 h 1359"/>
                  <a:gd name="T28" fmla="*/ 3672 w 6931"/>
                  <a:gd name="T29" fmla="*/ 1162 h 1359"/>
                  <a:gd name="T30" fmla="*/ 3675 w 6931"/>
                  <a:gd name="T31" fmla="*/ 1160 h 1359"/>
                  <a:gd name="T32" fmla="*/ 5852 w 6931"/>
                  <a:gd name="T33" fmla="*/ 990 h 1359"/>
                  <a:gd name="T34" fmla="*/ 5852 w 6931"/>
                  <a:gd name="T35" fmla="*/ 1023 h 1359"/>
                  <a:gd name="T36" fmla="*/ 5855 w 6931"/>
                  <a:gd name="T37" fmla="*/ 990 h 1359"/>
                  <a:gd name="T38" fmla="*/ 6243 w 6931"/>
                  <a:gd name="T39" fmla="*/ 938 h 1359"/>
                  <a:gd name="T40" fmla="*/ 6245 w 6931"/>
                  <a:gd name="T41" fmla="*/ 1108 h 1359"/>
                  <a:gd name="T42" fmla="*/ 6295 w 6931"/>
                  <a:gd name="T43" fmla="*/ 878 h 1359"/>
                  <a:gd name="T44" fmla="*/ 6292 w 6931"/>
                  <a:gd name="T45" fmla="*/ 885 h 1359"/>
                  <a:gd name="T46" fmla="*/ 6295 w 6931"/>
                  <a:gd name="T47" fmla="*/ 885 h 1359"/>
                  <a:gd name="T48" fmla="*/ 6299 w 6931"/>
                  <a:gd name="T49" fmla="*/ 850 h 1359"/>
                  <a:gd name="T50" fmla="*/ 6302 w 6931"/>
                  <a:gd name="T51" fmla="*/ 869 h 1359"/>
                  <a:gd name="T52" fmla="*/ 6302 w 6931"/>
                  <a:gd name="T53" fmla="*/ 850 h 1359"/>
                  <a:gd name="T54" fmla="*/ 3003 w 6931"/>
                  <a:gd name="T55" fmla="*/ 762 h 1359"/>
                  <a:gd name="T56" fmla="*/ 3005 w 6931"/>
                  <a:gd name="T57" fmla="*/ 762 h 1359"/>
                  <a:gd name="T58" fmla="*/ 5034 w 6931"/>
                  <a:gd name="T59" fmla="*/ 732 h 1359"/>
                  <a:gd name="T60" fmla="*/ 5037 w 6931"/>
                  <a:gd name="T61" fmla="*/ 732 h 1359"/>
                  <a:gd name="T62" fmla="*/ 3041 w 6931"/>
                  <a:gd name="T63" fmla="*/ 658 h 1359"/>
                  <a:gd name="T64" fmla="*/ 3041 w 6931"/>
                  <a:gd name="T65" fmla="*/ 722 h 1359"/>
                  <a:gd name="T66" fmla="*/ 0 w 6931"/>
                  <a:gd name="T67" fmla="*/ 616 h 1359"/>
                  <a:gd name="T68" fmla="*/ 0 w 6931"/>
                  <a:gd name="T69" fmla="*/ 1359 h 1359"/>
                  <a:gd name="T70" fmla="*/ 5157 w 6931"/>
                  <a:gd name="T71" fmla="*/ 608 h 1359"/>
                  <a:gd name="T72" fmla="*/ 5155 w 6931"/>
                  <a:gd name="T73" fmla="*/ 637 h 1359"/>
                  <a:gd name="T74" fmla="*/ 6931 w 6931"/>
                  <a:gd name="T75" fmla="*/ 507 h 1359"/>
                  <a:gd name="T76" fmla="*/ 6928 w 6931"/>
                  <a:gd name="T77" fmla="*/ 999 h 1359"/>
                  <a:gd name="T78" fmla="*/ 3204 w 6931"/>
                  <a:gd name="T79" fmla="*/ 500 h 1359"/>
                  <a:gd name="T80" fmla="*/ 3202 w 6931"/>
                  <a:gd name="T81" fmla="*/ 563 h 1359"/>
                  <a:gd name="T82" fmla="*/ 3204 w 6931"/>
                  <a:gd name="T83" fmla="*/ 561 h 1359"/>
                  <a:gd name="T84" fmla="*/ 3939 w 6931"/>
                  <a:gd name="T85" fmla="*/ 452 h 1359"/>
                  <a:gd name="T86" fmla="*/ 3857 w 6931"/>
                  <a:gd name="T87" fmla="*/ 642 h 1359"/>
                  <a:gd name="T88" fmla="*/ 3859 w 6931"/>
                  <a:gd name="T89" fmla="*/ 639 h 1359"/>
                  <a:gd name="T90" fmla="*/ 3232 w 6931"/>
                  <a:gd name="T91" fmla="*/ 433 h 1359"/>
                  <a:gd name="T92" fmla="*/ 3232 w 6931"/>
                  <a:gd name="T93" fmla="*/ 471 h 1359"/>
                  <a:gd name="T94" fmla="*/ 3232 w 6931"/>
                  <a:gd name="T95" fmla="*/ 471 h 1359"/>
                  <a:gd name="T96" fmla="*/ 3944 w 6931"/>
                  <a:gd name="T97" fmla="*/ 391 h 1359"/>
                  <a:gd name="T98" fmla="*/ 3947 w 6931"/>
                  <a:gd name="T99" fmla="*/ 447 h 1359"/>
                  <a:gd name="T100" fmla="*/ 3947 w 6931"/>
                  <a:gd name="T101" fmla="*/ 391 h 1359"/>
                  <a:gd name="T102" fmla="*/ 1712 w 6931"/>
                  <a:gd name="T103" fmla="*/ 369 h 1359"/>
                  <a:gd name="T104" fmla="*/ 1714 w 6931"/>
                  <a:gd name="T105" fmla="*/ 367 h 1359"/>
                  <a:gd name="T106" fmla="*/ 3954 w 6931"/>
                  <a:gd name="T107" fmla="*/ 329 h 1359"/>
                  <a:gd name="T108" fmla="*/ 3954 w 6931"/>
                  <a:gd name="T109" fmla="*/ 381 h 1359"/>
                  <a:gd name="T110" fmla="*/ 4609 w 6931"/>
                  <a:gd name="T111" fmla="*/ 230 h 1359"/>
                  <a:gd name="T112" fmla="*/ 4552 w 6931"/>
                  <a:gd name="T113" fmla="*/ 431 h 1359"/>
                  <a:gd name="T114" fmla="*/ 4758 w 6931"/>
                  <a:gd name="T115" fmla="*/ 0 h 1359"/>
                  <a:gd name="T116" fmla="*/ 4755 w 6931"/>
                  <a:gd name="T117" fmla="*/ 123 h 1359"/>
                  <a:gd name="T118" fmla="*/ 4758 w 6931"/>
                  <a:gd name="T119" fmla="*/ 121 h 1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1" h="1359">
                    <a:moveTo>
                      <a:pt x="3616" y="1222"/>
                    </a:moveTo>
                    <a:lnTo>
                      <a:pt x="3613" y="1222"/>
                    </a:lnTo>
                    <a:lnTo>
                      <a:pt x="3613" y="1222"/>
                    </a:lnTo>
                    <a:lnTo>
                      <a:pt x="3616" y="1222"/>
                    </a:lnTo>
                    <a:lnTo>
                      <a:pt x="3616" y="1222"/>
                    </a:lnTo>
                    <a:moveTo>
                      <a:pt x="5736" y="1207"/>
                    </a:moveTo>
                    <a:lnTo>
                      <a:pt x="5734" y="1207"/>
                    </a:lnTo>
                    <a:lnTo>
                      <a:pt x="5734" y="1210"/>
                    </a:lnTo>
                    <a:lnTo>
                      <a:pt x="5734" y="1231"/>
                    </a:lnTo>
                    <a:lnTo>
                      <a:pt x="5736" y="1231"/>
                    </a:lnTo>
                    <a:lnTo>
                      <a:pt x="5736" y="1207"/>
                    </a:lnTo>
                    <a:moveTo>
                      <a:pt x="5760" y="1127"/>
                    </a:moveTo>
                    <a:lnTo>
                      <a:pt x="5758" y="1127"/>
                    </a:lnTo>
                    <a:lnTo>
                      <a:pt x="5758" y="1129"/>
                    </a:lnTo>
                    <a:lnTo>
                      <a:pt x="5758" y="1184"/>
                    </a:lnTo>
                    <a:lnTo>
                      <a:pt x="5760" y="1184"/>
                    </a:lnTo>
                    <a:lnTo>
                      <a:pt x="5760" y="1181"/>
                    </a:lnTo>
                    <a:lnTo>
                      <a:pt x="5760" y="1181"/>
                    </a:lnTo>
                    <a:lnTo>
                      <a:pt x="5760" y="1127"/>
                    </a:lnTo>
                    <a:moveTo>
                      <a:pt x="2764" y="1061"/>
                    </a:moveTo>
                    <a:lnTo>
                      <a:pt x="2762" y="1061"/>
                    </a:lnTo>
                    <a:lnTo>
                      <a:pt x="2762" y="1063"/>
                    </a:lnTo>
                    <a:lnTo>
                      <a:pt x="2762" y="1146"/>
                    </a:lnTo>
                    <a:lnTo>
                      <a:pt x="2764" y="1146"/>
                    </a:lnTo>
                    <a:lnTo>
                      <a:pt x="2764" y="1061"/>
                    </a:lnTo>
                    <a:moveTo>
                      <a:pt x="5836" y="1039"/>
                    </a:moveTo>
                    <a:lnTo>
                      <a:pt x="5833" y="1039"/>
                    </a:lnTo>
                    <a:lnTo>
                      <a:pt x="5833" y="1042"/>
                    </a:lnTo>
                    <a:lnTo>
                      <a:pt x="5833" y="1054"/>
                    </a:lnTo>
                    <a:lnTo>
                      <a:pt x="5836" y="1054"/>
                    </a:lnTo>
                    <a:lnTo>
                      <a:pt x="5836" y="1051"/>
                    </a:lnTo>
                    <a:lnTo>
                      <a:pt x="5836" y="1051"/>
                    </a:lnTo>
                    <a:lnTo>
                      <a:pt x="5836" y="1039"/>
                    </a:lnTo>
                    <a:moveTo>
                      <a:pt x="2783" y="1011"/>
                    </a:moveTo>
                    <a:lnTo>
                      <a:pt x="2781" y="1011"/>
                    </a:lnTo>
                    <a:lnTo>
                      <a:pt x="2781" y="1013"/>
                    </a:lnTo>
                    <a:lnTo>
                      <a:pt x="2781" y="1044"/>
                    </a:lnTo>
                    <a:lnTo>
                      <a:pt x="2781" y="1044"/>
                    </a:lnTo>
                    <a:lnTo>
                      <a:pt x="2781" y="1042"/>
                    </a:lnTo>
                    <a:lnTo>
                      <a:pt x="2783" y="1042"/>
                    </a:lnTo>
                    <a:lnTo>
                      <a:pt x="2783" y="1011"/>
                    </a:lnTo>
                    <a:moveTo>
                      <a:pt x="3675" y="992"/>
                    </a:moveTo>
                    <a:lnTo>
                      <a:pt x="3672" y="992"/>
                    </a:lnTo>
                    <a:lnTo>
                      <a:pt x="3672" y="994"/>
                    </a:lnTo>
                    <a:lnTo>
                      <a:pt x="3672" y="1162"/>
                    </a:lnTo>
                    <a:lnTo>
                      <a:pt x="3675" y="1162"/>
                    </a:lnTo>
                    <a:lnTo>
                      <a:pt x="3675" y="1160"/>
                    </a:lnTo>
                    <a:lnTo>
                      <a:pt x="3675" y="1160"/>
                    </a:lnTo>
                    <a:lnTo>
                      <a:pt x="3675" y="992"/>
                    </a:lnTo>
                    <a:moveTo>
                      <a:pt x="5855" y="990"/>
                    </a:moveTo>
                    <a:lnTo>
                      <a:pt x="5852" y="990"/>
                    </a:lnTo>
                    <a:lnTo>
                      <a:pt x="5852" y="990"/>
                    </a:lnTo>
                    <a:lnTo>
                      <a:pt x="5852" y="1023"/>
                    </a:lnTo>
                    <a:lnTo>
                      <a:pt x="5852" y="1023"/>
                    </a:lnTo>
                    <a:lnTo>
                      <a:pt x="5852" y="1023"/>
                    </a:lnTo>
                    <a:lnTo>
                      <a:pt x="5855" y="1023"/>
                    </a:lnTo>
                    <a:lnTo>
                      <a:pt x="5855" y="990"/>
                    </a:lnTo>
                    <a:moveTo>
                      <a:pt x="6245" y="935"/>
                    </a:moveTo>
                    <a:lnTo>
                      <a:pt x="6243" y="935"/>
                    </a:lnTo>
                    <a:lnTo>
                      <a:pt x="6243" y="938"/>
                    </a:lnTo>
                    <a:lnTo>
                      <a:pt x="6243" y="1110"/>
                    </a:lnTo>
                    <a:lnTo>
                      <a:pt x="6245" y="1110"/>
                    </a:lnTo>
                    <a:lnTo>
                      <a:pt x="6245" y="1108"/>
                    </a:lnTo>
                    <a:lnTo>
                      <a:pt x="6245" y="1108"/>
                    </a:lnTo>
                    <a:lnTo>
                      <a:pt x="6245" y="935"/>
                    </a:lnTo>
                    <a:moveTo>
                      <a:pt x="6295" y="878"/>
                    </a:moveTo>
                    <a:lnTo>
                      <a:pt x="6292" y="878"/>
                    </a:lnTo>
                    <a:lnTo>
                      <a:pt x="6292" y="878"/>
                    </a:lnTo>
                    <a:lnTo>
                      <a:pt x="6292" y="885"/>
                    </a:lnTo>
                    <a:lnTo>
                      <a:pt x="6292" y="885"/>
                    </a:lnTo>
                    <a:lnTo>
                      <a:pt x="6292" y="885"/>
                    </a:lnTo>
                    <a:lnTo>
                      <a:pt x="6295" y="885"/>
                    </a:lnTo>
                    <a:lnTo>
                      <a:pt x="6295" y="878"/>
                    </a:lnTo>
                    <a:moveTo>
                      <a:pt x="6302" y="850"/>
                    </a:moveTo>
                    <a:lnTo>
                      <a:pt x="6299" y="850"/>
                    </a:lnTo>
                    <a:lnTo>
                      <a:pt x="6299" y="850"/>
                    </a:lnTo>
                    <a:lnTo>
                      <a:pt x="6299" y="869"/>
                    </a:lnTo>
                    <a:lnTo>
                      <a:pt x="6302" y="869"/>
                    </a:lnTo>
                    <a:lnTo>
                      <a:pt x="6302" y="869"/>
                    </a:lnTo>
                    <a:lnTo>
                      <a:pt x="6302" y="869"/>
                    </a:lnTo>
                    <a:lnTo>
                      <a:pt x="6302" y="850"/>
                    </a:lnTo>
                    <a:moveTo>
                      <a:pt x="3005" y="762"/>
                    </a:moveTo>
                    <a:lnTo>
                      <a:pt x="3003" y="762"/>
                    </a:lnTo>
                    <a:lnTo>
                      <a:pt x="3003" y="762"/>
                    </a:lnTo>
                    <a:lnTo>
                      <a:pt x="3003" y="885"/>
                    </a:lnTo>
                    <a:lnTo>
                      <a:pt x="3005" y="885"/>
                    </a:lnTo>
                    <a:lnTo>
                      <a:pt x="3005" y="762"/>
                    </a:lnTo>
                    <a:moveTo>
                      <a:pt x="5037" y="732"/>
                    </a:moveTo>
                    <a:lnTo>
                      <a:pt x="5034" y="732"/>
                    </a:lnTo>
                    <a:lnTo>
                      <a:pt x="5034" y="732"/>
                    </a:lnTo>
                    <a:lnTo>
                      <a:pt x="5034" y="878"/>
                    </a:lnTo>
                    <a:lnTo>
                      <a:pt x="5037" y="878"/>
                    </a:lnTo>
                    <a:lnTo>
                      <a:pt x="5037" y="732"/>
                    </a:lnTo>
                    <a:moveTo>
                      <a:pt x="3043" y="656"/>
                    </a:moveTo>
                    <a:lnTo>
                      <a:pt x="3041" y="656"/>
                    </a:lnTo>
                    <a:lnTo>
                      <a:pt x="3041" y="658"/>
                    </a:lnTo>
                    <a:lnTo>
                      <a:pt x="3041" y="724"/>
                    </a:lnTo>
                    <a:lnTo>
                      <a:pt x="3041" y="724"/>
                    </a:lnTo>
                    <a:lnTo>
                      <a:pt x="3041" y="722"/>
                    </a:lnTo>
                    <a:lnTo>
                      <a:pt x="3043" y="722"/>
                    </a:lnTo>
                    <a:lnTo>
                      <a:pt x="3043" y="656"/>
                    </a:lnTo>
                    <a:moveTo>
                      <a:pt x="0" y="616"/>
                    </a:moveTo>
                    <a:lnTo>
                      <a:pt x="0" y="616"/>
                    </a:lnTo>
                    <a:lnTo>
                      <a:pt x="0" y="618"/>
                    </a:lnTo>
                    <a:lnTo>
                      <a:pt x="0" y="1359"/>
                    </a:lnTo>
                    <a:lnTo>
                      <a:pt x="0" y="1359"/>
                    </a:lnTo>
                    <a:lnTo>
                      <a:pt x="0" y="616"/>
                    </a:lnTo>
                    <a:moveTo>
                      <a:pt x="5157" y="608"/>
                    </a:moveTo>
                    <a:lnTo>
                      <a:pt x="5155" y="608"/>
                    </a:lnTo>
                    <a:lnTo>
                      <a:pt x="5155" y="611"/>
                    </a:lnTo>
                    <a:lnTo>
                      <a:pt x="5155" y="637"/>
                    </a:lnTo>
                    <a:lnTo>
                      <a:pt x="5157" y="637"/>
                    </a:lnTo>
                    <a:lnTo>
                      <a:pt x="5157" y="608"/>
                    </a:lnTo>
                    <a:moveTo>
                      <a:pt x="6931" y="507"/>
                    </a:moveTo>
                    <a:lnTo>
                      <a:pt x="6928" y="507"/>
                    </a:lnTo>
                    <a:lnTo>
                      <a:pt x="6928" y="509"/>
                    </a:lnTo>
                    <a:lnTo>
                      <a:pt x="6928" y="999"/>
                    </a:lnTo>
                    <a:lnTo>
                      <a:pt x="6931" y="999"/>
                    </a:lnTo>
                    <a:lnTo>
                      <a:pt x="6931" y="507"/>
                    </a:lnTo>
                    <a:moveTo>
                      <a:pt x="3204" y="500"/>
                    </a:moveTo>
                    <a:lnTo>
                      <a:pt x="3202" y="500"/>
                    </a:lnTo>
                    <a:lnTo>
                      <a:pt x="3202" y="502"/>
                    </a:lnTo>
                    <a:lnTo>
                      <a:pt x="3202" y="563"/>
                    </a:lnTo>
                    <a:lnTo>
                      <a:pt x="3204" y="563"/>
                    </a:lnTo>
                    <a:lnTo>
                      <a:pt x="3204" y="561"/>
                    </a:lnTo>
                    <a:lnTo>
                      <a:pt x="3204" y="561"/>
                    </a:lnTo>
                    <a:lnTo>
                      <a:pt x="3204" y="500"/>
                    </a:lnTo>
                    <a:moveTo>
                      <a:pt x="3942" y="452"/>
                    </a:moveTo>
                    <a:lnTo>
                      <a:pt x="3939" y="452"/>
                    </a:lnTo>
                    <a:lnTo>
                      <a:pt x="3939" y="455"/>
                    </a:lnTo>
                    <a:lnTo>
                      <a:pt x="3939" y="490"/>
                    </a:lnTo>
                    <a:lnTo>
                      <a:pt x="3857" y="642"/>
                    </a:lnTo>
                    <a:lnTo>
                      <a:pt x="3857" y="833"/>
                    </a:lnTo>
                    <a:lnTo>
                      <a:pt x="3859" y="833"/>
                    </a:lnTo>
                    <a:lnTo>
                      <a:pt x="3859" y="639"/>
                    </a:lnTo>
                    <a:lnTo>
                      <a:pt x="3942" y="488"/>
                    </a:lnTo>
                    <a:lnTo>
                      <a:pt x="3942" y="452"/>
                    </a:lnTo>
                    <a:moveTo>
                      <a:pt x="3232" y="433"/>
                    </a:moveTo>
                    <a:lnTo>
                      <a:pt x="3232" y="433"/>
                    </a:lnTo>
                    <a:lnTo>
                      <a:pt x="3232" y="436"/>
                    </a:lnTo>
                    <a:lnTo>
                      <a:pt x="3232" y="471"/>
                    </a:lnTo>
                    <a:lnTo>
                      <a:pt x="3232" y="471"/>
                    </a:lnTo>
                    <a:lnTo>
                      <a:pt x="3232" y="471"/>
                    </a:lnTo>
                    <a:lnTo>
                      <a:pt x="3232" y="471"/>
                    </a:lnTo>
                    <a:lnTo>
                      <a:pt x="3232" y="433"/>
                    </a:lnTo>
                    <a:moveTo>
                      <a:pt x="3947" y="391"/>
                    </a:moveTo>
                    <a:lnTo>
                      <a:pt x="3944" y="391"/>
                    </a:lnTo>
                    <a:lnTo>
                      <a:pt x="3944" y="391"/>
                    </a:lnTo>
                    <a:lnTo>
                      <a:pt x="3944" y="447"/>
                    </a:lnTo>
                    <a:lnTo>
                      <a:pt x="3947" y="447"/>
                    </a:lnTo>
                    <a:lnTo>
                      <a:pt x="3947" y="445"/>
                    </a:lnTo>
                    <a:lnTo>
                      <a:pt x="3947" y="445"/>
                    </a:lnTo>
                    <a:lnTo>
                      <a:pt x="3947" y="391"/>
                    </a:lnTo>
                    <a:moveTo>
                      <a:pt x="1714" y="367"/>
                    </a:moveTo>
                    <a:lnTo>
                      <a:pt x="1712" y="367"/>
                    </a:lnTo>
                    <a:lnTo>
                      <a:pt x="1712" y="369"/>
                    </a:lnTo>
                    <a:lnTo>
                      <a:pt x="1712" y="1037"/>
                    </a:lnTo>
                    <a:lnTo>
                      <a:pt x="1714" y="1037"/>
                    </a:lnTo>
                    <a:lnTo>
                      <a:pt x="1714" y="367"/>
                    </a:lnTo>
                    <a:moveTo>
                      <a:pt x="3956" y="327"/>
                    </a:moveTo>
                    <a:lnTo>
                      <a:pt x="3954" y="327"/>
                    </a:lnTo>
                    <a:lnTo>
                      <a:pt x="3954" y="329"/>
                    </a:lnTo>
                    <a:lnTo>
                      <a:pt x="3954" y="381"/>
                    </a:lnTo>
                    <a:lnTo>
                      <a:pt x="3954" y="381"/>
                    </a:lnTo>
                    <a:lnTo>
                      <a:pt x="3954" y="381"/>
                    </a:lnTo>
                    <a:lnTo>
                      <a:pt x="3956" y="381"/>
                    </a:lnTo>
                    <a:lnTo>
                      <a:pt x="3956" y="327"/>
                    </a:lnTo>
                    <a:moveTo>
                      <a:pt x="4609" y="230"/>
                    </a:moveTo>
                    <a:lnTo>
                      <a:pt x="4606" y="230"/>
                    </a:lnTo>
                    <a:lnTo>
                      <a:pt x="4606" y="232"/>
                    </a:lnTo>
                    <a:lnTo>
                      <a:pt x="4552" y="431"/>
                    </a:lnTo>
                    <a:lnTo>
                      <a:pt x="4554" y="431"/>
                    </a:lnTo>
                    <a:lnTo>
                      <a:pt x="4609" y="230"/>
                    </a:lnTo>
                    <a:moveTo>
                      <a:pt x="4758" y="0"/>
                    </a:moveTo>
                    <a:lnTo>
                      <a:pt x="4755" y="0"/>
                    </a:lnTo>
                    <a:lnTo>
                      <a:pt x="4755" y="0"/>
                    </a:lnTo>
                    <a:lnTo>
                      <a:pt x="4755" y="123"/>
                    </a:lnTo>
                    <a:lnTo>
                      <a:pt x="4758" y="123"/>
                    </a:lnTo>
                    <a:lnTo>
                      <a:pt x="4758" y="121"/>
                    </a:lnTo>
                    <a:lnTo>
                      <a:pt x="4758" y="121"/>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4" name="Freeform 46"/>
              <p:cNvSpPr>
                <a:spLocks noEditPoints="1"/>
              </p:cNvSpPr>
              <p:nvPr/>
            </p:nvSpPr>
            <p:spPr bwMode="auto">
              <a:xfrm>
                <a:off x="49" y="1753"/>
                <a:ext cx="6933" cy="1361"/>
              </a:xfrm>
              <a:custGeom>
                <a:avLst/>
                <a:gdLst>
                  <a:gd name="T0" fmla="*/ 3616 w 6933"/>
                  <a:gd name="T1" fmla="*/ 1224 h 1361"/>
                  <a:gd name="T2" fmla="*/ 3618 w 6933"/>
                  <a:gd name="T3" fmla="*/ 1221 h 1361"/>
                  <a:gd name="T4" fmla="*/ 5736 w 6933"/>
                  <a:gd name="T5" fmla="*/ 1209 h 1361"/>
                  <a:gd name="T6" fmla="*/ 5736 w 6933"/>
                  <a:gd name="T7" fmla="*/ 1207 h 1361"/>
                  <a:gd name="T8" fmla="*/ 5760 w 6933"/>
                  <a:gd name="T9" fmla="*/ 1129 h 1361"/>
                  <a:gd name="T10" fmla="*/ 5763 w 6933"/>
                  <a:gd name="T11" fmla="*/ 1181 h 1361"/>
                  <a:gd name="T12" fmla="*/ 2767 w 6933"/>
                  <a:gd name="T13" fmla="*/ 1063 h 1361"/>
                  <a:gd name="T14" fmla="*/ 2764 w 6933"/>
                  <a:gd name="T15" fmla="*/ 1148 h 1361"/>
                  <a:gd name="T16" fmla="*/ 5838 w 6933"/>
                  <a:gd name="T17" fmla="*/ 1041 h 1361"/>
                  <a:gd name="T18" fmla="*/ 5836 w 6933"/>
                  <a:gd name="T19" fmla="*/ 1053 h 1361"/>
                  <a:gd name="T20" fmla="*/ 5838 w 6933"/>
                  <a:gd name="T21" fmla="*/ 1051 h 1361"/>
                  <a:gd name="T22" fmla="*/ 2783 w 6933"/>
                  <a:gd name="T23" fmla="*/ 1011 h 1361"/>
                  <a:gd name="T24" fmla="*/ 2783 w 6933"/>
                  <a:gd name="T25" fmla="*/ 1044 h 1361"/>
                  <a:gd name="T26" fmla="*/ 2783 w 6933"/>
                  <a:gd name="T27" fmla="*/ 1011 h 1361"/>
                  <a:gd name="T28" fmla="*/ 3675 w 6933"/>
                  <a:gd name="T29" fmla="*/ 994 h 1361"/>
                  <a:gd name="T30" fmla="*/ 3677 w 6933"/>
                  <a:gd name="T31" fmla="*/ 1160 h 1361"/>
                  <a:gd name="T32" fmla="*/ 5855 w 6933"/>
                  <a:gd name="T33" fmla="*/ 989 h 1361"/>
                  <a:gd name="T34" fmla="*/ 5855 w 6933"/>
                  <a:gd name="T35" fmla="*/ 1025 h 1361"/>
                  <a:gd name="T36" fmla="*/ 5855 w 6933"/>
                  <a:gd name="T37" fmla="*/ 1022 h 1361"/>
                  <a:gd name="T38" fmla="*/ 6245 w 6933"/>
                  <a:gd name="T39" fmla="*/ 935 h 1361"/>
                  <a:gd name="T40" fmla="*/ 6245 w 6933"/>
                  <a:gd name="T41" fmla="*/ 1110 h 1361"/>
                  <a:gd name="T42" fmla="*/ 6247 w 6933"/>
                  <a:gd name="T43" fmla="*/ 935 h 1361"/>
                  <a:gd name="T44" fmla="*/ 6295 w 6933"/>
                  <a:gd name="T45" fmla="*/ 880 h 1361"/>
                  <a:gd name="T46" fmla="*/ 6295 w 6933"/>
                  <a:gd name="T47" fmla="*/ 885 h 1361"/>
                  <a:gd name="T48" fmla="*/ 6304 w 6933"/>
                  <a:gd name="T49" fmla="*/ 850 h 1361"/>
                  <a:gd name="T50" fmla="*/ 6302 w 6933"/>
                  <a:gd name="T51" fmla="*/ 871 h 1361"/>
                  <a:gd name="T52" fmla="*/ 6304 w 6933"/>
                  <a:gd name="T53" fmla="*/ 869 h 1361"/>
                  <a:gd name="T54" fmla="*/ 3005 w 6933"/>
                  <a:gd name="T55" fmla="*/ 762 h 1361"/>
                  <a:gd name="T56" fmla="*/ 3008 w 6933"/>
                  <a:gd name="T57" fmla="*/ 887 h 1361"/>
                  <a:gd name="T58" fmla="*/ 5037 w 6933"/>
                  <a:gd name="T59" fmla="*/ 731 h 1361"/>
                  <a:gd name="T60" fmla="*/ 5039 w 6933"/>
                  <a:gd name="T61" fmla="*/ 880 h 1361"/>
                  <a:gd name="T62" fmla="*/ 3043 w 6933"/>
                  <a:gd name="T63" fmla="*/ 655 h 1361"/>
                  <a:gd name="T64" fmla="*/ 3043 w 6933"/>
                  <a:gd name="T65" fmla="*/ 724 h 1361"/>
                  <a:gd name="T66" fmla="*/ 3046 w 6933"/>
                  <a:gd name="T67" fmla="*/ 655 h 1361"/>
                  <a:gd name="T68" fmla="*/ 0 w 6933"/>
                  <a:gd name="T69" fmla="*/ 618 h 1361"/>
                  <a:gd name="T70" fmla="*/ 3 w 6933"/>
                  <a:gd name="T71" fmla="*/ 615 h 1361"/>
                  <a:gd name="T72" fmla="*/ 5157 w 6933"/>
                  <a:gd name="T73" fmla="*/ 610 h 1361"/>
                  <a:gd name="T74" fmla="*/ 5160 w 6933"/>
                  <a:gd name="T75" fmla="*/ 608 h 1361"/>
                  <a:gd name="T76" fmla="*/ 6931 w 6933"/>
                  <a:gd name="T77" fmla="*/ 509 h 1361"/>
                  <a:gd name="T78" fmla="*/ 6933 w 6933"/>
                  <a:gd name="T79" fmla="*/ 509 h 1361"/>
                  <a:gd name="T80" fmla="*/ 3204 w 6933"/>
                  <a:gd name="T81" fmla="*/ 502 h 1361"/>
                  <a:gd name="T82" fmla="*/ 3206 w 6933"/>
                  <a:gd name="T83" fmla="*/ 563 h 1361"/>
                  <a:gd name="T84" fmla="*/ 3944 w 6933"/>
                  <a:gd name="T85" fmla="*/ 454 h 1361"/>
                  <a:gd name="T86" fmla="*/ 3942 w 6933"/>
                  <a:gd name="T87" fmla="*/ 490 h 1361"/>
                  <a:gd name="T88" fmla="*/ 3861 w 6933"/>
                  <a:gd name="T89" fmla="*/ 835 h 1361"/>
                  <a:gd name="T90" fmla="*/ 3944 w 6933"/>
                  <a:gd name="T91" fmla="*/ 454 h 1361"/>
                  <a:gd name="T92" fmla="*/ 3232 w 6933"/>
                  <a:gd name="T93" fmla="*/ 435 h 1361"/>
                  <a:gd name="T94" fmla="*/ 3235 w 6933"/>
                  <a:gd name="T95" fmla="*/ 471 h 1361"/>
                  <a:gd name="T96" fmla="*/ 3949 w 6933"/>
                  <a:gd name="T97" fmla="*/ 390 h 1361"/>
                  <a:gd name="T98" fmla="*/ 3947 w 6933"/>
                  <a:gd name="T99" fmla="*/ 447 h 1361"/>
                  <a:gd name="T100" fmla="*/ 3949 w 6933"/>
                  <a:gd name="T101" fmla="*/ 445 h 1361"/>
                  <a:gd name="T102" fmla="*/ 1714 w 6933"/>
                  <a:gd name="T103" fmla="*/ 367 h 1361"/>
                  <a:gd name="T104" fmla="*/ 1717 w 6933"/>
                  <a:gd name="T105" fmla="*/ 1039 h 1361"/>
                  <a:gd name="T106" fmla="*/ 3956 w 6933"/>
                  <a:gd name="T107" fmla="*/ 326 h 1361"/>
                  <a:gd name="T108" fmla="*/ 3956 w 6933"/>
                  <a:gd name="T109" fmla="*/ 383 h 1361"/>
                  <a:gd name="T110" fmla="*/ 3956 w 6933"/>
                  <a:gd name="T111" fmla="*/ 326 h 1361"/>
                  <a:gd name="T112" fmla="*/ 4609 w 6933"/>
                  <a:gd name="T113" fmla="*/ 232 h 1361"/>
                  <a:gd name="T114" fmla="*/ 4609 w 6933"/>
                  <a:gd name="T115" fmla="*/ 232 h 1361"/>
                  <a:gd name="T116" fmla="*/ 4758 w 6933"/>
                  <a:gd name="T117" fmla="*/ 2 h 1361"/>
                  <a:gd name="T118" fmla="*/ 4758 w 6933"/>
                  <a:gd name="T119" fmla="*/ 12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61">
                    <a:moveTo>
                      <a:pt x="3618" y="1221"/>
                    </a:moveTo>
                    <a:lnTo>
                      <a:pt x="3616" y="1221"/>
                    </a:lnTo>
                    <a:lnTo>
                      <a:pt x="3616" y="1224"/>
                    </a:lnTo>
                    <a:lnTo>
                      <a:pt x="3616" y="1224"/>
                    </a:lnTo>
                    <a:lnTo>
                      <a:pt x="3618" y="1224"/>
                    </a:lnTo>
                    <a:lnTo>
                      <a:pt x="3618" y="1221"/>
                    </a:lnTo>
                    <a:close/>
                    <a:moveTo>
                      <a:pt x="5736" y="1207"/>
                    </a:moveTo>
                    <a:lnTo>
                      <a:pt x="5736" y="1207"/>
                    </a:lnTo>
                    <a:lnTo>
                      <a:pt x="5736" y="1209"/>
                    </a:lnTo>
                    <a:lnTo>
                      <a:pt x="5736" y="1233"/>
                    </a:lnTo>
                    <a:lnTo>
                      <a:pt x="5736" y="1233"/>
                    </a:lnTo>
                    <a:lnTo>
                      <a:pt x="5736" y="1207"/>
                    </a:lnTo>
                    <a:close/>
                    <a:moveTo>
                      <a:pt x="5763" y="1127"/>
                    </a:moveTo>
                    <a:lnTo>
                      <a:pt x="5760" y="1127"/>
                    </a:lnTo>
                    <a:lnTo>
                      <a:pt x="5760" y="1129"/>
                    </a:lnTo>
                    <a:lnTo>
                      <a:pt x="5760" y="1183"/>
                    </a:lnTo>
                    <a:lnTo>
                      <a:pt x="5763" y="1183"/>
                    </a:lnTo>
                    <a:lnTo>
                      <a:pt x="5763" y="1181"/>
                    </a:lnTo>
                    <a:lnTo>
                      <a:pt x="5763" y="1181"/>
                    </a:lnTo>
                    <a:lnTo>
                      <a:pt x="5763" y="1127"/>
                    </a:lnTo>
                    <a:close/>
                    <a:moveTo>
                      <a:pt x="2767" y="1063"/>
                    </a:moveTo>
                    <a:lnTo>
                      <a:pt x="2764" y="1063"/>
                    </a:lnTo>
                    <a:lnTo>
                      <a:pt x="2764" y="1063"/>
                    </a:lnTo>
                    <a:lnTo>
                      <a:pt x="2764" y="1148"/>
                    </a:lnTo>
                    <a:lnTo>
                      <a:pt x="2767" y="1148"/>
                    </a:lnTo>
                    <a:lnTo>
                      <a:pt x="2767" y="1063"/>
                    </a:lnTo>
                    <a:close/>
                    <a:moveTo>
                      <a:pt x="5838" y="1041"/>
                    </a:moveTo>
                    <a:lnTo>
                      <a:pt x="5836" y="1041"/>
                    </a:lnTo>
                    <a:lnTo>
                      <a:pt x="5836" y="1041"/>
                    </a:lnTo>
                    <a:lnTo>
                      <a:pt x="5836" y="1053"/>
                    </a:lnTo>
                    <a:lnTo>
                      <a:pt x="5836" y="1053"/>
                    </a:lnTo>
                    <a:lnTo>
                      <a:pt x="5836" y="1051"/>
                    </a:lnTo>
                    <a:lnTo>
                      <a:pt x="5838" y="1051"/>
                    </a:lnTo>
                    <a:lnTo>
                      <a:pt x="5838" y="1041"/>
                    </a:lnTo>
                    <a:close/>
                    <a:moveTo>
                      <a:pt x="2783" y="1011"/>
                    </a:moveTo>
                    <a:lnTo>
                      <a:pt x="2783" y="1011"/>
                    </a:lnTo>
                    <a:lnTo>
                      <a:pt x="2783" y="1013"/>
                    </a:lnTo>
                    <a:lnTo>
                      <a:pt x="2783" y="1044"/>
                    </a:lnTo>
                    <a:lnTo>
                      <a:pt x="2783" y="1044"/>
                    </a:lnTo>
                    <a:lnTo>
                      <a:pt x="2783" y="1044"/>
                    </a:lnTo>
                    <a:lnTo>
                      <a:pt x="2783" y="1044"/>
                    </a:lnTo>
                    <a:lnTo>
                      <a:pt x="2783" y="1011"/>
                    </a:lnTo>
                    <a:close/>
                    <a:moveTo>
                      <a:pt x="3677" y="992"/>
                    </a:moveTo>
                    <a:lnTo>
                      <a:pt x="3675" y="992"/>
                    </a:lnTo>
                    <a:lnTo>
                      <a:pt x="3675" y="994"/>
                    </a:lnTo>
                    <a:lnTo>
                      <a:pt x="3675" y="1162"/>
                    </a:lnTo>
                    <a:lnTo>
                      <a:pt x="3677" y="1162"/>
                    </a:lnTo>
                    <a:lnTo>
                      <a:pt x="3677" y="1160"/>
                    </a:lnTo>
                    <a:lnTo>
                      <a:pt x="3677" y="1160"/>
                    </a:lnTo>
                    <a:lnTo>
                      <a:pt x="3677" y="992"/>
                    </a:lnTo>
                    <a:close/>
                    <a:moveTo>
                      <a:pt x="5855" y="989"/>
                    </a:moveTo>
                    <a:lnTo>
                      <a:pt x="5855" y="989"/>
                    </a:lnTo>
                    <a:lnTo>
                      <a:pt x="5855" y="992"/>
                    </a:lnTo>
                    <a:lnTo>
                      <a:pt x="5855" y="1025"/>
                    </a:lnTo>
                    <a:lnTo>
                      <a:pt x="5855" y="1025"/>
                    </a:lnTo>
                    <a:lnTo>
                      <a:pt x="5855" y="1022"/>
                    </a:lnTo>
                    <a:lnTo>
                      <a:pt x="5855" y="1022"/>
                    </a:lnTo>
                    <a:lnTo>
                      <a:pt x="5855" y="989"/>
                    </a:lnTo>
                    <a:close/>
                    <a:moveTo>
                      <a:pt x="6247" y="935"/>
                    </a:moveTo>
                    <a:lnTo>
                      <a:pt x="6245" y="935"/>
                    </a:lnTo>
                    <a:lnTo>
                      <a:pt x="6245" y="937"/>
                    </a:lnTo>
                    <a:lnTo>
                      <a:pt x="6245" y="1110"/>
                    </a:lnTo>
                    <a:lnTo>
                      <a:pt x="6245" y="1110"/>
                    </a:lnTo>
                    <a:lnTo>
                      <a:pt x="6245" y="1108"/>
                    </a:lnTo>
                    <a:lnTo>
                      <a:pt x="6247" y="1108"/>
                    </a:lnTo>
                    <a:lnTo>
                      <a:pt x="6247" y="935"/>
                    </a:lnTo>
                    <a:close/>
                    <a:moveTo>
                      <a:pt x="6297" y="878"/>
                    </a:moveTo>
                    <a:lnTo>
                      <a:pt x="6295" y="878"/>
                    </a:lnTo>
                    <a:lnTo>
                      <a:pt x="6295" y="880"/>
                    </a:lnTo>
                    <a:lnTo>
                      <a:pt x="6295" y="887"/>
                    </a:lnTo>
                    <a:lnTo>
                      <a:pt x="6295" y="887"/>
                    </a:lnTo>
                    <a:lnTo>
                      <a:pt x="6295" y="885"/>
                    </a:lnTo>
                    <a:lnTo>
                      <a:pt x="6297" y="885"/>
                    </a:lnTo>
                    <a:lnTo>
                      <a:pt x="6297" y="878"/>
                    </a:lnTo>
                    <a:close/>
                    <a:moveTo>
                      <a:pt x="6304" y="850"/>
                    </a:moveTo>
                    <a:lnTo>
                      <a:pt x="6302" y="850"/>
                    </a:lnTo>
                    <a:lnTo>
                      <a:pt x="6302" y="852"/>
                    </a:lnTo>
                    <a:lnTo>
                      <a:pt x="6302" y="871"/>
                    </a:lnTo>
                    <a:lnTo>
                      <a:pt x="6304" y="871"/>
                    </a:lnTo>
                    <a:lnTo>
                      <a:pt x="6304" y="869"/>
                    </a:lnTo>
                    <a:lnTo>
                      <a:pt x="6304" y="869"/>
                    </a:lnTo>
                    <a:lnTo>
                      <a:pt x="6304" y="850"/>
                    </a:lnTo>
                    <a:close/>
                    <a:moveTo>
                      <a:pt x="3008" y="762"/>
                    </a:moveTo>
                    <a:lnTo>
                      <a:pt x="3005" y="762"/>
                    </a:lnTo>
                    <a:lnTo>
                      <a:pt x="3005" y="764"/>
                    </a:lnTo>
                    <a:lnTo>
                      <a:pt x="3005" y="887"/>
                    </a:lnTo>
                    <a:lnTo>
                      <a:pt x="3008" y="887"/>
                    </a:lnTo>
                    <a:lnTo>
                      <a:pt x="3008" y="762"/>
                    </a:lnTo>
                    <a:close/>
                    <a:moveTo>
                      <a:pt x="5039" y="731"/>
                    </a:moveTo>
                    <a:lnTo>
                      <a:pt x="5037" y="731"/>
                    </a:lnTo>
                    <a:lnTo>
                      <a:pt x="5037" y="734"/>
                    </a:lnTo>
                    <a:lnTo>
                      <a:pt x="5037" y="880"/>
                    </a:lnTo>
                    <a:lnTo>
                      <a:pt x="5039" y="880"/>
                    </a:lnTo>
                    <a:lnTo>
                      <a:pt x="5039" y="731"/>
                    </a:lnTo>
                    <a:close/>
                    <a:moveTo>
                      <a:pt x="3046" y="655"/>
                    </a:moveTo>
                    <a:lnTo>
                      <a:pt x="3043" y="655"/>
                    </a:lnTo>
                    <a:lnTo>
                      <a:pt x="3043" y="658"/>
                    </a:lnTo>
                    <a:lnTo>
                      <a:pt x="3043" y="724"/>
                    </a:lnTo>
                    <a:lnTo>
                      <a:pt x="3043" y="724"/>
                    </a:lnTo>
                    <a:lnTo>
                      <a:pt x="3043" y="722"/>
                    </a:lnTo>
                    <a:lnTo>
                      <a:pt x="3046" y="722"/>
                    </a:lnTo>
                    <a:lnTo>
                      <a:pt x="3046" y="655"/>
                    </a:lnTo>
                    <a:close/>
                    <a:moveTo>
                      <a:pt x="3" y="615"/>
                    </a:moveTo>
                    <a:lnTo>
                      <a:pt x="0" y="615"/>
                    </a:lnTo>
                    <a:lnTo>
                      <a:pt x="0" y="618"/>
                    </a:lnTo>
                    <a:lnTo>
                      <a:pt x="0" y="1361"/>
                    </a:lnTo>
                    <a:lnTo>
                      <a:pt x="3" y="1361"/>
                    </a:lnTo>
                    <a:lnTo>
                      <a:pt x="3" y="615"/>
                    </a:lnTo>
                    <a:close/>
                    <a:moveTo>
                      <a:pt x="5160" y="608"/>
                    </a:moveTo>
                    <a:lnTo>
                      <a:pt x="5157" y="608"/>
                    </a:lnTo>
                    <a:lnTo>
                      <a:pt x="5157" y="610"/>
                    </a:lnTo>
                    <a:lnTo>
                      <a:pt x="5157" y="639"/>
                    </a:lnTo>
                    <a:lnTo>
                      <a:pt x="5160" y="639"/>
                    </a:lnTo>
                    <a:lnTo>
                      <a:pt x="5160" y="608"/>
                    </a:lnTo>
                    <a:close/>
                    <a:moveTo>
                      <a:pt x="6933" y="509"/>
                    </a:moveTo>
                    <a:lnTo>
                      <a:pt x="6931" y="509"/>
                    </a:lnTo>
                    <a:lnTo>
                      <a:pt x="6931" y="509"/>
                    </a:lnTo>
                    <a:lnTo>
                      <a:pt x="6931" y="1001"/>
                    </a:lnTo>
                    <a:lnTo>
                      <a:pt x="6933" y="1001"/>
                    </a:lnTo>
                    <a:lnTo>
                      <a:pt x="6933" y="509"/>
                    </a:lnTo>
                    <a:close/>
                    <a:moveTo>
                      <a:pt x="3206" y="499"/>
                    </a:moveTo>
                    <a:lnTo>
                      <a:pt x="3204" y="499"/>
                    </a:lnTo>
                    <a:lnTo>
                      <a:pt x="3204" y="502"/>
                    </a:lnTo>
                    <a:lnTo>
                      <a:pt x="3204" y="563"/>
                    </a:lnTo>
                    <a:lnTo>
                      <a:pt x="3206" y="563"/>
                    </a:lnTo>
                    <a:lnTo>
                      <a:pt x="3206" y="563"/>
                    </a:lnTo>
                    <a:lnTo>
                      <a:pt x="3206" y="563"/>
                    </a:lnTo>
                    <a:lnTo>
                      <a:pt x="3206" y="499"/>
                    </a:lnTo>
                    <a:close/>
                    <a:moveTo>
                      <a:pt x="3944" y="454"/>
                    </a:moveTo>
                    <a:lnTo>
                      <a:pt x="3942" y="454"/>
                    </a:lnTo>
                    <a:lnTo>
                      <a:pt x="3942" y="454"/>
                    </a:lnTo>
                    <a:lnTo>
                      <a:pt x="3942" y="490"/>
                    </a:lnTo>
                    <a:lnTo>
                      <a:pt x="3859" y="641"/>
                    </a:lnTo>
                    <a:lnTo>
                      <a:pt x="3859" y="835"/>
                    </a:lnTo>
                    <a:lnTo>
                      <a:pt x="3861" y="835"/>
                    </a:lnTo>
                    <a:lnTo>
                      <a:pt x="3861" y="641"/>
                    </a:lnTo>
                    <a:lnTo>
                      <a:pt x="3944" y="487"/>
                    </a:lnTo>
                    <a:lnTo>
                      <a:pt x="3944" y="454"/>
                    </a:lnTo>
                    <a:close/>
                    <a:moveTo>
                      <a:pt x="3235" y="433"/>
                    </a:moveTo>
                    <a:lnTo>
                      <a:pt x="3232" y="433"/>
                    </a:lnTo>
                    <a:lnTo>
                      <a:pt x="3232" y="435"/>
                    </a:lnTo>
                    <a:lnTo>
                      <a:pt x="3232" y="473"/>
                    </a:lnTo>
                    <a:lnTo>
                      <a:pt x="3235" y="473"/>
                    </a:lnTo>
                    <a:lnTo>
                      <a:pt x="3235" y="471"/>
                    </a:lnTo>
                    <a:lnTo>
                      <a:pt x="3235" y="471"/>
                    </a:lnTo>
                    <a:lnTo>
                      <a:pt x="3235" y="433"/>
                    </a:lnTo>
                    <a:close/>
                    <a:moveTo>
                      <a:pt x="3949" y="390"/>
                    </a:moveTo>
                    <a:lnTo>
                      <a:pt x="3947" y="390"/>
                    </a:lnTo>
                    <a:lnTo>
                      <a:pt x="3947" y="393"/>
                    </a:lnTo>
                    <a:lnTo>
                      <a:pt x="3947" y="447"/>
                    </a:lnTo>
                    <a:lnTo>
                      <a:pt x="3949" y="447"/>
                    </a:lnTo>
                    <a:lnTo>
                      <a:pt x="3949" y="445"/>
                    </a:lnTo>
                    <a:lnTo>
                      <a:pt x="3949" y="445"/>
                    </a:lnTo>
                    <a:lnTo>
                      <a:pt x="3949" y="390"/>
                    </a:lnTo>
                    <a:close/>
                    <a:moveTo>
                      <a:pt x="1717" y="367"/>
                    </a:moveTo>
                    <a:lnTo>
                      <a:pt x="1714" y="367"/>
                    </a:lnTo>
                    <a:lnTo>
                      <a:pt x="1714" y="369"/>
                    </a:lnTo>
                    <a:lnTo>
                      <a:pt x="1714" y="1039"/>
                    </a:lnTo>
                    <a:lnTo>
                      <a:pt x="1717" y="1039"/>
                    </a:lnTo>
                    <a:lnTo>
                      <a:pt x="1717" y="367"/>
                    </a:lnTo>
                    <a:close/>
                    <a:moveTo>
                      <a:pt x="3956" y="326"/>
                    </a:moveTo>
                    <a:lnTo>
                      <a:pt x="3956" y="326"/>
                    </a:lnTo>
                    <a:lnTo>
                      <a:pt x="3956" y="329"/>
                    </a:lnTo>
                    <a:lnTo>
                      <a:pt x="3956" y="383"/>
                    </a:lnTo>
                    <a:lnTo>
                      <a:pt x="3956" y="383"/>
                    </a:lnTo>
                    <a:lnTo>
                      <a:pt x="3956" y="381"/>
                    </a:lnTo>
                    <a:lnTo>
                      <a:pt x="3956" y="381"/>
                    </a:lnTo>
                    <a:lnTo>
                      <a:pt x="3956" y="326"/>
                    </a:lnTo>
                    <a:close/>
                    <a:moveTo>
                      <a:pt x="4609" y="232"/>
                    </a:moveTo>
                    <a:lnTo>
                      <a:pt x="4609" y="232"/>
                    </a:lnTo>
                    <a:lnTo>
                      <a:pt x="4609" y="232"/>
                    </a:lnTo>
                    <a:lnTo>
                      <a:pt x="4554" y="433"/>
                    </a:lnTo>
                    <a:lnTo>
                      <a:pt x="4554" y="431"/>
                    </a:lnTo>
                    <a:lnTo>
                      <a:pt x="4609" y="232"/>
                    </a:lnTo>
                    <a:close/>
                    <a:moveTo>
                      <a:pt x="4760" y="0"/>
                    </a:moveTo>
                    <a:lnTo>
                      <a:pt x="4758" y="0"/>
                    </a:lnTo>
                    <a:lnTo>
                      <a:pt x="4758" y="2"/>
                    </a:lnTo>
                    <a:lnTo>
                      <a:pt x="4758" y="123"/>
                    </a:lnTo>
                    <a:lnTo>
                      <a:pt x="4758" y="123"/>
                    </a:lnTo>
                    <a:lnTo>
                      <a:pt x="4758" y="120"/>
                    </a:lnTo>
                    <a:lnTo>
                      <a:pt x="4760" y="120"/>
                    </a:lnTo>
                    <a:lnTo>
                      <a:pt x="4760" y="0"/>
                    </a:lnTo>
                    <a:close/>
                  </a:path>
                </a:pathLst>
              </a:custGeom>
              <a:solidFill>
                <a:srgbClr val="FCFC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5" name="Freeform 47"/>
              <p:cNvSpPr>
                <a:spLocks noEditPoints="1"/>
              </p:cNvSpPr>
              <p:nvPr/>
            </p:nvSpPr>
            <p:spPr bwMode="auto">
              <a:xfrm>
                <a:off x="49" y="1753"/>
                <a:ext cx="6933" cy="1361"/>
              </a:xfrm>
              <a:custGeom>
                <a:avLst/>
                <a:gdLst>
                  <a:gd name="T0" fmla="*/ 3616 w 6933"/>
                  <a:gd name="T1" fmla="*/ 1224 h 1361"/>
                  <a:gd name="T2" fmla="*/ 3618 w 6933"/>
                  <a:gd name="T3" fmla="*/ 1221 h 1361"/>
                  <a:gd name="T4" fmla="*/ 5736 w 6933"/>
                  <a:gd name="T5" fmla="*/ 1209 h 1361"/>
                  <a:gd name="T6" fmla="*/ 5736 w 6933"/>
                  <a:gd name="T7" fmla="*/ 1207 h 1361"/>
                  <a:gd name="T8" fmla="*/ 5760 w 6933"/>
                  <a:gd name="T9" fmla="*/ 1129 h 1361"/>
                  <a:gd name="T10" fmla="*/ 5763 w 6933"/>
                  <a:gd name="T11" fmla="*/ 1181 h 1361"/>
                  <a:gd name="T12" fmla="*/ 2767 w 6933"/>
                  <a:gd name="T13" fmla="*/ 1063 h 1361"/>
                  <a:gd name="T14" fmla="*/ 2764 w 6933"/>
                  <a:gd name="T15" fmla="*/ 1148 h 1361"/>
                  <a:gd name="T16" fmla="*/ 5838 w 6933"/>
                  <a:gd name="T17" fmla="*/ 1041 h 1361"/>
                  <a:gd name="T18" fmla="*/ 5836 w 6933"/>
                  <a:gd name="T19" fmla="*/ 1053 h 1361"/>
                  <a:gd name="T20" fmla="*/ 5838 w 6933"/>
                  <a:gd name="T21" fmla="*/ 1051 h 1361"/>
                  <a:gd name="T22" fmla="*/ 2783 w 6933"/>
                  <a:gd name="T23" fmla="*/ 1011 h 1361"/>
                  <a:gd name="T24" fmla="*/ 2783 w 6933"/>
                  <a:gd name="T25" fmla="*/ 1044 h 1361"/>
                  <a:gd name="T26" fmla="*/ 2783 w 6933"/>
                  <a:gd name="T27" fmla="*/ 1011 h 1361"/>
                  <a:gd name="T28" fmla="*/ 3675 w 6933"/>
                  <a:gd name="T29" fmla="*/ 994 h 1361"/>
                  <a:gd name="T30" fmla="*/ 3677 w 6933"/>
                  <a:gd name="T31" fmla="*/ 1160 h 1361"/>
                  <a:gd name="T32" fmla="*/ 5855 w 6933"/>
                  <a:gd name="T33" fmla="*/ 989 h 1361"/>
                  <a:gd name="T34" fmla="*/ 5855 w 6933"/>
                  <a:gd name="T35" fmla="*/ 1025 h 1361"/>
                  <a:gd name="T36" fmla="*/ 5855 w 6933"/>
                  <a:gd name="T37" fmla="*/ 1022 h 1361"/>
                  <a:gd name="T38" fmla="*/ 6245 w 6933"/>
                  <a:gd name="T39" fmla="*/ 935 h 1361"/>
                  <a:gd name="T40" fmla="*/ 6245 w 6933"/>
                  <a:gd name="T41" fmla="*/ 1110 h 1361"/>
                  <a:gd name="T42" fmla="*/ 6247 w 6933"/>
                  <a:gd name="T43" fmla="*/ 935 h 1361"/>
                  <a:gd name="T44" fmla="*/ 6295 w 6933"/>
                  <a:gd name="T45" fmla="*/ 880 h 1361"/>
                  <a:gd name="T46" fmla="*/ 6295 w 6933"/>
                  <a:gd name="T47" fmla="*/ 885 h 1361"/>
                  <a:gd name="T48" fmla="*/ 6304 w 6933"/>
                  <a:gd name="T49" fmla="*/ 850 h 1361"/>
                  <a:gd name="T50" fmla="*/ 6302 w 6933"/>
                  <a:gd name="T51" fmla="*/ 871 h 1361"/>
                  <a:gd name="T52" fmla="*/ 6304 w 6933"/>
                  <a:gd name="T53" fmla="*/ 869 h 1361"/>
                  <a:gd name="T54" fmla="*/ 3005 w 6933"/>
                  <a:gd name="T55" fmla="*/ 762 h 1361"/>
                  <a:gd name="T56" fmla="*/ 3008 w 6933"/>
                  <a:gd name="T57" fmla="*/ 887 h 1361"/>
                  <a:gd name="T58" fmla="*/ 5037 w 6933"/>
                  <a:gd name="T59" fmla="*/ 731 h 1361"/>
                  <a:gd name="T60" fmla="*/ 5039 w 6933"/>
                  <a:gd name="T61" fmla="*/ 880 h 1361"/>
                  <a:gd name="T62" fmla="*/ 3043 w 6933"/>
                  <a:gd name="T63" fmla="*/ 655 h 1361"/>
                  <a:gd name="T64" fmla="*/ 3043 w 6933"/>
                  <a:gd name="T65" fmla="*/ 724 h 1361"/>
                  <a:gd name="T66" fmla="*/ 3046 w 6933"/>
                  <a:gd name="T67" fmla="*/ 655 h 1361"/>
                  <a:gd name="T68" fmla="*/ 0 w 6933"/>
                  <a:gd name="T69" fmla="*/ 618 h 1361"/>
                  <a:gd name="T70" fmla="*/ 3 w 6933"/>
                  <a:gd name="T71" fmla="*/ 615 h 1361"/>
                  <a:gd name="T72" fmla="*/ 5157 w 6933"/>
                  <a:gd name="T73" fmla="*/ 610 h 1361"/>
                  <a:gd name="T74" fmla="*/ 5160 w 6933"/>
                  <a:gd name="T75" fmla="*/ 608 h 1361"/>
                  <a:gd name="T76" fmla="*/ 6931 w 6933"/>
                  <a:gd name="T77" fmla="*/ 509 h 1361"/>
                  <a:gd name="T78" fmla="*/ 6933 w 6933"/>
                  <a:gd name="T79" fmla="*/ 509 h 1361"/>
                  <a:gd name="T80" fmla="*/ 3204 w 6933"/>
                  <a:gd name="T81" fmla="*/ 502 h 1361"/>
                  <a:gd name="T82" fmla="*/ 3206 w 6933"/>
                  <a:gd name="T83" fmla="*/ 563 h 1361"/>
                  <a:gd name="T84" fmla="*/ 3944 w 6933"/>
                  <a:gd name="T85" fmla="*/ 454 h 1361"/>
                  <a:gd name="T86" fmla="*/ 3942 w 6933"/>
                  <a:gd name="T87" fmla="*/ 490 h 1361"/>
                  <a:gd name="T88" fmla="*/ 3861 w 6933"/>
                  <a:gd name="T89" fmla="*/ 835 h 1361"/>
                  <a:gd name="T90" fmla="*/ 3944 w 6933"/>
                  <a:gd name="T91" fmla="*/ 454 h 1361"/>
                  <a:gd name="T92" fmla="*/ 3232 w 6933"/>
                  <a:gd name="T93" fmla="*/ 435 h 1361"/>
                  <a:gd name="T94" fmla="*/ 3235 w 6933"/>
                  <a:gd name="T95" fmla="*/ 471 h 1361"/>
                  <a:gd name="T96" fmla="*/ 3949 w 6933"/>
                  <a:gd name="T97" fmla="*/ 390 h 1361"/>
                  <a:gd name="T98" fmla="*/ 3947 w 6933"/>
                  <a:gd name="T99" fmla="*/ 447 h 1361"/>
                  <a:gd name="T100" fmla="*/ 3949 w 6933"/>
                  <a:gd name="T101" fmla="*/ 445 h 1361"/>
                  <a:gd name="T102" fmla="*/ 1714 w 6933"/>
                  <a:gd name="T103" fmla="*/ 367 h 1361"/>
                  <a:gd name="T104" fmla="*/ 1717 w 6933"/>
                  <a:gd name="T105" fmla="*/ 1039 h 1361"/>
                  <a:gd name="T106" fmla="*/ 3956 w 6933"/>
                  <a:gd name="T107" fmla="*/ 326 h 1361"/>
                  <a:gd name="T108" fmla="*/ 3956 w 6933"/>
                  <a:gd name="T109" fmla="*/ 383 h 1361"/>
                  <a:gd name="T110" fmla="*/ 3956 w 6933"/>
                  <a:gd name="T111" fmla="*/ 326 h 1361"/>
                  <a:gd name="T112" fmla="*/ 4609 w 6933"/>
                  <a:gd name="T113" fmla="*/ 232 h 1361"/>
                  <a:gd name="T114" fmla="*/ 4609 w 6933"/>
                  <a:gd name="T115" fmla="*/ 232 h 1361"/>
                  <a:gd name="T116" fmla="*/ 4758 w 6933"/>
                  <a:gd name="T117" fmla="*/ 2 h 1361"/>
                  <a:gd name="T118" fmla="*/ 4758 w 6933"/>
                  <a:gd name="T119" fmla="*/ 120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61">
                    <a:moveTo>
                      <a:pt x="3618" y="1221"/>
                    </a:moveTo>
                    <a:lnTo>
                      <a:pt x="3616" y="1221"/>
                    </a:lnTo>
                    <a:lnTo>
                      <a:pt x="3616" y="1224"/>
                    </a:lnTo>
                    <a:lnTo>
                      <a:pt x="3616" y="1224"/>
                    </a:lnTo>
                    <a:lnTo>
                      <a:pt x="3618" y="1224"/>
                    </a:lnTo>
                    <a:lnTo>
                      <a:pt x="3618" y="1221"/>
                    </a:lnTo>
                    <a:moveTo>
                      <a:pt x="5736" y="1207"/>
                    </a:moveTo>
                    <a:lnTo>
                      <a:pt x="5736" y="1207"/>
                    </a:lnTo>
                    <a:lnTo>
                      <a:pt x="5736" y="1209"/>
                    </a:lnTo>
                    <a:lnTo>
                      <a:pt x="5736" y="1233"/>
                    </a:lnTo>
                    <a:lnTo>
                      <a:pt x="5736" y="1233"/>
                    </a:lnTo>
                    <a:lnTo>
                      <a:pt x="5736" y="1207"/>
                    </a:lnTo>
                    <a:moveTo>
                      <a:pt x="5763" y="1127"/>
                    </a:moveTo>
                    <a:lnTo>
                      <a:pt x="5760" y="1127"/>
                    </a:lnTo>
                    <a:lnTo>
                      <a:pt x="5760" y="1129"/>
                    </a:lnTo>
                    <a:lnTo>
                      <a:pt x="5760" y="1183"/>
                    </a:lnTo>
                    <a:lnTo>
                      <a:pt x="5763" y="1183"/>
                    </a:lnTo>
                    <a:lnTo>
                      <a:pt x="5763" y="1181"/>
                    </a:lnTo>
                    <a:lnTo>
                      <a:pt x="5763" y="1181"/>
                    </a:lnTo>
                    <a:lnTo>
                      <a:pt x="5763" y="1127"/>
                    </a:lnTo>
                    <a:moveTo>
                      <a:pt x="2767" y="1063"/>
                    </a:moveTo>
                    <a:lnTo>
                      <a:pt x="2764" y="1063"/>
                    </a:lnTo>
                    <a:lnTo>
                      <a:pt x="2764" y="1063"/>
                    </a:lnTo>
                    <a:lnTo>
                      <a:pt x="2764" y="1148"/>
                    </a:lnTo>
                    <a:lnTo>
                      <a:pt x="2767" y="1148"/>
                    </a:lnTo>
                    <a:lnTo>
                      <a:pt x="2767" y="1063"/>
                    </a:lnTo>
                    <a:moveTo>
                      <a:pt x="5838" y="1041"/>
                    </a:moveTo>
                    <a:lnTo>
                      <a:pt x="5836" y="1041"/>
                    </a:lnTo>
                    <a:lnTo>
                      <a:pt x="5836" y="1041"/>
                    </a:lnTo>
                    <a:lnTo>
                      <a:pt x="5836" y="1053"/>
                    </a:lnTo>
                    <a:lnTo>
                      <a:pt x="5836" y="1053"/>
                    </a:lnTo>
                    <a:lnTo>
                      <a:pt x="5836" y="1051"/>
                    </a:lnTo>
                    <a:lnTo>
                      <a:pt x="5838" y="1051"/>
                    </a:lnTo>
                    <a:lnTo>
                      <a:pt x="5838" y="1041"/>
                    </a:lnTo>
                    <a:moveTo>
                      <a:pt x="2783" y="1011"/>
                    </a:moveTo>
                    <a:lnTo>
                      <a:pt x="2783" y="1011"/>
                    </a:lnTo>
                    <a:lnTo>
                      <a:pt x="2783" y="1013"/>
                    </a:lnTo>
                    <a:lnTo>
                      <a:pt x="2783" y="1044"/>
                    </a:lnTo>
                    <a:lnTo>
                      <a:pt x="2783" y="1044"/>
                    </a:lnTo>
                    <a:lnTo>
                      <a:pt x="2783" y="1044"/>
                    </a:lnTo>
                    <a:lnTo>
                      <a:pt x="2783" y="1044"/>
                    </a:lnTo>
                    <a:lnTo>
                      <a:pt x="2783" y="1011"/>
                    </a:lnTo>
                    <a:moveTo>
                      <a:pt x="3677" y="992"/>
                    </a:moveTo>
                    <a:lnTo>
                      <a:pt x="3675" y="992"/>
                    </a:lnTo>
                    <a:lnTo>
                      <a:pt x="3675" y="994"/>
                    </a:lnTo>
                    <a:lnTo>
                      <a:pt x="3675" y="1162"/>
                    </a:lnTo>
                    <a:lnTo>
                      <a:pt x="3677" y="1162"/>
                    </a:lnTo>
                    <a:lnTo>
                      <a:pt x="3677" y="1160"/>
                    </a:lnTo>
                    <a:lnTo>
                      <a:pt x="3677" y="1160"/>
                    </a:lnTo>
                    <a:lnTo>
                      <a:pt x="3677" y="992"/>
                    </a:lnTo>
                    <a:moveTo>
                      <a:pt x="5855" y="989"/>
                    </a:moveTo>
                    <a:lnTo>
                      <a:pt x="5855" y="989"/>
                    </a:lnTo>
                    <a:lnTo>
                      <a:pt x="5855" y="992"/>
                    </a:lnTo>
                    <a:lnTo>
                      <a:pt x="5855" y="1025"/>
                    </a:lnTo>
                    <a:lnTo>
                      <a:pt x="5855" y="1025"/>
                    </a:lnTo>
                    <a:lnTo>
                      <a:pt x="5855" y="1022"/>
                    </a:lnTo>
                    <a:lnTo>
                      <a:pt x="5855" y="1022"/>
                    </a:lnTo>
                    <a:lnTo>
                      <a:pt x="5855" y="989"/>
                    </a:lnTo>
                    <a:moveTo>
                      <a:pt x="6247" y="935"/>
                    </a:moveTo>
                    <a:lnTo>
                      <a:pt x="6245" y="935"/>
                    </a:lnTo>
                    <a:lnTo>
                      <a:pt x="6245" y="937"/>
                    </a:lnTo>
                    <a:lnTo>
                      <a:pt x="6245" y="1110"/>
                    </a:lnTo>
                    <a:lnTo>
                      <a:pt x="6245" y="1110"/>
                    </a:lnTo>
                    <a:lnTo>
                      <a:pt x="6245" y="1108"/>
                    </a:lnTo>
                    <a:lnTo>
                      <a:pt x="6247" y="1108"/>
                    </a:lnTo>
                    <a:lnTo>
                      <a:pt x="6247" y="935"/>
                    </a:lnTo>
                    <a:moveTo>
                      <a:pt x="6297" y="878"/>
                    </a:moveTo>
                    <a:lnTo>
                      <a:pt x="6295" y="878"/>
                    </a:lnTo>
                    <a:lnTo>
                      <a:pt x="6295" y="880"/>
                    </a:lnTo>
                    <a:lnTo>
                      <a:pt x="6295" y="887"/>
                    </a:lnTo>
                    <a:lnTo>
                      <a:pt x="6295" y="887"/>
                    </a:lnTo>
                    <a:lnTo>
                      <a:pt x="6295" y="885"/>
                    </a:lnTo>
                    <a:lnTo>
                      <a:pt x="6297" y="885"/>
                    </a:lnTo>
                    <a:lnTo>
                      <a:pt x="6297" y="878"/>
                    </a:lnTo>
                    <a:moveTo>
                      <a:pt x="6304" y="850"/>
                    </a:moveTo>
                    <a:lnTo>
                      <a:pt x="6302" y="850"/>
                    </a:lnTo>
                    <a:lnTo>
                      <a:pt x="6302" y="852"/>
                    </a:lnTo>
                    <a:lnTo>
                      <a:pt x="6302" y="871"/>
                    </a:lnTo>
                    <a:lnTo>
                      <a:pt x="6304" y="871"/>
                    </a:lnTo>
                    <a:lnTo>
                      <a:pt x="6304" y="869"/>
                    </a:lnTo>
                    <a:lnTo>
                      <a:pt x="6304" y="869"/>
                    </a:lnTo>
                    <a:lnTo>
                      <a:pt x="6304" y="850"/>
                    </a:lnTo>
                    <a:moveTo>
                      <a:pt x="3008" y="762"/>
                    </a:moveTo>
                    <a:lnTo>
                      <a:pt x="3005" y="762"/>
                    </a:lnTo>
                    <a:lnTo>
                      <a:pt x="3005" y="764"/>
                    </a:lnTo>
                    <a:lnTo>
                      <a:pt x="3005" y="887"/>
                    </a:lnTo>
                    <a:lnTo>
                      <a:pt x="3008" y="887"/>
                    </a:lnTo>
                    <a:lnTo>
                      <a:pt x="3008" y="762"/>
                    </a:lnTo>
                    <a:moveTo>
                      <a:pt x="5039" y="731"/>
                    </a:moveTo>
                    <a:lnTo>
                      <a:pt x="5037" y="731"/>
                    </a:lnTo>
                    <a:lnTo>
                      <a:pt x="5037" y="734"/>
                    </a:lnTo>
                    <a:lnTo>
                      <a:pt x="5037" y="880"/>
                    </a:lnTo>
                    <a:lnTo>
                      <a:pt x="5039" y="880"/>
                    </a:lnTo>
                    <a:lnTo>
                      <a:pt x="5039" y="731"/>
                    </a:lnTo>
                    <a:moveTo>
                      <a:pt x="3046" y="655"/>
                    </a:moveTo>
                    <a:lnTo>
                      <a:pt x="3043" y="655"/>
                    </a:lnTo>
                    <a:lnTo>
                      <a:pt x="3043" y="658"/>
                    </a:lnTo>
                    <a:lnTo>
                      <a:pt x="3043" y="724"/>
                    </a:lnTo>
                    <a:lnTo>
                      <a:pt x="3043" y="724"/>
                    </a:lnTo>
                    <a:lnTo>
                      <a:pt x="3043" y="722"/>
                    </a:lnTo>
                    <a:lnTo>
                      <a:pt x="3046" y="722"/>
                    </a:lnTo>
                    <a:lnTo>
                      <a:pt x="3046" y="655"/>
                    </a:lnTo>
                    <a:moveTo>
                      <a:pt x="3" y="615"/>
                    </a:moveTo>
                    <a:lnTo>
                      <a:pt x="0" y="615"/>
                    </a:lnTo>
                    <a:lnTo>
                      <a:pt x="0" y="618"/>
                    </a:lnTo>
                    <a:lnTo>
                      <a:pt x="0" y="1361"/>
                    </a:lnTo>
                    <a:lnTo>
                      <a:pt x="3" y="1361"/>
                    </a:lnTo>
                    <a:lnTo>
                      <a:pt x="3" y="615"/>
                    </a:lnTo>
                    <a:moveTo>
                      <a:pt x="5160" y="608"/>
                    </a:moveTo>
                    <a:lnTo>
                      <a:pt x="5157" y="608"/>
                    </a:lnTo>
                    <a:lnTo>
                      <a:pt x="5157" y="610"/>
                    </a:lnTo>
                    <a:lnTo>
                      <a:pt x="5157" y="639"/>
                    </a:lnTo>
                    <a:lnTo>
                      <a:pt x="5160" y="639"/>
                    </a:lnTo>
                    <a:lnTo>
                      <a:pt x="5160" y="608"/>
                    </a:lnTo>
                    <a:moveTo>
                      <a:pt x="6933" y="509"/>
                    </a:moveTo>
                    <a:lnTo>
                      <a:pt x="6931" y="509"/>
                    </a:lnTo>
                    <a:lnTo>
                      <a:pt x="6931" y="509"/>
                    </a:lnTo>
                    <a:lnTo>
                      <a:pt x="6931" y="1001"/>
                    </a:lnTo>
                    <a:lnTo>
                      <a:pt x="6933" y="1001"/>
                    </a:lnTo>
                    <a:lnTo>
                      <a:pt x="6933" y="509"/>
                    </a:lnTo>
                    <a:moveTo>
                      <a:pt x="3206" y="499"/>
                    </a:moveTo>
                    <a:lnTo>
                      <a:pt x="3204" y="499"/>
                    </a:lnTo>
                    <a:lnTo>
                      <a:pt x="3204" y="502"/>
                    </a:lnTo>
                    <a:lnTo>
                      <a:pt x="3204" y="563"/>
                    </a:lnTo>
                    <a:lnTo>
                      <a:pt x="3206" y="563"/>
                    </a:lnTo>
                    <a:lnTo>
                      <a:pt x="3206" y="563"/>
                    </a:lnTo>
                    <a:lnTo>
                      <a:pt x="3206" y="563"/>
                    </a:lnTo>
                    <a:lnTo>
                      <a:pt x="3206" y="499"/>
                    </a:lnTo>
                    <a:moveTo>
                      <a:pt x="3944" y="454"/>
                    </a:moveTo>
                    <a:lnTo>
                      <a:pt x="3942" y="454"/>
                    </a:lnTo>
                    <a:lnTo>
                      <a:pt x="3942" y="454"/>
                    </a:lnTo>
                    <a:lnTo>
                      <a:pt x="3942" y="490"/>
                    </a:lnTo>
                    <a:lnTo>
                      <a:pt x="3859" y="641"/>
                    </a:lnTo>
                    <a:lnTo>
                      <a:pt x="3859" y="835"/>
                    </a:lnTo>
                    <a:lnTo>
                      <a:pt x="3861" y="835"/>
                    </a:lnTo>
                    <a:lnTo>
                      <a:pt x="3861" y="641"/>
                    </a:lnTo>
                    <a:lnTo>
                      <a:pt x="3944" y="487"/>
                    </a:lnTo>
                    <a:lnTo>
                      <a:pt x="3944" y="454"/>
                    </a:lnTo>
                    <a:moveTo>
                      <a:pt x="3235" y="433"/>
                    </a:moveTo>
                    <a:lnTo>
                      <a:pt x="3232" y="433"/>
                    </a:lnTo>
                    <a:lnTo>
                      <a:pt x="3232" y="435"/>
                    </a:lnTo>
                    <a:lnTo>
                      <a:pt x="3232" y="473"/>
                    </a:lnTo>
                    <a:lnTo>
                      <a:pt x="3235" y="473"/>
                    </a:lnTo>
                    <a:lnTo>
                      <a:pt x="3235" y="471"/>
                    </a:lnTo>
                    <a:lnTo>
                      <a:pt x="3235" y="471"/>
                    </a:lnTo>
                    <a:lnTo>
                      <a:pt x="3235" y="433"/>
                    </a:lnTo>
                    <a:moveTo>
                      <a:pt x="3949" y="390"/>
                    </a:moveTo>
                    <a:lnTo>
                      <a:pt x="3947" y="390"/>
                    </a:lnTo>
                    <a:lnTo>
                      <a:pt x="3947" y="393"/>
                    </a:lnTo>
                    <a:lnTo>
                      <a:pt x="3947" y="447"/>
                    </a:lnTo>
                    <a:lnTo>
                      <a:pt x="3949" y="447"/>
                    </a:lnTo>
                    <a:lnTo>
                      <a:pt x="3949" y="445"/>
                    </a:lnTo>
                    <a:lnTo>
                      <a:pt x="3949" y="445"/>
                    </a:lnTo>
                    <a:lnTo>
                      <a:pt x="3949" y="390"/>
                    </a:lnTo>
                    <a:moveTo>
                      <a:pt x="1717" y="367"/>
                    </a:moveTo>
                    <a:lnTo>
                      <a:pt x="1714" y="367"/>
                    </a:lnTo>
                    <a:lnTo>
                      <a:pt x="1714" y="369"/>
                    </a:lnTo>
                    <a:lnTo>
                      <a:pt x="1714" y="1039"/>
                    </a:lnTo>
                    <a:lnTo>
                      <a:pt x="1717" y="1039"/>
                    </a:lnTo>
                    <a:lnTo>
                      <a:pt x="1717" y="367"/>
                    </a:lnTo>
                    <a:moveTo>
                      <a:pt x="3956" y="326"/>
                    </a:moveTo>
                    <a:lnTo>
                      <a:pt x="3956" y="326"/>
                    </a:lnTo>
                    <a:lnTo>
                      <a:pt x="3956" y="329"/>
                    </a:lnTo>
                    <a:lnTo>
                      <a:pt x="3956" y="383"/>
                    </a:lnTo>
                    <a:lnTo>
                      <a:pt x="3956" y="383"/>
                    </a:lnTo>
                    <a:lnTo>
                      <a:pt x="3956" y="381"/>
                    </a:lnTo>
                    <a:lnTo>
                      <a:pt x="3956" y="381"/>
                    </a:lnTo>
                    <a:lnTo>
                      <a:pt x="3956" y="326"/>
                    </a:lnTo>
                    <a:moveTo>
                      <a:pt x="4609" y="232"/>
                    </a:moveTo>
                    <a:lnTo>
                      <a:pt x="4609" y="232"/>
                    </a:lnTo>
                    <a:lnTo>
                      <a:pt x="4609" y="232"/>
                    </a:lnTo>
                    <a:lnTo>
                      <a:pt x="4554" y="433"/>
                    </a:lnTo>
                    <a:lnTo>
                      <a:pt x="4554" y="431"/>
                    </a:lnTo>
                    <a:lnTo>
                      <a:pt x="4609" y="232"/>
                    </a:lnTo>
                    <a:moveTo>
                      <a:pt x="4760" y="0"/>
                    </a:moveTo>
                    <a:lnTo>
                      <a:pt x="4758" y="0"/>
                    </a:lnTo>
                    <a:lnTo>
                      <a:pt x="4758" y="2"/>
                    </a:lnTo>
                    <a:lnTo>
                      <a:pt x="4758" y="123"/>
                    </a:lnTo>
                    <a:lnTo>
                      <a:pt x="4758" y="123"/>
                    </a:lnTo>
                    <a:lnTo>
                      <a:pt x="4758" y="120"/>
                    </a:lnTo>
                    <a:lnTo>
                      <a:pt x="4760" y="120"/>
                    </a:lnTo>
                    <a:lnTo>
                      <a:pt x="47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6" name="Freeform 48"/>
              <p:cNvSpPr>
                <a:spLocks noEditPoints="1"/>
              </p:cNvSpPr>
              <p:nvPr/>
            </p:nvSpPr>
            <p:spPr bwMode="auto">
              <a:xfrm>
                <a:off x="52" y="1750"/>
                <a:ext cx="6930" cy="1364"/>
              </a:xfrm>
              <a:custGeom>
                <a:avLst/>
                <a:gdLst>
                  <a:gd name="T0" fmla="*/ 3615 w 6930"/>
                  <a:gd name="T1" fmla="*/ 1224 h 1364"/>
                  <a:gd name="T2" fmla="*/ 3617 w 6930"/>
                  <a:gd name="T3" fmla="*/ 1222 h 1364"/>
                  <a:gd name="T4" fmla="*/ 5733 w 6930"/>
                  <a:gd name="T5" fmla="*/ 1210 h 1364"/>
                  <a:gd name="T6" fmla="*/ 5736 w 6930"/>
                  <a:gd name="T7" fmla="*/ 1208 h 1364"/>
                  <a:gd name="T8" fmla="*/ 5760 w 6930"/>
                  <a:gd name="T9" fmla="*/ 1130 h 1364"/>
                  <a:gd name="T10" fmla="*/ 5760 w 6930"/>
                  <a:gd name="T11" fmla="*/ 1182 h 1364"/>
                  <a:gd name="T12" fmla="*/ 2766 w 6930"/>
                  <a:gd name="T13" fmla="*/ 1063 h 1364"/>
                  <a:gd name="T14" fmla="*/ 2764 w 6930"/>
                  <a:gd name="T15" fmla="*/ 1151 h 1364"/>
                  <a:gd name="T16" fmla="*/ 5835 w 6930"/>
                  <a:gd name="T17" fmla="*/ 1042 h 1364"/>
                  <a:gd name="T18" fmla="*/ 5835 w 6930"/>
                  <a:gd name="T19" fmla="*/ 1054 h 1364"/>
                  <a:gd name="T20" fmla="*/ 5835 w 6930"/>
                  <a:gd name="T21" fmla="*/ 1051 h 1364"/>
                  <a:gd name="T22" fmla="*/ 2780 w 6930"/>
                  <a:gd name="T23" fmla="*/ 1014 h 1364"/>
                  <a:gd name="T24" fmla="*/ 2783 w 6930"/>
                  <a:gd name="T25" fmla="*/ 1047 h 1364"/>
                  <a:gd name="T26" fmla="*/ 2783 w 6930"/>
                  <a:gd name="T27" fmla="*/ 1011 h 1364"/>
                  <a:gd name="T28" fmla="*/ 3674 w 6930"/>
                  <a:gd name="T29" fmla="*/ 995 h 1364"/>
                  <a:gd name="T30" fmla="*/ 3676 w 6930"/>
                  <a:gd name="T31" fmla="*/ 1160 h 1364"/>
                  <a:gd name="T32" fmla="*/ 5854 w 6930"/>
                  <a:gd name="T33" fmla="*/ 990 h 1364"/>
                  <a:gd name="T34" fmla="*/ 5852 w 6930"/>
                  <a:gd name="T35" fmla="*/ 1025 h 1364"/>
                  <a:gd name="T36" fmla="*/ 5854 w 6930"/>
                  <a:gd name="T37" fmla="*/ 1023 h 1364"/>
                  <a:gd name="T38" fmla="*/ 6244 w 6930"/>
                  <a:gd name="T39" fmla="*/ 935 h 1364"/>
                  <a:gd name="T40" fmla="*/ 6244 w 6930"/>
                  <a:gd name="T41" fmla="*/ 1111 h 1364"/>
                  <a:gd name="T42" fmla="*/ 6244 w 6930"/>
                  <a:gd name="T43" fmla="*/ 935 h 1364"/>
                  <a:gd name="T44" fmla="*/ 6294 w 6930"/>
                  <a:gd name="T45" fmla="*/ 881 h 1364"/>
                  <a:gd name="T46" fmla="*/ 6294 w 6930"/>
                  <a:gd name="T47" fmla="*/ 886 h 1364"/>
                  <a:gd name="T48" fmla="*/ 6303 w 6930"/>
                  <a:gd name="T49" fmla="*/ 850 h 1364"/>
                  <a:gd name="T50" fmla="*/ 6301 w 6930"/>
                  <a:gd name="T51" fmla="*/ 872 h 1364"/>
                  <a:gd name="T52" fmla="*/ 6303 w 6930"/>
                  <a:gd name="T53" fmla="*/ 869 h 1364"/>
                  <a:gd name="T54" fmla="*/ 3005 w 6930"/>
                  <a:gd name="T55" fmla="*/ 763 h 1364"/>
                  <a:gd name="T56" fmla="*/ 3005 w 6930"/>
                  <a:gd name="T57" fmla="*/ 890 h 1364"/>
                  <a:gd name="T58" fmla="*/ 5036 w 6930"/>
                  <a:gd name="T59" fmla="*/ 732 h 1364"/>
                  <a:gd name="T60" fmla="*/ 5038 w 6930"/>
                  <a:gd name="T61" fmla="*/ 883 h 1364"/>
                  <a:gd name="T62" fmla="*/ 3043 w 6930"/>
                  <a:gd name="T63" fmla="*/ 656 h 1364"/>
                  <a:gd name="T64" fmla="*/ 3043 w 6930"/>
                  <a:gd name="T65" fmla="*/ 725 h 1364"/>
                  <a:gd name="T66" fmla="*/ 3045 w 6930"/>
                  <a:gd name="T67" fmla="*/ 656 h 1364"/>
                  <a:gd name="T68" fmla="*/ 0 w 6930"/>
                  <a:gd name="T69" fmla="*/ 618 h 1364"/>
                  <a:gd name="T70" fmla="*/ 2 w 6930"/>
                  <a:gd name="T71" fmla="*/ 616 h 1364"/>
                  <a:gd name="T72" fmla="*/ 5157 w 6930"/>
                  <a:gd name="T73" fmla="*/ 611 h 1364"/>
                  <a:gd name="T74" fmla="*/ 5159 w 6930"/>
                  <a:gd name="T75" fmla="*/ 609 h 1364"/>
                  <a:gd name="T76" fmla="*/ 6930 w 6930"/>
                  <a:gd name="T77" fmla="*/ 512 h 1364"/>
                  <a:gd name="T78" fmla="*/ 6930 w 6930"/>
                  <a:gd name="T79" fmla="*/ 509 h 1364"/>
                  <a:gd name="T80" fmla="*/ 3203 w 6930"/>
                  <a:gd name="T81" fmla="*/ 502 h 1364"/>
                  <a:gd name="T82" fmla="*/ 3206 w 6930"/>
                  <a:gd name="T83" fmla="*/ 564 h 1364"/>
                  <a:gd name="T84" fmla="*/ 3941 w 6930"/>
                  <a:gd name="T85" fmla="*/ 455 h 1364"/>
                  <a:gd name="T86" fmla="*/ 3941 w 6930"/>
                  <a:gd name="T87" fmla="*/ 457 h 1364"/>
                  <a:gd name="T88" fmla="*/ 3858 w 6930"/>
                  <a:gd name="T89" fmla="*/ 838 h 1364"/>
                  <a:gd name="T90" fmla="*/ 3941 w 6930"/>
                  <a:gd name="T91" fmla="*/ 490 h 1364"/>
                  <a:gd name="T92" fmla="*/ 3232 w 6930"/>
                  <a:gd name="T93" fmla="*/ 434 h 1364"/>
                  <a:gd name="T94" fmla="*/ 3234 w 6930"/>
                  <a:gd name="T95" fmla="*/ 474 h 1364"/>
                  <a:gd name="T96" fmla="*/ 3234 w 6930"/>
                  <a:gd name="T97" fmla="*/ 434 h 1364"/>
                  <a:gd name="T98" fmla="*/ 3946 w 6930"/>
                  <a:gd name="T99" fmla="*/ 393 h 1364"/>
                  <a:gd name="T100" fmla="*/ 3948 w 6930"/>
                  <a:gd name="T101" fmla="*/ 448 h 1364"/>
                  <a:gd name="T102" fmla="*/ 1716 w 6930"/>
                  <a:gd name="T103" fmla="*/ 370 h 1364"/>
                  <a:gd name="T104" fmla="*/ 1714 w 6930"/>
                  <a:gd name="T105" fmla="*/ 1042 h 1364"/>
                  <a:gd name="T106" fmla="*/ 3955 w 6930"/>
                  <a:gd name="T107" fmla="*/ 327 h 1364"/>
                  <a:gd name="T108" fmla="*/ 3953 w 6930"/>
                  <a:gd name="T109" fmla="*/ 384 h 1364"/>
                  <a:gd name="T110" fmla="*/ 3955 w 6930"/>
                  <a:gd name="T111" fmla="*/ 381 h 1364"/>
                  <a:gd name="T112" fmla="*/ 4608 w 6930"/>
                  <a:gd name="T113" fmla="*/ 232 h 1364"/>
                  <a:gd name="T114" fmla="*/ 4554 w 6930"/>
                  <a:gd name="T115" fmla="*/ 434 h 1364"/>
                  <a:gd name="T116" fmla="*/ 4757 w 6930"/>
                  <a:gd name="T117" fmla="*/ 0 h 1364"/>
                  <a:gd name="T118" fmla="*/ 4757 w 6930"/>
                  <a:gd name="T119" fmla="*/ 123 h 1364"/>
                  <a:gd name="T120" fmla="*/ 4757 w 6930"/>
                  <a:gd name="T121" fmla="*/ 0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4">
                    <a:moveTo>
                      <a:pt x="3617" y="1222"/>
                    </a:moveTo>
                    <a:lnTo>
                      <a:pt x="3615" y="1222"/>
                    </a:lnTo>
                    <a:lnTo>
                      <a:pt x="3615" y="1224"/>
                    </a:lnTo>
                    <a:lnTo>
                      <a:pt x="3615" y="1227"/>
                    </a:lnTo>
                    <a:lnTo>
                      <a:pt x="3617" y="1227"/>
                    </a:lnTo>
                    <a:lnTo>
                      <a:pt x="3617" y="1222"/>
                    </a:lnTo>
                    <a:close/>
                    <a:moveTo>
                      <a:pt x="5736" y="1208"/>
                    </a:moveTo>
                    <a:lnTo>
                      <a:pt x="5733" y="1208"/>
                    </a:lnTo>
                    <a:lnTo>
                      <a:pt x="5733" y="1210"/>
                    </a:lnTo>
                    <a:lnTo>
                      <a:pt x="5733" y="1236"/>
                    </a:lnTo>
                    <a:lnTo>
                      <a:pt x="5736" y="1236"/>
                    </a:lnTo>
                    <a:lnTo>
                      <a:pt x="5736" y="1208"/>
                    </a:lnTo>
                    <a:close/>
                    <a:moveTo>
                      <a:pt x="5762" y="1127"/>
                    </a:moveTo>
                    <a:lnTo>
                      <a:pt x="5760" y="1127"/>
                    </a:lnTo>
                    <a:lnTo>
                      <a:pt x="5760" y="1130"/>
                    </a:lnTo>
                    <a:lnTo>
                      <a:pt x="5760" y="1184"/>
                    </a:lnTo>
                    <a:lnTo>
                      <a:pt x="5760" y="1184"/>
                    </a:lnTo>
                    <a:lnTo>
                      <a:pt x="5760" y="1182"/>
                    </a:lnTo>
                    <a:lnTo>
                      <a:pt x="5762" y="1182"/>
                    </a:lnTo>
                    <a:lnTo>
                      <a:pt x="5762" y="1127"/>
                    </a:lnTo>
                    <a:close/>
                    <a:moveTo>
                      <a:pt x="2766" y="1063"/>
                    </a:moveTo>
                    <a:lnTo>
                      <a:pt x="2764" y="1063"/>
                    </a:lnTo>
                    <a:lnTo>
                      <a:pt x="2764" y="1066"/>
                    </a:lnTo>
                    <a:lnTo>
                      <a:pt x="2764" y="1151"/>
                    </a:lnTo>
                    <a:lnTo>
                      <a:pt x="2766" y="1151"/>
                    </a:lnTo>
                    <a:lnTo>
                      <a:pt x="2766" y="1063"/>
                    </a:lnTo>
                    <a:close/>
                    <a:moveTo>
                      <a:pt x="5835" y="1042"/>
                    </a:moveTo>
                    <a:lnTo>
                      <a:pt x="5835" y="1042"/>
                    </a:lnTo>
                    <a:lnTo>
                      <a:pt x="5835" y="1044"/>
                    </a:lnTo>
                    <a:lnTo>
                      <a:pt x="5835" y="1054"/>
                    </a:lnTo>
                    <a:lnTo>
                      <a:pt x="5835" y="1054"/>
                    </a:lnTo>
                    <a:lnTo>
                      <a:pt x="5835" y="1051"/>
                    </a:lnTo>
                    <a:lnTo>
                      <a:pt x="5835" y="1051"/>
                    </a:lnTo>
                    <a:lnTo>
                      <a:pt x="5835" y="1042"/>
                    </a:lnTo>
                    <a:close/>
                    <a:moveTo>
                      <a:pt x="2783" y="1011"/>
                    </a:moveTo>
                    <a:lnTo>
                      <a:pt x="2780" y="1014"/>
                    </a:lnTo>
                    <a:lnTo>
                      <a:pt x="2780" y="1014"/>
                    </a:lnTo>
                    <a:lnTo>
                      <a:pt x="2780" y="1047"/>
                    </a:lnTo>
                    <a:lnTo>
                      <a:pt x="2783" y="1047"/>
                    </a:lnTo>
                    <a:lnTo>
                      <a:pt x="2783" y="1044"/>
                    </a:lnTo>
                    <a:lnTo>
                      <a:pt x="2783" y="1044"/>
                    </a:lnTo>
                    <a:lnTo>
                      <a:pt x="2783" y="1011"/>
                    </a:lnTo>
                    <a:close/>
                    <a:moveTo>
                      <a:pt x="3676" y="995"/>
                    </a:moveTo>
                    <a:lnTo>
                      <a:pt x="3674" y="995"/>
                    </a:lnTo>
                    <a:lnTo>
                      <a:pt x="3674" y="995"/>
                    </a:lnTo>
                    <a:lnTo>
                      <a:pt x="3674" y="1163"/>
                    </a:lnTo>
                    <a:lnTo>
                      <a:pt x="3676" y="1163"/>
                    </a:lnTo>
                    <a:lnTo>
                      <a:pt x="3676" y="1160"/>
                    </a:lnTo>
                    <a:lnTo>
                      <a:pt x="3676" y="1160"/>
                    </a:lnTo>
                    <a:lnTo>
                      <a:pt x="3676" y="995"/>
                    </a:lnTo>
                    <a:close/>
                    <a:moveTo>
                      <a:pt x="5854" y="990"/>
                    </a:moveTo>
                    <a:lnTo>
                      <a:pt x="5852" y="990"/>
                    </a:lnTo>
                    <a:lnTo>
                      <a:pt x="5852" y="992"/>
                    </a:lnTo>
                    <a:lnTo>
                      <a:pt x="5852" y="1025"/>
                    </a:lnTo>
                    <a:lnTo>
                      <a:pt x="5854" y="1025"/>
                    </a:lnTo>
                    <a:lnTo>
                      <a:pt x="5854" y="1023"/>
                    </a:lnTo>
                    <a:lnTo>
                      <a:pt x="5854" y="1023"/>
                    </a:lnTo>
                    <a:lnTo>
                      <a:pt x="5854" y="990"/>
                    </a:lnTo>
                    <a:close/>
                    <a:moveTo>
                      <a:pt x="6244" y="935"/>
                    </a:moveTo>
                    <a:lnTo>
                      <a:pt x="6244" y="935"/>
                    </a:lnTo>
                    <a:lnTo>
                      <a:pt x="6244" y="938"/>
                    </a:lnTo>
                    <a:lnTo>
                      <a:pt x="6244" y="1111"/>
                    </a:lnTo>
                    <a:lnTo>
                      <a:pt x="6244" y="1111"/>
                    </a:lnTo>
                    <a:lnTo>
                      <a:pt x="6244" y="1111"/>
                    </a:lnTo>
                    <a:lnTo>
                      <a:pt x="6244" y="1111"/>
                    </a:lnTo>
                    <a:lnTo>
                      <a:pt x="6244" y="935"/>
                    </a:lnTo>
                    <a:close/>
                    <a:moveTo>
                      <a:pt x="6294" y="879"/>
                    </a:moveTo>
                    <a:lnTo>
                      <a:pt x="6294" y="879"/>
                    </a:lnTo>
                    <a:lnTo>
                      <a:pt x="6294" y="881"/>
                    </a:lnTo>
                    <a:lnTo>
                      <a:pt x="6294" y="888"/>
                    </a:lnTo>
                    <a:lnTo>
                      <a:pt x="6294" y="888"/>
                    </a:lnTo>
                    <a:lnTo>
                      <a:pt x="6294" y="886"/>
                    </a:lnTo>
                    <a:lnTo>
                      <a:pt x="6294" y="886"/>
                    </a:lnTo>
                    <a:lnTo>
                      <a:pt x="6294" y="879"/>
                    </a:lnTo>
                    <a:close/>
                    <a:moveTo>
                      <a:pt x="6303" y="850"/>
                    </a:moveTo>
                    <a:lnTo>
                      <a:pt x="6301" y="850"/>
                    </a:lnTo>
                    <a:lnTo>
                      <a:pt x="6301" y="853"/>
                    </a:lnTo>
                    <a:lnTo>
                      <a:pt x="6301" y="872"/>
                    </a:lnTo>
                    <a:lnTo>
                      <a:pt x="6303" y="872"/>
                    </a:lnTo>
                    <a:lnTo>
                      <a:pt x="6303" y="869"/>
                    </a:lnTo>
                    <a:lnTo>
                      <a:pt x="6303" y="869"/>
                    </a:lnTo>
                    <a:lnTo>
                      <a:pt x="6303" y="850"/>
                    </a:lnTo>
                    <a:close/>
                    <a:moveTo>
                      <a:pt x="3005" y="763"/>
                    </a:moveTo>
                    <a:lnTo>
                      <a:pt x="3005" y="763"/>
                    </a:lnTo>
                    <a:lnTo>
                      <a:pt x="3005" y="765"/>
                    </a:lnTo>
                    <a:lnTo>
                      <a:pt x="3005" y="890"/>
                    </a:lnTo>
                    <a:lnTo>
                      <a:pt x="3005" y="890"/>
                    </a:lnTo>
                    <a:lnTo>
                      <a:pt x="3005" y="763"/>
                    </a:lnTo>
                    <a:close/>
                    <a:moveTo>
                      <a:pt x="5038" y="732"/>
                    </a:moveTo>
                    <a:lnTo>
                      <a:pt x="5036" y="732"/>
                    </a:lnTo>
                    <a:lnTo>
                      <a:pt x="5036" y="734"/>
                    </a:lnTo>
                    <a:lnTo>
                      <a:pt x="5036" y="883"/>
                    </a:lnTo>
                    <a:lnTo>
                      <a:pt x="5038" y="883"/>
                    </a:lnTo>
                    <a:lnTo>
                      <a:pt x="5038" y="732"/>
                    </a:lnTo>
                    <a:close/>
                    <a:moveTo>
                      <a:pt x="3045" y="656"/>
                    </a:moveTo>
                    <a:lnTo>
                      <a:pt x="3043" y="656"/>
                    </a:lnTo>
                    <a:lnTo>
                      <a:pt x="3043" y="658"/>
                    </a:lnTo>
                    <a:lnTo>
                      <a:pt x="3043" y="725"/>
                    </a:lnTo>
                    <a:lnTo>
                      <a:pt x="3043" y="725"/>
                    </a:lnTo>
                    <a:lnTo>
                      <a:pt x="3043" y="725"/>
                    </a:lnTo>
                    <a:lnTo>
                      <a:pt x="3045" y="725"/>
                    </a:lnTo>
                    <a:lnTo>
                      <a:pt x="3045" y="656"/>
                    </a:lnTo>
                    <a:close/>
                    <a:moveTo>
                      <a:pt x="2" y="616"/>
                    </a:moveTo>
                    <a:lnTo>
                      <a:pt x="0" y="616"/>
                    </a:lnTo>
                    <a:lnTo>
                      <a:pt x="0" y="618"/>
                    </a:lnTo>
                    <a:lnTo>
                      <a:pt x="0" y="1364"/>
                    </a:lnTo>
                    <a:lnTo>
                      <a:pt x="2" y="1364"/>
                    </a:lnTo>
                    <a:lnTo>
                      <a:pt x="2" y="616"/>
                    </a:lnTo>
                    <a:close/>
                    <a:moveTo>
                      <a:pt x="5159" y="609"/>
                    </a:moveTo>
                    <a:lnTo>
                      <a:pt x="5157" y="609"/>
                    </a:lnTo>
                    <a:lnTo>
                      <a:pt x="5157" y="611"/>
                    </a:lnTo>
                    <a:lnTo>
                      <a:pt x="5157" y="642"/>
                    </a:lnTo>
                    <a:lnTo>
                      <a:pt x="5159" y="642"/>
                    </a:lnTo>
                    <a:lnTo>
                      <a:pt x="5159" y="609"/>
                    </a:lnTo>
                    <a:close/>
                    <a:moveTo>
                      <a:pt x="6930" y="509"/>
                    </a:moveTo>
                    <a:lnTo>
                      <a:pt x="6930" y="509"/>
                    </a:lnTo>
                    <a:lnTo>
                      <a:pt x="6930" y="512"/>
                    </a:lnTo>
                    <a:lnTo>
                      <a:pt x="6930" y="1004"/>
                    </a:lnTo>
                    <a:lnTo>
                      <a:pt x="6930" y="1004"/>
                    </a:lnTo>
                    <a:lnTo>
                      <a:pt x="6930" y="509"/>
                    </a:lnTo>
                    <a:close/>
                    <a:moveTo>
                      <a:pt x="3206" y="502"/>
                    </a:moveTo>
                    <a:lnTo>
                      <a:pt x="3203" y="502"/>
                    </a:lnTo>
                    <a:lnTo>
                      <a:pt x="3203" y="502"/>
                    </a:lnTo>
                    <a:lnTo>
                      <a:pt x="3203" y="566"/>
                    </a:lnTo>
                    <a:lnTo>
                      <a:pt x="3206" y="566"/>
                    </a:lnTo>
                    <a:lnTo>
                      <a:pt x="3206" y="564"/>
                    </a:lnTo>
                    <a:lnTo>
                      <a:pt x="3206" y="564"/>
                    </a:lnTo>
                    <a:lnTo>
                      <a:pt x="3206" y="502"/>
                    </a:lnTo>
                    <a:close/>
                    <a:moveTo>
                      <a:pt x="3941" y="455"/>
                    </a:moveTo>
                    <a:lnTo>
                      <a:pt x="3941" y="455"/>
                    </a:lnTo>
                    <a:lnTo>
                      <a:pt x="3941" y="455"/>
                    </a:lnTo>
                    <a:lnTo>
                      <a:pt x="3941" y="457"/>
                    </a:lnTo>
                    <a:lnTo>
                      <a:pt x="3941" y="490"/>
                    </a:lnTo>
                    <a:lnTo>
                      <a:pt x="3858" y="644"/>
                    </a:lnTo>
                    <a:lnTo>
                      <a:pt x="3858" y="838"/>
                    </a:lnTo>
                    <a:lnTo>
                      <a:pt x="3861" y="838"/>
                    </a:lnTo>
                    <a:lnTo>
                      <a:pt x="3861" y="642"/>
                    </a:lnTo>
                    <a:lnTo>
                      <a:pt x="3941" y="490"/>
                    </a:lnTo>
                    <a:lnTo>
                      <a:pt x="3941" y="455"/>
                    </a:lnTo>
                    <a:close/>
                    <a:moveTo>
                      <a:pt x="3234" y="434"/>
                    </a:moveTo>
                    <a:lnTo>
                      <a:pt x="3232" y="434"/>
                    </a:lnTo>
                    <a:lnTo>
                      <a:pt x="3232" y="436"/>
                    </a:lnTo>
                    <a:lnTo>
                      <a:pt x="3232" y="474"/>
                    </a:lnTo>
                    <a:lnTo>
                      <a:pt x="3234" y="474"/>
                    </a:lnTo>
                    <a:lnTo>
                      <a:pt x="3234" y="471"/>
                    </a:lnTo>
                    <a:lnTo>
                      <a:pt x="3234" y="471"/>
                    </a:lnTo>
                    <a:lnTo>
                      <a:pt x="3234" y="434"/>
                    </a:lnTo>
                    <a:close/>
                    <a:moveTo>
                      <a:pt x="3948" y="391"/>
                    </a:moveTo>
                    <a:lnTo>
                      <a:pt x="3946" y="391"/>
                    </a:lnTo>
                    <a:lnTo>
                      <a:pt x="3946" y="393"/>
                    </a:lnTo>
                    <a:lnTo>
                      <a:pt x="3946" y="448"/>
                    </a:lnTo>
                    <a:lnTo>
                      <a:pt x="3948" y="448"/>
                    </a:lnTo>
                    <a:lnTo>
                      <a:pt x="3948" y="448"/>
                    </a:lnTo>
                    <a:lnTo>
                      <a:pt x="3948" y="448"/>
                    </a:lnTo>
                    <a:lnTo>
                      <a:pt x="3948" y="391"/>
                    </a:lnTo>
                    <a:close/>
                    <a:moveTo>
                      <a:pt x="1716" y="370"/>
                    </a:moveTo>
                    <a:lnTo>
                      <a:pt x="1714" y="370"/>
                    </a:lnTo>
                    <a:lnTo>
                      <a:pt x="1714" y="370"/>
                    </a:lnTo>
                    <a:lnTo>
                      <a:pt x="1714" y="1042"/>
                    </a:lnTo>
                    <a:lnTo>
                      <a:pt x="1716" y="1042"/>
                    </a:lnTo>
                    <a:lnTo>
                      <a:pt x="1716" y="370"/>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6" y="235"/>
                    </a:lnTo>
                    <a:lnTo>
                      <a:pt x="4551" y="434"/>
                    </a:lnTo>
                    <a:lnTo>
                      <a:pt x="4554" y="434"/>
                    </a:lnTo>
                    <a:lnTo>
                      <a:pt x="4608" y="232"/>
                    </a:lnTo>
                    <a:close/>
                    <a:moveTo>
                      <a:pt x="4757" y="0"/>
                    </a:moveTo>
                    <a:lnTo>
                      <a:pt x="4757" y="0"/>
                    </a:lnTo>
                    <a:lnTo>
                      <a:pt x="4757" y="3"/>
                    </a:lnTo>
                    <a:lnTo>
                      <a:pt x="4757" y="123"/>
                    </a:lnTo>
                    <a:lnTo>
                      <a:pt x="4757" y="123"/>
                    </a:lnTo>
                    <a:lnTo>
                      <a:pt x="4757" y="123"/>
                    </a:lnTo>
                    <a:lnTo>
                      <a:pt x="4757" y="123"/>
                    </a:lnTo>
                    <a:lnTo>
                      <a:pt x="4757" y="0"/>
                    </a:lnTo>
                    <a:close/>
                  </a:path>
                </a:pathLst>
              </a:custGeom>
              <a:solidFill>
                <a:srgbClr val="FBFB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7" name="Freeform 49"/>
              <p:cNvSpPr>
                <a:spLocks noEditPoints="1"/>
              </p:cNvSpPr>
              <p:nvPr/>
            </p:nvSpPr>
            <p:spPr bwMode="auto">
              <a:xfrm>
                <a:off x="52" y="1750"/>
                <a:ext cx="6930" cy="1364"/>
              </a:xfrm>
              <a:custGeom>
                <a:avLst/>
                <a:gdLst>
                  <a:gd name="T0" fmla="*/ 3615 w 6930"/>
                  <a:gd name="T1" fmla="*/ 1224 h 1364"/>
                  <a:gd name="T2" fmla="*/ 3617 w 6930"/>
                  <a:gd name="T3" fmla="*/ 1222 h 1364"/>
                  <a:gd name="T4" fmla="*/ 5733 w 6930"/>
                  <a:gd name="T5" fmla="*/ 1210 h 1364"/>
                  <a:gd name="T6" fmla="*/ 5736 w 6930"/>
                  <a:gd name="T7" fmla="*/ 1208 h 1364"/>
                  <a:gd name="T8" fmla="*/ 5760 w 6930"/>
                  <a:gd name="T9" fmla="*/ 1130 h 1364"/>
                  <a:gd name="T10" fmla="*/ 5760 w 6930"/>
                  <a:gd name="T11" fmla="*/ 1182 h 1364"/>
                  <a:gd name="T12" fmla="*/ 2766 w 6930"/>
                  <a:gd name="T13" fmla="*/ 1063 h 1364"/>
                  <a:gd name="T14" fmla="*/ 2764 w 6930"/>
                  <a:gd name="T15" fmla="*/ 1151 h 1364"/>
                  <a:gd name="T16" fmla="*/ 5835 w 6930"/>
                  <a:gd name="T17" fmla="*/ 1042 h 1364"/>
                  <a:gd name="T18" fmla="*/ 5835 w 6930"/>
                  <a:gd name="T19" fmla="*/ 1054 h 1364"/>
                  <a:gd name="T20" fmla="*/ 5835 w 6930"/>
                  <a:gd name="T21" fmla="*/ 1051 h 1364"/>
                  <a:gd name="T22" fmla="*/ 2780 w 6930"/>
                  <a:gd name="T23" fmla="*/ 1014 h 1364"/>
                  <a:gd name="T24" fmla="*/ 2783 w 6930"/>
                  <a:gd name="T25" fmla="*/ 1047 h 1364"/>
                  <a:gd name="T26" fmla="*/ 2783 w 6930"/>
                  <a:gd name="T27" fmla="*/ 1011 h 1364"/>
                  <a:gd name="T28" fmla="*/ 3674 w 6930"/>
                  <a:gd name="T29" fmla="*/ 995 h 1364"/>
                  <a:gd name="T30" fmla="*/ 3676 w 6930"/>
                  <a:gd name="T31" fmla="*/ 1160 h 1364"/>
                  <a:gd name="T32" fmla="*/ 5854 w 6930"/>
                  <a:gd name="T33" fmla="*/ 990 h 1364"/>
                  <a:gd name="T34" fmla="*/ 5852 w 6930"/>
                  <a:gd name="T35" fmla="*/ 1025 h 1364"/>
                  <a:gd name="T36" fmla="*/ 5854 w 6930"/>
                  <a:gd name="T37" fmla="*/ 1023 h 1364"/>
                  <a:gd name="T38" fmla="*/ 6244 w 6930"/>
                  <a:gd name="T39" fmla="*/ 935 h 1364"/>
                  <a:gd name="T40" fmla="*/ 6244 w 6930"/>
                  <a:gd name="T41" fmla="*/ 1111 h 1364"/>
                  <a:gd name="T42" fmla="*/ 6244 w 6930"/>
                  <a:gd name="T43" fmla="*/ 935 h 1364"/>
                  <a:gd name="T44" fmla="*/ 6294 w 6930"/>
                  <a:gd name="T45" fmla="*/ 881 h 1364"/>
                  <a:gd name="T46" fmla="*/ 6294 w 6930"/>
                  <a:gd name="T47" fmla="*/ 886 h 1364"/>
                  <a:gd name="T48" fmla="*/ 6303 w 6930"/>
                  <a:gd name="T49" fmla="*/ 850 h 1364"/>
                  <a:gd name="T50" fmla="*/ 6301 w 6930"/>
                  <a:gd name="T51" fmla="*/ 872 h 1364"/>
                  <a:gd name="T52" fmla="*/ 6303 w 6930"/>
                  <a:gd name="T53" fmla="*/ 869 h 1364"/>
                  <a:gd name="T54" fmla="*/ 3005 w 6930"/>
                  <a:gd name="T55" fmla="*/ 763 h 1364"/>
                  <a:gd name="T56" fmla="*/ 3005 w 6930"/>
                  <a:gd name="T57" fmla="*/ 890 h 1364"/>
                  <a:gd name="T58" fmla="*/ 5036 w 6930"/>
                  <a:gd name="T59" fmla="*/ 732 h 1364"/>
                  <a:gd name="T60" fmla="*/ 5038 w 6930"/>
                  <a:gd name="T61" fmla="*/ 883 h 1364"/>
                  <a:gd name="T62" fmla="*/ 3043 w 6930"/>
                  <a:gd name="T63" fmla="*/ 656 h 1364"/>
                  <a:gd name="T64" fmla="*/ 3043 w 6930"/>
                  <a:gd name="T65" fmla="*/ 725 h 1364"/>
                  <a:gd name="T66" fmla="*/ 3045 w 6930"/>
                  <a:gd name="T67" fmla="*/ 656 h 1364"/>
                  <a:gd name="T68" fmla="*/ 0 w 6930"/>
                  <a:gd name="T69" fmla="*/ 618 h 1364"/>
                  <a:gd name="T70" fmla="*/ 2 w 6930"/>
                  <a:gd name="T71" fmla="*/ 616 h 1364"/>
                  <a:gd name="T72" fmla="*/ 5157 w 6930"/>
                  <a:gd name="T73" fmla="*/ 611 h 1364"/>
                  <a:gd name="T74" fmla="*/ 5159 w 6930"/>
                  <a:gd name="T75" fmla="*/ 609 h 1364"/>
                  <a:gd name="T76" fmla="*/ 6930 w 6930"/>
                  <a:gd name="T77" fmla="*/ 512 h 1364"/>
                  <a:gd name="T78" fmla="*/ 6930 w 6930"/>
                  <a:gd name="T79" fmla="*/ 509 h 1364"/>
                  <a:gd name="T80" fmla="*/ 3203 w 6930"/>
                  <a:gd name="T81" fmla="*/ 502 h 1364"/>
                  <a:gd name="T82" fmla="*/ 3206 w 6930"/>
                  <a:gd name="T83" fmla="*/ 564 h 1364"/>
                  <a:gd name="T84" fmla="*/ 3941 w 6930"/>
                  <a:gd name="T85" fmla="*/ 455 h 1364"/>
                  <a:gd name="T86" fmla="*/ 3941 w 6930"/>
                  <a:gd name="T87" fmla="*/ 457 h 1364"/>
                  <a:gd name="T88" fmla="*/ 3858 w 6930"/>
                  <a:gd name="T89" fmla="*/ 838 h 1364"/>
                  <a:gd name="T90" fmla="*/ 3941 w 6930"/>
                  <a:gd name="T91" fmla="*/ 490 h 1364"/>
                  <a:gd name="T92" fmla="*/ 3232 w 6930"/>
                  <a:gd name="T93" fmla="*/ 434 h 1364"/>
                  <a:gd name="T94" fmla="*/ 3234 w 6930"/>
                  <a:gd name="T95" fmla="*/ 474 h 1364"/>
                  <a:gd name="T96" fmla="*/ 3234 w 6930"/>
                  <a:gd name="T97" fmla="*/ 434 h 1364"/>
                  <a:gd name="T98" fmla="*/ 3946 w 6930"/>
                  <a:gd name="T99" fmla="*/ 393 h 1364"/>
                  <a:gd name="T100" fmla="*/ 3948 w 6930"/>
                  <a:gd name="T101" fmla="*/ 448 h 1364"/>
                  <a:gd name="T102" fmla="*/ 1716 w 6930"/>
                  <a:gd name="T103" fmla="*/ 370 h 1364"/>
                  <a:gd name="T104" fmla="*/ 1714 w 6930"/>
                  <a:gd name="T105" fmla="*/ 1042 h 1364"/>
                  <a:gd name="T106" fmla="*/ 3955 w 6930"/>
                  <a:gd name="T107" fmla="*/ 327 h 1364"/>
                  <a:gd name="T108" fmla="*/ 3953 w 6930"/>
                  <a:gd name="T109" fmla="*/ 384 h 1364"/>
                  <a:gd name="T110" fmla="*/ 3955 w 6930"/>
                  <a:gd name="T111" fmla="*/ 381 h 1364"/>
                  <a:gd name="T112" fmla="*/ 4608 w 6930"/>
                  <a:gd name="T113" fmla="*/ 232 h 1364"/>
                  <a:gd name="T114" fmla="*/ 4554 w 6930"/>
                  <a:gd name="T115" fmla="*/ 434 h 1364"/>
                  <a:gd name="T116" fmla="*/ 4757 w 6930"/>
                  <a:gd name="T117" fmla="*/ 0 h 1364"/>
                  <a:gd name="T118" fmla="*/ 4757 w 6930"/>
                  <a:gd name="T119" fmla="*/ 123 h 1364"/>
                  <a:gd name="T120" fmla="*/ 4757 w 6930"/>
                  <a:gd name="T121" fmla="*/ 0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4">
                    <a:moveTo>
                      <a:pt x="3617" y="1222"/>
                    </a:moveTo>
                    <a:lnTo>
                      <a:pt x="3615" y="1222"/>
                    </a:lnTo>
                    <a:lnTo>
                      <a:pt x="3615" y="1224"/>
                    </a:lnTo>
                    <a:lnTo>
                      <a:pt x="3615" y="1227"/>
                    </a:lnTo>
                    <a:lnTo>
                      <a:pt x="3617" y="1227"/>
                    </a:lnTo>
                    <a:lnTo>
                      <a:pt x="3617" y="1222"/>
                    </a:lnTo>
                    <a:moveTo>
                      <a:pt x="5736" y="1208"/>
                    </a:moveTo>
                    <a:lnTo>
                      <a:pt x="5733" y="1208"/>
                    </a:lnTo>
                    <a:lnTo>
                      <a:pt x="5733" y="1210"/>
                    </a:lnTo>
                    <a:lnTo>
                      <a:pt x="5733" y="1236"/>
                    </a:lnTo>
                    <a:lnTo>
                      <a:pt x="5736" y="1236"/>
                    </a:lnTo>
                    <a:lnTo>
                      <a:pt x="5736" y="1208"/>
                    </a:lnTo>
                    <a:moveTo>
                      <a:pt x="5762" y="1127"/>
                    </a:moveTo>
                    <a:lnTo>
                      <a:pt x="5760" y="1127"/>
                    </a:lnTo>
                    <a:lnTo>
                      <a:pt x="5760" y="1130"/>
                    </a:lnTo>
                    <a:lnTo>
                      <a:pt x="5760" y="1184"/>
                    </a:lnTo>
                    <a:lnTo>
                      <a:pt x="5760" y="1184"/>
                    </a:lnTo>
                    <a:lnTo>
                      <a:pt x="5760" y="1182"/>
                    </a:lnTo>
                    <a:lnTo>
                      <a:pt x="5762" y="1182"/>
                    </a:lnTo>
                    <a:lnTo>
                      <a:pt x="5762" y="1127"/>
                    </a:lnTo>
                    <a:moveTo>
                      <a:pt x="2766" y="1063"/>
                    </a:moveTo>
                    <a:lnTo>
                      <a:pt x="2764" y="1063"/>
                    </a:lnTo>
                    <a:lnTo>
                      <a:pt x="2764" y="1066"/>
                    </a:lnTo>
                    <a:lnTo>
                      <a:pt x="2764" y="1151"/>
                    </a:lnTo>
                    <a:lnTo>
                      <a:pt x="2766" y="1151"/>
                    </a:lnTo>
                    <a:lnTo>
                      <a:pt x="2766" y="1063"/>
                    </a:lnTo>
                    <a:moveTo>
                      <a:pt x="5835" y="1042"/>
                    </a:moveTo>
                    <a:lnTo>
                      <a:pt x="5835" y="1042"/>
                    </a:lnTo>
                    <a:lnTo>
                      <a:pt x="5835" y="1044"/>
                    </a:lnTo>
                    <a:lnTo>
                      <a:pt x="5835" y="1054"/>
                    </a:lnTo>
                    <a:lnTo>
                      <a:pt x="5835" y="1054"/>
                    </a:lnTo>
                    <a:lnTo>
                      <a:pt x="5835" y="1051"/>
                    </a:lnTo>
                    <a:lnTo>
                      <a:pt x="5835" y="1051"/>
                    </a:lnTo>
                    <a:lnTo>
                      <a:pt x="5835" y="1042"/>
                    </a:lnTo>
                    <a:moveTo>
                      <a:pt x="2783" y="1011"/>
                    </a:moveTo>
                    <a:lnTo>
                      <a:pt x="2780" y="1014"/>
                    </a:lnTo>
                    <a:lnTo>
                      <a:pt x="2780" y="1014"/>
                    </a:lnTo>
                    <a:lnTo>
                      <a:pt x="2780" y="1047"/>
                    </a:lnTo>
                    <a:lnTo>
                      <a:pt x="2783" y="1047"/>
                    </a:lnTo>
                    <a:lnTo>
                      <a:pt x="2783" y="1044"/>
                    </a:lnTo>
                    <a:lnTo>
                      <a:pt x="2783" y="1044"/>
                    </a:lnTo>
                    <a:lnTo>
                      <a:pt x="2783" y="1011"/>
                    </a:lnTo>
                    <a:moveTo>
                      <a:pt x="3676" y="995"/>
                    </a:moveTo>
                    <a:lnTo>
                      <a:pt x="3674" y="995"/>
                    </a:lnTo>
                    <a:lnTo>
                      <a:pt x="3674" y="995"/>
                    </a:lnTo>
                    <a:lnTo>
                      <a:pt x="3674" y="1163"/>
                    </a:lnTo>
                    <a:lnTo>
                      <a:pt x="3676" y="1163"/>
                    </a:lnTo>
                    <a:lnTo>
                      <a:pt x="3676" y="1160"/>
                    </a:lnTo>
                    <a:lnTo>
                      <a:pt x="3676" y="1160"/>
                    </a:lnTo>
                    <a:lnTo>
                      <a:pt x="3676" y="995"/>
                    </a:lnTo>
                    <a:moveTo>
                      <a:pt x="5854" y="990"/>
                    </a:moveTo>
                    <a:lnTo>
                      <a:pt x="5852" y="990"/>
                    </a:lnTo>
                    <a:lnTo>
                      <a:pt x="5852" y="992"/>
                    </a:lnTo>
                    <a:lnTo>
                      <a:pt x="5852" y="1025"/>
                    </a:lnTo>
                    <a:lnTo>
                      <a:pt x="5854" y="1025"/>
                    </a:lnTo>
                    <a:lnTo>
                      <a:pt x="5854" y="1023"/>
                    </a:lnTo>
                    <a:lnTo>
                      <a:pt x="5854" y="1023"/>
                    </a:lnTo>
                    <a:lnTo>
                      <a:pt x="5854" y="990"/>
                    </a:lnTo>
                    <a:moveTo>
                      <a:pt x="6244" y="935"/>
                    </a:moveTo>
                    <a:lnTo>
                      <a:pt x="6244" y="935"/>
                    </a:lnTo>
                    <a:lnTo>
                      <a:pt x="6244" y="938"/>
                    </a:lnTo>
                    <a:lnTo>
                      <a:pt x="6244" y="1111"/>
                    </a:lnTo>
                    <a:lnTo>
                      <a:pt x="6244" y="1111"/>
                    </a:lnTo>
                    <a:lnTo>
                      <a:pt x="6244" y="1111"/>
                    </a:lnTo>
                    <a:lnTo>
                      <a:pt x="6244" y="1111"/>
                    </a:lnTo>
                    <a:lnTo>
                      <a:pt x="6244" y="935"/>
                    </a:lnTo>
                    <a:moveTo>
                      <a:pt x="6294" y="879"/>
                    </a:moveTo>
                    <a:lnTo>
                      <a:pt x="6294" y="879"/>
                    </a:lnTo>
                    <a:lnTo>
                      <a:pt x="6294" y="881"/>
                    </a:lnTo>
                    <a:lnTo>
                      <a:pt x="6294" y="888"/>
                    </a:lnTo>
                    <a:lnTo>
                      <a:pt x="6294" y="888"/>
                    </a:lnTo>
                    <a:lnTo>
                      <a:pt x="6294" y="886"/>
                    </a:lnTo>
                    <a:lnTo>
                      <a:pt x="6294" y="886"/>
                    </a:lnTo>
                    <a:lnTo>
                      <a:pt x="6294" y="879"/>
                    </a:lnTo>
                    <a:moveTo>
                      <a:pt x="6303" y="850"/>
                    </a:moveTo>
                    <a:lnTo>
                      <a:pt x="6301" y="850"/>
                    </a:lnTo>
                    <a:lnTo>
                      <a:pt x="6301" y="853"/>
                    </a:lnTo>
                    <a:lnTo>
                      <a:pt x="6301" y="872"/>
                    </a:lnTo>
                    <a:lnTo>
                      <a:pt x="6303" y="872"/>
                    </a:lnTo>
                    <a:lnTo>
                      <a:pt x="6303" y="869"/>
                    </a:lnTo>
                    <a:lnTo>
                      <a:pt x="6303" y="869"/>
                    </a:lnTo>
                    <a:lnTo>
                      <a:pt x="6303" y="850"/>
                    </a:lnTo>
                    <a:moveTo>
                      <a:pt x="3005" y="763"/>
                    </a:moveTo>
                    <a:lnTo>
                      <a:pt x="3005" y="763"/>
                    </a:lnTo>
                    <a:lnTo>
                      <a:pt x="3005" y="765"/>
                    </a:lnTo>
                    <a:lnTo>
                      <a:pt x="3005" y="890"/>
                    </a:lnTo>
                    <a:lnTo>
                      <a:pt x="3005" y="890"/>
                    </a:lnTo>
                    <a:lnTo>
                      <a:pt x="3005" y="763"/>
                    </a:lnTo>
                    <a:moveTo>
                      <a:pt x="5038" y="732"/>
                    </a:moveTo>
                    <a:lnTo>
                      <a:pt x="5036" y="732"/>
                    </a:lnTo>
                    <a:lnTo>
                      <a:pt x="5036" y="734"/>
                    </a:lnTo>
                    <a:lnTo>
                      <a:pt x="5036" y="883"/>
                    </a:lnTo>
                    <a:lnTo>
                      <a:pt x="5038" y="883"/>
                    </a:lnTo>
                    <a:lnTo>
                      <a:pt x="5038" y="732"/>
                    </a:lnTo>
                    <a:moveTo>
                      <a:pt x="3045" y="656"/>
                    </a:moveTo>
                    <a:lnTo>
                      <a:pt x="3043" y="656"/>
                    </a:lnTo>
                    <a:lnTo>
                      <a:pt x="3043" y="658"/>
                    </a:lnTo>
                    <a:lnTo>
                      <a:pt x="3043" y="725"/>
                    </a:lnTo>
                    <a:lnTo>
                      <a:pt x="3043" y="725"/>
                    </a:lnTo>
                    <a:lnTo>
                      <a:pt x="3043" y="725"/>
                    </a:lnTo>
                    <a:lnTo>
                      <a:pt x="3045" y="725"/>
                    </a:lnTo>
                    <a:lnTo>
                      <a:pt x="3045" y="656"/>
                    </a:lnTo>
                    <a:moveTo>
                      <a:pt x="2" y="616"/>
                    </a:moveTo>
                    <a:lnTo>
                      <a:pt x="0" y="616"/>
                    </a:lnTo>
                    <a:lnTo>
                      <a:pt x="0" y="618"/>
                    </a:lnTo>
                    <a:lnTo>
                      <a:pt x="0" y="1364"/>
                    </a:lnTo>
                    <a:lnTo>
                      <a:pt x="2" y="1364"/>
                    </a:lnTo>
                    <a:lnTo>
                      <a:pt x="2" y="616"/>
                    </a:lnTo>
                    <a:moveTo>
                      <a:pt x="5159" y="609"/>
                    </a:moveTo>
                    <a:lnTo>
                      <a:pt x="5157" y="609"/>
                    </a:lnTo>
                    <a:lnTo>
                      <a:pt x="5157" y="611"/>
                    </a:lnTo>
                    <a:lnTo>
                      <a:pt x="5157" y="642"/>
                    </a:lnTo>
                    <a:lnTo>
                      <a:pt x="5159" y="642"/>
                    </a:lnTo>
                    <a:lnTo>
                      <a:pt x="5159" y="609"/>
                    </a:lnTo>
                    <a:moveTo>
                      <a:pt x="6930" y="509"/>
                    </a:moveTo>
                    <a:lnTo>
                      <a:pt x="6930" y="509"/>
                    </a:lnTo>
                    <a:lnTo>
                      <a:pt x="6930" y="512"/>
                    </a:lnTo>
                    <a:lnTo>
                      <a:pt x="6930" y="1004"/>
                    </a:lnTo>
                    <a:lnTo>
                      <a:pt x="6930" y="1004"/>
                    </a:lnTo>
                    <a:lnTo>
                      <a:pt x="6930" y="509"/>
                    </a:lnTo>
                    <a:moveTo>
                      <a:pt x="3206" y="502"/>
                    </a:moveTo>
                    <a:lnTo>
                      <a:pt x="3203" y="502"/>
                    </a:lnTo>
                    <a:lnTo>
                      <a:pt x="3203" y="502"/>
                    </a:lnTo>
                    <a:lnTo>
                      <a:pt x="3203" y="566"/>
                    </a:lnTo>
                    <a:lnTo>
                      <a:pt x="3206" y="566"/>
                    </a:lnTo>
                    <a:lnTo>
                      <a:pt x="3206" y="564"/>
                    </a:lnTo>
                    <a:lnTo>
                      <a:pt x="3206" y="564"/>
                    </a:lnTo>
                    <a:lnTo>
                      <a:pt x="3206" y="502"/>
                    </a:lnTo>
                    <a:moveTo>
                      <a:pt x="3941" y="455"/>
                    </a:moveTo>
                    <a:lnTo>
                      <a:pt x="3941" y="455"/>
                    </a:lnTo>
                    <a:lnTo>
                      <a:pt x="3941" y="455"/>
                    </a:lnTo>
                    <a:lnTo>
                      <a:pt x="3941" y="457"/>
                    </a:lnTo>
                    <a:lnTo>
                      <a:pt x="3941" y="490"/>
                    </a:lnTo>
                    <a:lnTo>
                      <a:pt x="3858" y="644"/>
                    </a:lnTo>
                    <a:lnTo>
                      <a:pt x="3858" y="838"/>
                    </a:lnTo>
                    <a:lnTo>
                      <a:pt x="3861" y="838"/>
                    </a:lnTo>
                    <a:lnTo>
                      <a:pt x="3861" y="642"/>
                    </a:lnTo>
                    <a:lnTo>
                      <a:pt x="3941" y="490"/>
                    </a:lnTo>
                    <a:lnTo>
                      <a:pt x="3941" y="455"/>
                    </a:lnTo>
                    <a:moveTo>
                      <a:pt x="3234" y="434"/>
                    </a:moveTo>
                    <a:lnTo>
                      <a:pt x="3232" y="434"/>
                    </a:lnTo>
                    <a:lnTo>
                      <a:pt x="3232" y="436"/>
                    </a:lnTo>
                    <a:lnTo>
                      <a:pt x="3232" y="474"/>
                    </a:lnTo>
                    <a:lnTo>
                      <a:pt x="3234" y="474"/>
                    </a:lnTo>
                    <a:lnTo>
                      <a:pt x="3234" y="471"/>
                    </a:lnTo>
                    <a:lnTo>
                      <a:pt x="3234" y="471"/>
                    </a:lnTo>
                    <a:lnTo>
                      <a:pt x="3234" y="434"/>
                    </a:lnTo>
                    <a:moveTo>
                      <a:pt x="3948" y="391"/>
                    </a:moveTo>
                    <a:lnTo>
                      <a:pt x="3946" y="391"/>
                    </a:lnTo>
                    <a:lnTo>
                      <a:pt x="3946" y="393"/>
                    </a:lnTo>
                    <a:lnTo>
                      <a:pt x="3946" y="448"/>
                    </a:lnTo>
                    <a:lnTo>
                      <a:pt x="3948" y="448"/>
                    </a:lnTo>
                    <a:lnTo>
                      <a:pt x="3948" y="448"/>
                    </a:lnTo>
                    <a:lnTo>
                      <a:pt x="3948" y="448"/>
                    </a:lnTo>
                    <a:lnTo>
                      <a:pt x="3948" y="391"/>
                    </a:lnTo>
                    <a:moveTo>
                      <a:pt x="1716" y="370"/>
                    </a:moveTo>
                    <a:lnTo>
                      <a:pt x="1714" y="370"/>
                    </a:lnTo>
                    <a:lnTo>
                      <a:pt x="1714" y="370"/>
                    </a:lnTo>
                    <a:lnTo>
                      <a:pt x="1714" y="1042"/>
                    </a:lnTo>
                    <a:lnTo>
                      <a:pt x="1716" y="1042"/>
                    </a:lnTo>
                    <a:lnTo>
                      <a:pt x="1716" y="370"/>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6" y="235"/>
                    </a:lnTo>
                    <a:lnTo>
                      <a:pt x="4551" y="434"/>
                    </a:lnTo>
                    <a:lnTo>
                      <a:pt x="4554" y="434"/>
                    </a:lnTo>
                    <a:lnTo>
                      <a:pt x="4608" y="232"/>
                    </a:lnTo>
                    <a:moveTo>
                      <a:pt x="4757" y="0"/>
                    </a:moveTo>
                    <a:lnTo>
                      <a:pt x="4757" y="0"/>
                    </a:lnTo>
                    <a:lnTo>
                      <a:pt x="4757" y="3"/>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8" name="Freeform 50"/>
              <p:cNvSpPr>
                <a:spLocks noEditPoints="1"/>
              </p:cNvSpPr>
              <p:nvPr/>
            </p:nvSpPr>
            <p:spPr bwMode="auto">
              <a:xfrm>
                <a:off x="54" y="1748"/>
                <a:ext cx="6930" cy="1366"/>
              </a:xfrm>
              <a:custGeom>
                <a:avLst/>
                <a:gdLst>
                  <a:gd name="T0" fmla="*/ 3615 w 6930"/>
                  <a:gd name="T1" fmla="*/ 1224 h 1366"/>
                  <a:gd name="T2" fmla="*/ 3615 w 6930"/>
                  <a:gd name="T3" fmla="*/ 1222 h 1366"/>
                  <a:gd name="T4" fmla="*/ 5734 w 6930"/>
                  <a:gd name="T5" fmla="*/ 1210 h 1366"/>
                  <a:gd name="T6" fmla="*/ 5736 w 6930"/>
                  <a:gd name="T7" fmla="*/ 1210 h 1366"/>
                  <a:gd name="T8" fmla="*/ 5760 w 6930"/>
                  <a:gd name="T9" fmla="*/ 1129 h 1366"/>
                  <a:gd name="T10" fmla="*/ 5760 w 6930"/>
                  <a:gd name="T11" fmla="*/ 1184 h 1366"/>
                  <a:gd name="T12" fmla="*/ 2766 w 6930"/>
                  <a:gd name="T13" fmla="*/ 1063 h 1366"/>
                  <a:gd name="T14" fmla="*/ 2764 w 6930"/>
                  <a:gd name="T15" fmla="*/ 1153 h 1366"/>
                  <a:gd name="T16" fmla="*/ 5836 w 6930"/>
                  <a:gd name="T17" fmla="*/ 1042 h 1366"/>
                  <a:gd name="T18" fmla="*/ 5833 w 6930"/>
                  <a:gd name="T19" fmla="*/ 1053 h 1366"/>
                  <a:gd name="T20" fmla="*/ 5836 w 6930"/>
                  <a:gd name="T21" fmla="*/ 1051 h 1366"/>
                  <a:gd name="T22" fmla="*/ 2781 w 6930"/>
                  <a:gd name="T23" fmla="*/ 1013 h 1366"/>
                  <a:gd name="T24" fmla="*/ 2783 w 6930"/>
                  <a:gd name="T25" fmla="*/ 1046 h 1366"/>
                  <a:gd name="T26" fmla="*/ 2783 w 6930"/>
                  <a:gd name="T27" fmla="*/ 1013 h 1366"/>
                  <a:gd name="T28" fmla="*/ 3674 w 6930"/>
                  <a:gd name="T29" fmla="*/ 997 h 1366"/>
                  <a:gd name="T30" fmla="*/ 3674 w 6930"/>
                  <a:gd name="T31" fmla="*/ 1160 h 1366"/>
                  <a:gd name="T32" fmla="*/ 5854 w 6930"/>
                  <a:gd name="T33" fmla="*/ 990 h 1366"/>
                  <a:gd name="T34" fmla="*/ 5852 w 6930"/>
                  <a:gd name="T35" fmla="*/ 1025 h 1366"/>
                  <a:gd name="T36" fmla="*/ 5854 w 6930"/>
                  <a:gd name="T37" fmla="*/ 1023 h 1366"/>
                  <a:gd name="T38" fmla="*/ 6242 w 6930"/>
                  <a:gd name="T39" fmla="*/ 935 h 1366"/>
                  <a:gd name="T40" fmla="*/ 6245 w 6930"/>
                  <a:gd name="T41" fmla="*/ 1113 h 1366"/>
                  <a:gd name="T42" fmla="*/ 6245 w 6930"/>
                  <a:gd name="T43" fmla="*/ 935 h 1366"/>
                  <a:gd name="T44" fmla="*/ 6292 w 6930"/>
                  <a:gd name="T45" fmla="*/ 878 h 1366"/>
                  <a:gd name="T46" fmla="*/ 6294 w 6930"/>
                  <a:gd name="T47" fmla="*/ 888 h 1366"/>
                  <a:gd name="T48" fmla="*/ 6294 w 6930"/>
                  <a:gd name="T49" fmla="*/ 878 h 1366"/>
                  <a:gd name="T50" fmla="*/ 6301 w 6930"/>
                  <a:gd name="T51" fmla="*/ 852 h 1366"/>
                  <a:gd name="T52" fmla="*/ 6301 w 6930"/>
                  <a:gd name="T53" fmla="*/ 869 h 1366"/>
                  <a:gd name="T54" fmla="*/ 3005 w 6930"/>
                  <a:gd name="T55" fmla="*/ 762 h 1366"/>
                  <a:gd name="T56" fmla="*/ 3003 w 6930"/>
                  <a:gd name="T57" fmla="*/ 892 h 1366"/>
                  <a:gd name="T58" fmla="*/ 5036 w 6930"/>
                  <a:gd name="T59" fmla="*/ 731 h 1366"/>
                  <a:gd name="T60" fmla="*/ 5036 w 6930"/>
                  <a:gd name="T61" fmla="*/ 885 h 1366"/>
                  <a:gd name="T62" fmla="*/ 3043 w 6930"/>
                  <a:gd name="T63" fmla="*/ 658 h 1366"/>
                  <a:gd name="T64" fmla="*/ 3043 w 6930"/>
                  <a:gd name="T65" fmla="*/ 727 h 1366"/>
                  <a:gd name="T66" fmla="*/ 3043 w 6930"/>
                  <a:gd name="T67" fmla="*/ 724 h 1366"/>
                  <a:gd name="T68" fmla="*/ 0 w 6930"/>
                  <a:gd name="T69" fmla="*/ 618 h 1366"/>
                  <a:gd name="T70" fmla="*/ 2 w 6930"/>
                  <a:gd name="T71" fmla="*/ 1366 h 1366"/>
                  <a:gd name="T72" fmla="*/ 5157 w 6930"/>
                  <a:gd name="T73" fmla="*/ 608 h 1366"/>
                  <a:gd name="T74" fmla="*/ 5159 w 6930"/>
                  <a:gd name="T75" fmla="*/ 644 h 1366"/>
                  <a:gd name="T76" fmla="*/ 6928 w 6930"/>
                  <a:gd name="T77" fmla="*/ 509 h 1366"/>
                  <a:gd name="T78" fmla="*/ 6930 w 6930"/>
                  <a:gd name="T79" fmla="*/ 1006 h 1366"/>
                  <a:gd name="T80" fmla="*/ 3204 w 6930"/>
                  <a:gd name="T81" fmla="*/ 502 h 1366"/>
                  <a:gd name="T82" fmla="*/ 3204 w 6930"/>
                  <a:gd name="T83" fmla="*/ 566 h 1366"/>
                  <a:gd name="T84" fmla="*/ 3206 w 6930"/>
                  <a:gd name="T85" fmla="*/ 502 h 1366"/>
                  <a:gd name="T86" fmla="*/ 3939 w 6930"/>
                  <a:gd name="T87" fmla="*/ 454 h 1366"/>
                  <a:gd name="T88" fmla="*/ 3859 w 6930"/>
                  <a:gd name="T89" fmla="*/ 644 h 1366"/>
                  <a:gd name="T90" fmla="*/ 3861 w 6930"/>
                  <a:gd name="T91" fmla="*/ 642 h 1366"/>
                  <a:gd name="T92" fmla="*/ 3235 w 6930"/>
                  <a:gd name="T93" fmla="*/ 433 h 1366"/>
                  <a:gd name="T94" fmla="*/ 3232 w 6930"/>
                  <a:gd name="T95" fmla="*/ 473 h 1366"/>
                  <a:gd name="T96" fmla="*/ 3235 w 6930"/>
                  <a:gd name="T97" fmla="*/ 471 h 1366"/>
                  <a:gd name="T98" fmla="*/ 3946 w 6930"/>
                  <a:gd name="T99" fmla="*/ 391 h 1366"/>
                  <a:gd name="T100" fmla="*/ 3946 w 6930"/>
                  <a:gd name="T101" fmla="*/ 450 h 1366"/>
                  <a:gd name="T102" fmla="*/ 3949 w 6930"/>
                  <a:gd name="T103" fmla="*/ 447 h 1366"/>
                  <a:gd name="T104" fmla="*/ 1714 w 6930"/>
                  <a:gd name="T105" fmla="*/ 369 h 1366"/>
                  <a:gd name="T106" fmla="*/ 1714 w 6930"/>
                  <a:gd name="T107" fmla="*/ 1044 h 1366"/>
                  <a:gd name="T108" fmla="*/ 3953 w 6930"/>
                  <a:gd name="T109" fmla="*/ 327 h 1366"/>
                  <a:gd name="T110" fmla="*/ 3956 w 6930"/>
                  <a:gd name="T111" fmla="*/ 383 h 1366"/>
                  <a:gd name="T112" fmla="*/ 3956 w 6930"/>
                  <a:gd name="T113" fmla="*/ 327 h 1366"/>
                  <a:gd name="T114" fmla="*/ 4606 w 6930"/>
                  <a:gd name="T115" fmla="*/ 234 h 1366"/>
                  <a:gd name="T116" fmla="*/ 4608 w 6930"/>
                  <a:gd name="T117" fmla="*/ 232 h 1366"/>
                  <a:gd name="T118" fmla="*/ 4755 w 6930"/>
                  <a:gd name="T119" fmla="*/ 2 h 1366"/>
                  <a:gd name="T120" fmla="*/ 4757 w 6930"/>
                  <a:gd name="T121" fmla="*/ 123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6">
                    <a:moveTo>
                      <a:pt x="3615" y="1222"/>
                    </a:moveTo>
                    <a:lnTo>
                      <a:pt x="3615" y="1222"/>
                    </a:lnTo>
                    <a:lnTo>
                      <a:pt x="3615" y="1224"/>
                    </a:lnTo>
                    <a:lnTo>
                      <a:pt x="3615" y="1229"/>
                    </a:lnTo>
                    <a:lnTo>
                      <a:pt x="3615" y="1229"/>
                    </a:lnTo>
                    <a:lnTo>
                      <a:pt x="3615" y="1222"/>
                    </a:lnTo>
                    <a:close/>
                    <a:moveTo>
                      <a:pt x="5736" y="1210"/>
                    </a:moveTo>
                    <a:lnTo>
                      <a:pt x="5734" y="1210"/>
                    </a:lnTo>
                    <a:lnTo>
                      <a:pt x="5734" y="1210"/>
                    </a:lnTo>
                    <a:lnTo>
                      <a:pt x="5734" y="1238"/>
                    </a:lnTo>
                    <a:lnTo>
                      <a:pt x="5736" y="1238"/>
                    </a:lnTo>
                    <a:lnTo>
                      <a:pt x="5736" y="1210"/>
                    </a:lnTo>
                    <a:close/>
                    <a:moveTo>
                      <a:pt x="5762" y="1129"/>
                    </a:moveTo>
                    <a:lnTo>
                      <a:pt x="5760" y="1129"/>
                    </a:lnTo>
                    <a:lnTo>
                      <a:pt x="5760" y="1129"/>
                    </a:lnTo>
                    <a:lnTo>
                      <a:pt x="5760" y="1184"/>
                    </a:lnTo>
                    <a:lnTo>
                      <a:pt x="5760" y="1184"/>
                    </a:lnTo>
                    <a:lnTo>
                      <a:pt x="5760" y="1184"/>
                    </a:lnTo>
                    <a:lnTo>
                      <a:pt x="5762" y="1184"/>
                    </a:lnTo>
                    <a:lnTo>
                      <a:pt x="5762" y="1129"/>
                    </a:lnTo>
                    <a:close/>
                    <a:moveTo>
                      <a:pt x="2766" y="1063"/>
                    </a:moveTo>
                    <a:lnTo>
                      <a:pt x="2764" y="1063"/>
                    </a:lnTo>
                    <a:lnTo>
                      <a:pt x="2764" y="1065"/>
                    </a:lnTo>
                    <a:lnTo>
                      <a:pt x="2764" y="1153"/>
                    </a:lnTo>
                    <a:lnTo>
                      <a:pt x="2766" y="1153"/>
                    </a:lnTo>
                    <a:lnTo>
                      <a:pt x="2766" y="1063"/>
                    </a:lnTo>
                    <a:close/>
                    <a:moveTo>
                      <a:pt x="5836" y="1042"/>
                    </a:moveTo>
                    <a:lnTo>
                      <a:pt x="5833" y="1042"/>
                    </a:lnTo>
                    <a:lnTo>
                      <a:pt x="5833" y="1044"/>
                    </a:lnTo>
                    <a:lnTo>
                      <a:pt x="5833" y="1053"/>
                    </a:lnTo>
                    <a:lnTo>
                      <a:pt x="5836" y="1053"/>
                    </a:lnTo>
                    <a:lnTo>
                      <a:pt x="5836" y="1051"/>
                    </a:lnTo>
                    <a:lnTo>
                      <a:pt x="5836" y="1051"/>
                    </a:lnTo>
                    <a:lnTo>
                      <a:pt x="5836" y="1042"/>
                    </a:lnTo>
                    <a:close/>
                    <a:moveTo>
                      <a:pt x="2783" y="1013"/>
                    </a:moveTo>
                    <a:lnTo>
                      <a:pt x="2781" y="1013"/>
                    </a:lnTo>
                    <a:lnTo>
                      <a:pt x="2781" y="1013"/>
                    </a:lnTo>
                    <a:lnTo>
                      <a:pt x="2781" y="1046"/>
                    </a:lnTo>
                    <a:lnTo>
                      <a:pt x="2783" y="1046"/>
                    </a:lnTo>
                    <a:lnTo>
                      <a:pt x="2783" y="1044"/>
                    </a:lnTo>
                    <a:lnTo>
                      <a:pt x="2783" y="1044"/>
                    </a:lnTo>
                    <a:lnTo>
                      <a:pt x="2783" y="1013"/>
                    </a:lnTo>
                    <a:close/>
                    <a:moveTo>
                      <a:pt x="3677" y="994"/>
                    </a:moveTo>
                    <a:lnTo>
                      <a:pt x="3674" y="994"/>
                    </a:lnTo>
                    <a:lnTo>
                      <a:pt x="3674" y="997"/>
                    </a:lnTo>
                    <a:lnTo>
                      <a:pt x="3674" y="1162"/>
                    </a:lnTo>
                    <a:lnTo>
                      <a:pt x="3674" y="1162"/>
                    </a:lnTo>
                    <a:lnTo>
                      <a:pt x="3674" y="1160"/>
                    </a:lnTo>
                    <a:lnTo>
                      <a:pt x="3677" y="1160"/>
                    </a:lnTo>
                    <a:lnTo>
                      <a:pt x="3677" y="994"/>
                    </a:lnTo>
                    <a:close/>
                    <a:moveTo>
                      <a:pt x="5854" y="990"/>
                    </a:moveTo>
                    <a:lnTo>
                      <a:pt x="5852" y="990"/>
                    </a:lnTo>
                    <a:lnTo>
                      <a:pt x="5852" y="992"/>
                    </a:lnTo>
                    <a:lnTo>
                      <a:pt x="5852" y="1025"/>
                    </a:lnTo>
                    <a:lnTo>
                      <a:pt x="5852" y="1025"/>
                    </a:lnTo>
                    <a:lnTo>
                      <a:pt x="5852" y="1023"/>
                    </a:lnTo>
                    <a:lnTo>
                      <a:pt x="5854" y="1023"/>
                    </a:lnTo>
                    <a:lnTo>
                      <a:pt x="5854" y="990"/>
                    </a:lnTo>
                    <a:close/>
                    <a:moveTo>
                      <a:pt x="6245" y="935"/>
                    </a:moveTo>
                    <a:lnTo>
                      <a:pt x="6242" y="935"/>
                    </a:lnTo>
                    <a:lnTo>
                      <a:pt x="6242" y="937"/>
                    </a:lnTo>
                    <a:lnTo>
                      <a:pt x="6242" y="1113"/>
                    </a:lnTo>
                    <a:lnTo>
                      <a:pt x="6245" y="1113"/>
                    </a:lnTo>
                    <a:lnTo>
                      <a:pt x="6245" y="1110"/>
                    </a:lnTo>
                    <a:lnTo>
                      <a:pt x="6245" y="1110"/>
                    </a:lnTo>
                    <a:lnTo>
                      <a:pt x="6245" y="935"/>
                    </a:lnTo>
                    <a:close/>
                    <a:moveTo>
                      <a:pt x="6294" y="878"/>
                    </a:moveTo>
                    <a:lnTo>
                      <a:pt x="6294" y="878"/>
                    </a:lnTo>
                    <a:lnTo>
                      <a:pt x="6292" y="878"/>
                    </a:lnTo>
                    <a:lnTo>
                      <a:pt x="6292" y="881"/>
                    </a:lnTo>
                    <a:lnTo>
                      <a:pt x="6292" y="888"/>
                    </a:lnTo>
                    <a:lnTo>
                      <a:pt x="6294" y="888"/>
                    </a:lnTo>
                    <a:lnTo>
                      <a:pt x="6294" y="885"/>
                    </a:lnTo>
                    <a:lnTo>
                      <a:pt x="6294" y="885"/>
                    </a:lnTo>
                    <a:lnTo>
                      <a:pt x="6294" y="878"/>
                    </a:lnTo>
                    <a:close/>
                    <a:moveTo>
                      <a:pt x="6304" y="850"/>
                    </a:moveTo>
                    <a:lnTo>
                      <a:pt x="6301" y="850"/>
                    </a:lnTo>
                    <a:lnTo>
                      <a:pt x="6301" y="852"/>
                    </a:lnTo>
                    <a:lnTo>
                      <a:pt x="6301" y="871"/>
                    </a:lnTo>
                    <a:lnTo>
                      <a:pt x="6301" y="871"/>
                    </a:lnTo>
                    <a:lnTo>
                      <a:pt x="6301" y="869"/>
                    </a:lnTo>
                    <a:lnTo>
                      <a:pt x="6304" y="869"/>
                    </a:lnTo>
                    <a:lnTo>
                      <a:pt x="6304" y="850"/>
                    </a:lnTo>
                    <a:close/>
                    <a:moveTo>
                      <a:pt x="3005" y="762"/>
                    </a:moveTo>
                    <a:lnTo>
                      <a:pt x="3003" y="762"/>
                    </a:lnTo>
                    <a:lnTo>
                      <a:pt x="3003" y="765"/>
                    </a:lnTo>
                    <a:lnTo>
                      <a:pt x="3003" y="892"/>
                    </a:lnTo>
                    <a:lnTo>
                      <a:pt x="3005" y="892"/>
                    </a:lnTo>
                    <a:lnTo>
                      <a:pt x="3005" y="762"/>
                    </a:lnTo>
                    <a:close/>
                    <a:moveTo>
                      <a:pt x="5036" y="731"/>
                    </a:moveTo>
                    <a:lnTo>
                      <a:pt x="5036" y="731"/>
                    </a:lnTo>
                    <a:lnTo>
                      <a:pt x="5036" y="734"/>
                    </a:lnTo>
                    <a:lnTo>
                      <a:pt x="5036" y="885"/>
                    </a:lnTo>
                    <a:lnTo>
                      <a:pt x="5036" y="885"/>
                    </a:lnTo>
                    <a:lnTo>
                      <a:pt x="5036" y="731"/>
                    </a:lnTo>
                    <a:close/>
                    <a:moveTo>
                      <a:pt x="3043" y="658"/>
                    </a:moveTo>
                    <a:lnTo>
                      <a:pt x="3043" y="658"/>
                    </a:lnTo>
                    <a:lnTo>
                      <a:pt x="3043" y="658"/>
                    </a:lnTo>
                    <a:lnTo>
                      <a:pt x="3043" y="727"/>
                    </a:lnTo>
                    <a:lnTo>
                      <a:pt x="3043" y="727"/>
                    </a:lnTo>
                    <a:lnTo>
                      <a:pt x="3043" y="724"/>
                    </a:lnTo>
                    <a:lnTo>
                      <a:pt x="3043" y="724"/>
                    </a:lnTo>
                    <a:lnTo>
                      <a:pt x="3043" y="658"/>
                    </a:lnTo>
                    <a:close/>
                    <a:moveTo>
                      <a:pt x="2" y="618"/>
                    </a:moveTo>
                    <a:lnTo>
                      <a:pt x="0" y="618"/>
                    </a:lnTo>
                    <a:lnTo>
                      <a:pt x="0" y="618"/>
                    </a:lnTo>
                    <a:lnTo>
                      <a:pt x="0" y="1366"/>
                    </a:lnTo>
                    <a:lnTo>
                      <a:pt x="2" y="1366"/>
                    </a:lnTo>
                    <a:lnTo>
                      <a:pt x="2" y="618"/>
                    </a:lnTo>
                    <a:close/>
                    <a:moveTo>
                      <a:pt x="5159" y="608"/>
                    </a:moveTo>
                    <a:lnTo>
                      <a:pt x="5157" y="608"/>
                    </a:lnTo>
                    <a:lnTo>
                      <a:pt x="5157" y="611"/>
                    </a:lnTo>
                    <a:lnTo>
                      <a:pt x="5157" y="644"/>
                    </a:lnTo>
                    <a:lnTo>
                      <a:pt x="5159" y="644"/>
                    </a:lnTo>
                    <a:lnTo>
                      <a:pt x="5159" y="608"/>
                    </a:lnTo>
                    <a:close/>
                    <a:moveTo>
                      <a:pt x="6930" y="509"/>
                    </a:moveTo>
                    <a:lnTo>
                      <a:pt x="6928" y="509"/>
                    </a:lnTo>
                    <a:lnTo>
                      <a:pt x="6928" y="511"/>
                    </a:lnTo>
                    <a:lnTo>
                      <a:pt x="6928" y="1006"/>
                    </a:lnTo>
                    <a:lnTo>
                      <a:pt x="6930" y="1006"/>
                    </a:lnTo>
                    <a:lnTo>
                      <a:pt x="6930" y="509"/>
                    </a:lnTo>
                    <a:close/>
                    <a:moveTo>
                      <a:pt x="3206" y="502"/>
                    </a:moveTo>
                    <a:lnTo>
                      <a:pt x="3204" y="502"/>
                    </a:lnTo>
                    <a:lnTo>
                      <a:pt x="3204" y="504"/>
                    </a:lnTo>
                    <a:lnTo>
                      <a:pt x="3204" y="566"/>
                    </a:lnTo>
                    <a:lnTo>
                      <a:pt x="3204" y="566"/>
                    </a:lnTo>
                    <a:lnTo>
                      <a:pt x="3204" y="563"/>
                    </a:lnTo>
                    <a:lnTo>
                      <a:pt x="3206" y="563"/>
                    </a:lnTo>
                    <a:lnTo>
                      <a:pt x="3206" y="502"/>
                    </a:lnTo>
                    <a:close/>
                    <a:moveTo>
                      <a:pt x="3942" y="454"/>
                    </a:moveTo>
                    <a:lnTo>
                      <a:pt x="3939" y="454"/>
                    </a:lnTo>
                    <a:lnTo>
                      <a:pt x="3939" y="454"/>
                    </a:lnTo>
                    <a:lnTo>
                      <a:pt x="3939" y="457"/>
                    </a:lnTo>
                    <a:lnTo>
                      <a:pt x="3939" y="492"/>
                    </a:lnTo>
                    <a:lnTo>
                      <a:pt x="3859" y="644"/>
                    </a:lnTo>
                    <a:lnTo>
                      <a:pt x="3859" y="840"/>
                    </a:lnTo>
                    <a:lnTo>
                      <a:pt x="3861" y="840"/>
                    </a:lnTo>
                    <a:lnTo>
                      <a:pt x="3861" y="642"/>
                    </a:lnTo>
                    <a:lnTo>
                      <a:pt x="3942" y="490"/>
                    </a:lnTo>
                    <a:lnTo>
                      <a:pt x="3942" y="454"/>
                    </a:lnTo>
                    <a:close/>
                    <a:moveTo>
                      <a:pt x="3235" y="433"/>
                    </a:moveTo>
                    <a:lnTo>
                      <a:pt x="3232" y="433"/>
                    </a:lnTo>
                    <a:lnTo>
                      <a:pt x="3232" y="436"/>
                    </a:lnTo>
                    <a:lnTo>
                      <a:pt x="3232" y="473"/>
                    </a:lnTo>
                    <a:lnTo>
                      <a:pt x="3232" y="473"/>
                    </a:lnTo>
                    <a:lnTo>
                      <a:pt x="3232" y="471"/>
                    </a:lnTo>
                    <a:lnTo>
                      <a:pt x="3235" y="471"/>
                    </a:lnTo>
                    <a:lnTo>
                      <a:pt x="3235" y="433"/>
                    </a:lnTo>
                    <a:close/>
                    <a:moveTo>
                      <a:pt x="3949" y="391"/>
                    </a:moveTo>
                    <a:lnTo>
                      <a:pt x="3946" y="391"/>
                    </a:lnTo>
                    <a:lnTo>
                      <a:pt x="3946" y="391"/>
                    </a:lnTo>
                    <a:lnTo>
                      <a:pt x="3946" y="393"/>
                    </a:lnTo>
                    <a:lnTo>
                      <a:pt x="3946" y="450"/>
                    </a:lnTo>
                    <a:lnTo>
                      <a:pt x="3946" y="450"/>
                    </a:lnTo>
                    <a:lnTo>
                      <a:pt x="3946" y="447"/>
                    </a:lnTo>
                    <a:lnTo>
                      <a:pt x="3949" y="447"/>
                    </a:lnTo>
                    <a:lnTo>
                      <a:pt x="3949" y="391"/>
                    </a:lnTo>
                    <a:close/>
                    <a:moveTo>
                      <a:pt x="1714" y="369"/>
                    </a:moveTo>
                    <a:lnTo>
                      <a:pt x="1714" y="369"/>
                    </a:lnTo>
                    <a:lnTo>
                      <a:pt x="1714" y="372"/>
                    </a:lnTo>
                    <a:lnTo>
                      <a:pt x="1714" y="1044"/>
                    </a:lnTo>
                    <a:lnTo>
                      <a:pt x="1714" y="1044"/>
                    </a:lnTo>
                    <a:lnTo>
                      <a:pt x="1714" y="369"/>
                    </a:lnTo>
                    <a:close/>
                    <a:moveTo>
                      <a:pt x="3956" y="327"/>
                    </a:moveTo>
                    <a:lnTo>
                      <a:pt x="3953" y="327"/>
                    </a:lnTo>
                    <a:lnTo>
                      <a:pt x="3953" y="329"/>
                    </a:lnTo>
                    <a:lnTo>
                      <a:pt x="3953" y="383"/>
                    </a:lnTo>
                    <a:lnTo>
                      <a:pt x="3956" y="383"/>
                    </a:lnTo>
                    <a:lnTo>
                      <a:pt x="3956" y="381"/>
                    </a:lnTo>
                    <a:lnTo>
                      <a:pt x="3956" y="381"/>
                    </a:lnTo>
                    <a:lnTo>
                      <a:pt x="3956" y="327"/>
                    </a:lnTo>
                    <a:close/>
                    <a:moveTo>
                      <a:pt x="4608" y="232"/>
                    </a:moveTo>
                    <a:lnTo>
                      <a:pt x="4606" y="232"/>
                    </a:lnTo>
                    <a:lnTo>
                      <a:pt x="4606" y="234"/>
                    </a:lnTo>
                    <a:lnTo>
                      <a:pt x="4552" y="436"/>
                    </a:lnTo>
                    <a:lnTo>
                      <a:pt x="4554" y="433"/>
                    </a:lnTo>
                    <a:lnTo>
                      <a:pt x="4608" y="232"/>
                    </a:lnTo>
                    <a:close/>
                    <a:moveTo>
                      <a:pt x="4757" y="0"/>
                    </a:moveTo>
                    <a:lnTo>
                      <a:pt x="4755" y="0"/>
                    </a:lnTo>
                    <a:lnTo>
                      <a:pt x="4755" y="2"/>
                    </a:lnTo>
                    <a:lnTo>
                      <a:pt x="4755" y="125"/>
                    </a:lnTo>
                    <a:lnTo>
                      <a:pt x="4757" y="125"/>
                    </a:lnTo>
                    <a:lnTo>
                      <a:pt x="4757" y="123"/>
                    </a:lnTo>
                    <a:lnTo>
                      <a:pt x="4757" y="123"/>
                    </a:lnTo>
                    <a:lnTo>
                      <a:pt x="4757" y="0"/>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29" name="Freeform 51"/>
              <p:cNvSpPr>
                <a:spLocks noEditPoints="1"/>
              </p:cNvSpPr>
              <p:nvPr/>
            </p:nvSpPr>
            <p:spPr bwMode="auto">
              <a:xfrm>
                <a:off x="54" y="1748"/>
                <a:ext cx="6930" cy="1366"/>
              </a:xfrm>
              <a:custGeom>
                <a:avLst/>
                <a:gdLst>
                  <a:gd name="T0" fmla="*/ 3615 w 6930"/>
                  <a:gd name="T1" fmla="*/ 1224 h 1366"/>
                  <a:gd name="T2" fmla="*/ 3615 w 6930"/>
                  <a:gd name="T3" fmla="*/ 1222 h 1366"/>
                  <a:gd name="T4" fmla="*/ 5734 w 6930"/>
                  <a:gd name="T5" fmla="*/ 1210 h 1366"/>
                  <a:gd name="T6" fmla="*/ 5736 w 6930"/>
                  <a:gd name="T7" fmla="*/ 1210 h 1366"/>
                  <a:gd name="T8" fmla="*/ 5760 w 6930"/>
                  <a:gd name="T9" fmla="*/ 1129 h 1366"/>
                  <a:gd name="T10" fmla="*/ 5760 w 6930"/>
                  <a:gd name="T11" fmla="*/ 1184 h 1366"/>
                  <a:gd name="T12" fmla="*/ 2766 w 6930"/>
                  <a:gd name="T13" fmla="*/ 1063 h 1366"/>
                  <a:gd name="T14" fmla="*/ 2764 w 6930"/>
                  <a:gd name="T15" fmla="*/ 1153 h 1366"/>
                  <a:gd name="T16" fmla="*/ 5836 w 6930"/>
                  <a:gd name="T17" fmla="*/ 1042 h 1366"/>
                  <a:gd name="T18" fmla="*/ 5833 w 6930"/>
                  <a:gd name="T19" fmla="*/ 1053 h 1366"/>
                  <a:gd name="T20" fmla="*/ 5836 w 6930"/>
                  <a:gd name="T21" fmla="*/ 1051 h 1366"/>
                  <a:gd name="T22" fmla="*/ 2781 w 6930"/>
                  <a:gd name="T23" fmla="*/ 1013 h 1366"/>
                  <a:gd name="T24" fmla="*/ 2783 w 6930"/>
                  <a:gd name="T25" fmla="*/ 1046 h 1366"/>
                  <a:gd name="T26" fmla="*/ 2783 w 6930"/>
                  <a:gd name="T27" fmla="*/ 1013 h 1366"/>
                  <a:gd name="T28" fmla="*/ 3674 w 6930"/>
                  <a:gd name="T29" fmla="*/ 997 h 1366"/>
                  <a:gd name="T30" fmla="*/ 3674 w 6930"/>
                  <a:gd name="T31" fmla="*/ 1160 h 1366"/>
                  <a:gd name="T32" fmla="*/ 5854 w 6930"/>
                  <a:gd name="T33" fmla="*/ 990 h 1366"/>
                  <a:gd name="T34" fmla="*/ 5852 w 6930"/>
                  <a:gd name="T35" fmla="*/ 1025 h 1366"/>
                  <a:gd name="T36" fmla="*/ 5854 w 6930"/>
                  <a:gd name="T37" fmla="*/ 1023 h 1366"/>
                  <a:gd name="T38" fmla="*/ 6242 w 6930"/>
                  <a:gd name="T39" fmla="*/ 935 h 1366"/>
                  <a:gd name="T40" fmla="*/ 6245 w 6930"/>
                  <a:gd name="T41" fmla="*/ 1113 h 1366"/>
                  <a:gd name="T42" fmla="*/ 6245 w 6930"/>
                  <a:gd name="T43" fmla="*/ 935 h 1366"/>
                  <a:gd name="T44" fmla="*/ 6292 w 6930"/>
                  <a:gd name="T45" fmla="*/ 878 h 1366"/>
                  <a:gd name="T46" fmla="*/ 6294 w 6930"/>
                  <a:gd name="T47" fmla="*/ 888 h 1366"/>
                  <a:gd name="T48" fmla="*/ 6294 w 6930"/>
                  <a:gd name="T49" fmla="*/ 878 h 1366"/>
                  <a:gd name="T50" fmla="*/ 6301 w 6930"/>
                  <a:gd name="T51" fmla="*/ 852 h 1366"/>
                  <a:gd name="T52" fmla="*/ 6301 w 6930"/>
                  <a:gd name="T53" fmla="*/ 869 h 1366"/>
                  <a:gd name="T54" fmla="*/ 3005 w 6930"/>
                  <a:gd name="T55" fmla="*/ 762 h 1366"/>
                  <a:gd name="T56" fmla="*/ 3003 w 6930"/>
                  <a:gd name="T57" fmla="*/ 892 h 1366"/>
                  <a:gd name="T58" fmla="*/ 5036 w 6930"/>
                  <a:gd name="T59" fmla="*/ 731 h 1366"/>
                  <a:gd name="T60" fmla="*/ 5036 w 6930"/>
                  <a:gd name="T61" fmla="*/ 885 h 1366"/>
                  <a:gd name="T62" fmla="*/ 3043 w 6930"/>
                  <a:gd name="T63" fmla="*/ 658 h 1366"/>
                  <a:gd name="T64" fmla="*/ 3043 w 6930"/>
                  <a:gd name="T65" fmla="*/ 727 h 1366"/>
                  <a:gd name="T66" fmla="*/ 3043 w 6930"/>
                  <a:gd name="T67" fmla="*/ 724 h 1366"/>
                  <a:gd name="T68" fmla="*/ 0 w 6930"/>
                  <a:gd name="T69" fmla="*/ 618 h 1366"/>
                  <a:gd name="T70" fmla="*/ 2 w 6930"/>
                  <a:gd name="T71" fmla="*/ 1366 h 1366"/>
                  <a:gd name="T72" fmla="*/ 5157 w 6930"/>
                  <a:gd name="T73" fmla="*/ 608 h 1366"/>
                  <a:gd name="T74" fmla="*/ 5159 w 6930"/>
                  <a:gd name="T75" fmla="*/ 644 h 1366"/>
                  <a:gd name="T76" fmla="*/ 6928 w 6930"/>
                  <a:gd name="T77" fmla="*/ 509 h 1366"/>
                  <a:gd name="T78" fmla="*/ 6930 w 6930"/>
                  <a:gd name="T79" fmla="*/ 1006 h 1366"/>
                  <a:gd name="T80" fmla="*/ 3204 w 6930"/>
                  <a:gd name="T81" fmla="*/ 502 h 1366"/>
                  <a:gd name="T82" fmla="*/ 3204 w 6930"/>
                  <a:gd name="T83" fmla="*/ 566 h 1366"/>
                  <a:gd name="T84" fmla="*/ 3206 w 6930"/>
                  <a:gd name="T85" fmla="*/ 502 h 1366"/>
                  <a:gd name="T86" fmla="*/ 3939 w 6930"/>
                  <a:gd name="T87" fmla="*/ 454 h 1366"/>
                  <a:gd name="T88" fmla="*/ 3859 w 6930"/>
                  <a:gd name="T89" fmla="*/ 644 h 1366"/>
                  <a:gd name="T90" fmla="*/ 3861 w 6930"/>
                  <a:gd name="T91" fmla="*/ 642 h 1366"/>
                  <a:gd name="T92" fmla="*/ 3235 w 6930"/>
                  <a:gd name="T93" fmla="*/ 433 h 1366"/>
                  <a:gd name="T94" fmla="*/ 3232 w 6930"/>
                  <a:gd name="T95" fmla="*/ 473 h 1366"/>
                  <a:gd name="T96" fmla="*/ 3235 w 6930"/>
                  <a:gd name="T97" fmla="*/ 471 h 1366"/>
                  <a:gd name="T98" fmla="*/ 3946 w 6930"/>
                  <a:gd name="T99" fmla="*/ 391 h 1366"/>
                  <a:gd name="T100" fmla="*/ 3946 w 6930"/>
                  <a:gd name="T101" fmla="*/ 450 h 1366"/>
                  <a:gd name="T102" fmla="*/ 3949 w 6930"/>
                  <a:gd name="T103" fmla="*/ 447 h 1366"/>
                  <a:gd name="T104" fmla="*/ 1714 w 6930"/>
                  <a:gd name="T105" fmla="*/ 369 h 1366"/>
                  <a:gd name="T106" fmla="*/ 1714 w 6930"/>
                  <a:gd name="T107" fmla="*/ 1044 h 1366"/>
                  <a:gd name="T108" fmla="*/ 3953 w 6930"/>
                  <a:gd name="T109" fmla="*/ 327 h 1366"/>
                  <a:gd name="T110" fmla="*/ 3956 w 6930"/>
                  <a:gd name="T111" fmla="*/ 383 h 1366"/>
                  <a:gd name="T112" fmla="*/ 3956 w 6930"/>
                  <a:gd name="T113" fmla="*/ 327 h 1366"/>
                  <a:gd name="T114" fmla="*/ 4606 w 6930"/>
                  <a:gd name="T115" fmla="*/ 234 h 1366"/>
                  <a:gd name="T116" fmla="*/ 4608 w 6930"/>
                  <a:gd name="T117" fmla="*/ 232 h 1366"/>
                  <a:gd name="T118" fmla="*/ 4755 w 6930"/>
                  <a:gd name="T119" fmla="*/ 2 h 1366"/>
                  <a:gd name="T120" fmla="*/ 4757 w 6930"/>
                  <a:gd name="T121" fmla="*/ 123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6">
                    <a:moveTo>
                      <a:pt x="3615" y="1222"/>
                    </a:moveTo>
                    <a:lnTo>
                      <a:pt x="3615" y="1222"/>
                    </a:lnTo>
                    <a:lnTo>
                      <a:pt x="3615" y="1224"/>
                    </a:lnTo>
                    <a:lnTo>
                      <a:pt x="3615" y="1229"/>
                    </a:lnTo>
                    <a:lnTo>
                      <a:pt x="3615" y="1229"/>
                    </a:lnTo>
                    <a:lnTo>
                      <a:pt x="3615" y="1222"/>
                    </a:lnTo>
                    <a:moveTo>
                      <a:pt x="5736" y="1210"/>
                    </a:moveTo>
                    <a:lnTo>
                      <a:pt x="5734" y="1210"/>
                    </a:lnTo>
                    <a:lnTo>
                      <a:pt x="5734" y="1210"/>
                    </a:lnTo>
                    <a:lnTo>
                      <a:pt x="5734" y="1238"/>
                    </a:lnTo>
                    <a:lnTo>
                      <a:pt x="5736" y="1238"/>
                    </a:lnTo>
                    <a:lnTo>
                      <a:pt x="5736" y="1210"/>
                    </a:lnTo>
                    <a:moveTo>
                      <a:pt x="5762" y="1129"/>
                    </a:moveTo>
                    <a:lnTo>
                      <a:pt x="5760" y="1129"/>
                    </a:lnTo>
                    <a:lnTo>
                      <a:pt x="5760" y="1129"/>
                    </a:lnTo>
                    <a:lnTo>
                      <a:pt x="5760" y="1184"/>
                    </a:lnTo>
                    <a:lnTo>
                      <a:pt x="5760" y="1184"/>
                    </a:lnTo>
                    <a:lnTo>
                      <a:pt x="5760" y="1184"/>
                    </a:lnTo>
                    <a:lnTo>
                      <a:pt x="5762" y="1184"/>
                    </a:lnTo>
                    <a:lnTo>
                      <a:pt x="5762" y="1129"/>
                    </a:lnTo>
                    <a:moveTo>
                      <a:pt x="2766" y="1063"/>
                    </a:moveTo>
                    <a:lnTo>
                      <a:pt x="2764" y="1063"/>
                    </a:lnTo>
                    <a:lnTo>
                      <a:pt x="2764" y="1065"/>
                    </a:lnTo>
                    <a:lnTo>
                      <a:pt x="2764" y="1153"/>
                    </a:lnTo>
                    <a:lnTo>
                      <a:pt x="2766" y="1153"/>
                    </a:lnTo>
                    <a:lnTo>
                      <a:pt x="2766" y="1063"/>
                    </a:lnTo>
                    <a:moveTo>
                      <a:pt x="5836" y="1042"/>
                    </a:moveTo>
                    <a:lnTo>
                      <a:pt x="5833" y="1042"/>
                    </a:lnTo>
                    <a:lnTo>
                      <a:pt x="5833" y="1044"/>
                    </a:lnTo>
                    <a:lnTo>
                      <a:pt x="5833" y="1053"/>
                    </a:lnTo>
                    <a:lnTo>
                      <a:pt x="5836" y="1053"/>
                    </a:lnTo>
                    <a:lnTo>
                      <a:pt x="5836" y="1051"/>
                    </a:lnTo>
                    <a:lnTo>
                      <a:pt x="5836" y="1051"/>
                    </a:lnTo>
                    <a:lnTo>
                      <a:pt x="5836" y="1042"/>
                    </a:lnTo>
                    <a:moveTo>
                      <a:pt x="2783" y="1013"/>
                    </a:moveTo>
                    <a:lnTo>
                      <a:pt x="2781" y="1013"/>
                    </a:lnTo>
                    <a:lnTo>
                      <a:pt x="2781" y="1013"/>
                    </a:lnTo>
                    <a:lnTo>
                      <a:pt x="2781" y="1046"/>
                    </a:lnTo>
                    <a:lnTo>
                      <a:pt x="2783" y="1046"/>
                    </a:lnTo>
                    <a:lnTo>
                      <a:pt x="2783" y="1044"/>
                    </a:lnTo>
                    <a:lnTo>
                      <a:pt x="2783" y="1044"/>
                    </a:lnTo>
                    <a:lnTo>
                      <a:pt x="2783" y="1013"/>
                    </a:lnTo>
                    <a:moveTo>
                      <a:pt x="3677" y="994"/>
                    </a:moveTo>
                    <a:lnTo>
                      <a:pt x="3674" y="994"/>
                    </a:lnTo>
                    <a:lnTo>
                      <a:pt x="3674" y="997"/>
                    </a:lnTo>
                    <a:lnTo>
                      <a:pt x="3674" y="1162"/>
                    </a:lnTo>
                    <a:lnTo>
                      <a:pt x="3674" y="1162"/>
                    </a:lnTo>
                    <a:lnTo>
                      <a:pt x="3674" y="1160"/>
                    </a:lnTo>
                    <a:lnTo>
                      <a:pt x="3677" y="1160"/>
                    </a:lnTo>
                    <a:lnTo>
                      <a:pt x="3677" y="994"/>
                    </a:lnTo>
                    <a:moveTo>
                      <a:pt x="5854" y="990"/>
                    </a:moveTo>
                    <a:lnTo>
                      <a:pt x="5852" y="990"/>
                    </a:lnTo>
                    <a:lnTo>
                      <a:pt x="5852" y="992"/>
                    </a:lnTo>
                    <a:lnTo>
                      <a:pt x="5852" y="1025"/>
                    </a:lnTo>
                    <a:lnTo>
                      <a:pt x="5852" y="1025"/>
                    </a:lnTo>
                    <a:lnTo>
                      <a:pt x="5852" y="1023"/>
                    </a:lnTo>
                    <a:lnTo>
                      <a:pt x="5854" y="1023"/>
                    </a:lnTo>
                    <a:lnTo>
                      <a:pt x="5854" y="990"/>
                    </a:lnTo>
                    <a:moveTo>
                      <a:pt x="6245" y="935"/>
                    </a:moveTo>
                    <a:lnTo>
                      <a:pt x="6242" y="935"/>
                    </a:lnTo>
                    <a:lnTo>
                      <a:pt x="6242" y="937"/>
                    </a:lnTo>
                    <a:lnTo>
                      <a:pt x="6242" y="1113"/>
                    </a:lnTo>
                    <a:lnTo>
                      <a:pt x="6245" y="1113"/>
                    </a:lnTo>
                    <a:lnTo>
                      <a:pt x="6245" y="1110"/>
                    </a:lnTo>
                    <a:lnTo>
                      <a:pt x="6245" y="1110"/>
                    </a:lnTo>
                    <a:lnTo>
                      <a:pt x="6245" y="935"/>
                    </a:lnTo>
                    <a:moveTo>
                      <a:pt x="6294" y="878"/>
                    </a:moveTo>
                    <a:lnTo>
                      <a:pt x="6294" y="878"/>
                    </a:lnTo>
                    <a:lnTo>
                      <a:pt x="6292" y="878"/>
                    </a:lnTo>
                    <a:lnTo>
                      <a:pt x="6292" y="881"/>
                    </a:lnTo>
                    <a:lnTo>
                      <a:pt x="6292" y="888"/>
                    </a:lnTo>
                    <a:lnTo>
                      <a:pt x="6294" y="888"/>
                    </a:lnTo>
                    <a:lnTo>
                      <a:pt x="6294" y="885"/>
                    </a:lnTo>
                    <a:lnTo>
                      <a:pt x="6294" y="885"/>
                    </a:lnTo>
                    <a:lnTo>
                      <a:pt x="6294" y="878"/>
                    </a:lnTo>
                    <a:moveTo>
                      <a:pt x="6304" y="850"/>
                    </a:moveTo>
                    <a:lnTo>
                      <a:pt x="6301" y="850"/>
                    </a:lnTo>
                    <a:lnTo>
                      <a:pt x="6301" y="852"/>
                    </a:lnTo>
                    <a:lnTo>
                      <a:pt x="6301" y="871"/>
                    </a:lnTo>
                    <a:lnTo>
                      <a:pt x="6301" y="871"/>
                    </a:lnTo>
                    <a:lnTo>
                      <a:pt x="6301" y="869"/>
                    </a:lnTo>
                    <a:lnTo>
                      <a:pt x="6304" y="869"/>
                    </a:lnTo>
                    <a:lnTo>
                      <a:pt x="6304" y="850"/>
                    </a:lnTo>
                    <a:moveTo>
                      <a:pt x="3005" y="762"/>
                    </a:moveTo>
                    <a:lnTo>
                      <a:pt x="3003" y="762"/>
                    </a:lnTo>
                    <a:lnTo>
                      <a:pt x="3003" y="765"/>
                    </a:lnTo>
                    <a:lnTo>
                      <a:pt x="3003" y="892"/>
                    </a:lnTo>
                    <a:lnTo>
                      <a:pt x="3005" y="892"/>
                    </a:lnTo>
                    <a:lnTo>
                      <a:pt x="3005" y="762"/>
                    </a:lnTo>
                    <a:moveTo>
                      <a:pt x="5036" y="731"/>
                    </a:moveTo>
                    <a:lnTo>
                      <a:pt x="5036" y="731"/>
                    </a:lnTo>
                    <a:lnTo>
                      <a:pt x="5036" y="734"/>
                    </a:lnTo>
                    <a:lnTo>
                      <a:pt x="5036" y="885"/>
                    </a:lnTo>
                    <a:lnTo>
                      <a:pt x="5036" y="885"/>
                    </a:lnTo>
                    <a:lnTo>
                      <a:pt x="5036" y="731"/>
                    </a:lnTo>
                    <a:moveTo>
                      <a:pt x="3043" y="658"/>
                    </a:moveTo>
                    <a:lnTo>
                      <a:pt x="3043" y="658"/>
                    </a:lnTo>
                    <a:lnTo>
                      <a:pt x="3043" y="658"/>
                    </a:lnTo>
                    <a:lnTo>
                      <a:pt x="3043" y="727"/>
                    </a:lnTo>
                    <a:lnTo>
                      <a:pt x="3043" y="727"/>
                    </a:lnTo>
                    <a:lnTo>
                      <a:pt x="3043" y="724"/>
                    </a:lnTo>
                    <a:lnTo>
                      <a:pt x="3043" y="724"/>
                    </a:lnTo>
                    <a:lnTo>
                      <a:pt x="3043" y="658"/>
                    </a:lnTo>
                    <a:moveTo>
                      <a:pt x="2" y="618"/>
                    </a:moveTo>
                    <a:lnTo>
                      <a:pt x="0" y="618"/>
                    </a:lnTo>
                    <a:lnTo>
                      <a:pt x="0" y="618"/>
                    </a:lnTo>
                    <a:lnTo>
                      <a:pt x="0" y="1366"/>
                    </a:lnTo>
                    <a:lnTo>
                      <a:pt x="2" y="1366"/>
                    </a:lnTo>
                    <a:lnTo>
                      <a:pt x="2" y="618"/>
                    </a:lnTo>
                    <a:moveTo>
                      <a:pt x="5159" y="608"/>
                    </a:moveTo>
                    <a:lnTo>
                      <a:pt x="5157" y="608"/>
                    </a:lnTo>
                    <a:lnTo>
                      <a:pt x="5157" y="611"/>
                    </a:lnTo>
                    <a:lnTo>
                      <a:pt x="5157" y="644"/>
                    </a:lnTo>
                    <a:lnTo>
                      <a:pt x="5159" y="644"/>
                    </a:lnTo>
                    <a:lnTo>
                      <a:pt x="5159" y="608"/>
                    </a:lnTo>
                    <a:moveTo>
                      <a:pt x="6930" y="509"/>
                    </a:moveTo>
                    <a:lnTo>
                      <a:pt x="6928" y="509"/>
                    </a:lnTo>
                    <a:lnTo>
                      <a:pt x="6928" y="511"/>
                    </a:lnTo>
                    <a:lnTo>
                      <a:pt x="6928" y="1006"/>
                    </a:lnTo>
                    <a:lnTo>
                      <a:pt x="6930" y="1006"/>
                    </a:lnTo>
                    <a:lnTo>
                      <a:pt x="6930" y="509"/>
                    </a:lnTo>
                    <a:moveTo>
                      <a:pt x="3206" y="502"/>
                    </a:moveTo>
                    <a:lnTo>
                      <a:pt x="3204" y="502"/>
                    </a:lnTo>
                    <a:lnTo>
                      <a:pt x="3204" y="504"/>
                    </a:lnTo>
                    <a:lnTo>
                      <a:pt x="3204" y="566"/>
                    </a:lnTo>
                    <a:lnTo>
                      <a:pt x="3204" y="566"/>
                    </a:lnTo>
                    <a:lnTo>
                      <a:pt x="3204" y="563"/>
                    </a:lnTo>
                    <a:lnTo>
                      <a:pt x="3206" y="563"/>
                    </a:lnTo>
                    <a:lnTo>
                      <a:pt x="3206" y="502"/>
                    </a:lnTo>
                    <a:moveTo>
                      <a:pt x="3942" y="454"/>
                    </a:moveTo>
                    <a:lnTo>
                      <a:pt x="3939" y="454"/>
                    </a:lnTo>
                    <a:lnTo>
                      <a:pt x="3939" y="454"/>
                    </a:lnTo>
                    <a:lnTo>
                      <a:pt x="3939" y="457"/>
                    </a:lnTo>
                    <a:lnTo>
                      <a:pt x="3939" y="492"/>
                    </a:lnTo>
                    <a:lnTo>
                      <a:pt x="3859" y="644"/>
                    </a:lnTo>
                    <a:lnTo>
                      <a:pt x="3859" y="840"/>
                    </a:lnTo>
                    <a:lnTo>
                      <a:pt x="3861" y="840"/>
                    </a:lnTo>
                    <a:lnTo>
                      <a:pt x="3861" y="642"/>
                    </a:lnTo>
                    <a:lnTo>
                      <a:pt x="3942" y="490"/>
                    </a:lnTo>
                    <a:lnTo>
                      <a:pt x="3942" y="454"/>
                    </a:lnTo>
                    <a:moveTo>
                      <a:pt x="3235" y="433"/>
                    </a:moveTo>
                    <a:lnTo>
                      <a:pt x="3232" y="433"/>
                    </a:lnTo>
                    <a:lnTo>
                      <a:pt x="3232" y="436"/>
                    </a:lnTo>
                    <a:lnTo>
                      <a:pt x="3232" y="473"/>
                    </a:lnTo>
                    <a:lnTo>
                      <a:pt x="3232" y="473"/>
                    </a:lnTo>
                    <a:lnTo>
                      <a:pt x="3232" y="471"/>
                    </a:lnTo>
                    <a:lnTo>
                      <a:pt x="3235" y="471"/>
                    </a:lnTo>
                    <a:lnTo>
                      <a:pt x="3235" y="433"/>
                    </a:lnTo>
                    <a:moveTo>
                      <a:pt x="3949" y="391"/>
                    </a:moveTo>
                    <a:lnTo>
                      <a:pt x="3946" y="391"/>
                    </a:lnTo>
                    <a:lnTo>
                      <a:pt x="3946" y="391"/>
                    </a:lnTo>
                    <a:lnTo>
                      <a:pt x="3946" y="393"/>
                    </a:lnTo>
                    <a:lnTo>
                      <a:pt x="3946" y="450"/>
                    </a:lnTo>
                    <a:lnTo>
                      <a:pt x="3946" y="450"/>
                    </a:lnTo>
                    <a:lnTo>
                      <a:pt x="3946" y="447"/>
                    </a:lnTo>
                    <a:lnTo>
                      <a:pt x="3949" y="447"/>
                    </a:lnTo>
                    <a:lnTo>
                      <a:pt x="3949" y="391"/>
                    </a:lnTo>
                    <a:moveTo>
                      <a:pt x="1714" y="369"/>
                    </a:moveTo>
                    <a:lnTo>
                      <a:pt x="1714" y="369"/>
                    </a:lnTo>
                    <a:lnTo>
                      <a:pt x="1714" y="372"/>
                    </a:lnTo>
                    <a:lnTo>
                      <a:pt x="1714" y="1044"/>
                    </a:lnTo>
                    <a:lnTo>
                      <a:pt x="1714" y="1044"/>
                    </a:lnTo>
                    <a:lnTo>
                      <a:pt x="1714" y="369"/>
                    </a:lnTo>
                    <a:moveTo>
                      <a:pt x="3956" y="327"/>
                    </a:moveTo>
                    <a:lnTo>
                      <a:pt x="3953" y="327"/>
                    </a:lnTo>
                    <a:lnTo>
                      <a:pt x="3953" y="329"/>
                    </a:lnTo>
                    <a:lnTo>
                      <a:pt x="3953" y="383"/>
                    </a:lnTo>
                    <a:lnTo>
                      <a:pt x="3956" y="383"/>
                    </a:lnTo>
                    <a:lnTo>
                      <a:pt x="3956" y="381"/>
                    </a:lnTo>
                    <a:lnTo>
                      <a:pt x="3956" y="381"/>
                    </a:lnTo>
                    <a:lnTo>
                      <a:pt x="3956" y="327"/>
                    </a:lnTo>
                    <a:moveTo>
                      <a:pt x="4608" y="232"/>
                    </a:moveTo>
                    <a:lnTo>
                      <a:pt x="4606" y="232"/>
                    </a:lnTo>
                    <a:lnTo>
                      <a:pt x="4606" y="234"/>
                    </a:lnTo>
                    <a:lnTo>
                      <a:pt x="4552" y="436"/>
                    </a:lnTo>
                    <a:lnTo>
                      <a:pt x="4554" y="433"/>
                    </a:lnTo>
                    <a:lnTo>
                      <a:pt x="4608" y="232"/>
                    </a:lnTo>
                    <a:moveTo>
                      <a:pt x="4757" y="0"/>
                    </a:moveTo>
                    <a:lnTo>
                      <a:pt x="4755" y="0"/>
                    </a:lnTo>
                    <a:lnTo>
                      <a:pt x="4755" y="2"/>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0" name="Freeform 52"/>
              <p:cNvSpPr>
                <a:spLocks noEditPoints="1"/>
              </p:cNvSpPr>
              <p:nvPr/>
            </p:nvSpPr>
            <p:spPr bwMode="auto">
              <a:xfrm>
                <a:off x="56" y="1746"/>
                <a:ext cx="6931" cy="1368"/>
              </a:xfrm>
              <a:custGeom>
                <a:avLst/>
                <a:gdLst>
                  <a:gd name="T0" fmla="*/ 3613 w 6931"/>
                  <a:gd name="T1" fmla="*/ 1224 h 1368"/>
                  <a:gd name="T2" fmla="*/ 3616 w 6931"/>
                  <a:gd name="T3" fmla="*/ 1224 h 1368"/>
                  <a:gd name="T4" fmla="*/ 5734 w 6931"/>
                  <a:gd name="T5" fmla="*/ 1212 h 1368"/>
                  <a:gd name="T6" fmla="*/ 5737 w 6931"/>
                  <a:gd name="T7" fmla="*/ 1209 h 1368"/>
                  <a:gd name="T8" fmla="*/ 5760 w 6931"/>
                  <a:gd name="T9" fmla="*/ 1131 h 1368"/>
                  <a:gd name="T10" fmla="*/ 5760 w 6931"/>
                  <a:gd name="T11" fmla="*/ 1183 h 1368"/>
                  <a:gd name="T12" fmla="*/ 2764 w 6931"/>
                  <a:gd name="T13" fmla="*/ 1063 h 1368"/>
                  <a:gd name="T14" fmla="*/ 2764 w 6931"/>
                  <a:gd name="T15" fmla="*/ 1155 h 1368"/>
                  <a:gd name="T16" fmla="*/ 5836 w 6931"/>
                  <a:gd name="T17" fmla="*/ 1041 h 1368"/>
                  <a:gd name="T18" fmla="*/ 5834 w 6931"/>
                  <a:gd name="T19" fmla="*/ 1053 h 1368"/>
                  <a:gd name="T20" fmla="*/ 5836 w 6931"/>
                  <a:gd name="T21" fmla="*/ 1053 h 1368"/>
                  <a:gd name="T22" fmla="*/ 2781 w 6931"/>
                  <a:gd name="T23" fmla="*/ 1013 h 1368"/>
                  <a:gd name="T24" fmla="*/ 2781 w 6931"/>
                  <a:gd name="T25" fmla="*/ 1046 h 1368"/>
                  <a:gd name="T26" fmla="*/ 2783 w 6931"/>
                  <a:gd name="T27" fmla="*/ 1013 h 1368"/>
                  <a:gd name="T28" fmla="*/ 3675 w 6931"/>
                  <a:gd name="T29" fmla="*/ 996 h 1368"/>
                  <a:gd name="T30" fmla="*/ 3675 w 6931"/>
                  <a:gd name="T31" fmla="*/ 1162 h 1368"/>
                  <a:gd name="T32" fmla="*/ 5855 w 6931"/>
                  <a:gd name="T33" fmla="*/ 989 h 1368"/>
                  <a:gd name="T34" fmla="*/ 5852 w 6931"/>
                  <a:gd name="T35" fmla="*/ 1025 h 1368"/>
                  <a:gd name="T36" fmla="*/ 5855 w 6931"/>
                  <a:gd name="T37" fmla="*/ 1022 h 1368"/>
                  <a:gd name="T38" fmla="*/ 6243 w 6931"/>
                  <a:gd name="T39" fmla="*/ 937 h 1368"/>
                  <a:gd name="T40" fmla="*/ 6245 w 6931"/>
                  <a:gd name="T41" fmla="*/ 1112 h 1368"/>
                  <a:gd name="T42" fmla="*/ 6245 w 6931"/>
                  <a:gd name="T43" fmla="*/ 937 h 1368"/>
                  <a:gd name="T44" fmla="*/ 6292 w 6931"/>
                  <a:gd name="T45" fmla="*/ 878 h 1368"/>
                  <a:gd name="T46" fmla="*/ 6292 w 6931"/>
                  <a:gd name="T47" fmla="*/ 887 h 1368"/>
                  <a:gd name="T48" fmla="*/ 6295 w 6931"/>
                  <a:gd name="T49" fmla="*/ 878 h 1368"/>
                  <a:gd name="T50" fmla="*/ 6302 w 6931"/>
                  <a:gd name="T51" fmla="*/ 852 h 1368"/>
                  <a:gd name="T52" fmla="*/ 6302 w 6931"/>
                  <a:gd name="T53" fmla="*/ 868 h 1368"/>
                  <a:gd name="T54" fmla="*/ 3006 w 6931"/>
                  <a:gd name="T55" fmla="*/ 762 h 1368"/>
                  <a:gd name="T56" fmla="*/ 3003 w 6931"/>
                  <a:gd name="T57" fmla="*/ 894 h 1368"/>
                  <a:gd name="T58" fmla="*/ 5037 w 6931"/>
                  <a:gd name="T59" fmla="*/ 731 h 1368"/>
                  <a:gd name="T60" fmla="*/ 5034 w 6931"/>
                  <a:gd name="T61" fmla="*/ 887 h 1368"/>
                  <a:gd name="T62" fmla="*/ 3043 w 6931"/>
                  <a:gd name="T63" fmla="*/ 658 h 1368"/>
                  <a:gd name="T64" fmla="*/ 3041 w 6931"/>
                  <a:gd name="T65" fmla="*/ 726 h 1368"/>
                  <a:gd name="T66" fmla="*/ 3043 w 6931"/>
                  <a:gd name="T67" fmla="*/ 724 h 1368"/>
                  <a:gd name="T68" fmla="*/ 0 w 6931"/>
                  <a:gd name="T69" fmla="*/ 617 h 1368"/>
                  <a:gd name="T70" fmla="*/ 3 w 6931"/>
                  <a:gd name="T71" fmla="*/ 1368 h 1368"/>
                  <a:gd name="T72" fmla="*/ 5157 w 6931"/>
                  <a:gd name="T73" fmla="*/ 610 h 1368"/>
                  <a:gd name="T74" fmla="*/ 5157 w 6931"/>
                  <a:gd name="T75" fmla="*/ 646 h 1368"/>
                  <a:gd name="T76" fmla="*/ 6928 w 6931"/>
                  <a:gd name="T77" fmla="*/ 509 h 1368"/>
                  <a:gd name="T78" fmla="*/ 6931 w 6931"/>
                  <a:gd name="T79" fmla="*/ 1008 h 1368"/>
                  <a:gd name="T80" fmla="*/ 3204 w 6931"/>
                  <a:gd name="T81" fmla="*/ 501 h 1368"/>
                  <a:gd name="T82" fmla="*/ 3204 w 6931"/>
                  <a:gd name="T83" fmla="*/ 565 h 1368"/>
                  <a:gd name="T84" fmla="*/ 3204 w 6931"/>
                  <a:gd name="T85" fmla="*/ 501 h 1368"/>
                  <a:gd name="T86" fmla="*/ 3940 w 6931"/>
                  <a:gd name="T87" fmla="*/ 454 h 1368"/>
                  <a:gd name="T88" fmla="*/ 3859 w 6931"/>
                  <a:gd name="T89" fmla="*/ 644 h 1368"/>
                  <a:gd name="T90" fmla="*/ 3859 w 6931"/>
                  <a:gd name="T91" fmla="*/ 641 h 1368"/>
                  <a:gd name="T92" fmla="*/ 3235 w 6931"/>
                  <a:gd name="T93" fmla="*/ 435 h 1368"/>
                  <a:gd name="T94" fmla="*/ 3233 w 6931"/>
                  <a:gd name="T95" fmla="*/ 473 h 1368"/>
                  <a:gd name="T96" fmla="*/ 3235 w 6931"/>
                  <a:gd name="T97" fmla="*/ 471 h 1368"/>
                  <a:gd name="T98" fmla="*/ 3947 w 6931"/>
                  <a:gd name="T99" fmla="*/ 390 h 1368"/>
                  <a:gd name="T100" fmla="*/ 3947 w 6931"/>
                  <a:gd name="T101" fmla="*/ 449 h 1368"/>
                  <a:gd name="T102" fmla="*/ 3947 w 6931"/>
                  <a:gd name="T103" fmla="*/ 447 h 1368"/>
                  <a:gd name="T104" fmla="*/ 1712 w 6931"/>
                  <a:gd name="T105" fmla="*/ 369 h 1368"/>
                  <a:gd name="T106" fmla="*/ 1715 w 6931"/>
                  <a:gd name="T107" fmla="*/ 1046 h 1368"/>
                  <a:gd name="T108" fmla="*/ 3954 w 6931"/>
                  <a:gd name="T109" fmla="*/ 329 h 1368"/>
                  <a:gd name="T110" fmla="*/ 3954 w 6931"/>
                  <a:gd name="T111" fmla="*/ 383 h 1368"/>
                  <a:gd name="T112" fmla="*/ 3956 w 6931"/>
                  <a:gd name="T113" fmla="*/ 329 h 1368"/>
                  <a:gd name="T114" fmla="*/ 4606 w 6931"/>
                  <a:gd name="T115" fmla="*/ 234 h 1368"/>
                  <a:gd name="T116" fmla="*/ 4609 w 6931"/>
                  <a:gd name="T117" fmla="*/ 232 h 1368"/>
                  <a:gd name="T118" fmla="*/ 4755 w 6931"/>
                  <a:gd name="T119" fmla="*/ 2 h 1368"/>
                  <a:gd name="T120" fmla="*/ 4758 w 6931"/>
                  <a:gd name="T121" fmla="*/ 123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68">
                    <a:moveTo>
                      <a:pt x="3616" y="1224"/>
                    </a:moveTo>
                    <a:lnTo>
                      <a:pt x="3613" y="1224"/>
                    </a:lnTo>
                    <a:lnTo>
                      <a:pt x="3613" y="1224"/>
                    </a:lnTo>
                    <a:lnTo>
                      <a:pt x="3613" y="1231"/>
                    </a:lnTo>
                    <a:lnTo>
                      <a:pt x="3616" y="1231"/>
                    </a:lnTo>
                    <a:lnTo>
                      <a:pt x="3616" y="1224"/>
                    </a:lnTo>
                    <a:close/>
                    <a:moveTo>
                      <a:pt x="5737" y="1209"/>
                    </a:moveTo>
                    <a:lnTo>
                      <a:pt x="5734" y="1209"/>
                    </a:lnTo>
                    <a:lnTo>
                      <a:pt x="5734" y="1212"/>
                    </a:lnTo>
                    <a:lnTo>
                      <a:pt x="5734" y="1240"/>
                    </a:lnTo>
                    <a:lnTo>
                      <a:pt x="5737" y="1240"/>
                    </a:lnTo>
                    <a:lnTo>
                      <a:pt x="5737" y="1209"/>
                    </a:lnTo>
                    <a:close/>
                    <a:moveTo>
                      <a:pt x="5760" y="1129"/>
                    </a:moveTo>
                    <a:lnTo>
                      <a:pt x="5760" y="1129"/>
                    </a:lnTo>
                    <a:lnTo>
                      <a:pt x="5760" y="1131"/>
                    </a:lnTo>
                    <a:lnTo>
                      <a:pt x="5760" y="1186"/>
                    </a:lnTo>
                    <a:lnTo>
                      <a:pt x="5760" y="1186"/>
                    </a:lnTo>
                    <a:lnTo>
                      <a:pt x="5760" y="1183"/>
                    </a:lnTo>
                    <a:lnTo>
                      <a:pt x="5760" y="1183"/>
                    </a:lnTo>
                    <a:lnTo>
                      <a:pt x="5760" y="1129"/>
                    </a:lnTo>
                    <a:close/>
                    <a:moveTo>
                      <a:pt x="2764" y="1063"/>
                    </a:moveTo>
                    <a:lnTo>
                      <a:pt x="2764" y="1063"/>
                    </a:lnTo>
                    <a:lnTo>
                      <a:pt x="2764" y="1065"/>
                    </a:lnTo>
                    <a:lnTo>
                      <a:pt x="2764" y="1155"/>
                    </a:lnTo>
                    <a:lnTo>
                      <a:pt x="2764" y="1155"/>
                    </a:lnTo>
                    <a:lnTo>
                      <a:pt x="2764" y="1063"/>
                    </a:lnTo>
                    <a:close/>
                    <a:moveTo>
                      <a:pt x="5836" y="1041"/>
                    </a:moveTo>
                    <a:lnTo>
                      <a:pt x="5834" y="1041"/>
                    </a:lnTo>
                    <a:lnTo>
                      <a:pt x="5834" y="1044"/>
                    </a:lnTo>
                    <a:lnTo>
                      <a:pt x="5834" y="1053"/>
                    </a:lnTo>
                    <a:lnTo>
                      <a:pt x="5836" y="1053"/>
                    </a:lnTo>
                    <a:lnTo>
                      <a:pt x="5836" y="1053"/>
                    </a:lnTo>
                    <a:lnTo>
                      <a:pt x="5836" y="1053"/>
                    </a:lnTo>
                    <a:lnTo>
                      <a:pt x="5836" y="1041"/>
                    </a:lnTo>
                    <a:close/>
                    <a:moveTo>
                      <a:pt x="2783" y="1013"/>
                    </a:moveTo>
                    <a:lnTo>
                      <a:pt x="2781" y="1013"/>
                    </a:lnTo>
                    <a:lnTo>
                      <a:pt x="2781" y="1015"/>
                    </a:lnTo>
                    <a:lnTo>
                      <a:pt x="2781" y="1046"/>
                    </a:lnTo>
                    <a:lnTo>
                      <a:pt x="2781" y="1046"/>
                    </a:lnTo>
                    <a:lnTo>
                      <a:pt x="2781" y="1044"/>
                    </a:lnTo>
                    <a:lnTo>
                      <a:pt x="2783" y="1044"/>
                    </a:lnTo>
                    <a:lnTo>
                      <a:pt x="2783" y="1013"/>
                    </a:lnTo>
                    <a:close/>
                    <a:moveTo>
                      <a:pt x="3675" y="994"/>
                    </a:moveTo>
                    <a:lnTo>
                      <a:pt x="3675" y="994"/>
                    </a:lnTo>
                    <a:lnTo>
                      <a:pt x="3675" y="996"/>
                    </a:lnTo>
                    <a:lnTo>
                      <a:pt x="3675" y="1162"/>
                    </a:lnTo>
                    <a:lnTo>
                      <a:pt x="3675" y="1162"/>
                    </a:lnTo>
                    <a:lnTo>
                      <a:pt x="3675" y="1162"/>
                    </a:lnTo>
                    <a:lnTo>
                      <a:pt x="3675" y="1162"/>
                    </a:lnTo>
                    <a:lnTo>
                      <a:pt x="3675" y="994"/>
                    </a:lnTo>
                    <a:close/>
                    <a:moveTo>
                      <a:pt x="5855" y="989"/>
                    </a:moveTo>
                    <a:lnTo>
                      <a:pt x="5852" y="989"/>
                    </a:lnTo>
                    <a:lnTo>
                      <a:pt x="5852" y="992"/>
                    </a:lnTo>
                    <a:lnTo>
                      <a:pt x="5852" y="1025"/>
                    </a:lnTo>
                    <a:lnTo>
                      <a:pt x="5852" y="1025"/>
                    </a:lnTo>
                    <a:lnTo>
                      <a:pt x="5852" y="1022"/>
                    </a:lnTo>
                    <a:lnTo>
                      <a:pt x="5855" y="1022"/>
                    </a:lnTo>
                    <a:lnTo>
                      <a:pt x="5855" y="989"/>
                    </a:lnTo>
                    <a:close/>
                    <a:moveTo>
                      <a:pt x="6245" y="937"/>
                    </a:moveTo>
                    <a:lnTo>
                      <a:pt x="6243" y="937"/>
                    </a:lnTo>
                    <a:lnTo>
                      <a:pt x="6243" y="937"/>
                    </a:lnTo>
                    <a:lnTo>
                      <a:pt x="6243" y="1112"/>
                    </a:lnTo>
                    <a:lnTo>
                      <a:pt x="6245" y="1112"/>
                    </a:lnTo>
                    <a:lnTo>
                      <a:pt x="6245" y="1110"/>
                    </a:lnTo>
                    <a:lnTo>
                      <a:pt x="6245" y="1110"/>
                    </a:lnTo>
                    <a:lnTo>
                      <a:pt x="6245" y="937"/>
                    </a:lnTo>
                    <a:close/>
                    <a:moveTo>
                      <a:pt x="6295" y="878"/>
                    </a:moveTo>
                    <a:lnTo>
                      <a:pt x="6292" y="878"/>
                    </a:lnTo>
                    <a:lnTo>
                      <a:pt x="6292" y="878"/>
                    </a:lnTo>
                    <a:lnTo>
                      <a:pt x="6292" y="880"/>
                    </a:lnTo>
                    <a:lnTo>
                      <a:pt x="6292" y="887"/>
                    </a:lnTo>
                    <a:lnTo>
                      <a:pt x="6292" y="887"/>
                    </a:lnTo>
                    <a:lnTo>
                      <a:pt x="6292" y="885"/>
                    </a:lnTo>
                    <a:lnTo>
                      <a:pt x="6295" y="885"/>
                    </a:lnTo>
                    <a:lnTo>
                      <a:pt x="6295" y="878"/>
                    </a:lnTo>
                    <a:close/>
                    <a:moveTo>
                      <a:pt x="6302" y="849"/>
                    </a:moveTo>
                    <a:lnTo>
                      <a:pt x="6302" y="849"/>
                    </a:lnTo>
                    <a:lnTo>
                      <a:pt x="6302" y="852"/>
                    </a:lnTo>
                    <a:lnTo>
                      <a:pt x="6302" y="871"/>
                    </a:lnTo>
                    <a:lnTo>
                      <a:pt x="6302" y="871"/>
                    </a:lnTo>
                    <a:lnTo>
                      <a:pt x="6302" y="868"/>
                    </a:lnTo>
                    <a:lnTo>
                      <a:pt x="6302" y="868"/>
                    </a:lnTo>
                    <a:lnTo>
                      <a:pt x="6302" y="849"/>
                    </a:lnTo>
                    <a:close/>
                    <a:moveTo>
                      <a:pt x="3006" y="762"/>
                    </a:moveTo>
                    <a:lnTo>
                      <a:pt x="3003" y="762"/>
                    </a:lnTo>
                    <a:lnTo>
                      <a:pt x="3003" y="764"/>
                    </a:lnTo>
                    <a:lnTo>
                      <a:pt x="3003" y="894"/>
                    </a:lnTo>
                    <a:lnTo>
                      <a:pt x="3006" y="894"/>
                    </a:lnTo>
                    <a:lnTo>
                      <a:pt x="3006" y="762"/>
                    </a:lnTo>
                    <a:close/>
                    <a:moveTo>
                      <a:pt x="5037" y="731"/>
                    </a:moveTo>
                    <a:lnTo>
                      <a:pt x="5034" y="731"/>
                    </a:lnTo>
                    <a:lnTo>
                      <a:pt x="5034" y="733"/>
                    </a:lnTo>
                    <a:lnTo>
                      <a:pt x="5034" y="887"/>
                    </a:lnTo>
                    <a:lnTo>
                      <a:pt x="5037" y="887"/>
                    </a:lnTo>
                    <a:lnTo>
                      <a:pt x="5037" y="731"/>
                    </a:lnTo>
                    <a:close/>
                    <a:moveTo>
                      <a:pt x="3043" y="658"/>
                    </a:moveTo>
                    <a:lnTo>
                      <a:pt x="3041" y="658"/>
                    </a:lnTo>
                    <a:lnTo>
                      <a:pt x="3041" y="660"/>
                    </a:lnTo>
                    <a:lnTo>
                      <a:pt x="3041" y="726"/>
                    </a:lnTo>
                    <a:lnTo>
                      <a:pt x="3043" y="726"/>
                    </a:lnTo>
                    <a:lnTo>
                      <a:pt x="3043" y="724"/>
                    </a:lnTo>
                    <a:lnTo>
                      <a:pt x="3043" y="724"/>
                    </a:lnTo>
                    <a:lnTo>
                      <a:pt x="3043" y="658"/>
                    </a:lnTo>
                    <a:close/>
                    <a:moveTo>
                      <a:pt x="3" y="617"/>
                    </a:moveTo>
                    <a:lnTo>
                      <a:pt x="0" y="617"/>
                    </a:lnTo>
                    <a:lnTo>
                      <a:pt x="0" y="620"/>
                    </a:lnTo>
                    <a:lnTo>
                      <a:pt x="0" y="1368"/>
                    </a:lnTo>
                    <a:lnTo>
                      <a:pt x="3" y="1368"/>
                    </a:lnTo>
                    <a:lnTo>
                      <a:pt x="3" y="617"/>
                    </a:lnTo>
                    <a:close/>
                    <a:moveTo>
                      <a:pt x="5157" y="610"/>
                    </a:moveTo>
                    <a:lnTo>
                      <a:pt x="5157" y="610"/>
                    </a:lnTo>
                    <a:lnTo>
                      <a:pt x="5157" y="610"/>
                    </a:lnTo>
                    <a:lnTo>
                      <a:pt x="5157" y="646"/>
                    </a:lnTo>
                    <a:lnTo>
                      <a:pt x="5157" y="646"/>
                    </a:lnTo>
                    <a:lnTo>
                      <a:pt x="5157" y="610"/>
                    </a:lnTo>
                    <a:close/>
                    <a:moveTo>
                      <a:pt x="6931" y="509"/>
                    </a:moveTo>
                    <a:lnTo>
                      <a:pt x="6928" y="509"/>
                    </a:lnTo>
                    <a:lnTo>
                      <a:pt x="6928" y="511"/>
                    </a:lnTo>
                    <a:lnTo>
                      <a:pt x="6928" y="1008"/>
                    </a:lnTo>
                    <a:lnTo>
                      <a:pt x="6931" y="1008"/>
                    </a:lnTo>
                    <a:lnTo>
                      <a:pt x="6931" y="509"/>
                    </a:lnTo>
                    <a:close/>
                    <a:moveTo>
                      <a:pt x="3204" y="501"/>
                    </a:moveTo>
                    <a:lnTo>
                      <a:pt x="3204" y="501"/>
                    </a:lnTo>
                    <a:lnTo>
                      <a:pt x="3204" y="504"/>
                    </a:lnTo>
                    <a:lnTo>
                      <a:pt x="3204" y="565"/>
                    </a:lnTo>
                    <a:lnTo>
                      <a:pt x="3204" y="565"/>
                    </a:lnTo>
                    <a:lnTo>
                      <a:pt x="3204" y="563"/>
                    </a:lnTo>
                    <a:lnTo>
                      <a:pt x="3204" y="563"/>
                    </a:lnTo>
                    <a:lnTo>
                      <a:pt x="3204" y="501"/>
                    </a:lnTo>
                    <a:close/>
                    <a:moveTo>
                      <a:pt x="3942" y="454"/>
                    </a:moveTo>
                    <a:lnTo>
                      <a:pt x="3940" y="454"/>
                    </a:lnTo>
                    <a:lnTo>
                      <a:pt x="3940" y="454"/>
                    </a:lnTo>
                    <a:lnTo>
                      <a:pt x="3940" y="456"/>
                    </a:lnTo>
                    <a:lnTo>
                      <a:pt x="3940" y="492"/>
                    </a:lnTo>
                    <a:lnTo>
                      <a:pt x="3859" y="644"/>
                    </a:lnTo>
                    <a:lnTo>
                      <a:pt x="3859" y="842"/>
                    </a:lnTo>
                    <a:lnTo>
                      <a:pt x="3859" y="842"/>
                    </a:lnTo>
                    <a:lnTo>
                      <a:pt x="3859" y="641"/>
                    </a:lnTo>
                    <a:lnTo>
                      <a:pt x="3942" y="490"/>
                    </a:lnTo>
                    <a:lnTo>
                      <a:pt x="3942" y="454"/>
                    </a:lnTo>
                    <a:close/>
                    <a:moveTo>
                      <a:pt x="3235" y="435"/>
                    </a:moveTo>
                    <a:lnTo>
                      <a:pt x="3233" y="435"/>
                    </a:lnTo>
                    <a:lnTo>
                      <a:pt x="3233" y="435"/>
                    </a:lnTo>
                    <a:lnTo>
                      <a:pt x="3233" y="473"/>
                    </a:lnTo>
                    <a:lnTo>
                      <a:pt x="3233" y="473"/>
                    </a:lnTo>
                    <a:lnTo>
                      <a:pt x="3233" y="471"/>
                    </a:lnTo>
                    <a:lnTo>
                      <a:pt x="3235" y="471"/>
                    </a:lnTo>
                    <a:lnTo>
                      <a:pt x="3235" y="435"/>
                    </a:lnTo>
                    <a:close/>
                    <a:moveTo>
                      <a:pt x="3947" y="390"/>
                    </a:moveTo>
                    <a:lnTo>
                      <a:pt x="3947" y="390"/>
                    </a:lnTo>
                    <a:lnTo>
                      <a:pt x="3947" y="390"/>
                    </a:lnTo>
                    <a:lnTo>
                      <a:pt x="3947" y="393"/>
                    </a:lnTo>
                    <a:lnTo>
                      <a:pt x="3947" y="449"/>
                    </a:lnTo>
                    <a:lnTo>
                      <a:pt x="3947" y="449"/>
                    </a:lnTo>
                    <a:lnTo>
                      <a:pt x="3947" y="447"/>
                    </a:lnTo>
                    <a:lnTo>
                      <a:pt x="3947" y="447"/>
                    </a:lnTo>
                    <a:lnTo>
                      <a:pt x="3947" y="390"/>
                    </a:lnTo>
                    <a:close/>
                    <a:moveTo>
                      <a:pt x="1715" y="369"/>
                    </a:moveTo>
                    <a:lnTo>
                      <a:pt x="1712" y="369"/>
                    </a:lnTo>
                    <a:lnTo>
                      <a:pt x="1712" y="371"/>
                    </a:lnTo>
                    <a:lnTo>
                      <a:pt x="1712" y="1046"/>
                    </a:lnTo>
                    <a:lnTo>
                      <a:pt x="1715" y="1046"/>
                    </a:lnTo>
                    <a:lnTo>
                      <a:pt x="1715" y="369"/>
                    </a:lnTo>
                    <a:close/>
                    <a:moveTo>
                      <a:pt x="3956" y="329"/>
                    </a:moveTo>
                    <a:lnTo>
                      <a:pt x="3954" y="329"/>
                    </a:lnTo>
                    <a:lnTo>
                      <a:pt x="3954" y="329"/>
                    </a:lnTo>
                    <a:lnTo>
                      <a:pt x="3954" y="383"/>
                    </a:lnTo>
                    <a:lnTo>
                      <a:pt x="3954" y="383"/>
                    </a:lnTo>
                    <a:lnTo>
                      <a:pt x="3954" y="383"/>
                    </a:lnTo>
                    <a:lnTo>
                      <a:pt x="3956" y="383"/>
                    </a:lnTo>
                    <a:lnTo>
                      <a:pt x="3956" y="329"/>
                    </a:lnTo>
                    <a:close/>
                    <a:moveTo>
                      <a:pt x="4609" y="232"/>
                    </a:moveTo>
                    <a:lnTo>
                      <a:pt x="4606" y="232"/>
                    </a:lnTo>
                    <a:lnTo>
                      <a:pt x="4606" y="234"/>
                    </a:lnTo>
                    <a:lnTo>
                      <a:pt x="4552" y="435"/>
                    </a:lnTo>
                    <a:lnTo>
                      <a:pt x="4554" y="435"/>
                    </a:lnTo>
                    <a:lnTo>
                      <a:pt x="4609" y="232"/>
                    </a:lnTo>
                    <a:close/>
                    <a:moveTo>
                      <a:pt x="4758" y="0"/>
                    </a:moveTo>
                    <a:lnTo>
                      <a:pt x="4755" y="0"/>
                    </a:lnTo>
                    <a:lnTo>
                      <a:pt x="4755" y="2"/>
                    </a:lnTo>
                    <a:lnTo>
                      <a:pt x="4755" y="125"/>
                    </a:lnTo>
                    <a:lnTo>
                      <a:pt x="4758" y="125"/>
                    </a:lnTo>
                    <a:lnTo>
                      <a:pt x="4758" y="123"/>
                    </a:lnTo>
                    <a:lnTo>
                      <a:pt x="4758" y="123"/>
                    </a:lnTo>
                    <a:lnTo>
                      <a:pt x="4758" y="0"/>
                    </a:lnTo>
                    <a:close/>
                  </a:path>
                </a:pathLst>
              </a:custGeom>
              <a:solidFill>
                <a:srgbClr val="F8F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1" name="Freeform 53"/>
              <p:cNvSpPr>
                <a:spLocks noEditPoints="1"/>
              </p:cNvSpPr>
              <p:nvPr/>
            </p:nvSpPr>
            <p:spPr bwMode="auto">
              <a:xfrm>
                <a:off x="56" y="1746"/>
                <a:ext cx="6931" cy="1368"/>
              </a:xfrm>
              <a:custGeom>
                <a:avLst/>
                <a:gdLst>
                  <a:gd name="T0" fmla="*/ 3613 w 6931"/>
                  <a:gd name="T1" fmla="*/ 1224 h 1368"/>
                  <a:gd name="T2" fmla="*/ 3616 w 6931"/>
                  <a:gd name="T3" fmla="*/ 1224 h 1368"/>
                  <a:gd name="T4" fmla="*/ 5734 w 6931"/>
                  <a:gd name="T5" fmla="*/ 1212 h 1368"/>
                  <a:gd name="T6" fmla="*/ 5737 w 6931"/>
                  <a:gd name="T7" fmla="*/ 1209 h 1368"/>
                  <a:gd name="T8" fmla="*/ 5760 w 6931"/>
                  <a:gd name="T9" fmla="*/ 1131 h 1368"/>
                  <a:gd name="T10" fmla="*/ 5760 w 6931"/>
                  <a:gd name="T11" fmla="*/ 1183 h 1368"/>
                  <a:gd name="T12" fmla="*/ 2764 w 6931"/>
                  <a:gd name="T13" fmla="*/ 1063 h 1368"/>
                  <a:gd name="T14" fmla="*/ 2764 w 6931"/>
                  <a:gd name="T15" fmla="*/ 1155 h 1368"/>
                  <a:gd name="T16" fmla="*/ 5836 w 6931"/>
                  <a:gd name="T17" fmla="*/ 1041 h 1368"/>
                  <a:gd name="T18" fmla="*/ 5834 w 6931"/>
                  <a:gd name="T19" fmla="*/ 1053 h 1368"/>
                  <a:gd name="T20" fmla="*/ 5836 w 6931"/>
                  <a:gd name="T21" fmla="*/ 1053 h 1368"/>
                  <a:gd name="T22" fmla="*/ 2781 w 6931"/>
                  <a:gd name="T23" fmla="*/ 1013 h 1368"/>
                  <a:gd name="T24" fmla="*/ 2781 w 6931"/>
                  <a:gd name="T25" fmla="*/ 1046 h 1368"/>
                  <a:gd name="T26" fmla="*/ 2783 w 6931"/>
                  <a:gd name="T27" fmla="*/ 1013 h 1368"/>
                  <a:gd name="T28" fmla="*/ 3675 w 6931"/>
                  <a:gd name="T29" fmla="*/ 996 h 1368"/>
                  <a:gd name="T30" fmla="*/ 3675 w 6931"/>
                  <a:gd name="T31" fmla="*/ 1162 h 1368"/>
                  <a:gd name="T32" fmla="*/ 5855 w 6931"/>
                  <a:gd name="T33" fmla="*/ 989 h 1368"/>
                  <a:gd name="T34" fmla="*/ 5852 w 6931"/>
                  <a:gd name="T35" fmla="*/ 1025 h 1368"/>
                  <a:gd name="T36" fmla="*/ 5855 w 6931"/>
                  <a:gd name="T37" fmla="*/ 1022 h 1368"/>
                  <a:gd name="T38" fmla="*/ 6243 w 6931"/>
                  <a:gd name="T39" fmla="*/ 937 h 1368"/>
                  <a:gd name="T40" fmla="*/ 6245 w 6931"/>
                  <a:gd name="T41" fmla="*/ 1112 h 1368"/>
                  <a:gd name="T42" fmla="*/ 6245 w 6931"/>
                  <a:gd name="T43" fmla="*/ 937 h 1368"/>
                  <a:gd name="T44" fmla="*/ 6292 w 6931"/>
                  <a:gd name="T45" fmla="*/ 878 h 1368"/>
                  <a:gd name="T46" fmla="*/ 6292 w 6931"/>
                  <a:gd name="T47" fmla="*/ 887 h 1368"/>
                  <a:gd name="T48" fmla="*/ 6295 w 6931"/>
                  <a:gd name="T49" fmla="*/ 878 h 1368"/>
                  <a:gd name="T50" fmla="*/ 6302 w 6931"/>
                  <a:gd name="T51" fmla="*/ 852 h 1368"/>
                  <a:gd name="T52" fmla="*/ 6302 w 6931"/>
                  <a:gd name="T53" fmla="*/ 868 h 1368"/>
                  <a:gd name="T54" fmla="*/ 3006 w 6931"/>
                  <a:gd name="T55" fmla="*/ 762 h 1368"/>
                  <a:gd name="T56" fmla="*/ 3003 w 6931"/>
                  <a:gd name="T57" fmla="*/ 894 h 1368"/>
                  <a:gd name="T58" fmla="*/ 5037 w 6931"/>
                  <a:gd name="T59" fmla="*/ 731 h 1368"/>
                  <a:gd name="T60" fmla="*/ 5034 w 6931"/>
                  <a:gd name="T61" fmla="*/ 887 h 1368"/>
                  <a:gd name="T62" fmla="*/ 3043 w 6931"/>
                  <a:gd name="T63" fmla="*/ 658 h 1368"/>
                  <a:gd name="T64" fmla="*/ 3041 w 6931"/>
                  <a:gd name="T65" fmla="*/ 726 h 1368"/>
                  <a:gd name="T66" fmla="*/ 3043 w 6931"/>
                  <a:gd name="T67" fmla="*/ 724 h 1368"/>
                  <a:gd name="T68" fmla="*/ 0 w 6931"/>
                  <a:gd name="T69" fmla="*/ 617 h 1368"/>
                  <a:gd name="T70" fmla="*/ 3 w 6931"/>
                  <a:gd name="T71" fmla="*/ 1368 h 1368"/>
                  <a:gd name="T72" fmla="*/ 5157 w 6931"/>
                  <a:gd name="T73" fmla="*/ 610 h 1368"/>
                  <a:gd name="T74" fmla="*/ 5157 w 6931"/>
                  <a:gd name="T75" fmla="*/ 646 h 1368"/>
                  <a:gd name="T76" fmla="*/ 6928 w 6931"/>
                  <a:gd name="T77" fmla="*/ 509 h 1368"/>
                  <a:gd name="T78" fmla="*/ 6931 w 6931"/>
                  <a:gd name="T79" fmla="*/ 1008 h 1368"/>
                  <a:gd name="T80" fmla="*/ 3204 w 6931"/>
                  <a:gd name="T81" fmla="*/ 501 h 1368"/>
                  <a:gd name="T82" fmla="*/ 3204 w 6931"/>
                  <a:gd name="T83" fmla="*/ 565 h 1368"/>
                  <a:gd name="T84" fmla="*/ 3204 w 6931"/>
                  <a:gd name="T85" fmla="*/ 501 h 1368"/>
                  <a:gd name="T86" fmla="*/ 3940 w 6931"/>
                  <a:gd name="T87" fmla="*/ 454 h 1368"/>
                  <a:gd name="T88" fmla="*/ 3859 w 6931"/>
                  <a:gd name="T89" fmla="*/ 644 h 1368"/>
                  <a:gd name="T90" fmla="*/ 3859 w 6931"/>
                  <a:gd name="T91" fmla="*/ 641 h 1368"/>
                  <a:gd name="T92" fmla="*/ 3235 w 6931"/>
                  <a:gd name="T93" fmla="*/ 435 h 1368"/>
                  <a:gd name="T94" fmla="*/ 3233 w 6931"/>
                  <a:gd name="T95" fmla="*/ 473 h 1368"/>
                  <a:gd name="T96" fmla="*/ 3235 w 6931"/>
                  <a:gd name="T97" fmla="*/ 471 h 1368"/>
                  <a:gd name="T98" fmla="*/ 3947 w 6931"/>
                  <a:gd name="T99" fmla="*/ 390 h 1368"/>
                  <a:gd name="T100" fmla="*/ 3947 w 6931"/>
                  <a:gd name="T101" fmla="*/ 449 h 1368"/>
                  <a:gd name="T102" fmla="*/ 3947 w 6931"/>
                  <a:gd name="T103" fmla="*/ 447 h 1368"/>
                  <a:gd name="T104" fmla="*/ 1712 w 6931"/>
                  <a:gd name="T105" fmla="*/ 369 h 1368"/>
                  <a:gd name="T106" fmla="*/ 1715 w 6931"/>
                  <a:gd name="T107" fmla="*/ 1046 h 1368"/>
                  <a:gd name="T108" fmla="*/ 3954 w 6931"/>
                  <a:gd name="T109" fmla="*/ 329 h 1368"/>
                  <a:gd name="T110" fmla="*/ 3954 w 6931"/>
                  <a:gd name="T111" fmla="*/ 383 h 1368"/>
                  <a:gd name="T112" fmla="*/ 3956 w 6931"/>
                  <a:gd name="T113" fmla="*/ 329 h 1368"/>
                  <a:gd name="T114" fmla="*/ 4606 w 6931"/>
                  <a:gd name="T115" fmla="*/ 234 h 1368"/>
                  <a:gd name="T116" fmla="*/ 4609 w 6931"/>
                  <a:gd name="T117" fmla="*/ 232 h 1368"/>
                  <a:gd name="T118" fmla="*/ 4755 w 6931"/>
                  <a:gd name="T119" fmla="*/ 2 h 1368"/>
                  <a:gd name="T120" fmla="*/ 4758 w 6931"/>
                  <a:gd name="T121" fmla="*/ 123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68">
                    <a:moveTo>
                      <a:pt x="3616" y="1224"/>
                    </a:moveTo>
                    <a:lnTo>
                      <a:pt x="3613" y="1224"/>
                    </a:lnTo>
                    <a:lnTo>
                      <a:pt x="3613" y="1224"/>
                    </a:lnTo>
                    <a:lnTo>
                      <a:pt x="3613" y="1231"/>
                    </a:lnTo>
                    <a:lnTo>
                      <a:pt x="3616" y="1231"/>
                    </a:lnTo>
                    <a:lnTo>
                      <a:pt x="3616" y="1224"/>
                    </a:lnTo>
                    <a:moveTo>
                      <a:pt x="5737" y="1209"/>
                    </a:moveTo>
                    <a:lnTo>
                      <a:pt x="5734" y="1209"/>
                    </a:lnTo>
                    <a:lnTo>
                      <a:pt x="5734" y="1212"/>
                    </a:lnTo>
                    <a:lnTo>
                      <a:pt x="5734" y="1240"/>
                    </a:lnTo>
                    <a:lnTo>
                      <a:pt x="5737" y="1240"/>
                    </a:lnTo>
                    <a:lnTo>
                      <a:pt x="5737" y="1209"/>
                    </a:lnTo>
                    <a:moveTo>
                      <a:pt x="5760" y="1129"/>
                    </a:moveTo>
                    <a:lnTo>
                      <a:pt x="5760" y="1129"/>
                    </a:lnTo>
                    <a:lnTo>
                      <a:pt x="5760" y="1131"/>
                    </a:lnTo>
                    <a:lnTo>
                      <a:pt x="5760" y="1186"/>
                    </a:lnTo>
                    <a:lnTo>
                      <a:pt x="5760" y="1186"/>
                    </a:lnTo>
                    <a:lnTo>
                      <a:pt x="5760" y="1183"/>
                    </a:lnTo>
                    <a:lnTo>
                      <a:pt x="5760" y="1183"/>
                    </a:lnTo>
                    <a:lnTo>
                      <a:pt x="5760" y="1129"/>
                    </a:lnTo>
                    <a:moveTo>
                      <a:pt x="2764" y="1063"/>
                    </a:moveTo>
                    <a:lnTo>
                      <a:pt x="2764" y="1063"/>
                    </a:lnTo>
                    <a:lnTo>
                      <a:pt x="2764" y="1065"/>
                    </a:lnTo>
                    <a:lnTo>
                      <a:pt x="2764" y="1155"/>
                    </a:lnTo>
                    <a:lnTo>
                      <a:pt x="2764" y="1155"/>
                    </a:lnTo>
                    <a:lnTo>
                      <a:pt x="2764" y="1063"/>
                    </a:lnTo>
                    <a:moveTo>
                      <a:pt x="5836" y="1041"/>
                    </a:moveTo>
                    <a:lnTo>
                      <a:pt x="5834" y="1041"/>
                    </a:lnTo>
                    <a:lnTo>
                      <a:pt x="5834" y="1044"/>
                    </a:lnTo>
                    <a:lnTo>
                      <a:pt x="5834" y="1053"/>
                    </a:lnTo>
                    <a:lnTo>
                      <a:pt x="5836" y="1053"/>
                    </a:lnTo>
                    <a:lnTo>
                      <a:pt x="5836" y="1053"/>
                    </a:lnTo>
                    <a:lnTo>
                      <a:pt x="5836" y="1053"/>
                    </a:lnTo>
                    <a:lnTo>
                      <a:pt x="5836" y="1041"/>
                    </a:lnTo>
                    <a:moveTo>
                      <a:pt x="2783" y="1013"/>
                    </a:moveTo>
                    <a:lnTo>
                      <a:pt x="2781" y="1013"/>
                    </a:lnTo>
                    <a:lnTo>
                      <a:pt x="2781" y="1015"/>
                    </a:lnTo>
                    <a:lnTo>
                      <a:pt x="2781" y="1046"/>
                    </a:lnTo>
                    <a:lnTo>
                      <a:pt x="2781" y="1046"/>
                    </a:lnTo>
                    <a:lnTo>
                      <a:pt x="2781" y="1044"/>
                    </a:lnTo>
                    <a:lnTo>
                      <a:pt x="2783" y="1044"/>
                    </a:lnTo>
                    <a:lnTo>
                      <a:pt x="2783" y="1013"/>
                    </a:lnTo>
                    <a:moveTo>
                      <a:pt x="3675" y="994"/>
                    </a:moveTo>
                    <a:lnTo>
                      <a:pt x="3675" y="994"/>
                    </a:lnTo>
                    <a:lnTo>
                      <a:pt x="3675" y="996"/>
                    </a:lnTo>
                    <a:lnTo>
                      <a:pt x="3675" y="1162"/>
                    </a:lnTo>
                    <a:lnTo>
                      <a:pt x="3675" y="1162"/>
                    </a:lnTo>
                    <a:lnTo>
                      <a:pt x="3675" y="1162"/>
                    </a:lnTo>
                    <a:lnTo>
                      <a:pt x="3675" y="1162"/>
                    </a:lnTo>
                    <a:lnTo>
                      <a:pt x="3675" y="994"/>
                    </a:lnTo>
                    <a:moveTo>
                      <a:pt x="5855" y="989"/>
                    </a:moveTo>
                    <a:lnTo>
                      <a:pt x="5852" y="989"/>
                    </a:lnTo>
                    <a:lnTo>
                      <a:pt x="5852" y="992"/>
                    </a:lnTo>
                    <a:lnTo>
                      <a:pt x="5852" y="1025"/>
                    </a:lnTo>
                    <a:lnTo>
                      <a:pt x="5852" y="1025"/>
                    </a:lnTo>
                    <a:lnTo>
                      <a:pt x="5852" y="1022"/>
                    </a:lnTo>
                    <a:lnTo>
                      <a:pt x="5855" y="1022"/>
                    </a:lnTo>
                    <a:lnTo>
                      <a:pt x="5855" y="989"/>
                    </a:lnTo>
                    <a:moveTo>
                      <a:pt x="6245" y="937"/>
                    </a:moveTo>
                    <a:lnTo>
                      <a:pt x="6243" y="937"/>
                    </a:lnTo>
                    <a:lnTo>
                      <a:pt x="6243" y="937"/>
                    </a:lnTo>
                    <a:lnTo>
                      <a:pt x="6243" y="1112"/>
                    </a:lnTo>
                    <a:lnTo>
                      <a:pt x="6245" y="1112"/>
                    </a:lnTo>
                    <a:lnTo>
                      <a:pt x="6245" y="1110"/>
                    </a:lnTo>
                    <a:lnTo>
                      <a:pt x="6245" y="1110"/>
                    </a:lnTo>
                    <a:lnTo>
                      <a:pt x="6245" y="937"/>
                    </a:lnTo>
                    <a:moveTo>
                      <a:pt x="6295" y="878"/>
                    </a:moveTo>
                    <a:lnTo>
                      <a:pt x="6292" y="878"/>
                    </a:lnTo>
                    <a:lnTo>
                      <a:pt x="6292" y="878"/>
                    </a:lnTo>
                    <a:lnTo>
                      <a:pt x="6292" y="880"/>
                    </a:lnTo>
                    <a:lnTo>
                      <a:pt x="6292" y="887"/>
                    </a:lnTo>
                    <a:lnTo>
                      <a:pt x="6292" y="887"/>
                    </a:lnTo>
                    <a:lnTo>
                      <a:pt x="6292" y="885"/>
                    </a:lnTo>
                    <a:lnTo>
                      <a:pt x="6295" y="885"/>
                    </a:lnTo>
                    <a:lnTo>
                      <a:pt x="6295" y="878"/>
                    </a:lnTo>
                    <a:moveTo>
                      <a:pt x="6302" y="849"/>
                    </a:moveTo>
                    <a:lnTo>
                      <a:pt x="6302" y="849"/>
                    </a:lnTo>
                    <a:lnTo>
                      <a:pt x="6302" y="852"/>
                    </a:lnTo>
                    <a:lnTo>
                      <a:pt x="6302" y="871"/>
                    </a:lnTo>
                    <a:lnTo>
                      <a:pt x="6302" y="871"/>
                    </a:lnTo>
                    <a:lnTo>
                      <a:pt x="6302" y="868"/>
                    </a:lnTo>
                    <a:lnTo>
                      <a:pt x="6302" y="868"/>
                    </a:lnTo>
                    <a:lnTo>
                      <a:pt x="6302" y="849"/>
                    </a:lnTo>
                    <a:moveTo>
                      <a:pt x="3006" y="762"/>
                    </a:moveTo>
                    <a:lnTo>
                      <a:pt x="3003" y="762"/>
                    </a:lnTo>
                    <a:lnTo>
                      <a:pt x="3003" y="764"/>
                    </a:lnTo>
                    <a:lnTo>
                      <a:pt x="3003" y="894"/>
                    </a:lnTo>
                    <a:lnTo>
                      <a:pt x="3006" y="894"/>
                    </a:lnTo>
                    <a:lnTo>
                      <a:pt x="3006" y="762"/>
                    </a:lnTo>
                    <a:moveTo>
                      <a:pt x="5037" y="731"/>
                    </a:moveTo>
                    <a:lnTo>
                      <a:pt x="5034" y="731"/>
                    </a:lnTo>
                    <a:lnTo>
                      <a:pt x="5034" y="733"/>
                    </a:lnTo>
                    <a:lnTo>
                      <a:pt x="5034" y="887"/>
                    </a:lnTo>
                    <a:lnTo>
                      <a:pt x="5037" y="887"/>
                    </a:lnTo>
                    <a:lnTo>
                      <a:pt x="5037" y="731"/>
                    </a:lnTo>
                    <a:moveTo>
                      <a:pt x="3043" y="658"/>
                    </a:moveTo>
                    <a:lnTo>
                      <a:pt x="3041" y="658"/>
                    </a:lnTo>
                    <a:lnTo>
                      <a:pt x="3041" y="660"/>
                    </a:lnTo>
                    <a:lnTo>
                      <a:pt x="3041" y="726"/>
                    </a:lnTo>
                    <a:lnTo>
                      <a:pt x="3043" y="726"/>
                    </a:lnTo>
                    <a:lnTo>
                      <a:pt x="3043" y="724"/>
                    </a:lnTo>
                    <a:lnTo>
                      <a:pt x="3043" y="724"/>
                    </a:lnTo>
                    <a:lnTo>
                      <a:pt x="3043" y="658"/>
                    </a:lnTo>
                    <a:moveTo>
                      <a:pt x="3" y="617"/>
                    </a:moveTo>
                    <a:lnTo>
                      <a:pt x="0" y="617"/>
                    </a:lnTo>
                    <a:lnTo>
                      <a:pt x="0" y="620"/>
                    </a:lnTo>
                    <a:lnTo>
                      <a:pt x="0" y="1368"/>
                    </a:lnTo>
                    <a:lnTo>
                      <a:pt x="3" y="1368"/>
                    </a:lnTo>
                    <a:lnTo>
                      <a:pt x="3" y="617"/>
                    </a:lnTo>
                    <a:moveTo>
                      <a:pt x="5157" y="610"/>
                    </a:moveTo>
                    <a:lnTo>
                      <a:pt x="5157" y="610"/>
                    </a:lnTo>
                    <a:lnTo>
                      <a:pt x="5157" y="610"/>
                    </a:lnTo>
                    <a:lnTo>
                      <a:pt x="5157" y="646"/>
                    </a:lnTo>
                    <a:lnTo>
                      <a:pt x="5157" y="646"/>
                    </a:lnTo>
                    <a:lnTo>
                      <a:pt x="5157" y="610"/>
                    </a:lnTo>
                    <a:moveTo>
                      <a:pt x="6931" y="509"/>
                    </a:moveTo>
                    <a:lnTo>
                      <a:pt x="6928" y="509"/>
                    </a:lnTo>
                    <a:lnTo>
                      <a:pt x="6928" y="511"/>
                    </a:lnTo>
                    <a:lnTo>
                      <a:pt x="6928" y="1008"/>
                    </a:lnTo>
                    <a:lnTo>
                      <a:pt x="6931" y="1008"/>
                    </a:lnTo>
                    <a:lnTo>
                      <a:pt x="6931" y="509"/>
                    </a:lnTo>
                    <a:moveTo>
                      <a:pt x="3204" y="501"/>
                    </a:moveTo>
                    <a:lnTo>
                      <a:pt x="3204" y="501"/>
                    </a:lnTo>
                    <a:lnTo>
                      <a:pt x="3204" y="504"/>
                    </a:lnTo>
                    <a:lnTo>
                      <a:pt x="3204" y="565"/>
                    </a:lnTo>
                    <a:lnTo>
                      <a:pt x="3204" y="565"/>
                    </a:lnTo>
                    <a:lnTo>
                      <a:pt x="3204" y="563"/>
                    </a:lnTo>
                    <a:lnTo>
                      <a:pt x="3204" y="563"/>
                    </a:lnTo>
                    <a:lnTo>
                      <a:pt x="3204" y="501"/>
                    </a:lnTo>
                    <a:moveTo>
                      <a:pt x="3942" y="454"/>
                    </a:moveTo>
                    <a:lnTo>
                      <a:pt x="3940" y="454"/>
                    </a:lnTo>
                    <a:lnTo>
                      <a:pt x="3940" y="454"/>
                    </a:lnTo>
                    <a:lnTo>
                      <a:pt x="3940" y="456"/>
                    </a:lnTo>
                    <a:lnTo>
                      <a:pt x="3940" y="492"/>
                    </a:lnTo>
                    <a:lnTo>
                      <a:pt x="3859" y="644"/>
                    </a:lnTo>
                    <a:lnTo>
                      <a:pt x="3859" y="842"/>
                    </a:lnTo>
                    <a:lnTo>
                      <a:pt x="3859" y="842"/>
                    </a:lnTo>
                    <a:lnTo>
                      <a:pt x="3859" y="641"/>
                    </a:lnTo>
                    <a:lnTo>
                      <a:pt x="3942" y="490"/>
                    </a:lnTo>
                    <a:lnTo>
                      <a:pt x="3942" y="454"/>
                    </a:lnTo>
                    <a:moveTo>
                      <a:pt x="3235" y="435"/>
                    </a:moveTo>
                    <a:lnTo>
                      <a:pt x="3233" y="435"/>
                    </a:lnTo>
                    <a:lnTo>
                      <a:pt x="3233" y="435"/>
                    </a:lnTo>
                    <a:lnTo>
                      <a:pt x="3233" y="473"/>
                    </a:lnTo>
                    <a:lnTo>
                      <a:pt x="3233" y="473"/>
                    </a:lnTo>
                    <a:lnTo>
                      <a:pt x="3233" y="471"/>
                    </a:lnTo>
                    <a:lnTo>
                      <a:pt x="3235" y="471"/>
                    </a:lnTo>
                    <a:lnTo>
                      <a:pt x="3235" y="435"/>
                    </a:lnTo>
                    <a:moveTo>
                      <a:pt x="3947" y="390"/>
                    </a:moveTo>
                    <a:lnTo>
                      <a:pt x="3947" y="390"/>
                    </a:lnTo>
                    <a:lnTo>
                      <a:pt x="3947" y="390"/>
                    </a:lnTo>
                    <a:lnTo>
                      <a:pt x="3947" y="393"/>
                    </a:lnTo>
                    <a:lnTo>
                      <a:pt x="3947" y="449"/>
                    </a:lnTo>
                    <a:lnTo>
                      <a:pt x="3947" y="449"/>
                    </a:lnTo>
                    <a:lnTo>
                      <a:pt x="3947" y="447"/>
                    </a:lnTo>
                    <a:lnTo>
                      <a:pt x="3947" y="447"/>
                    </a:lnTo>
                    <a:lnTo>
                      <a:pt x="3947" y="390"/>
                    </a:lnTo>
                    <a:moveTo>
                      <a:pt x="1715" y="369"/>
                    </a:moveTo>
                    <a:lnTo>
                      <a:pt x="1712" y="369"/>
                    </a:lnTo>
                    <a:lnTo>
                      <a:pt x="1712" y="371"/>
                    </a:lnTo>
                    <a:lnTo>
                      <a:pt x="1712" y="1046"/>
                    </a:lnTo>
                    <a:lnTo>
                      <a:pt x="1715" y="1046"/>
                    </a:lnTo>
                    <a:lnTo>
                      <a:pt x="1715" y="369"/>
                    </a:lnTo>
                    <a:moveTo>
                      <a:pt x="3956" y="329"/>
                    </a:moveTo>
                    <a:lnTo>
                      <a:pt x="3954" y="329"/>
                    </a:lnTo>
                    <a:lnTo>
                      <a:pt x="3954" y="329"/>
                    </a:lnTo>
                    <a:lnTo>
                      <a:pt x="3954" y="383"/>
                    </a:lnTo>
                    <a:lnTo>
                      <a:pt x="3954" y="383"/>
                    </a:lnTo>
                    <a:lnTo>
                      <a:pt x="3954" y="383"/>
                    </a:lnTo>
                    <a:lnTo>
                      <a:pt x="3956" y="383"/>
                    </a:lnTo>
                    <a:lnTo>
                      <a:pt x="3956" y="329"/>
                    </a:lnTo>
                    <a:moveTo>
                      <a:pt x="4609" y="232"/>
                    </a:moveTo>
                    <a:lnTo>
                      <a:pt x="4606" y="232"/>
                    </a:lnTo>
                    <a:lnTo>
                      <a:pt x="4606" y="234"/>
                    </a:lnTo>
                    <a:lnTo>
                      <a:pt x="4552" y="435"/>
                    </a:lnTo>
                    <a:lnTo>
                      <a:pt x="4554" y="435"/>
                    </a:lnTo>
                    <a:lnTo>
                      <a:pt x="4609" y="232"/>
                    </a:lnTo>
                    <a:moveTo>
                      <a:pt x="4758" y="0"/>
                    </a:moveTo>
                    <a:lnTo>
                      <a:pt x="4755" y="0"/>
                    </a:lnTo>
                    <a:lnTo>
                      <a:pt x="4755" y="2"/>
                    </a:lnTo>
                    <a:lnTo>
                      <a:pt x="4755" y="125"/>
                    </a:lnTo>
                    <a:lnTo>
                      <a:pt x="4758" y="125"/>
                    </a:lnTo>
                    <a:lnTo>
                      <a:pt x="4758" y="123"/>
                    </a:lnTo>
                    <a:lnTo>
                      <a:pt x="4758" y="123"/>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2" name="Freeform 54"/>
              <p:cNvSpPr>
                <a:spLocks noEditPoints="1"/>
              </p:cNvSpPr>
              <p:nvPr/>
            </p:nvSpPr>
            <p:spPr bwMode="auto">
              <a:xfrm>
                <a:off x="59" y="1746"/>
                <a:ext cx="6930" cy="1368"/>
              </a:xfrm>
              <a:custGeom>
                <a:avLst/>
                <a:gdLst>
                  <a:gd name="T0" fmla="*/ 3613 w 6930"/>
                  <a:gd name="T1" fmla="*/ 1224 h 1368"/>
                  <a:gd name="T2" fmla="*/ 3615 w 6930"/>
                  <a:gd name="T3" fmla="*/ 1221 h 1368"/>
                  <a:gd name="T4" fmla="*/ 5734 w 6930"/>
                  <a:gd name="T5" fmla="*/ 1209 h 1368"/>
                  <a:gd name="T6" fmla="*/ 5736 w 6930"/>
                  <a:gd name="T7" fmla="*/ 1207 h 1368"/>
                  <a:gd name="T8" fmla="*/ 5757 w 6930"/>
                  <a:gd name="T9" fmla="*/ 1129 h 1368"/>
                  <a:gd name="T10" fmla="*/ 5760 w 6930"/>
                  <a:gd name="T11" fmla="*/ 1181 h 1368"/>
                  <a:gd name="T12" fmla="*/ 2764 w 6930"/>
                  <a:gd name="T13" fmla="*/ 1060 h 1368"/>
                  <a:gd name="T14" fmla="*/ 2761 w 6930"/>
                  <a:gd name="T15" fmla="*/ 1155 h 1368"/>
                  <a:gd name="T16" fmla="*/ 5835 w 6930"/>
                  <a:gd name="T17" fmla="*/ 1039 h 1368"/>
                  <a:gd name="T18" fmla="*/ 5833 w 6930"/>
                  <a:gd name="T19" fmla="*/ 1053 h 1368"/>
                  <a:gd name="T20" fmla="*/ 5835 w 6930"/>
                  <a:gd name="T21" fmla="*/ 1051 h 1368"/>
                  <a:gd name="T22" fmla="*/ 2780 w 6930"/>
                  <a:gd name="T23" fmla="*/ 1010 h 1368"/>
                  <a:gd name="T24" fmla="*/ 2780 w 6930"/>
                  <a:gd name="T25" fmla="*/ 1044 h 1368"/>
                  <a:gd name="T26" fmla="*/ 2780 w 6930"/>
                  <a:gd name="T27" fmla="*/ 1010 h 1368"/>
                  <a:gd name="T28" fmla="*/ 3672 w 6930"/>
                  <a:gd name="T29" fmla="*/ 994 h 1368"/>
                  <a:gd name="T30" fmla="*/ 3674 w 6930"/>
                  <a:gd name="T31" fmla="*/ 1160 h 1368"/>
                  <a:gd name="T32" fmla="*/ 5854 w 6930"/>
                  <a:gd name="T33" fmla="*/ 989 h 1368"/>
                  <a:gd name="T34" fmla="*/ 5852 w 6930"/>
                  <a:gd name="T35" fmla="*/ 1022 h 1368"/>
                  <a:gd name="T36" fmla="*/ 5854 w 6930"/>
                  <a:gd name="T37" fmla="*/ 1022 h 1368"/>
                  <a:gd name="T38" fmla="*/ 6242 w 6930"/>
                  <a:gd name="T39" fmla="*/ 935 h 1368"/>
                  <a:gd name="T40" fmla="*/ 6244 w 6930"/>
                  <a:gd name="T41" fmla="*/ 1110 h 1368"/>
                  <a:gd name="T42" fmla="*/ 6244 w 6930"/>
                  <a:gd name="T43" fmla="*/ 935 h 1368"/>
                  <a:gd name="T44" fmla="*/ 6292 w 6930"/>
                  <a:gd name="T45" fmla="*/ 878 h 1368"/>
                  <a:gd name="T46" fmla="*/ 6292 w 6930"/>
                  <a:gd name="T47" fmla="*/ 885 h 1368"/>
                  <a:gd name="T48" fmla="*/ 6294 w 6930"/>
                  <a:gd name="T49" fmla="*/ 878 h 1368"/>
                  <a:gd name="T50" fmla="*/ 6299 w 6930"/>
                  <a:gd name="T51" fmla="*/ 849 h 1368"/>
                  <a:gd name="T52" fmla="*/ 6301 w 6930"/>
                  <a:gd name="T53" fmla="*/ 868 h 1368"/>
                  <a:gd name="T54" fmla="*/ 3005 w 6930"/>
                  <a:gd name="T55" fmla="*/ 762 h 1368"/>
                  <a:gd name="T56" fmla="*/ 3003 w 6930"/>
                  <a:gd name="T57" fmla="*/ 894 h 1368"/>
                  <a:gd name="T58" fmla="*/ 5036 w 6930"/>
                  <a:gd name="T59" fmla="*/ 731 h 1368"/>
                  <a:gd name="T60" fmla="*/ 5034 w 6930"/>
                  <a:gd name="T61" fmla="*/ 887 h 1368"/>
                  <a:gd name="T62" fmla="*/ 3043 w 6930"/>
                  <a:gd name="T63" fmla="*/ 655 h 1368"/>
                  <a:gd name="T64" fmla="*/ 3040 w 6930"/>
                  <a:gd name="T65" fmla="*/ 724 h 1368"/>
                  <a:gd name="T66" fmla="*/ 3043 w 6930"/>
                  <a:gd name="T67" fmla="*/ 722 h 1368"/>
                  <a:gd name="T68" fmla="*/ 0 w 6930"/>
                  <a:gd name="T69" fmla="*/ 615 h 1368"/>
                  <a:gd name="T70" fmla="*/ 0 w 6930"/>
                  <a:gd name="T71" fmla="*/ 1368 h 1368"/>
                  <a:gd name="T72" fmla="*/ 5154 w 6930"/>
                  <a:gd name="T73" fmla="*/ 608 h 1368"/>
                  <a:gd name="T74" fmla="*/ 5157 w 6930"/>
                  <a:gd name="T75" fmla="*/ 646 h 1368"/>
                  <a:gd name="T76" fmla="*/ 6928 w 6930"/>
                  <a:gd name="T77" fmla="*/ 506 h 1368"/>
                  <a:gd name="T78" fmla="*/ 6930 w 6930"/>
                  <a:gd name="T79" fmla="*/ 1008 h 1368"/>
                  <a:gd name="T80" fmla="*/ 3201 w 6930"/>
                  <a:gd name="T81" fmla="*/ 499 h 1368"/>
                  <a:gd name="T82" fmla="*/ 3204 w 6930"/>
                  <a:gd name="T83" fmla="*/ 563 h 1368"/>
                  <a:gd name="T84" fmla="*/ 3204 w 6930"/>
                  <a:gd name="T85" fmla="*/ 499 h 1368"/>
                  <a:gd name="T86" fmla="*/ 3939 w 6930"/>
                  <a:gd name="T87" fmla="*/ 452 h 1368"/>
                  <a:gd name="T88" fmla="*/ 3856 w 6930"/>
                  <a:gd name="T89" fmla="*/ 641 h 1368"/>
                  <a:gd name="T90" fmla="*/ 3859 w 6930"/>
                  <a:gd name="T91" fmla="*/ 641 h 1368"/>
                  <a:gd name="T92" fmla="*/ 3232 w 6930"/>
                  <a:gd name="T93" fmla="*/ 433 h 1368"/>
                  <a:gd name="T94" fmla="*/ 3232 w 6930"/>
                  <a:gd name="T95" fmla="*/ 471 h 1368"/>
                  <a:gd name="T96" fmla="*/ 3232 w 6930"/>
                  <a:gd name="T97" fmla="*/ 471 h 1368"/>
                  <a:gd name="T98" fmla="*/ 3946 w 6930"/>
                  <a:gd name="T99" fmla="*/ 390 h 1368"/>
                  <a:gd name="T100" fmla="*/ 3944 w 6930"/>
                  <a:gd name="T101" fmla="*/ 447 h 1368"/>
                  <a:gd name="T102" fmla="*/ 3946 w 6930"/>
                  <a:gd name="T103" fmla="*/ 445 h 1368"/>
                  <a:gd name="T104" fmla="*/ 1712 w 6930"/>
                  <a:gd name="T105" fmla="*/ 366 h 1368"/>
                  <a:gd name="T106" fmla="*/ 1714 w 6930"/>
                  <a:gd name="T107" fmla="*/ 1046 h 1368"/>
                  <a:gd name="T108" fmla="*/ 3953 w 6930"/>
                  <a:gd name="T109" fmla="*/ 326 h 1368"/>
                  <a:gd name="T110" fmla="*/ 3953 w 6930"/>
                  <a:gd name="T111" fmla="*/ 383 h 1368"/>
                  <a:gd name="T112" fmla="*/ 3953 w 6930"/>
                  <a:gd name="T113" fmla="*/ 326 h 1368"/>
                  <a:gd name="T114" fmla="*/ 4606 w 6930"/>
                  <a:gd name="T115" fmla="*/ 232 h 1368"/>
                  <a:gd name="T116" fmla="*/ 4608 w 6930"/>
                  <a:gd name="T117" fmla="*/ 232 h 1368"/>
                  <a:gd name="T118" fmla="*/ 4755 w 6930"/>
                  <a:gd name="T119" fmla="*/ 0 h 1368"/>
                  <a:gd name="T120" fmla="*/ 4755 w 6930"/>
                  <a:gd name="T121" fmla="*/ 12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8">
                    <a:moveTo>
                      <a:pt x="3615" y="1221"/>
                    </a:moveTo>
                    <a:lnTo>
                      <a:pt x="3613" y="1221"/>
                    </a:lnTo>
                    <a:lnTo>
                      <a:pt x="3613" y="1224"/>
                    </a:lnTo>
                    <a:lnTo>
                      <a:pt x="3613" y="1231"/>
                    </a:lnTo>
                    <a:lnTo>
                      <a:pt x="3615" y="1231"/>
                    </a:lnTo>
                    <a:lnTo>
                      <a:pt x="3615" y="1221"/>
                    </a:lnTo>
                    <a:close/>
                    <a:moveTo>
                      <a:pt x="5736" y="1207"/>
                    </a:moveTo>
                    <a:lnTo>
                      <a:pt x="5734" y="1207"/>
                    </a:lnTo>
                    <a:lnTo>
                      <a:pt x="5734" y="1209"/>
                    </a:lnTo>
                    <a:lnTo>
                      <a:pt x="5734" y="1240"/>
                    </a:lnTo>
                    <a:lnTo>
                      <a:pt x="5736" y="1240"/>
                    </a:lnTo>
                    <a:lnTo>
                      <a:pt x="5736" y="1207"/>
                    </a:lnTo>
                    <a:close/>
                    <a:moveTo>
                      <a:pt x="5760" y="1126"/>
                    </a:moveTo>
                    <a:lnTo>
                      <a:pt x="5757" y="1126"/>
                    </a:lnTo>
                    <a:lnTo>
                      <a:pt x="5757" y="1129"/>
                    </a:lnTo>
                    <a:lnTo>
                      <a:pt x="5757" y="1183"/>
                    </a:lnTo>
                    <a:lnTo>
                      <a:pt x="5760" y="1183"/>
                    </a:lnTo>
                    <a:lnTo>
                      <a:pt x="5760" y="1181"/>
                    </a:lnTo>
                    <a:lnTo>
                      <a:pt x="5760" y="1181"/>
                    </a:lnTo>
                    <a:lnTo>
                      <a:pt x="5760" y="1126"/>
                    </a:lnTo>
                    <a:close/>
                    <a:moveTo>
                      <a:pt x="2764" y="1060"/>
                    </a:moveTo>
                    <a:lnTo>
                      <a:pt x="2761" y="1060"/>
                    </a:lnTo>
                    <a:lnTo>
                      <a:pt x="2761" y="1063"/>
                    </a:lnTo>
                    <a:lnTo>
                      <a:pt x="2761" y="1155"/>
                    </a:lnTo>
                    <a:lnTo>
                      <a:pt x="2764" y="1155"/>
                    </a:lnTo>
                    <a:lnTo>
                      <a:pt x="2764" y="1060"/>
                    </a:lnTo>
                    <a:close/>
                    <a:moveTo>
                      <a:pt x="5835" y="1039"/>
                    </a:moveTo>
                    <a:lnTo>
                      <a:pt x="5833" y="1039"/>
                    </a:lnTo>
                    <a:lnTo>
                      <a:pt x="5833" y="1041"/>
                    </a:lnTo>
                    <a:lnTo>
                      <a:pt x="5833" y="1053"/>
                    </a:lnTo>
                    <a:lnTo>
                      <a:pt x="5835" y="1053"/>
                    </a:lnTo>
                    <a:lnTo>
                      <a:pt x="5835" y="1051"/>
                    </a:lnTo>
                    <a:lnTo>
                      <a:pt x="5835" y="1051"/>
                    </a:lnTo>
                    <a:lnTo>
                      <a:pt x="5835" y="1039"/>
                    </a:lnTo>
                    <a:close/>
                    <a:moveTo>
                      <a:pt x="2780" y="1010"/>
                    </a:moveTo>
                    <a:lnTo>
                      <a:pt x="2780" y="1010"/>
                    </a:lnTo>
                    <a:lnTo>
                      <a:pt x="2780" y="1013"/>
                    </a:lnTo>
                    <a:lnTo>
                      <a:pt x="2780" y="1044"/>
                    </a:lnTo>
                    <a:lnTo>
                      <a:pt x="2780" y="1044"/>
                    </a:lnTo>
                    <a:lnTo>
                      <a:pt x="2780" y="1044"/>
                    </a:lnTo>
                    <a:lnTo>
                      <a:pt x="2780" y="1044"/>
                    </a:lnTo>
                    <a:lnTo>
                      <a:pt x="2780" y="1010"/>
                    </a:lnTo>
                    <a:close/>
                    <a:moveTo>
                      <a:pt x="3674" y="992"/>
                    </a:moveTo>
                    <a:lnTo>
                      <a:pt x="3672" y="992"/>
                    </a:lnTo>
                    <a:lnTo>
                      <a:pt x="3672" y="994"/>
                    </a:lnTo>
                    <a:lnTo>
                      <a:pt x="3672" y="1162"/>
                    </a:lnTo>
                    <a:lnTo>
                      <a:pt x="3674" y="1162"/>
                    </a:lnTo>
                    <a:lnTo>
                      <a:pt x="3674" y="1160"/>
                    </a:lnTo>
                    <a:lnTo>
                      <a:pt x="3674" y="1160"/>
                    </a:lnTo>
                    <a:lnTo>
                      <a:pt x="3674" y="992"/>
                    </a:lnTo>
                    <a:close/>
                    <a:moveTo>
                      <a:pt x="5854" y="989"/>
                    </a:moveTo>
                    <a:lnTo>
                      <a:pt x="5852" y="989"/>
                    </a:lnTo>
                    <a:lnTo>
                      <a:pt x="5852" y="989"/>
                    </a:lnTo>
                    <a:lnTo>
                      <a:pt x="5852" y="1022"/>
                    </a:lnTo>
                    <a:lnTo>
                      <a:pt x="5852" y="1022"/>
                    </a:lnTo>
                    <a:lnTo>
                      <a:pt x="5852" y="1022"/>
                    </a:lnTo>
                    <a:lnTo>
                      <a:pt x="5854" y="1022"/>
                    </a:lnTo>
                    <a:lnTo>
                      <a:pt x="5854" y="989"/>
                    </a:lnTo>
                    <a:close/>
                    <a:moveTo>
                      <a:pt x="6244" y="935"/>
                    </a:moveTo>
                    <a:lnTo>
                      <a:pt x="6242" y="935"/>
                    </a:lnTo>
                    <a:lnTo>
                      <a:pt x="6242" y="937"/>
                    </a:lnTo>
                    <a:lnTo>
                      <a:pt x="6242" y="1110"/>
                    </a:lnTo>
                    <a:lnTo>
                      <a:pt x="6244" y="1110"/>
                    </a:lnTo>
                    <a:lnTo>
                      <a:pt x="6244" y="1108"/>
                    </a:lnTo>
                    <a:lnTo>
                      <a:pt x="6244" y="1108"/>
                    </a:lnTo>
                    <a:lnTo>
                      <a:pt x="6244" y="935"/>
                    </a:lnTo>
                    <a:close/>
                    <a:moveTo>
                      <a:pt x="6294" y="878"/>
                    </a:moveTo>
                    <a:lnTo>
                      <a:pt x="6292" y="878"/>
                    </a:lnTo>
                    <a:lnTo>
                      <a:pt x="6292" y="878"/>
                    </a:lnTo>
                    <a:lnTo>
                      <a:pt x="6292" y="878"/>
                    </a:lnTo>
                    <a:lnTo>
                      <a:pt x="6292" y="885"/>
                    </a:lnTo>
                    <a:lnTo>
                      <a:pt x="6292" y="885"/>
                    </a:lnTo>
                    <a:lnTo>
                      <a:pt x="6292" y="885"/>
                    </a:lnTo>
                    <a:lnTo>
                      <a:pt x="6294" y="885"/>
                    </a:lnTo>
                    <a:lnTo>
                      <a:pt x="6294" y="878"/>
                    </a:lnTo>
                    <a:close/>
                    <a:moveTo>
                      <a:pt x="6301" y="849"/>
                    </a:moveTo>
                    <a:lnTo>
                      <a:pt x="6299" y="849"/>
                    </a:lnTo>
                    <a:lnTo>
                      <a:pt x="6299" y="849"/>
                    </a:lnTo>
                    <a:lnTo>
                      <a:pt x="6299" y="868"/>
                    </a:lnTo>
                    <a:lnTo>
                      <a:pt x="6301" y="868"/>
                    </a:lnTo>
                    <a:lnTo>
                      <a:pt x="6301" y="868"/>
                    </a:lnTo>
                    <a:lnTo>
                      <a:pt x="6301" y="868"/>
                    </a:lnTo>
                    <a:lnTo>
                      <a:pt x="6301" y="849"/>
                    </a:lnTo>
                    <a:close/>
                    <a:moveTo>
                      <a:pt x="3005" y="762"/>
                    </a:moveTo>
                    <a:lnTo>
                      <a:pt x="3003" y="762"/>
                    </a:lnTo>
                    <a:lnTo>
                      <a:pt x="3003" y="762"/>
                    </a:lnTo>
                    <a:lnTo>
                      <a:pt x="3003" y="894"/>
                    </a:lnTo>
                    <a:lnTo>
                      <a:pt x="3005" y="894"/>
                    </a:lnTo>
                    <a:lnTo>
                      <a:pt x="3005" y="762"/>
                    </a:lnTo>
                    <a:close/>
                    <a:moveTo>
                      <a:pt x="5036" y="731"/>
                    </a:moveTo>
                    <a:lnTo>
                      <a:pt x="5034" y="731"/>
                    </a:lnTo>
                    <a:lnTo>
                      <a:pt x="5034" y="731"/>
                    </a:lnTo>
                    <a:lnTo>
                      <a:pt x="5034" y="887"/>
                    </a:lnTo>
                    <a:lnTo>
                      <a:pt x="5036" y="887"/>
                    </a:lnTo>
                    <a:lnTo>
                      <a:pt x="5036" y="731"/>
                    </a:lnTo>
                    <a:close/>
                    <a:moveTo>
                      <a:pt x="3043" y="655"/>
                    </a:moveTo>
                    <a:lnTo>
                      <a:pt x="3040" y="655"/>
                    </a:lnTo>
                    <a:lnTo>
                      <a:pt x="3040" y="658"/>
                    </a:lnTo>
                    <a:lnTo>
                      <a:pt x="3040" y="724"/>
                    </a:lnTo>
                    <a:lnTo>
                      <a:pt x="3040" y="724"/>
                    </a:lnTo>
                    <a:lnTo>
                      <a:pt x="3040" y="722"/>
                    </a:lnTo>
                    <a:lnTo>
                      <a:pt x="3043" y="722"/>
                    </a:lnTo>
                    <a:lnTo>
                      <a:pt x="3043" y="655"/>
                    </a:lnTo>
                    <a:close/>
                    <a:moveTo>
                      <a:pt x="0" y="615"/>
                    </a:moveTo>
                    <a:lnTo>
                      <a:pt x="0" y="615"/>
                    </a:lnTo>
                    <a:lnTo>
                      <a:pt x="0" y="617"/>
                    </a:lnTo>
                    <a:lnTo>
                      <a:pt x="0" y="1368"/>
                    </a:lnTo>
                    <a:lnTo>
                      <a:pt x="0" y="1368"/>
                    </a:lnTo>
                    <a:lnTo>
                      <a:pt x="0" y="615"/>
                    </a:lnTo>
                    <a:close/>
                    <a:moveTo>
                      <a:pt x="5157" y="608"/>
                    </a:moveTo>
                    <a:lnTo>
                      <a:pt x="5154" y="608"/>
                    </a:lnTo>
                    <a:lnTo>
                      <a:pt x="5154" y="610"/>
                    </a:lnTo>
                    <a:lnTo>
                      <a:pt x="5154" y="646"/>
                    </a:lnTo>
                    <a:lnTo>
                      <a:pt x="5157" y="646"/>
                    </a:lnTo>
                    <a:lnTo>
                      <a:pt x="5157" y="608"/>
                    </a:lnTo>
                    <a:close/>
                    <a:moveTo>
                      <a:pt x="6930" y="506"/>
                    </a:moveTo>
                    <a:lnTo>
                      <a:pt x="6928" y="506"/>
                    </a:lnTo>
                    <a:lnTo>
                      <a:pt x="6928" y="509"/>
                    </a:lnTo>
                    <a:lnTo>
                      <a:pt x="6928" y="1008"/>
                    </a:lnTo>
                    <a:lnTo>
                      <a:pt x="6930" y="1008"/>
                    </a:lnTo>
                    <a:lnTo>
                      <a:pt x="6930" y="506"/>
                    </a:lnTo>
                    <a:close/>
                    <a:moveTo>
                      <a:pt x="3204" y="499"/>
                    </a:moveTo>
                    <a:lnTo>
                      <a:pt x="3201" y="499"/>
                    </a:lnTo>
                    <a:lnTo>
                      <a:pt x="3201" y="501"/>
                    </a:lnTo>
                    <a:lnTo>
                      <a:pt x="3201" y="563"/>
                    </a:lnTo>
                    <a:lnTo>
                      <a:pt x="3204" y="563"/>
                    </a:lnTo>
                    <a:lnTo>
                      <a:pt x="3204" y="563"/>
                    </a:lnTo>
                    <a:lnTo>
                      <a:pt x="3204" y="563"/>
                    </a:lnTo>
                    <a:lnTo>
                      <a:pt x="3204" y="499"/>
                    </a:lnTo>
                    <a:close/>
                    <a:moveTo>
                      <a:pt x="3941" y="452"/>
                    </a:moveTo>
                    <a:lnTo>
                      <a:pt x="3939" y="452"/>
                    </a:lnTo>
                    <a:lnTo>
                      <a:pt x="3939" y="452"/>
                    </a:lnTo>
                    <a:lnTo>
                      <a:pt x="3939" y="454"/>
                    </a:lnTo>
                    <a:lnTo>
                      <a:pt x="3939" y="490"/>
                    </a:lnTo>
                    <a:lnTo>
                      <a:pt x="3856" y="641"/>
                    </a:lnTo>
                    <a:lnTo>
                      <a:pt x="3856" y="842"/>
                    </a:lnTo>
                    <a:lnTo>
                      <a:pt x="3859" y="842"/>
                    </a:lnTo>
                    <a:lnTo>
                      <a:pt x="3859" y="641"/>
                    </a:lnTo>
                    <a:lnTo>
                      <a:pt x="3941" y="487"/>
                    </a:lnTo>
                    <a:lnTo>
                      <a:pt x="3941" y="452"/>
                    </a:lnTo>
                    <a:close/>
                    <a:moveTo>
                      <a:pt x="3232" y="433"/>
                    </a:moveTo>
                    <a:lnTo>
                      <a:pt x="3232" y="433"/>
                    </a:lnTo>
                    <a:lnTo>
                      <a:pt x="3232" y="435"/>
                    </a:lnTo>
                    <a:lnTo>
                      <a:pt x="3232" y="471"/>
                    </a:lnTo>
                    <a:lnTo>
                      <a:pt x="3232" y="471"/>
                    </a:lnTo>
                    <a:lnTo>
                      <a:pt x="3232" y="471"/>
                    </a:lnTo>
                    <a:lnTo>
                      <a:pt x="3232" y="471"/>
                    </a:lnTo>
                    <a:lnTo>
                      <a:pt x="3232" y="433"/>
                    </a:lnTo>
                    <a:close/>
                    <a:moveTo>
                      <a:pt x="3946" y="390"/>
                    </a:moveTo>
                    <a:lnTo>
                      <a:pt x="3946" y="390"/>
                    </a:lnTo>
                    <a:lnTo>
                      <a:pt x="3944" y="390"/>
                    </a:lnTo>
                    <a:lnTo>
                      <a:pt x="3944" y="390"/>
                    </a:lnTo>
                    <a:lnTo>
                      <a:pt x="3944" y="447"/>
                    </a:lnTo>
                    <a:lnTo>
                      <a:pt x="3946" y="447"/>
                    </a:lnTo>
                    <a:lnTo>
                      <a:pt x="3946" y="445"/>
                    </a:lnTo>
                    <a:lnTo>
                      <a:pt x="3946" y="445"/>
                    </a:lnTo>
                    <a:lnTo>
                      <a:pt x="3946" y="390"/>
                    </a:lnTo>
                    <a:close/>
                    <a:moveTo>
                      <a:pt x="1714" y="366"/>
                    </a:moveTo>
                    <a:lnTo>
                      <a:pt x="1712" y="366"/>
                    </a:lnTo>
                    <a:lnTo>
                      <a:pt x="1712" y="369"/>
                    </a:lnTo>
                    <a:lnTo>
                      <a:pt x="1712" y="1046"/>
                    </a:lnTo>
                    <a:lnTo>
                      <a:pt x="1714" y="1046"/>
                    </a:lnTo>
                    <a:lnTo>
                      <a:pt x="1714" y="366"/>
                    </a:lnTo>
                    <a:close/>
                    <a:moveTo>
                      <a:pt x="3953" y="326"/>
                    </a:moveTo>
                    <a:lnTo>
                      <a:pt x="3953" y="326"/>
                    </a:lnTo>
                    <a:lnTo>
                      <a:pt x="3953" y="329"/>
                    </a:lnTo>
                    <a:lnTo>
                      <a:pt x="3953" y="383"/>
                    </a:lnTo>
                    <a:lnTo>
                      <a:pt x="3953" y="383"/>
                    </a:lnTo>
                    <a:lnTo>
                      <a:pt x="3953" y="381"/>
                    </a:lnTo>
                    <a:lnTo>
                      <a:pt x="3953" y="381"/>
                    </a:lnTo>
                    <a:lnTo>
                      <a:pt x="3953" y="326"/>
                    </a:lnTo>
                    <a:close/>
                    <a:moveTo>
                      <a:pt x="4608" y="232"/>
                    </a:moveTo>
                    <a:lnTo>
                      <a:pt x="4606" y="232"/>
                    </a:lnTo>
                    <a:lnTo>
                      <a:pt x="4606" y="232"/>
                    </a:lnTo>
                    <a:lnTo>
                      <a:pt x="4551" y="435"/>
                    </a:lnTo>
                    <a:lnTo>
                      <a:pt x="4551" y="435"/>
                    </a:lnTo>
                    <a:lnTo>
                      <a:pt x="4608" y="232"/>
                    </a:lnTo>
                    <a:close/>
                    <a:moveTo>
                      <a:pt x="4757" y="0"/>
                    </a:moveTo>
                    <a:lnTo>
                      <a:pt x="4755" y="0"/>
                    </a:lnTo>
                    <a:lnTo>
                      <a:pt x="4755" y="0"/>
                    </a:lnTo>
                    <a:lnTo>
                      <a:pt x="4755" y="123"/>
                    </a:lnTo>
                    <a:lnTo>
                      <a:pt x="4755" y="123"/>
                    </a:lnTo>
                    <a:lnTo>
                      <a:pt x="4755" y="120"/>
                    </a:lnTo>
                    <a:lnTo>
                      <a:pt x="4757" y="120"/>
                    </a:lnTo>
                    <a:lnTo>
                      <a:pt x="4757" y="0"/>
                    </a:lnTo>
                    <a:close/>
                  </a:path>
                </a:pathLst>
              </a:custGeom>
              <a:solidFill>
                <a:srgbClr val="F6F6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3" name="Freeform 55"/>
              <p:cNvSpPr>
                <a:spLocks noEditPoints="1"/>
              </p:cNvSpPr>
              <p:nvPr/>
            </p:nvSpPr>
            <p:spPr bwMode="auto">
              <a:xfrm>
                <a:off x="59" y="1746"/>
                <a:ext cx="6930" cy="1368"/>
              </a:xfrm>
              <a:custGeom>
                <a:avLst/>
                <a:gdLst>
                  <a:gd name="T0" fmla="*/ 3613 w 6930"/>
                  <a:gd name="T1" fmla="*/ 1224 h 1368"/>
                  <a:gd name="T2" fmla="*/ 3615 w 6930"/>
                  <a:gd name="T3" fmla="*/ 1221 h 1368"/>
                  <a:gd name="T4" fmla="*/ 5734 w 6930"/>
                  <a:gd name="T5" fmla="*/ 1209 h 1368"/>
                  <a:gd name="T6" fmla="*/ 5736 w 6930"/>
                  <a:gd name="T7" fmla="*/ 1207 h 1368"/>
                  <a:gd name="T8" fmla="*/ 5757 w 6930"/>
                  <a:gd name="T9" fmla="*/ 1129 h 1368"/>
                  <a:gd name="T10" fmla="*/ 5760 w 6930"/>
                  <a:gd name="T11" fmla="*/ 1181 h 1368"/>
                  <a:gd name="T12" fmla="*/ 2764 w 6930"/>
                  <a:gd name="T13" fmla="*/ 1060 h 1368"/>
                  <a:gd name="T14" fmla="*/ 2761 w 6930"/>
                  <a:gd name="T15" fmla="*/ 1155 h 1368"/>
                  <a:gd name="T16" fmla="*/ 5835 w 6930"/>
                  <a:gd name="T17" fmla="*/ 1039 h 1368"/>
                  <a:gd name="T18" fmla="*/ 5833 w 6930"/>
                  <a:gd name="T19" fmla="*/ 1053 h 1368"/>
                  <a:gd name="T20" fmla="*/ 5835 w 6930"/>
                  <a:gd name="T21" fmla="*/ 1051 h 1368"/>
                  <a:gd name="T22" fmla="*/ 2780 w 6930"/>
                  <a:gd name="T23" fmla="*/ 1010 h 1368"/>
                  <a:gd name="T24" fmla="*/ 2780 w 6930"/>
                  <a:gd name="T25" fmla="*/ 1044 h 1368"/>
                  <a:gd name="T26" fmla="*/ 2780 w 6930"/>
                  <a:gd name="T27" fmla="*/ 1010 h 1368"/>
                  <a:gd name="T28" fmla="*/ 3672 w 6930"/>
                  <a:gd name="T29" fmla="*/ 994 h 1368"/>
                  <a:gd name="T30" fmla="*/ 3674 w 6930"/>
                  <a:gd name="T31" fmla="*/ 1160 h 1368"/>
                  <a:gd name="T32" fmla="*/ 5854 w 6930"/>
                  <a:gd name="T33" fmla="*/ 989 h 1368"/>
                  <a:gd name="T34" fmla="*/ 5852 w 6930"/>
                  <a:gd name="T35" fmla="*/ 1022 h 1368"/>
                  <a:gd name="T36" fmla="*/ 5854 w 6930"/>
                  <a:gd name="T37" fmla="*/ 1022 h 1368"/>
                  <a:gd name="T38" fmla="*/ 6242 w 6930"/>
                  <a:gd name="T39" fmla="*/ 935 h 1368"/>
                  <a:gd name="T40" fmla="*/ 6244 w 6930"/>
                  <a:gd name="T41" fmla="*/ 1110 h 1368"/>
                  <a:gd name="T42" fmla="*/ 6244 w 6930"/>
                  <a:gd name="T43" fmla="*/ 935 h 1368"/>
                  <a:gd name="T44" fmla="*/ 6292 w 6930"/>
                  <a:gd name="T45" fmla="*/ 878 h 1368"/>
                  <a:gd name="T46" fmla="*/ 6292 w 6930"/>
                  <a:gd name="T47" fmla="*/ 885 h 1368"/>
                  <a:gd name="T48" fmla="*/ 6294 w 6930"/>
                  <a:gd name="T49" fmla="*/ 878 h 1368"/>
                  <a:gd name="T50" fmla="*/ 6299 w 6930"/>
                  <a:gd name="T51" fmla="*/ 849 h 1368"/>
                  <a:gd name="T52" fmla="*/ 6301 w 6930"/>
                  <a:gd name="T53" fmla="*/ 868 h 1368"/>
                  <a:gd name="T54" fmla="*/ 3005 w 6930"/>
                  <a:gd name="T55" fmla="*/ 762 h 1368"/>
                  <a:gd name="T56" fmla="*/ 3003 w 6930"/>
                  <a:gd name="T57" fmla="*/ 894 h 1368"/>
                  <a:gd name="T58" fmla="*/ 5036 w 6930"/>
                  <a:gd name="T59" fmla="*/ 731 h 1368"/>
                  <a:gd name="T60" fmla="*/ 5034 w 6930"/>
                  <a:gd name="T61" fmla="*/ 887 h 1368"/>
                  <a:gd name="T62" fmla="*/ 3043 w 6930"/>
                  <a:gd name="T63" fmla="*/ 655 h 1368"/>
                  <a:gd name="T64" fmla="*/ 3040 w 6930"/>
                  <a:gd name="T65" fmla="*/ 724 h 1368"/>
                  <a:gd name="T66" fmla="*/ 3043 w 6930"/>
                  <a:gd name="T67" fmla="*/ 722 h 1368"/>
                  <a:gd name="T68" fmla="*/ 0 w 6930"/>
                  <a:gd name="T69" fmla="*/ 615 h 1368"/>
                  <a:gd name="T70" fmla="*/ 0 w 6930"/>
                  <a:gd name="T71" fmla="*/ 1368 h 1368"/>
                  <a:gd name="T72" fmla="*/ 5154 w 6930"/>
                  <a:gd name="T73" fmla="*/ 608 h 1368"/>
                  <a:gd name="T74" fmla="*/ 5157 w 6930"/>
                  <a:gd name="T75" fmla="*/ 646 h 1368"/>
                  <a:gd name="T76" fmla="*/ 6928 w 6930"/>
                  <a:gd name="T77" fmla="*/ 506 h 1368"/>
                  <a:gd name="T78" fmla="*/ 6930 w 6930"/>
                  <a:gd name="T79" fmla="*/ 1008 h 1368"/>
                  <a:gd name="T80" fmla="*/ 3201 w 6930"/>
                  <a:gd name="T81" fmla="*/ 499 h 1368"/>
                  <a:gd name="T82" fmla="*/ 3204 w 6930"/>
                  <a:gd name="T83" fmla="*/ 563 h 1368"/>
                  <a:gd name="T84" fmla="*/ 3204 w 6930"/>
                  <a:gd name="T85" fmla="*/ 499 h 1368"/>
                  <a:gd name="T86" fmla="*/ 3939 w 6930"/>
                  <a:gd name="T87" fmla="*/ 452 h 1368"/>
                  <a:gd name="T88" fmla="*/ 3856 w 6930"/>
                  <a:gd name="T89" fmla="*/ 641 h 1368"/>
                  <a:gd name="T90" fmla="*/ 3859 w 6930"/>
                  <a:gd name="T91" fmla="*/ 641 h 1368"/>
                  <a:gd name="T92" fmla="*/ 3232 w 6930"/>
                  <a:gd name="T93" fmla="*/ 433 h 1368"/>
                  <a:gd name="T94" fmla="*/ 3232 w 6930"/>
                  <a:gd name="T95" fmla="*/ 471 h 1368"/>
                  <a:gd name="T96" fmla="*/ 3232 w 6930"/>
                  <a:gd name="T97" fmla="*/ 471 h 1368"/>
                  <a:gd name="T98" fmla="*/ 3946 w 6930"/>
                  <a:gd name="T99" fmla="*/ 390 h 1368"/>
                  <a:gd name="T100" fmla="*/ 3944 w 6930"/>
                  <a:gd name="T101" fmla="*/ 447 h 1368"/>
                  <a:gd name="T102" fmla="*/ 3946 w 6930"/>
                  <a:gd name="T103" fmla="*/ 445 h 1368"/>
                  <a:gd name="T104" fmla="*/ 1712 w 6930"/>
                  <a:gd name="T105" fmla="*/ 366 h 1368"/>
                  <a:gd name="T106" fmla="*/ 1714 w 6930"/>
                  <a:gd name="T107" fmla="*/ 1046 h 1368"/>
                  <a:gd name="T108" fmla="*/ 3953 w 6930"/>
                  <a:gd name="T109" fmla="*/ 326 h 1368"/>
                  <a:gd name="T110" fmla="*/ 3953 w 6930"/>
                  <a:gd name="T111" fmla="*/ 383 h 1368"/>
                  <a:gd name="T112" fmla="*/ 3953 w 6930"/>
                  <a:gd name="T113" fmla="*/ 326 h 1368"/>
                  <a:gd name="T114" fmla="*/ 4606 w 6930"/>
                  <a:gd name="T115" fmla="*/ 232 h 1368"/>
                  <a:gd name="T116" fmla="*/ 4608 w 6930"/>
                  <a:gd name="T117" fmla="*/ 232 h 1368"/>
                  <a:gd name="T118" fmla="*/ 4755 w 6930"/>
                  <a:gd name="T119" fmla="*/ 0 h 1368"/>
                  <a:gd name="T120" fmla="*/ 4755 w 6930"/>
                  <a:gd name="T121" fmla="*/ 120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68">
                    <a:moveTo>
                      <a:pt x="3615" y="1221"/>
                    </a:moveTo>
                    <a:lnTo>
                      <a:pt x="3613" y="1221"/>
                    </a:lnTo>
                    <a:lnTo>
                      <a:pt x="3613" y="1224"/>
                    </a:lnTo>
                    <a:lnTo>
                      <a:pt x="3613" y="1231"/>
                    </a:lnTo>
                    <a:lnTo>
                      <a:pt x="3615" y="1231"/>
                    </a:lnTo>
                    <a:lnTo>
                      <a:pt x="3615" y="1221"/>
                    </a:lnTo>
                    <a:moveTo>
                      <a:pt x="5736" y="1207"/>
                    </a:moveTo>
                    <a:lnTo>
                      <a:pt x="5734" y="1207"/>
                    </a:lnTo>
                    <a:lnTo>
                      <a:pt x="5734" y="1209"/>
                    </a:lnTo>
                    <a:lnTo>
                      <a:pt x="5734" y="1240"/>
                    </a:lnTo>
                    <a:lnTo>
                      <a:pt x="5736" y="1240"/>
                    </a:lnTo>
                    <a:lnTo>
                      <a:pt x="5736" y="1207"/>
                    </a:lnTo>
                    <a:moveTo>
                      <a:pt x="5760" y="1126"/>
                    </a:moveTo>
                    <a:lnTo>
                      <a:pt x="5757" y="1126"/>
                    </a:lnTo>
                    <a:lnTo>
                      <a:pt x="5757" y="1129"/>
                    </a:lnTo>
                    <a:lnTo>
                      <a:pt x="5757" y="1183"/>
                    </a:lnTo>
                    <a:lnTo>
                      <a:pt x="5760" y="1183"/>
                    </a:lnTo>
                    <a:lnTo>
                      <a:pt x="5760" y="1181"/>
                    </a:lnTo>
                    <a:lnTo>
                      <a:pt x="5760" y="1181"/>
                    </a:lnTo>
                    <a:lnTo>
                      <a:pt x="5760" y="1126"/>
                    </a:lnTo>
                    <a:moveTo>
                      <a:pt x="2764" y="1060"/>
                    </a:moveTo>
                    <a:lnTo>
                      <a:pt x="2761" y="1060"/>
                    </a:lnTo>
                    <a:lnTo>
                      <a:pt x="2761" y="1063"/>
                    </a:lnTo>
                    <a:lnTo>
                      <a:pt x="2761" y="1155"/>
                    </a:lnTo>
                    <a:lnTo>
                      <a:pt x="2764" y="1155"/>
                    </a:lnTo>
                    <a:lnTo>
                      <a:pt x="2764" y="1060"/>
                    </a:lnTo>
                    <a:moveTo>
                      <a:pt x="5835" y="1039"/>
                    </a:moveTo>
                    <a:lnTo>
                      <a:pt x="5833" y="1039"/>
                    </a:lnTo>
                    <a:lnTo>
                      <a:pt x="5833" y="1041"/>
                    </a:lnTo>
                    <a:lnTo>
                      <a:pt x="5833" y="1053"/>
                    </a:lnTo>
                    <a:lnTo>
                      <a:pt x="5835" y="1053"/>
                    </a:lnTo>
                    <a:lnTo>
                      <a:pt x="5835" y="1051"/>
                    </a:lnTo>
                    <a:lnTo>
                      <a:pt x="5835" y="1051"/>
                    </a:lnTo>
                    <a:lnTo>
                      <a:pt x="5835" y="1039"/>
                    </a:lnTo>
                    <a:moveTo>
                      <a:pt x="2780" y="1010"/>
                    </a:moveTo>
                    <a:lnTo>
                      <a:pt x="2780" y="1010"/>
                    </a:lnTo>
                    <a:lnTo>
                      <a:pt x="2780" y="1013"/>
                    </a:lnTo>
                    <a:lnTo>
                      <a:pt x="2780" y="1044"/>
                    </a:lnTo>
                    <a:lnTo>
                      <a:pt x="2780" y="1044"/>
                    </a:lnTo>
                    <a:lnTo>
                      <a:pt x="2780" y="1044"/>
                    </a:lnTo>
                    <a:lnTo>
                      <a:pt x="2780" y="1044"/>
                    </a:lnTo>
                    <a:lnTo>
                      <a:pt x="2780" y="1010"/>
                    </a:lnTo>
                    <a:moveTo>
                      <a:pt x="3674" y="992"/>
                    </a:moveTo>
                    <a:lnTo>
                      <a:pt x="3672" y="992"/>
                    </a:lnTo>
                    <a:lnTo>
                      <a:pt x="3672" y="994"/>
                    </a:lnTo>
                    <a:lnTo>
                      <a:pt x="3672" y="1162"/>
                    </a:lnTo>
                    <a:lnTo>
                      <a:pt x="3674" y="1162"/>
                    </a:lnTo>
                    <a:lnTo>
                      <a:pt x="3674" y="1160"/>
                    </a:lnTo>
                    <a:lnTo>
                      <a:pt x="3674" y="1160"/>
                    </a:lnTo>
                    <a:lnTo>
                      <a:pt x="3674" y="992"/>
                    </a:lnTo>
                    <a:moveTo>
                      <a:pt x="5854" y="989"/>
                    </a:moveTo>
                    <a:lnTo>
                      <a:pt x="5852" y="989"/>
                    </a:lnTo>
                    <a:lnTo>
                      <a:pt x="5852" y="989"/>
                    </a:lnTo>
                    <a:lnTo>
                      <a:pt x="5852" y="1022"/>
                    </a:lnTo>
                    <a:lnTo>
                      <a:pt x="5852" y="1022"/>
                    </a:lnTo>
                    <a:lnTo>
                      <a:pt x="5852" y="1022"/>
                    </a:lnTo>
                    <a:lnTo>
                      <a:pt x="5854" y="1022"/>
                    </a:lnTo>
                    <a:lnTo>
                      <a:pt x="5854" y="989"/>
                    </a:lnTo>
                    <a:moveTo>
                      <a:pt x="6244" y="935"/>
                    </a:moveTo>
                    <a:lnTo>
                      <a:pt x="6242" y="935"/>
                    </a:lnTo>
                    <a:lnTo>
                      <a:pt x="6242" y="937"/>
                    </a:lnTo>
                    <a:lnTo>
                      <a:pt x="6242" y="1110"/>
                    </a:lnTo>
                    <a:lnTo>
                      <a:pt x="6244" y="1110"/>
                    </a:lnTo>
                    <a:lnTo>
                      <a:pt x="6244" y="1108"/>
                    </a:lnTo>
                    <a:lnTo>
                      <a:pt x="6244" y="1108"/>
                    </a:lnTo>
                    <a:lnTo>
                      <a:pt x="6244" y="935"/>
                    </a:lnTo>
                    <a:moveTo>
                      <a:pt x="6294" y="878"/>
                    </a:moveTo>
                    <a:lnTo>
                      <a:pt x="6292" y="878"/>
                    </a:lnTo>
                    <a:lnTo>
                      <a:pt x="6292" y="878"/>
                    </a:lnTo>
                    <a:lnTo>
                      <a:pt x="6292" y="878"/>
                    </a:lnTo>
                    <a:lnTo>
                      <a:pt x="6292" y="885"/>
                    </a:lnTo>
                    <a:lnTo>
                      <a:pt x="6292" y="885"/>
                    </a:lnTo>
                    <a:lnTo>
                      <a:pt x="6292" y="885"/>
                    </a:lnTo>
                    <a:lnTo>
                      <a:pt x="6294" y="885"/>
                    </a:lnTo>
                    <a:lnTo>
                      <a:pt x="6294" y="878"/>
                    </a:lnTo>
                    <a:moveTo>
                      <a:pt x="6301" y="849"/>
                    </a:moveTo>
                    <a:lnTo>
                      <a:pt x="6299" y="849"/>
                    </a:lnTo>
                    <a:lnTo>
                      <a:pt x="6299" y="849"/>
                    </a:lnTo>
                    <a:lnTo>
                      <a:pt x="6299" y="868"/>
                    </a:lnTo>
                    <a:lnTo>
                      <a:pt x="6301" y="868"/>
                    </a:lnTo>
                    <a:lnTo>
                      <a:pt x="6301" y="868"/>
                    </a:lnTo>
                    <a:lnTo>
                      <a:pt x="6301" y="868"/>
                    </a:lnTo>
                    <a:lnTo>
                      <a:pt x="6301" y="849"/>
                    </a:lnTo>
                    <a:moveTo>
                      <a:pt x="3005" y="762"/>
                    </a:moveTo>
                    <a:lnTo>
                      <a:pt x="3003" y="762"/>
                    </a:lnTo>
                    <a:lnTo>
                      <a:pt x="3003" y="762"/>
                    </a:lnTo>
                    <a:lnTo>
                      <a:pt x="3003" y="894"/>
                    </a:lnTo>
                    <a:lnTo>
                      <a:pt x="3005" y="894"/>
                    </a:lnTo>
                    <a:lnTo>
                      <a:pt x="3005" y="762"/>
                    </a:lnTo>
                    <a:moveTo>
                      <a:pt x="5036" y="731"/>
                    </a:moveTo>
                    <a:lnTo>
                      <a:pt x="5034" y="731"/>
                    </a:lnTo>
                    <a:lnTo>
                      <a:pt x="5034" y="731"/>
                    </a:lnTo>
                    <a:lnTo>
                      <a:pt x="5034" y="887"/>
                    </a:lnTo>
                    <a:lnTo>
                      <a:pt x="5036" y="887"/>
                    </a:lnTo>
                    <a:lnTo>
                      <a:pt x="5036" y="731"/>
                    </a:lnTo>
                    <a:moveTo>
                      <a:pt x="3043" y="655"/>
                    </a:moveTo>
                    <a:lnTo>
                      <a:pt x="3040" y="655"/>
                    </a:lnTo>
                    <a:lnTo>
                      <a:pt x="3040" y="658"/>
                    </a:lnTo>
                    <a:lnTo>
                      <a:pt x="3040" y="724"/>
                    </a:lnTo>
                    <a:lnTo>
                      <a:pt x="3040" y="724"/>
                    </a:lnTo>
                    <a:lnTo>
                      <a:pt x="3040" y="722"/>
                    </a:lnTo>
                    <a:lnTo>
                      <a:pt x="3043" y="722"/>
                    </a:lnTo>
                    <a:lnTo>
                      <a:pt x="3043" y="655"/>
                    </a:lnTo>
                    <a:moveTo>
                      <a:pt x="0" y="615"/>
                    </a:moveTo>
                    <a:lnTo>
                      <a:pt x="0" y="615"/>
                    </a:lnTo>
                    <a:lnTo>
                      <a:pt x="0" y="617"/>
                    </a:lnTo>
                    <a:lnTo>
                      <a:pt x="0" y="1368"/>
                    </a:lnTo>
                    <a:lnTo>
                      <a:pt x="0" y="1368"/>
                    </a:lnTo>
                    <a:lnTo>
                      <a:pt x="0" y="615"/>
                    </a:lnTo>
                    <a:moveTo>
                      <a:pt x="5157" y="608"/>
                    </a:moveTo>
                    <a:lnTo>
                      <a:pt x="5154" y="608"/>
                    </a:lnTo>
                    <a:lnTo>
                      <a:pt x="5154" y="610"/>
                    </a:lnTo>
                    <a:lnTo>
                      <a:pt x="5154" y="646"/>
                    </a:lnTo>
                    <a:lnTo>
                      <a:pt x="5157" y="646"/>
                    </a:lnTo>
                    <a:lnTo>
                      <a:pt x="5157" y="608"/>
                    </a:lnTo>
                    <a:moveTo>
                      <a:pt x="6930" y="506"/>
                    </a:moveTo>
                    <a:lnTo>
                      <a:pt x="6928" y="506"/>
                    </a:lnTo>
                    <a:lnTo>
                      <a:pt x="6928" y="509"/>
                    </a:lnTo>
                    <a:lnTo>
                      <a:pt x="6928" y="1008"/>
                    </a:lnTo>
                    <a:lnTo>
                      <a:pt x="6930" y="1008"/>
                    </a:lnTo>
                    <a:lnTo>
                      <a:pt x="6930" y="506"/>
                    </a:lnTo>
                    <a:moveTo>
                      <a:pt x="3204" y="499"/>
                    </a:moveTo>
                    <a:lnTo>
                      <a:pt x="3201" y="499"/>
                    </a:lnTo>
                    <a:lnTo>
                      <a:pt x="3201" y="501"/>
                    </a:lnTo>
                    <a:lnTo>
                      <a:pt x="3201" y="563"/>
                    </a:lnTo>
                    <a:lnTo>
                      <a:pt x="3204" y="563"/>
                    </a:lnTo>
                    <a:lnTo>
                      <a:pt x="3204" y="563"/>
                    </a:lnTo>
                    <a:lnTo>
                      <a:pt x="3204" y="563"/>
                    </a:lnTo>
                    <a:lnTo>
                      <a:pt x="3204" y="499"/>
                    </a:lnTo>
                    <a:moveTo>
                      <a:pt x="3941" y="452"/>
                    </a:moveTo>
                    <a:lnTo>
                      <a:pt x="3939" y="452"/>
                    </a:lnTo>
                    <a:lnTo>
                      <a:pt x="3939" y="452"/>
                    </a:lnTo>
                    <a:lnTo>
                      <a:pt x="3939" y="454"/>
                    </a:lnTo>
                    <a:lnTo>
                      <a:pt x="3939" y="490"/>
                    </a:lnTo>
                    <a:lnTo>
                      <a:pt x="3856" y="641"/>
                    </a:lnTo>
                    <a:lnTo>
                      <a:pt x="3856" y="842"/>
                    </a:lnTo>
                    <a:lnTo>
                      <a:pt x="3859" y="842"/>
                    </a:lnTo>
                    <a:lnTo>
                      <a:pt x="3859" y="641"/>
                    </a:lnTo>
                    <a:lnTo>
                      <a:pt x="3941" y="487"/>
                    </a:lnTo>
                    <a:lnTo>
                      <a:pt x="3941" y="452"/>
                    </a:lnTo>
                    <a:moveTo>
                      <a:pt x="3232" y="433"/>
                    </a:moveTo>
                    <a:lnTo>
                      <a:pt x="3232" y="433"/>
                    </a:lnTo>
                    <a:lnTo>
                      <a:pt x="3232" y="435"/>
                    </a:lnTo>
                    <a:lnTo>
                      <a:pt x="3232" y="471"/>
                    </a:lnTo>
                    <a:lnTo>
                      <a:pt x="3232" y="471"/>
                    </a:lnTo>
                    <a:lnTo>
                      <a:pt x="3232" y="471"/>
                    </a:lnTo>
                    <a:lnTo>
                      <a:pt x="3232" y="471"/>
                    </a:lnTo>
                    <a:lnTo>
                      <a:pt x="3232" y="433"/>
                    </a:lnTo>
                    <a:moveTo>
                      <a:pt x="3946" y="390"/>
                    </a:moveTo>
                    <a:lnTo>
                      <a:pt x="3946" y="390"/>
                    </a:lnTo>
                    <a:lnTo>
                      <a:pt x="3944" y="390"/>
                    </a:lnTo>
                    <a:lnTo>
                      <a:pt x="3944" y="390"/>
                    </a:lnTo>
                    <a:lnTo>
                      <a:pt x="3944" y="447"/>
                    </a:lnTo>
                    <a:lnTo>
                      <a:pt x="3946" y="447"/>
                    </a:lnTo>
                    <a:lnTo>
                      <a:pt x="3946" y="445"/>
                    </a:lnTo>
                    <a:lnTo>
                      <a:pt x="3946" y="445"/>
                    </a:lnTo>
                    <a:lnTo>
                      <a:pt x="3946" y="390"/>
                    </a:lnTo>
                    <a:moveTo>
                      <a:pt x="1714" y="366"/>
                    </a:moveTo>
                    <a:lnTo>
                      <a:pt x="1712" y="366"/>
                    </a:lnTo>
                    <a:lnTo>
                      <a:pt x="1712" y="369"/>
                    </a:lnTo>
                    <a:lnTo>
                      <a:pt x="1712" y="1046"/>
                    </a:lnTo>
                    <a:lnTo>
                      <a:pt x="1714" y="1046"/>
                    </a:lnTo>
                    <a:lnTo>
                      <a:pt x="1714" y="366"/>
                    </a:lnTo>
                    <a:moveTo>
                      <a:pt x="3953" y="326"/>
                    </a:moveTo>
                    <a:lnTo>
                      <a:pt x="3953" y="326"/>
                    </a:lnTo>
                    <a:lnTo>
                      <a:pt x="3953" y="329"/>
                    </a:lnTo>
                    <a:lnTo>
                      <a:pt x="3953" y="383"/>
                    </a:lnTo>
                    <a:lnTo>
                      <a:pt x="3953" y="383"/>
                    </a:lnTo>
                    <a:lnTo>
                      <a:pt x="3953" y="381"/>
                    </a:lnTo>
                    <a:lnTo>
                      <a:pt x="3953" y="381"/>
                    </a:lnTo>
                    <a:lnTo>
                      <a:pt x="3953" y="326"/>
                    </a:lnTo>
                    <a:moveTo>
                      <a:pt x="4608" y="232"/>
                    </a:moveTo>
                    <a:lnTo>
                      <a:pt x="4606" y="232"/>
                    </a:lnTo>
                    <a:lnTo>
                      <a:pt x="4606" y="232"/>
                    </a:lnTo>
                    <a:lnTo>
                      <a:pt x="4551" y="435"/>
                    </a:lnTo>
                    <a:lnTo>
                      <a:pt x="4551" y="435"/>
                    </a:lnTo>
                    <a:lnTo>
                      <a:pt x="4608" y="232"/>
                    </a:lnTo>
                    <a:moveTo>
                      <a:pt x="4757" y="0"/>
                    </a:moveTo>
                    <a:lnTo>
                      <a:pt x="4755" y="0"/>
                    </a:lnTo>
                    <a:lnTo>
                      <a:pt x="4755" y="0"/>
                    </a:lnTo>
                    <a:lnTo>
                      <a:pt x="4755" y="123"/>
                    </a:lnTo>
                    <a:lnTo>
                      <a:pt x="4755" y="123"/>
                    </a:lnTo>
                    <a:lnTo>
                      <a:pt x="4755" y="120"/>
                    </a:lnTo>
                    <a:lnTo>
                      <a:pt x="4757" y="120"/>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4" name="Freeform 56"/>
              <p:cNvSpPr>
                <a:spLocks noEditPoints="1"/>
              </p:cNvSpPr>
              <p:nvPr/>
            </p:nvSpPr>
            <p:spPr bwMode="auto">
              <a:xfrm>
                <a:off x="59" y="1743"/>
                <a:ext cx="6932" cy="1371"/>
              </a:xfrm>
              <a:custGeom>
                <a:avLst/>
                <a:gdLst>
                  <a:gd name="T0" fmla="*/ 3615 w 6932"/>
                  <a:gd name="T1" fmla="*/ 1224 h 1371"/>
                  <a:gd name="T2" fmla="*/ 3617 w 6932"/>
                  <a:gd name="T3" fmla="*/ 1222 h 1371"/>
                  <a:gd name="T4" fmla="*/ 5736 w 6932"/>
                  <a:gd name="T5" fmla="*/ 1210 h 1371"/>
                  <a:gd name="T6" fmla="*/ 5736 w 6932"/>
                  <a:gd name="T7" fmla="*/ 1208 h 1371"/>
                  <a:gd name="T8" fmla="*/ 5760 w 6932"/>
                  <a:gd name="T9" fmla="*/ 1129 h 1371"/>
                  <a:gd name="T10" fmla="*/ 5762 w 6932"/>
                  <a:gd name="T11" fmla="*/ 1182 h 1371"/>
                  <a:gd name="T12" fmla="*/ 2766 w 6932"/>
                  <a:gd name="T13" fmla="*/ 1063 h 1371"/>
                  <a:gd name="T14" fmla="*/ 2764 w 6932"/>
                  <a:gd name="T15" fmla="*/ 1158 h 1371"/>
                  <a:gd name="T16" fmla="*/ 5838 w 6932"/>
                  <a:gd name="T17" fmla="*/ 1042 h 1371"/>
                  <a:gd name="T18" fmla="*/ 5835 w 6932"/>
                  <a:gd name="T19" fmla="*/ 1054 h 1371"/>
                  <a:gd name="T20" fmla="*/ 5838 w 6932"/>
                  <a:gd name="T21" fmla="*/ 1051 h 1371"/>
                  <a:gd name="T22" fmla="*/ 2780 w 6932"/>
                  <a:gd name="T23" fmla="*/ 1013 h 1371"/>
                  <a:gd name="T24" fmla="*/ 2783 w 6932"/>
                  <a:gd name="T25" fmla="*/ 1047 h 1371"/>
                  <a:gd name="T26" fmla="*/ 2783 w 6932"/>
                  <a:gd name="T27" fmla="*/ 1011 h 1371"/>
                  <a:gd name="T28" fmla="*/ 3674 w 6932"/>
                  <a:gd name="T29" fmla="*/ 995 h 1371"/>
                  <a:gd name="T30" fmla="*/ 3676 w 6932"/>
                  <a:gd name="T31" fmla="*/ 1160 h 1371"/>
                  <a:gd name="T32" fmla="*/ 5854 w 6932"/>
                  <a:gd name="T33" fmla="*/ 990 h 1371"/>
                  <a:gd name="T34" fmla="*/ 5854 w 6932"/>
                  <a:gd name="T35" fmla="*/ 1025 h 1371"/>
                  <a:gd name="T36" fmla="*/ 5854 w 6932"/>
                  <a:gd name="T37" fmla="*/ 1023 h 1371"/>
                  <a:gd name="T38" fmla="*/ 6244 w 6932"/>
                  <a:gd name="T39" fmla="*/ 935 h 1371"/>
                  <a:gd name="T40" fmla="*/ 6244 w 6932"/>
                  <a:gd name="T41" fmla="*/ 1111 h 1371"/>
                  <a:gd name="T42" fmla="*/ 6247 w 6932"/>
                  <a:gd name="T43" fmla="*/ 935 h 1371"/>
                  <a:gd name="T44" fmla="*/ 6294 w 6932"/>
                  <a:gd name="T45" fmla="*/ 879 h 1371"/>
                  <a:gd name="T46" fmla="*/ 6294 w 6932"/>
                  <a:gd name="T47" fmla="*/ 888 h 1371"/>
                  <a:gd name="T48" fmla="*/ 6296 w 6932"/>
                  <a:gd name="T49" fmla="*/ 879 h 1371"/>
                  <a:gd name="T50" fmla="*/ 6301 w 6932"/>
                  <a:gd name="T51" fmla="*/ 852 h 1371"/>
                  <a:gd name="T52" fmla="*/ 6303 w 6932"/>
                  <a:gd name="T53" fmla="*/ 869 h 1371"/>
                  <a:gd name="T54" fmla="*/ 3005 w 6932"/>
                  <a:gd name="T55" fmla="*/ 763 h 1371"/>
                  <a:gd name="T56" fmla="*/ 3005 w 6932"/>
                  <a:gd name="T57" fmla="*/ 897 h 1371"/>
                  <a:gd name="T58" fmla="*/ 5038 w 6932"/>
                  <a:gd name="T59" fmla="*/ 732 h 1371"/>
                  <a:gd name="T60" fmla="*/ 5036 w 6932"/>
                  <a:gd name="T61" fmla="*/ 890 h 1371"/>
                  <a:gd name="T62" fmla="*/ 3045 w 6932"/>
                  <a:gd name="T63" fmla="*/ 656 h 1371"/>
                  <a:gd name="T64" fmla="*/ 3043 w 6932"/>
                  <a:gd name="T65" fmla="*/ 725 h 1371"/>
                  <a:gd name="T66" fmla="*/ 3045 w 6932"/>
                  <a:gd name="T67" fmla="*/ 722 h 1371"/>
                  <a:gd name="T68" fmla="*/ 0 w 6932"/>
                  <a:gd name="T69" fmla="*/ 616 h 1371"/>
                  <a:gd name="T70" fmla="*/ 2 w 6932"/>
                  <a:gd name="T71" fmla="*/ 1371 h 1371"/>
                  <a:gd name="T72" fmla="*/ 5157 w 6932"/>
                  <a:gd name="T73" fmla="*/ 609 h 1371"/>
                  <a:gd name="T74" fmla="*/ 5159 w 6932"/>
                  <a:gd name="T75" fmla="*/ 649 h 1371"/>
                  <a:gd name="T76" fmla="*/ 6930 w 6932"/>
                  <a:gd name="T77" fmla="*/ 509 h 1371"/>
                  <a:gd name="T78" fmla="*/ 6932 w 6932"/>
                  <a:gd name="T79" fmla="*/ 1011 h 1371"/>
                  <a:gd name="T80" fmla="*/ 3204 w 6932"/>
                  <a:gd name="T81" fmla="*/ 500 h 1371"/>
                  <a:gd name="T82" fmla="*/ 3206 w 6932"/>
                  <a:gd name="T83" fmla="*/ 566 h 1371"/>
                  <a:gd name="T84" fmla="*/ 3206 w 6932"/>
                  <a:gd name="T85" fmla="*/ 500 h 1371"/>
                  <a:gd name="T86" fmla="*/ 3941 w 6932"/>
                  <a:gd name="T87" fmla="*/ 455 h 1371"/>
                  <a:gd name="T88" fmla="*/ 3859 w 6932"/>
                  <a:gd name="T89" fmla="*/ 644 h 1371"/>
                  <a:gd name="T90" fmla="*/ 3861 w 6932"/>
                  <a:gd name="T91" fmla="*/ 642 h 1371"/>
                  <a:gd name="T92" fmla="*/ 3234 w 6932"/>
                  <a:gd name="T93" fmla="*/ 433 h 1371"/>
                  <a:gd name="T94" fmla="*/ 3232 w 6932"/>
                  <a:gd name="T95" fmla="*/ 474 h 1371"/>
                  <a:gd name="T96" fmla="*/ 3234 w 6932"/>
                  <a:gd name="T97" fmla="*/ 471 h 1371"/>
                  <a:gd name="T98" fmla="*/ 3946 w 6932"/>
                  <a:gd name="T99" fmla="*/ 391 h 1371"/>
                  <a:gd name="T100" fmla="*/ 3946 w 6932"/>
                  <a:gd name="T101" fmla="*/ 448 h 1371"/>
                  <a:gd name="T102" fmla="*/ 3948 w 6932"/>
                  <a:gd name="T103" fmla="*/ 448 h 1371"/>
                  <a:gd name="T104" fmla="*/ 1714 w 6932"/>
                  <a:gd name="T105" fmla="*/ 367 h 1371"/>
                  <a:gd name="T106" fmla="*/ 1716 w 6932"/>
                  <a:gd name="T107" fmla="*/ 1049 h 1371"/>
                  <a:gd name="T108" fmla="*/ 3953 w 6932"/>
                  <a:gd name="T109" fmla="*/ 327 h 1371"/>
                  <a:gd name="T110" fmla="*/ 3955 w 6932"/>
                  <a:gd name="T111" fmla="*/ 384 h 1371"/>
                  <a:gd name="T112" fmla="*/ 3955 w 6932"/>
                  <a:gd name="T113" fmla="*/ 327 h 1371"/>
                  <a:gd name="T114" fmla="*/ 4608 w 6932"/>
                  <a:gd name="T115" fmla="*/ 235 h 1371"/>
                  <a:gd name="T116" fmla="*/ 4608 w 6932"/>
                  <a:gd name="T117" fmla="*/ 232 h 1371"/>
                  <a:gd name="T118" fmla="*/ 4757 w 6932"/>
                  <a:gd name="T119" fmla="*/ 3 h 1371"/>
                  <a:gd name="T120" fmla="*/ 4757 w 6932"/>
                  <a:gd name="T121" fmla="*/ 121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71">
                    <a:moveTo>
                      <a:pt x="3617" y="1222"/>
                    </a:moveTo>
                    <a:lnTo>
                      <a:pt x="3615" y="1222"/>
                    </a:lnTo>
                    <a:lnTo>
                      <a:pt x="3615" y="1224"/>
                    </a:lnTo>
                    <a:lnTo>
                      <a:pt x="3615" y="1234"/>
                    </a:lnTo>
                    <a:lnTo>
                      <a:pt x="3617" y="1234"/>
                    </a:lnTo>
                    <a:lnTo>
                      <a:pt x="3617" y="1222"/>
                    </a:lnTo>
                    <a:close/>
                    <a:moveTo>
                      <a:pt x="5736" y="1208"/>
                    </a:moveTo>
                    <a:lnTo>
                      <a:pt x="5736" y="1208"/>
                    </a:lnTo>
                    <a:lnTo>
                      <a:pt x="5736" y="1210"/>
                    </a:lnTo>
                    <a:lnTo>
                      <a:pt x="5736" y="1243"/>
                    </a:lnTo>
                    <a:lnTo>
                      <a:pt x="5736" y="1243"/>
                    </a:lnTo>
                    <a:lnTo>
                      <a:pt x="5736" y="1208"/>
                    </a:lnTo>
                    <a:close/>
                    <a:moveTo>
                      <a:pt x="5762" y="1127"/>
                    </a:moveTo>
                    <a:lnTo>
                      <a:pt x="5760" y="1127"/>
                    </a:lnTo>
                    <a:lnTo>
                      <a:pt x="5760" y="1129"/>
                    </a:lnTo>
                    <a:lnTo>
                      <a:pt x="5760" y="1184"/>
                    </a:lnTo>
                    <a:lnTo>
                      <a:pt x="5762" y="1184"/>
                    </a:lnTo>
                    <a:lnTo>
                      <a:pt x="5762" y="1182"/>
                    </a:lnTo>
                    <a:lnTo>
                      <a:pt x="5762" y="1182"/>
                    </a:lnTo>
                    <a:lnTo>
                      <a:pt x="5762" y="1127"/>
                    </a:lnTo>
                    <a:close/>
                    <a:moveTo>
                      <a:pt x="2766" y="1063"/>
                    </a:moveTo>
                    <a:lnTo>
                      <a:pt x="2764" y="1063"/>
                    </a:lnTo>
                    <a:lnTo>
                      <a:pt x="2764" y="1063"/>
                    </a:lnTo>
                    <a:lnTo>
                      <a:pt x="2764" y="1158"/>
                    </a:lnTo>
                    <a:lnTo>
                      <a:pt x="2766" y="1158"/>
                    </a:lnTo>
                    <a:lnTo>
                      <a:pt x="2766" y="1063"/>
                    </a:lnTo>
                    <a:close/>
                    <a:moveTo>
                      <a:pt x="5838" y="1042"/>
                    </a:moveTo>
                    <a:lnTo>
                      <a:pt x="5835" y="1042"/>
                    </a:lnTo>
                    <a:lnTo>
                      <a:pt x="5835" y="1042"/>
                    </a:lnTo>
                    <a:lnTo>
                      <a:pt x="5835" y="1054"/>
                    </a:lnTo>
                    <a:lnTo>
                      <a:pt x="5835" y="1054"/>
                    </a:lnTo>
                    <a:lnTo>
                      <a:pt x="5835" y="1051"/>
                    </a:lnTo>
                    <a:lnTo>
                      <a:pt x="5838" y="1051"/>
                    </a:lnTo>
                    <a:lnTo>
                      <a:pt x="5838" y="1042"/>
                    </a:lnTo>
                    <a:close/>
                    <a:moveTo>
                      <a:pt x="2783" y="1011"/>
                    </a:moveTo>
                    <a:lnTo>
                      <a:pt x="2780" y="1013"/>
                    </a:lnTo>
                    <a:lnTo>
                      <a:pt x="2780" y="1013"/>
                    </a:lnTo>
                    <a:lnTo>
                      <a:pt x="2780" y="1047"/>
                    </a:lnTo>
                    <a:lnTo>
                      <a:pt x="2783" y="1047"/>
                    </a:lnTo>
                    <a:lnTo>
                      <a:pt x="2783" y="1044"/>
                    </a:lnTo>
                    <a:lnTo>
                      <a:pt x="2783" y="1044"/>
                    </a:lnTo>
                    <a:lnTo>
                      <a:pt x="2783" y="1011"/>
                    </a:lnTo>
                    <a:close/>
                    <a:moveTo>
                      <a:pt x="3676" y="992"/>
                    </a:moveTo>
                    <a:lnTo>
                      <a:pt x="3674" y="992"/>
                    </a:lnTo>
                    <a:lnTo>
                      <a:pt x="3674" y="995"/>
                    </a:lnTo>
                    <a:lnTo>
                      <a:pt x="3674" y="1163"/>
                    </a:lnTo>
                    <a:lnTo>
                      <a:pt x="3676" y="1163"/>
                    </a:lnTo>
                    <a:lnTo>
                      <a:pt x="3676" y="1160"/>
                    </a:lnTo>
                    <a:lnTo>
                      <a:pt x="3676" y="1160"/>
                    </a:lnTo>
                    <a:lnTo>
                      <a:pt x="3676" y="992"/>
                    </a:lnTo>
                    <a:close/>
                    <a:moveTo>
                      <a:pt x="5854" y="990"/>
                    </a:moveTo>
                    <a:lnTo>
                      <a:pt x="5854" y="990"/>
                    </a:lnTo>
                    <a:lnTo>
                      <a:pt x="5854" y="992"/>
                    </a:lnTo>
                    <a:lnTo>
                      <a:pt x="5854" y="1025"/>
                    </a:lnTo>
                    <a:lnTo>
                      <a:pt x="5854" y="1025"/>
                    </a:lnTo>
                    <a:lnTo>
                      <a:pt x="5854" y="1023"/>
                    </a:lnTo>
                    <a:lnTo>
                      <a:pt x="5854" y="1023"/>
                    </a:lnTo>
                    <a:lnTo>
                      <a:pt x="5854" y="990"/>
                    </a:lnTo>
                    <a:close/>
                    <a:moveTo>
                      <a:pt x="6247" y="935"/>
                    </a:moveTo>
                    <a:lnTo>
                      <a:pt x="6244" y="935"/>
                    </a:lnTo>
                    <a:lnTo>
                      <a:pt x="6244" y="938"/>
                    </a:lnTo>
                    <a:lnTo>
                      <a:pt x="6244" y="1111"/>
                    </a:lnTo>
                    <a:lnTo>
                      <a:pt x="6244" y="1111"/>
                    </a:lnTo>
                    <a:lnTo>
                      <a:pt x="6244" y="1108"/>
                    </a:lnTo>
                    <a:lnTo>
                      <a:pt x="6247" y="1108"/>
                    </a:lnTo>
                    <a:lnTo>
                      <a:pt x="6247" y="935"/>
                    </a:lnTo>
                    <a:close/>
                    <a:moveTo>
                      <a:pt x="6296" y="879"/>
                    </a:moveTo>
                    <a:lnTo>
                      <a:pt x="6294" y="879"/>
                    </a:lnTo>
                    <a:lnTo>
                      <a:pt x="6294" y="879"/>
                    </a:lnTo>
                    <a:lnTo>
                      <a:pt x="6294" y="881"/>
                    </a:lnTo>
                    <a:lnTo>
                      <a:pt x="6294" y="888"/>
                    </a:lnTo>
                    <a:lnTo>
                      <a:pt x="6294" y="888"/>
                    </a:lnTo>
                    <a:lnTo>
                      <a:pt x="6294" y="886"/>
                    </a:lnTo>
                    <a:lnTo>
                      <a:pt x="6296" y="886"/>
                    </a:lnTo>
                    <a:lnTo>
                      <a:pt x="6296" y="879"/>
                    </a:lnTo>
                    <a:close/>
                    <a:moveTo>
                      <a:pt x="6303" y="850"/>
                    </a:moveTo>
                    <a:lnTo>
                      <a:pt x="6301" y="850"/>
                    </a:lnTo>
                    <a:lnTo>
                      <a:pt x="6301" y="852"/>
                    </a:lnTo>
                    <a:lnTo>
                      <a:pt x="6301" y="871"/>
                    </a:lnTo>
                    <a:lnTo>
                      <a:pt x="6303" y="871"/>
                    </a:lnTo>
                    <a:lnTo>
                      <a:pt x="6303" y="869"/>
                    </a:lnTo>
                    <a:lnTo>
                      <a:pt x="6303" y="869"/>
                    </a:lnTo>
                    <a:lnTo>
                      <a:pt x="6303" y="850"/>
                    </a:lnTo>
                    <a:close/>
                    <a:moveTo>
                      <a:pt x="3005" y="763"/>
                    </a:moveTo>
                    <a:lnTo>
                      <a:pt x="3005" y="763"/>
                    </a:lnTo>
                    <a:lnTo>
                      <a:pt x="3005" y="765"/>
                    </a:lnTo>
                    <a:lnTo>
                      <a:pt x="3005" y="897"/>
                    </a:lnTo>
                    <a:lnTo>
                      <a:pt x="3005" y="897"/>
                    </a:lnTo>
                    <a:lnTo>
                      <a:pt x="3005" y="763"/>
                    </a:lnTo>
                    <a:close/>
                    <a:moveTo>
                      <a:pt x="5038" y="732"/>
                    </a:moveTo>
                    <a:lnTo>
                      <a:pt x="5036" y="732"/>
                    </a:lnTo>
                    <a:lnTo>
                      <a:pt x="5036" y="734"/>
                    </a:lnTo>
                    <a:lnTo>
                      <a:pt x="5036" y="890"/>
                    </a:lnTo>
                    <a:lnTo>
                      <a:pt x="5038" y="890"/>
                    </a:lnTo>
                    <a:lnTo>
                      <a:pt x="5038" y="732"/>
                    </a:lnTo>
                    <a:close/>
                    <a:moveTo>
                      <a:pt x="3045" y="656"/>
                    </a:moveTo>
                    <a:lnTo>
                      <a:pt x="3043" y="656"/>
                    </a:lnTo>
                    <a:lnTo>
                      <a:pt x="3043" y="658"/>
                    </a:lnTo>
                    <a:lnTo>
                      <a:pt x="3043" y="725"/>
                    </a:lnTo>
                    <a:lnTo>
                      <a:pt x="3043" y="725"/>
                    </a:lnTo>
                    <a:lnTo>
                      <a:pt x="3043" y="722"/>
                    </a:lnTo>
                    <a:lnTo>
                      <a:pt x="3045" y="722"/>
                    </a:lnTo>
                    <a:lnTo>
                      <a:pt x="3045" y="656"/>
                    </a:lnTo>
                    <a:close/>
                    <a:moveTo>
                      <a:pt x="2" y="616"/>
                    </a:moveTo>
                    <a:lnTo>
                      <a:pt x="0" y="616"/>
                    </a:lnTo>
                    <a:lnTo>
                      <a:pt x="0" y="618"/>
                    </a:lnTo>
                    <a:lnTo>
                      <a:pt x="0" y="1371"/>
                    </a:lnTo>
                    <a:lnTo>
                      <a:pt x="2" y="1371"/>
                    </a:lnTo>
                    <a:lnTo>
                      <a:pt x="2" y="616"/>
                    </a:lnTo>
                    <a:close/>
                    <a:moveTo>
                      <a:pt x="5159" y="609"/>
                    </a:moveTo>
                    <a:lnTo>
                      <a:pt x="5157" y="609"/>
                    </a:lnTo>
                    <a:lnTo>
                      <a:pt x="5157" y="611"/>
                    </a:lnTo>
                    <a:lnTo>
                      <a:pt x="5157" y="649"/>
                    </a:lnTo>
                    <a:lnTo>
                      <a:pt x="5159" y="649"/>
                    </a:lnTo>
                    <a:lnTo>
                      <a:pt x="5159" y="609"/>
                    </a:lnTo>
                    <a:close/>
                    <a:moveTo>
                      <a:pt x="6932" y="509"/>
                    </a:moveTo>
                    <a:lnTo>
                      <a:pt x="6930" y="509"/>
                    </a:lnTo>
                    <a:lnTo>
                      <a:pt x="6930" y="509"/>
                    </a:lnTo>
                    <a:lnTo>
                      <a:pt x="6930" y="1011"/>
                    </a:lnTo>
                    <a:lnTo>
                      <a:pt x="6932" y="1011"/>
                    </a:lnTo>
                    <a:lnTo>
                      <a:pt x="6932" y="509"/>
                    </a:lnTo>
                    <a:close/>
                    <a:moveTo>
                      <a:pt x="3206" y="500"/>
                    </a:moveTo>
                    <a:lnTo>
                      <a:pt x="3204" y="500"/>
                    </a:lnTo>
                    <a:lnTo>
                      <a:pt x="3204" y="502"/>
                    </a:lnTo>
                    <a:lnTo>
                      <a:pt x="3204" y="566"/>
                    </a:lnTo>
                    <a:lnTo>
                      <a:pt x="3206" y="566"/>
                    </a:lnTo>
                    <a:lnTo>
                      <a:pt x="3206" y="564"/>
                    </a:lnTo>
                    <a:lnTo>
                      <a:pt x="3206" y="564"/>
                    </a:lnTo>
                    <a:lnTo>
                      <a:pt x="3206" y="500"/>
                    </a:lnTo>
                    <a:close/>
                    <a:moveTo>
                      <a:pt x="3941" y="455"/>
                    </a:moveTo>
                    <a:lnTo>
                      <a:pt x="3941" y="455"/>
                    </a:lnTo>
                    <a:lnTo>
                      <a:pt x="3941" y="455"/>
                    </a:lnTo>
                    <a:lnTo>
                      <a:pt x="3941" y="455"/>
                    </a:lnTo>
                    <a:lnTo>
                      <a:pt x="3941" y="490"/>
                    </a:lnTo>
                    <a:lnTo>
                      <a:pt x="3859" y="644"/>
                    </a:lnTo>
                    <a:lnTo>
                      <a:pt x="3859" y="845"/>
                    </a:lnTo>
                    <a:lnTo>
                      <a:pt x="3861" y="845"/>
                    </a:lnTo>
                    <a:lnTo>
                      <a:pt x="3861" y="642"/>
                    </a:lnTo>
                    <a:lnTo>
                      <a:pt x="3941" y="488"/>
                    </a:lnTo>
                    <a:lnTo>
                      <a:pt x="3941" y="455"/>
                    </a:lnTo>
                    <a:close/>
                    <a:moveTo>
                      <a:pt x="3234" y="433"/>
                    </a:moveTo>
                    <a:lnTo>
                      <a:pt x="3232" y="433"/>
                    </a:lnTo>
                    <a:lnTo>
                      <a:pt x="3232" y="436"/>
                    </a:lnTo>
                    <a:lnTo>
                      <a:pt x="3232" y="474"/>
                    </a:lnTo>
                    <a:lnTo>
                      <a:pt x="3234" y="474"/>
                    </a:lnTo>
                    <a:lnTo>
                      <a:pt x="3234" y="471"/>
                    </a:lnTo>
                    <a:lnTo>
                      <a:pt x="3234" y="471"/>
                    </a:lnTo>
                    <a:lnTo>
                      <a:pt x="3234" y="433"/>
                    </a:lnTo>
                    <a:close/>
                    <a:moveTo>
                      <a:pt x="3948" y="391"/>
                    </a:moveTo>
                    <a:lnTo>
                      <a:pt x="3946" y="391"/>
                    </a:lnTo>
                    <a:lnTo>
                      <a:pt x="3946" y="391"/>
                    </a:lnTo>
                    <a:lnTo>
                      <a:pt x="3946" y="393"/>
                    </a:lnTo>
                    <a:lnTo>
                      <a:pt x="3946" y="448"/>
                    </a:lnTo>
                    <a:lnTo>
                      <a:pt x="3948" y="448"/>
                    </a:lnTo>
                    <a:lnTo>
                      <a:pt x="3948" y="448"/>
                    </a:lnTo>
                    <a:lnTo>
                      <a:pt x="3948" y="448"/>
                    </a:lnTo>
                    <a:lnTo>
                      <a:pt x="3948" y="391"/>
                    </a:lnTo>
                    <a:close/>
                    <a:moveTo>
                      <a:pt x="1716" y="367"/>
                    </a:moveTo>
                    <a:lnTo>
                      <a:pt x="1714" y="367"/>
                    </a:lnTo>
                    <a:lnTo>
                      <a:pt x="1714" y="369"/>
                    </a:lnTo>
                    <a:lnTo>
                      <a:pt x="1714" y="1049"/>
                    </a:lnTo>
                    <a:lnTo>
                      <a:pt x="1716" y="1049"/>
                    </a:lnTo>
                    <a:lnTo>
                      <a:pt x="1716" y="367"/>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8" y="235"/>
                    </a:lnTo>
                    <a:lnTo>
                      <a:pt x="4551" y="438"/>
                    </a:lnTo>
                    <a:lnTo>
                      <a:pt x="4554" y="436"/>
                    </a:lnTo>
                    <a:lnTo>
                      <a:pt x="4608" y="232"/>
                    </a:lnTo>
                    <a:close/>
                    <a:moveTo>
                      <a:pt x="4759" y="0"/>
                    </a:moveTo>
                    <a:lnTo>
                      <a:pt x="4757" y="0"/>
                    </a:lnTo>
                    <a:lnTo>
                      <a:pt x="4757" y="3"/>
                    </a:lnTo>
                    <a:lnTo>
                      <a:pt x="4757" y="123"/>
                    </a:lnTo>
                    <a:lnTo>
                      <a:pt x="4757" y="123"/>
                    </a:lnTo>
                    <a:lnTo>
                      <a:pt x="4757" y="121"/>
                    </a:lnTo>
                    <a:lnTo>
                      <a:pt x="4759" y="121"/>
                    </a:lnTo>
                    <a:lnTo>
                      <a:pt x="4759"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5" name="Freeform 57"/>
              <p:cNvSpPr>
                <a:spLocks noEditPoints="1"/>
              </p:cNvSpPr>
              <p:nvPr/>
            </p:nvSpPr>
            <p:spPr bwMode="auto">
              <a:xfrm>
                <a:off x="59" y="1743"/>
                <a:ext cx="6932" cy="1371"/>
              </a:xfrm>
              <a:custGeom>
                <a:avLst/>
                <a:gdLst>
                  <a:gd name="T0" fmla="*/ 3615 w 6932"/>
                  <a:gd name="T1" fmla="*/ 1224 h 1371"/>
                  <a:gd name="T2" fmla="*/ 3617 w 6932"/>
                  <a:gd name="T3" fmla="*/ 1222 h 1371"/>
                  <a:gd name="T4" fmla="*/ 5736 w 6932"/>
                  <a:gd name="T5" fmla="*/ 1210 h 1371"/>
                  <a:gd name="T6" fmla="*/ 5736 w 6932"/>
                  <a:gd name="T7" fmla="*/ 1208 h 1371"/>
                  <a:gd name="T8" fmla="*/ 5760 w 6932"/>
                  <a:gd name="T9" fmla="*/ 1129 h 1371"/>
                  <a:gd name="T10" fmla="*/ 5762 w 6932"/>
                  <a:gd name="T11" fmla="*/ 1182 h 1371"/>
                  <a:gd name="T12" fmla="*/ 2766 w 6932"/>
                  <a:gd name="T13" fmla="*/ 1063 h 1371"/>
                  <a:gd name="T14" fmla="*/ 2764 w 6932"/>
                  <a:gd name="T15" fmla="*/ 1158 h 1371"/>
                  <a:gd name="T16" fmla="*/ 5838 w 6932"/>
                  <a:gd name="T17" fmla="*/ 1042 h 1371"/>
                  <a:gd name="T18" fmla="*/ 5835 w 6932"/>
                  <a:gd name="T19" fmla="*/ 1054 h 1371"/>
                  <a:gd name="T20" fmla="*/ 5838 w 6932"/>
                  <a:gd name="T21" fmla="*/ 1051 h 1371"/>
                  <a:gd name="T22" fmla="*/ 2780 w 6932"/>
                  <a:gd name="T23" fmla="*/ 1013 h 1371"/>
                  <a:gd name="T24" fmla="*/ 2783 w 6932"/>
                  <a:gd name="T25" fmla="*/ 1047 h 1371"/>
                  <a:gd name="T26" fmla="*/ 2783 w 6932"/>
                  <a:gd name="T27" fmla="*/ 1011 h 1371"/>
                  <a:gd name="T28" fmla="*/ 3674 w 6932"/>
                  <a:gd name="T29" fmla="*/ 995 h 1371"/>
                  <a:gd name="T30" fmla="*/ 3676 w 6932"/>
                  <a:gd name="T31" fmla="*/ 1160 h 1371"/>
                  <a:gd name="T32" fmla="*/ 5854 w 6932"/>
                  <a:gd name="T33" fmla="*/ 990 h 1371"/>
                  <a:gd name="T34" fmla="*/ 5854 w 6932"/>
                  <a:gd name="T35" fmla="*/ 1025 h 1371"/>
                  <a:gd name="T36" fmla="*/ 5854 w 6932"/>
                  <a:gd name="T37" fmla="*/ 1023 h 1371"/>
                  <a:gd name="T38" fmla="*/ 6244 w 6932"/>
                  <a:gd name="T39" fmla="*/ 935 h 1371"/>
                  <a:gd name="T40" fmla="*/ 6244 w 6932"/>
                  <a:gd name="T41" fmla="*/ 1111 h 1371"/>
                  <a:gd name="T42" fmla="*/ 6247 w 6932"/>
                  <a:gd name="T43" fmla="*/ 935 h 1371"/>
                  <a:gd name="T44" fmla="*/ 6294 w 6932"/>
                  <a:gd name="T45" fmla="*/ 879 h 1371"/>
                  <a:gd name="T46" fmla="*/ 6294 w 6932"/>
                  <a:gd name="T47" fmla="*/ 888 h 1371"/>
                  <a:gd name="T48" fmla="*/ 6296 w 6932"/>
                  <a:gd name="T49" fmla="*/ 879 h 1371"/>
                  <a:gd name="T50" fmla="*/ 6301 w 6932"/>
                  <a:gd name="T51" fmla="*/ 852 h 1371"/>
                  <a:gd name="T52" fmla="*/ 6303 w 6932"/>
                  <a:gd name="T53" fmla="*/ 869 h 1371"/>
                  <a:gd name="T54" fmla="*/ 3005 w 6932"/>
                  <a:gd name="T55" fmla="*/ 763 h 1371"/>
                  <a:gd name="T56" fmla="*/ 3005 w 6932"/>
                  <a:gd name="T57" fmla="*/ 897 h 1371"/>
                  <a:gd name="T58" fmla="*/ 5038 w 6932"/>
                  <a:gd name="T59" fmla="*/ 732 h 1371"/>
                  <a:gd name="T60" fmla="*/ 5036 w 6932"/>
                  <a:gd name="T61" fmla="*/ 890 h 1371"/>
                  <a:gd name="T62" fmla="*/ 3045 w 6932"/>
                  <a:gd name="T63" fmla="*/ 656 h 1371"/>
                  <a:gd name="T64" fmla="*/ 3043 w 6932"/>
                  <a:gd name="T65" fmla="*/ 725 h 1371"/>
                  <a:gd name="T66" fmla="*/ 3045 w 6932"/>
                  <a:gd name="T67" fmla="*/ 722 h 1371"/>
                  <a:gd name="T68" fmla="*/ 0 w 6932"/>
                  <a:gd name="T69" fmla="*/ 616 h 1371"/>
                  <a:gd name="T70" fmla="*/ 2 w 6932"/>
                  <a:gd name="T71" fmla="*/ 1371 h 1371"/>
                  <a:gd name="T72" fmla="*/ 5157 w 6932"/>
                  <a:gd name="T73" fmla="*/ 609 h 1371"/>
                  <a:gd name="T74" fmla="*/ 5159 w 6932"/>
                  <a:gd name="T75" fmla="*/ 649 h 1371"/>
                  <a:gd name="T76" fmla="*/ 6930 w 6932"/>
                  <a:gd name="T77" fmla="*/ 509 h 1371"/>
                  <a:gd name="T78" fmla="*/ 6932 w 6932"/>
                  <a:gd name="T79" fmla="*/ 1011 h 1371"/>
                  <a:gd name="T80" fmla="*/ 3204 w 6932"/>
                  <a:gd name="T81" fmla="*/ 500 h 1371"/>
                  <a:gd name="T82" fmla="*/ 3206 w 6932"/>
                  <a:gd name="T83" fmla="*/ 566 h 1371"/>
                  <a:gd name="T84" fmla="*/ 3206 w 6932"/>
                  <a:gd name="T85" fmla="*/ 500 h 1371"/>
                  <a:gd name="T86" fmla="*/ 3941 w 6932"/>
                  <a:gd name="T87" fmla="*/ 455 h 1371"/>
                  <a:gd name="T88" fmla="*/ 3859 w 6932"/>
                  <a:gd name="T89" fmla="*/ 644 h 1371"/>
                  <a:gd name="T90" fmla="*/ 3861 w 6932"/>
                  <a:gd name="T91" fmla="*/ 642 h 1371"/>
                  <a:gd name="T92" fmla="*/ 3234 w 6932"/>
                  <a:gd name="T93" fmla="*/ 433 h 1371"/>
                  <a:gd name="T94" fmla="*/ 3232 w 6932"/>
                  <a:gd name="T95" fmla="*/ 474 h 1371"/>
                  <a:gd name="T96" fmla="*/ 3234 w 6932"/>
                  <a:gd name="T97" fmla="*/ 471 h 1371"/>
                  <a:gd name="T98" fmla="*/ 3946 w 6932"/>
                  <a:gd name="T99" fmla="*/ 391 h 1371"/>
                  <a:gd name="T100" fmla="*/ 3946 w 6932"/>
                  <a:gd name="T101" fmla="*/ 448 h 1371"/>
                  <a:gd name="T102" fmla="*/ 3948 w 6932"/>
                  <a:gd name="T103" fmla="*/ 448 h 1371"/>
                  <a:gd name="T104" fmla="*/ 1714 w 6932"/>
                  <a:gd name="T105" fmla="*/ 367 h 1371"/>
                  <a:gd name="T106" fmla="*/ 1716 w 6932"/>
                  <a:gd name="T107" fmla="*/ 1049 h 1371"/>
                  <a:gd name="T108" fmla="*/ 3953 w 6932"/>
                  <a:gd name="T109" fmla="*/ 327 h 1371"/>
                  <a:gd name="T110" fmla="*/ 3955 w 6932"/>
                  <a:gd name="T111" fmla="*/ 384 h 1371"/>
                  <a:gd name="T112" fmla="*/ 3955 w 6932"/>
                  <a:gd name="T113" fmla="*/ 327 h 1371"/>
                  <a:gd name="T114" fmla="*/ 4608 w 6932"/>
                  <a:gd name="T115" fmla="*/ 235 h 1371"/>
                  <a:gd name="T116" fmla="*/ 4608 w 6932"/>
                  <a:gd name="T117" fmla="*/ 232 h 1371"/>
                  <a:gd name="T118" fmla="*/ 4757 w 6932"/>
                  <a:gd name="T119" fmla="*/ 3 h 1371"/>
                  <a:gd name="T120" fmla="*/ 4757 w 6932"/>
                  <a:gd name="T121" fmla="*/ 121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71">
                    <a:moveTo>
                      <a:pt x="3617" y="1222"/>
                    </a:moveTo>
                    <a:lnTo>
                      <a:pt x="3615" y="1222"/>
                    </a:lnTo>
                    <a:lnTo>
                      <a:pt x="3615" y="1224"/>
                    </a:lnTo>
                    <a:lnTo>
                      <a:pt x="3615" y="1234"/>
                    </a:lnTo>
                    <a:lnTo>
                      <a:pt x="3617" y="1234"/>
                    </a:lnTo>
                    <a:lnTo>
                      <a:pt x="3617" y="1222"/>
                    </a:lnTo>
                    <a:moveTo>
                      <a:pt x="5736" y="1208"/>
                    </a:moveTo>
                    <a:lnTo>
                      <a:pt x="5736" y="1208"/>
                    </a:lnTo>
                    <a:lnTo>
                      <a:pt x="5736" y="1210"/>
                    </a:lnTo>
                    <a:lnTo>
                      <a:pt x="5736" y="1243"/>
                    </a:lnTo>
                    <a:lnTo>
                      <a:pt x="5736" y="1243"/>
                    </a:lnTo>
                    <a:lnTo>
                      <a:pt x="5736" y="1208"/>
                    </a:lnTo>
                    <a:moveTo>
                      <a:pt x="5762" y="1127"/>
                    </a:moveTo>
                    <a:lnTo>
                      <a:pt x="5760" y="1127"/>
                    </a:lnTo>
                    <a:lnTo>
                      <a:pt x="5760" y="1129"/>
                    </a:lnTo>
                    <a:lnTo>
                      <a:pt x="5760" y="1184"/>
                    </a:lnTo>
                    <a:lnTo>
                      <a:pt x="5762" y="1184"/>
                    </a:lnTo>
                    <a:lnTo>
                      <a:pt x="5762" y="1182"/>
                    </a:lnTo>
                    <a:lnTo>
                      <a:pt x="5762" y="1182"/>
                    </a:lnTo>
                    <a:lnTo>
                      <a:pt x="5762" y="1127"/>
                    </a:lnTo>
                    <a:moveTo>
                      <a:pt x="2766" y="1063"/>
                    </a:moveTo>
                    <a:lnTo>
                      <a:pt x="2764" y="1063"/>
                    </a:lnTo>
                    <a:lnTo>
                      <a:pt x="2764" y="1063"/>
                    </a:lnTo>
                    <a:lnTo>
                      <a:pt x="2764" y="1158"/>
                    </a:lnTo>
                    <a:lnTo>
                      <a:pt x="2766" y="1158"/>
                    </a:lnTo>
                    <a:lnTo>
                      <a:pt x="2766" y="1063"/>
                    </a:lnTo>
                    <a:moveTo>
                      <a:pt x="5838" y="1042"/>
                    </a:moveTo>
                    <a:lnTo>
                      <a:pt x="5835" y="1042"/>
                    </a:lnTo>
                    <a:lnTo>
                      <a:pt x="5835" y="1042"/>
                    </a:lnTo>
                    <a:lnTo>
                      <a:pt x="5835" y="1054"/>
                    </a:lnTo>
                    <a:lnTo>
                      <a:pt x="5835" y="1054"/>
                    </a:lnTo>
                    <a:lnTo>
                      <a:pt x="5835" y="1051"/>
                    </a:lnTo>
                    <a:lnTo>
                      <a:pt x="5838" y="1051"/>
                    </a:lnTo>
                    <a:lnTo>
                      <a:pt x="5838" y="1042"/>
                    </a:lnTo>
                    <a:moveTo>
                      <a:pt x="2783" y="1011"/>
                    </a:moveTo>
                    <a:lnTo>
                      <a:pt x="2780" y="1013"/>
                    </a:lnTo>
                    <a:lnTo>
                      <a:pt x="2780" y="1013"/>
                    </a:lnTo>
                    <a:lnTo>
                      <a:pt x="2780" y="1047"/>
                    </a:lnTo>
                    <a:lnTo>
                      <a:pt x="2783" y="1047"/>
                    </a:lnTo>
                    <a:lnTo>
                      <a:pt x="2783" y="1044"/>
                    </a:lnTo>
                    <a:lnTo>
                      <a:pt x="2783" y="1044"/>
                    </a:lnTo>
                    <a:lnTo>
                      <a:pt x="2783" y="1011"/>
                    </a:lnTo>
                    <a:moveTo>
                      <a:pt x="3676" y="992"/>
                    </a:moveTo>
                    <a:lnTo>
                      <a:pt x="3674" y="992"/>
                    </a:lnTo>
                    <a:lnTo>
                      <a:pt x="3674" y="995"/>
                    </a:lnTo>
                    <a:lnTo>
                      <a:pt x="3674" y="1163"/>
                    </a:lnTo>
                    <a:lnTo>
                      <a:pt x="3676" y="1163"/>
                    </a:lnTo>
                    <a:lnTo>
                      <a:pt x="3676" y="1160"/>
                    </a:lnTo>
                    <a:lnTo>
                      <a:pt x="3676" y="1160"/>
                    </a:lnTo>
                    <a:lnTo>
                      <a:pt x="3676" y="992"/>
                    </a:lnTo>
                    <a:moveTo>
                      <a:pt x="5854" y="990"/>
                    </a:moveTo>
                    <a:lnTo>
                      <a:pt x="5854" y="990"/>
                    </a:lnTo>
                    <a:lnTo>
                      <a:pt x="5854" y="992"/>
                    </a:lnTo>
                    <a:lnTo>
                      <a:pt x="5854" y="1025"/>
                    </a:lnTo>
                    <a:lnTo>
                      <a:pt x="5854" y="1025"/>
                    </a:lnTo>
                    <a:lnTo>
                      <a:pt x="5854" y="1023"/>
                    </a:lnTo>
                    <a:lnTo>
                      <a:pt x="5854" y="1023"/>
                    </a:lnTo>
                    <a:lnTo>
                      <a:pt x="5854" y="990"/>
                    </a:lnTo>
                    <a:moveTo>
                      <a:pt x="6247" y="935"/>
                    </a:moveTo>
                    <a:lnTo>
                      <a:pt x="6244" y="935"/>
                    </a:lnTo>
                    <a:lnTo>
                      <a:pt x="6244" y="938"/>
                    </a:lnTo>
                    <a:lnTo>
                      <a:pt x="6244" y="1111"/>
                    </a:lnTo>
                    <a:lnTo>
                      <a:pt x="6244" y="1111"/>
                    </a:lnTo>
                    <a:lnTo>
                      <a:pt x="6244" y="1108"/>
                    </a:lnTo>
                    <a:lnTo>
                      <a:pt x="6247" y="1108"/>
                    </a:lnTo>
                    <a:lnTo>
                      <a:pt x="6247" y="935"/>
                    </a:lnTo>
                    <a:moveTo>
                      <a:pt x="6296" y="879"/>
                    </a:moveTo>
                    <a:lnTo>
                      <a:pt x="6294" y="879"/>
                    </a:lnTo>
                    <a:lnTo>
                      <a:pt x="6294" y="879"/>
                    </a:lnTo>
                    <a:lnTo>
                      <a:pt x="6294" y="881"/>
                    </a:lnTo>
                    <a:lnTo>
                      <a:pt x="6294" y="888"/>
                    </a:lnTo>
                    <a:lnTo>
                      <a:pt x="6294" y="888"/>
                    </a:lnTo>
                    <a:lnTo>
                      <a:pt x="6294" y="886"/>
                    </a:lnTo>
                    <a:lnTo>
                      <a:pt x="6296" y="886"/>
                    </a:lnTo>
                    <a:lnTo>
                      <a:pt x="6296" y="879"/>
                    </a:lnTo>
                    <a:moveTo>
                      <a:pt x="6303" y="850"/>
                    </a:moveTo>
                    <a:lnTo>
                      <a:pt x="6301" y="850"/>
                    </a:lnTo>
                    <a:lnTo>
                      <a:pt x="6301" y="852"/>
                    </a:lnTo>
                    <a:lnTo>
                      <a:pt x="6301" y="871"/>
                    </a:lnTo>
                    <a:lnTo>
                      <a:pt x="6303" y="871"/>
                    </a:lnTo>
                    <a:lnTo>
                      <a:pt x="6303" y="869"/>
                    </a:lnTo>
                    <a:lnTo>
                      <a:pt x="6303" y="869"/>
                    </a:lnTo>
                    <a:lnTo>
                      <a:pt x="6303" y="850"/>
                    </a:lnTo>
                    <a:moveTo>
                      <a:pt x="3005" y="763"/>
                    </a:moveTo>
                    <a:lnTo>
                      <a:pt x="3005" y="763"/>
                    </a:lnTo>
                    <a:lnTo>
                      <a:pt x="3005" y="765"/>
                    </a:lnTo>
                    <a:lnTo>
                      <a:pt x="3005" y="897"/>
                    </a:lnTo>
                    <a:lnTo>
                      <a:pt x="3005" y="897"/>
                    </a:lnTo>
                    <a:lnTo>
                      <a:pt x="3005" y="763"/>
                    </a:lnTo>
                    <a:moveTo>
                      <a:pt x="5038" y="732"/>
                    </a:moveTo>
                    <a:lnTo>
                      <a:pt x="5036" y="732"/>
                    </a:lnTo>
                    <a:lnTo>
                      <a:pt x="5036" y="734"/>
                    </a:lnTo>
                    <a:lnTo>
                      <a:pt x="5036" y="890"/>
                    </a:lnTo>
                    <a:lnTo>
                      <a:pt x="5038" y="890"/>
                    </a:lnTo>
                    <a:lnTo>
                      <a:pt x="5038" y="732"/>
                    </a:lnTo>
                    <a:moveTo>
                      <a:pt x="3045" y="656"/>
                    </a:moveTo>
                    <a:lnTo>
                      <a:pt x="3043" y="656"/>
                    </a:lnTo>
                    <a:lnTo>
                      <a:pt x="3043" y="658"/>
                    </a:lnTo>
                    <a:lnTo>
                      <a:pt x="3043" y="725"/>
                    </a:lnTo>
                    <a:lnTo>
                      <a:pt x="3043" y="725"/>
                    </a:lnTo>
                    <a:lnTo>
                      <a:pt x="3043" y="722"/>
                    </a:lnTo>
                    <a:lnTo>
                      <a:pt x="3045" y="722"/>
                    </a:lnTo>
                    <a:lnTo>
                      <a:pt x="3045" y="656"/>
                    </a:lnTo>
                    <a:moveTo>
                      <a:pt x="2" y="616"/>
                    </a:moveTo>
                    <a:lnTo>
                      <a:pt x="0" y="616"/>
                    </a:lnTo>
                    <a:lnTo>
                      <a:pt x="0" y="618"/>
                    </a:lnTo>
                    <a:lnTo>
                      <a:pt x="0" y="1371"/>
                    </a:lnTo>
                    <a:lnTo>
                      <a:pt x="2" y="1371"/>
                    </a:lnTo>
                    <a:lnTo>
                      <a:pt x="2" y="616"/>
                    </a:lnTo>
                    <a:moveTo>
                      <a:pt x="5159" y="609"/>
                    </a:moveTo>
                    <a:lnTo>
                      <a:pt x="5157" y="609"/>
                    </a:lnTo>
                    <a:lnTo>
                      <a:pt x="5157" y="611"/>
                    </a:lnTo>
                    <a:lnTo>
                      <a:pt x="5157" y="649"/>
                    </a:lnTo>
                    <a:lnTo>
                      <a:pt x="5159" y="649"/>
                    </a:lnTo>
                    <a:lnTo>
                      <a:pt x="5159" y="609"/>
                    </a:lnTo>
                    <a:moveTo>
                      <a:pt x="6932" y="509"/>
                    </a:moveTo>
                    <a:lnTo>
                      <a:pt x="6930" y="509"/>
                    </a:lnTo>
                    <a:lnTo>
                      <a:pt x="6930" y="509"/>
                    </a:lnTo>
                    <a:lnTo>
                      <a:pt x="6930" y="1011"/>
                    </a:lnTo>
                    <a:lnTo>
                      <a:pt x="6932" y="1011"/>
                    </a:lnTo>
                    <a:lnTo>
                      <a:pt x="6932" y="509"/>
                    </a:lnTo>
                    <a:moveTo>
                      <a:pt x="3206" y="500"/>
                    </a:moveTo>
                    <a:lnTo>
                      <a:pt x="3204" y="500"/>
                    </a:lnTo>
                    <a:lnTo>
                      <a:pt x="3204" y="502"/>
                    </a:lnTo>
                    <a:lnTo>
                      <a:pt x="3204" y="566"/>
                    </a:lnTo>
                    <a:lnTo>
                      <a:pt x="3206" y="566"/>
                    </a:lnTo>
                    <a:lnTo>
                      <a:pt x="3206" y="564"/>
                    </a:lnTo>
                    <a:lnTo>
                      <a:pt x="3206" y="564"/>
                    </a:lnTo>
                    <a:lnTo>
                      <a:pt x="3206" y="500"/>
                    </a:lnTo>
                    <a:moveTo>
                      <a:pt x="3941" y="455"/>
                    </a:moveTo>
                    <a:lnTo>
                      <a:pt x="3941" y="455"/>
                    </a:lnTo>
                    <a:lnTo>
                      <a:pt x="3941" y="455"/>
                    </a:lnTo>
                    <a:lnTo>
                      <a:pt x="3941" y="455"/>
                    </a:lnTo>
                    <a:lnTo>
                      <a:pt x="3941" y="490"/>
                    </a:lnTo>
                    <a:lnTo>
                      <a:pt x="3859" y="644"/>
                    </a:lnTo>
                    <a:lnTo>
                      <a:pt x="3859" y="845"/>
                    </a:lnTo>
                    <a:lnTo>
                      <a:pt x="3861" y="845"/>
                    </a:lnTo>
                    <a:lnTo>
                      <a:pt x="3861" y="642"/>
                    </a:lnTo>
                    <a:lnTo>
                      <a:pt x="3941" y="488"/>
                    </a:lnTo>
                    <a:lnTo>
                      <a:pt x="3941" y="455"/>
                    </a:lnTo>
                    <a:moveTo>
                      <a:pt x="3234" y="433"/>
                    </a:moveTo>
                    <a:lnTo>
                      <a:pt x="3232" y="433"/>
                    </a:lnTo>
                    <a:lnTo>
                      <a:pt x="3232" y="436"/>
                    </a:lnTo>
                    <a:lnTo>
                      <a:pt x="3232" y="474"/>
                    </a:lnTo>
                    <a:lnTo>
                      <a:pt x="3234" y="474"/>
                    </a:lnTo>
                    <a:lnTo>
                      <a:pt x="3234" y="471"/>
                    </a:lnTo>
                    <a:lnTo>
                      <a:pt x="3234" y="471"/>
                    </a:lnTo>
                    <a:lnTo>
                      <a:pt x="3234" y="433"/>
                    </a:lnTo>
                    <a:moveTo>
                      <a:pt x="3948" y="391"/>
                    </a:moveTo>
                    <a:lnTo>
                      <a:pt x="3946" y="391"/>
                    </a:lnTo>
                    <a:lnTo>
                      <a:pt x="3946" y="391"/>
                    </a:lnTo>
                    <a:lnTo>
                      <a:pt x="3946" y="393"/>
                    </a:lnTo>
                    <a:lnTo>
                      <a:pt x="3946" y="448"/>
                    </a:lnTo>
                    <a:lnTo>
                      <a:pt x="3948" y="448"/>
                    </a:lnTo>
                    <a:lnTo>
                      <a:pt x="3948" y="448"/>
                    </a:lnTo>
                    <a:lnTo>
                      <a:pt x="3948" y="448"/>
                    </a:lnTo>
                    <a:lnTo>
                      <a:pt x="3948" y="391"/>
                    </a:lnTo>
                    <a:moveTo>
                      <a:pt x="1716" y="367"/>
                    </a:moveTo>
                    <a:lnTo>
                      <a:pt x="1714" y="367"/>
                    </a:lnTo>
                    <a:lnTo>
                      <a:pt x="1714" y="369"/>
                    </a:lnTo>
                    <a:lnTo>
                      <a:pt x="1714" y="1049"/>
                    </a:lnTo>
                    <a:lnTo>
                      <a:pt x="1716" y="1049"/>
                    </a:lnTo>
                    <a:lnTo>
                      <a:pt x="1716" y="367"/>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8" y="235"/>
                    </a:lnTo>
                    <a:lnTo>
                      <a:pt x="4551" y="438"/>
                    </a:lnTo>
                    <a:lnTo>
                      <a:pt x="4554" y="436"/>
                    </a:lnTo>
                    <a:lnTo>
                      <a:pt x="4608" y="232"/>
                    </a:lnTo>
                    <a:moveTo>
                      <a:pt x="4759" y="0"/>
                    </a:moveTo>
                    <a:lnTo>
                      <a:pt x="4757" y="0"/>
                    </a:lnTo>
                    <a:lnTo>
                      <a:pt x="4757" y="3"/>
                    </a:lnTo>
                    <a:lnTo>
                      <a:pt x="4757" y="123"/>
                    </a:lnTo>
                    <a:lnTo>
                      <a:pt x="4757" y="123"/>
                    </a:lnTo>
                    <a:lnTo>
                      <a:pt x="4757" y="121"/>
                    </a:lnTo>
                    <a:lnTo>
                      <a:pt x="4759" y="121"/>
                    </a:lnTo>
                    <a:lnTo>
                      <a:pt x="47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6" name="Freeform 58"/>
              <p:cNvSpPr>
                <a:spLocks noEditPoints="1"/>
              </p:cNvSpPr>
              <p:nvPr/>
            </p:nvSpPr>
            <p:spPr bwMode="auto">
              <a:xfrm>
                <a:off x="61" y="1741"/>
                <a:ext cx="6930" cy="1373"/>
              </a:xfrm>
              <a:custGeom>
                <a:avLst/>
                <a:gdLst>
                  <a:gd name="T0" fmla="*/ 3615 w 6930"/>
                  <a:gd name="T1" fmla="*/ 1236 h 1373"/>
                  <a:gd name="T2" fmla="*/ 5734 w 6930"/>
                  <a:gd name="T3" fmla="*/ 1210 h 1373"/>
                  <a:gd name="T4" fmla="*/ 5736 w 6930"/>
                  <a:gd name="T5" fmla="*/ 1210 h 1373"/>
                  <a:gd name="T6" fmla="*/ 5760 w 6930"/>
                  <a:gd name="T7" fmla="*/ 1184 h 1373"/>
                  <a:gd name="T8" fmla="*/ 5762 w 6930"/>
                  <a:gd name="T9" fmla="*/ 1127 h 1373"/>
                  <a:gd name="T10" fmla="*/ 6228 w 6930"/>
                  <a:gd name="T11" fmla="*/ 1129 h 1373"/>
                  <a:gd name="T12" fmla="*/ 2764 w 6930"/>
                  <a:gd name="T13" fmla="*/ 1065 h 1373"/>
                  <a:gd name="T14" fmla="*/ 5836 w 6930"/>
                  <a:gd name="T15" fmla="*/ 1042 h 1373"/>
                  <a:gd name="T16" fmla="*/ 5836 w 6930"/>
                  <a:gd name="T17" fmla="*/ 1053 h 1373"/>
                  <a:gd name="T18" fmla="*/ 2783 w 6930"/>
                  <a:gd name="T19" fmla="*/ 1011 h 1373"/>
                  <a:gd name="T20" fmla="*/ 2783 w 6930"/>
                  <a:gd name="T21" fmla="*/ 1046 h 1373"/>
                  <a:gd name="T22" fmla="*/ 3677 w 6930"/>
                  <a:gd name="T23" fmla="*/ 994 h 1373"/>
                  <a:gd name="T24" fmla="*/ 3677 w 6930"/>
                  <a:gd name="T25" fmla="*/ 1162 h 1373"/>
                  <a:gd name="T26" fmla="*/ 5855 w 6930"/>
                  <a:gd name="T27" fmla="*/ 989 h 1373"/>
                  <a:gd name="T28" fmla="*/ 5852 w 6930"/>
                  <a:gd name="T29" fmla="*/ 1025 h 1373"/>
                  <a:gd name="T30" fmla="*/ 6245 w 6930"/>
                  <a:gd name="T31" fmla="*/ 935 h 1373"/>
                  <a:gd name="T32" fmla="*/ 6245 w 6930"/>
                  <a:gd name="T33" fmla="*/ 1110 h 1373"/>
                  <a:gd name="T34" fmla="*/ 6294 w 6930"/>
                  <a:gd name="T35" fmla="*/ 878 h 1373"/>
                  <a:gd name="T36" fmla="*/ 6294 w 6930"/>
                  <a:gd name="T37" fmla="*/ 888 h 1373"/>
                  <a:gd name="T38" fmla="*/ 6294 w 6930"/>
                  <a:gd name="T39" fmla="*/ 878 h 1373"/>
                  <a:gd name="T40" fmla="*/ 6301 w 6930"/>
                  <a:gd name="T41" fmla="*/ 871 h 1373"/>
                  <a:gd name="T42" fmla="*/ 6304 w 6930"/>
                  <a:gd name="T43" fmla="*/ 850 h 1373"/>
                  <a:gd name="T44" fmla="*/ 3003 w 6930"/>
                  <a:gd name="T45" fmla="*/ 899 h 1373"/>
                  <a:gd name="T46" fmla="*/ 5036 w 6930"/>
                  <a:gd name="T47" fmla="*/ 731 h 1373"/>
                  <a:gd name="T48" fmla="*/ 5039 w 6930"/>
                  <a:gd name="T49" fmla="*/ 731 h 1373"/>
                  <a:gd name="T50" fmla="*/ 3043 w 6930"/>
                  <a:gd name="T51" fmla="*/ 724 h 1373"/>
                  <a:gd name="T52" fmla="*/ 3043 w 6930"/>
                  <a:gd name="T53" fmla="*/ 656 h 1373"/>
                  <a:gd name="T54" fmla="*/ 0 w 6930"/>
                  <a:gd name="T55" fmla="*/ 1373 h 1373"/>
                  <a:gd name="T56" fmla="*/ 5157 w 6930"/>
                  <a:gd name="T57" fmla="*/ 608 h 1373"/>
                  <a:gd name="T58" fmla="*/ 5159 w 6930"/>
                  <a:gd name="T59" fmla="*/ 608 h 1373"/>
                  <a:gd name="T60" fmla="*/ 6930 w 6930"/>
                  <a:gd name="T61" fmla="*/ 1013 h 1373"/>
                  <a:gd name="T62" fmla="*/ 4098 w 6930"/>
                  <a:gd name="T63" fmla="*/ 502 h 1373"/>
                  <a:gd name="T64" fmla="*/ 3206 w 6930"/>
                  <a:gd name="T65" fmla="*/ 502 h 1373"/>
                  <a:gd name="T66" fmla="*/ 3204 w 6930"/>
                  <a:gd name="T67" fmla="*/ 566 h 1373"/>
                  <a:gd name="T68" fmla="*/ 3942 w 6930"/>
                  <a:gd name="T69" fmla="*/ 454 h 1373"/>
                  <a:gd name="T70" fmla="*/ 3939 w 6930"/>
                  <a:gd name="T71" fmla="*/ 490 h 1373"/>
                  <a:gd name="T72" fmla="*/ 3861 w 6930"/>
                  <a:gd name="T73" fmla="*/ 641 h 1373"/>
                  <a:gd name="T74" fmla="*/ 3232 w 6930"/>
                  <a:gd name="T75" fmla="*/ 433 h 1373"/>
                  <a:gd name="T76" fmla="*/ 3232 w 6930"/>
                  <a:gd name="T77" fmla="*/ 471 h 1373"/>
                  <a:gd name="T78" fmla="*/ 3946 w 6930"/>
                  <a:gd name="T79" fmla="*/ 390 h 1373"/>
                  <a:gd name="T80" fmla="*/ 3949 w 6930"/>
                  <a:gd name="T81" fmla="*/ 450 h 1373"/>
                  <a:gd name="T82" fmla="*/ 1714 w 6930"/>
                  <a:gd name="T83" fmla="*/ 369 h 1373"/>
                  <a:gd name="T84" fmla="*/ 1714 w 6930"/>
                  <a:gd name="T85" fmla="*/ 1051 h 1373"/>
                  <a:gd name="T86" fmla="*/ 3953 w 6930"/>
                  <a:gd name="T87" fmla="*/ 329 h 1373"/>
                  <a:gd name="T88" fmla="*/ 3956 w 6930"/>
                  <a:gd name="T89" fmla="*/ 381 h 1373"/>
                  <a:gd name="T90" fmla="*/ 4606 w 6930"/>
                  <a:gd name="T91" fmla="*/ 234 h 1373"/>
                  <a:gd name="T92" fmla="*/ 4757 w 6930"/>
                  <a:gd name="T93" fmla="*/ 0 h 1373"/>
                  <a:gd name="T94" fmla="*/ 4757 w 6930"/>
                  <a:gd name="T95" fmla="*/ 123 h 1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30" h="1373">
                    <a:moveTo>
                      <a:pt x="3618" y="1221"/>
                    </a:moveTo>
                    <a:lnTo>
                      <a:pt x="3615" y="1221"/>
                    </a:lnTo>
                    <a:lnTo>
                      <a:pt x="3615" y="1224"/>
                    </a:lnTo>
                    <a:lnTo>
                      <a:pt x="3615" y="1236"/>
                    </a:lnTo>
                    <a:lnTo>
                      <a:pt x="3618" y="1236"/>
                    </a:lnTo>
                    <a:lnTo>
                      <a:pt x="3618" y="1221"/>
                    </a:lnTo>
                    <a:close/>
                    <a:moveTo>
                      <a:pt x="5736" y="1210"/>
                    </a:moveTo>
                    <a:lnTo>
                      <a:pt x="5734" y="1210"/>
                    </a:lnTo>
                    <a:lnTo>
                      <a:pt x="5734" y="1210"/>
                    </a:lnTo>
                    <a:lnTo>
                      <a:pt x="5734" y="1245"/>
                    </a:lnTo>
                    <a:lnTo>
                      <a:pt x="5736" y="1245"/>
                    </a:lnTo>
                    <a:lnTo>
                      <a:pt x="5736" y="1210"/>
                    </a:lnTo>
                    <a:close/>
                    <a:moveTo>
                      <a:pt x="5762" y="1127"/>
                    </a:moveTo>
                    <a:lnTo>
                      <a:pt x="5760" y="1127"/>
                    </a:lnTo>
                    <a:lnTo>
                      <a:pt x="5760" y="1129"/>
                    </a:lnTo>
                    <a:lnTo>
                      <a:pt x="5760" y="1184"/>
                    </a:lnTo>
                    <a:lnTo>
                      <a:pt x="5760" y="1184"/>
                    </a:lnTo>
                    <a:lnTo>
                      <a:pt x="5760" y="1184"/>
                    </a:lnTo>
                    <a:lnTo>
                      <a:pt x="5762" y="1184"/>
                    </a:lnTo>
                    <a:lnTo>
                      <a:pt x="5762" y="1127"/>
                    </a:lnTo>
                    <a:close/>
                    <a:moveTo>
                      <a:pt x="6228" y="1127"/>
                    </a:moveTo>
                    <a:lnTo>
                      <a:pt x="6226" y="1127"/>
                    </a:lnTo>
                    <a:lnTo>
                      <a:pt x="6226" y="1129"/>
                    </a:lnTo>
                    <a:lnTo>
                      <a:pt x="6228" y="1129"/>
                    </a:lnTo>
                    <a:lnTo>
                      <a:pt x="6228" y="1127"/>
                    </a:lnTo>
                    <a:close/>
                    <a:moveTo>
                      <a:pt x="2767" y="1063"/>
                    </a:moveTo>
                    <a:lnTo>
                      <a:pt x="2764" y="1063"/>
                    </a:lnTo>
                    <a:lnTo>
                      <a:pt x="2764" y="1065"/>
                    </a:lnTo>
                    <a:lnTo>
                      <a:pt x="2764" y="1160"/>
                    </a:lnTo>
                    <a:lnTo>
                      <a:pt x="2767" y="1160"/>
                    </a:lnTo>
                    <a:lnTo>
                      <a:pt x="2767" y="1063"/>
                    </a:lnTo>
                    <a:close/>
                    <a:moveTo>
                      <a:pt x="5836" y="1042"/>
                    </a:moveTo>
                    <a:lnTo>
                      <a:pt x="5836" y="1042"/>
                    </a:lnTo>
                    <a:lnTo>
                      <a:pt x="5836" y="1044"/>
                    </a:lnTo>
                    <a:lnTo>
                      <a:pt x="5836" y="1053"/>
                    </a:lnTo>
                    <a:lnTo>
                      <a:pt x="5836" y="1053"/>
                    </a:lnTo>
                    <a:lnTo>
                      <a:pt x="5836" y="1051"/>
                    </a:lnTo>
                    <a:lnTo>
                      <a:pt x="5836" y="1051"/>
                    </a:lnTo>
                    <a:lnTo>
                      <a:pt x="5836" y="1042"/>
                    </a:lnTo>
                    <a:close/>
                    <a:moveTo>
                      <a:pt x="2783" y="1011"/>
                    </a:moveTo>
                    <a:lnTo>
                      <a:pt x="2781" y="1013"/>
                    </a:lnTo>
                    <a:lnTo>
                      <a:pt x="2781" y="1013"/>
                    </a:lnTo>
                    <a:lnTo>
                      <a:pt x="2781" y="1046"/>
                    </a:lnTo>
                    <a:lnTo>
                      <a:pt x="2783" y="1046"/>
                    </a:lnTo>
                    <a:lnTo>
                      <a:pt x="2783" y="1044"/>
                    </a:lnTo>
                    <a:lnTo>
                      <a:pt x="2783" y="1044"/>
                    </a:lnTo>
                    <a:lnTo>
                      <a:pt x="2783" y="1011"/>
                    </a:lnTo>
                    <a:close/>
                    <a:moveTo>
                      <a:pt x="3677" y="994"/>
                    </a:moveTo>
                    <a:lnTo>
                      <a:pt x="3674" y="994"/>
                    </a:lnTo>
                    <a:lnTo>
                      <a:pt x="3674" y="994"/>
                    </a:lnTo>
                    <a:lnTo>
                      <a:pt x="3674" y="1162"/>
                    </a:lnTo>
                    <a:lnTo>
                      <a:pt x="3677" y="1162"/>
                    </a:lnTo>
                    <a:lnTo>
                      <a:pt x="3677" y="1160"/>
                    </a:lnTo>
                    <a:lnTo>
                      <a:pt x="3677" y="1160"/>
                    </a:lnTo>
                    <a:lnTo>
                      <a:pt x="3677" y="994"/>
                    </a:lnTo>
                    <a:close/>
                    <a:moveTo>
                      <a:pt x="5855" y="989"/>
                    </a:moveTo>
                    <a:lnTo>
                      <a:pt x="5852" y="989"/>
                    </a:lnTo>
                    <a:lnTo>
                      <a:pt x="5852" y="992"/>
                    </a:lnTo>
                    <a:lnTo>
                      <a:pt x="5852" y="1025"/>
                    </a:lnTo>
                    <a:lnTo>
                      <a:pt x="5852" y="1025"/>
                    </a:lnTo>
                    <a:lnTo>
                      <a:pt x="5852" y="1023"/>
                    </a:lnTo>
                    <a:lnTo>
                      <a:pt x="5855" y="1023"/>
                    </a:lnTo>
                    <a:lnTo>
                      <a:pt x="5855" y="989"/>
                    </a:lnTo>
                    <a:close/>
                    <a:moveTo>
                      <a:pt x="6245" y="935"/>
                    </a:moveTo>
                    <a:lnTo>
                      <a:pt x="6245" y="935"/>
                    </a:lnTo>
                    <a:lnTo>
                      <a:pt x="6245" y="937"/>
                    </a:lnTo>
                    <a:lnTo>
                      <a:pt x="6245" y="1110"/>
                    </a:lnTo>
                    <a:lnTo>
                      <a:pt x="6245" y="1110"/>
                    </a:lnTo>
                    <a:lnTo>
                      <a:pt x="6245" y="1110"/>
                    </a:lnTo>
                    <a:lnTo>
                      <a:pt x="6245" y="1110"/>
                    </a:lnTo>
                    <a:lnTo>
                      <a:pt x="6245" y="935"/>
                    </a:lnTo>
                    <a:close/>
                    <a:moveTo>
                      <a:pt x="6294" y="878"/>
                    </a:moveTo>
                    <a:lnTo>
                      <a:pt x="6294" y="878"/>
                    </a:lnTo>
                    <a:lnTo>
                      <a:pt x="6294" y="878"/>
                    </a:lnTo>
                    <a:lnTo>
                      <a:pt x="6294" y="881"/>
                    </a:lnTo>
                    <a:lnTo>
                      <a:pt x="6294" y="888"/>
                    </a:lnTo>
                    <a:lnTo>
                      <a:pt x="6294" y="888"/>
                    </a:lnTo>
                    <a:lnTo>
                      <a:pt x="6294" y="885"/>
                    </a:lnTo>
                    <a:lnTo>
                      <a:pt x="6294" y="885"/>
                    </a:lnTo>
                    <a:lnTo>
                      <a:pt x="6294" y="878"/>
                    </a:lnTo>
                    <a:close/>
                    <a:moveTo>
                      <a:pt x="6304" y="850"/>
                    </a:moveTo>
                    <a:lnTo>
                      <a:pt x="6301" y="850"/>
                    </a:lnTo>
                    <a:lnTo>
                      <a:pt x="6301" y="852"/>
                    </a:lnTo>
                    <a:lnTo>
                      <a:pt x="6301" y="871"/>
                    </a:lnTo>
                    <a:lnTo>
                      <a:pt x="6304" y="871"/>
                    </a:lnTo>
                    <a:lnTo>
                      <a:pt x="6304" y="869"/>
                    </a:lnTo>
                    <a:lnTo>
                      <a:pt x="6304" y="869"/>
                    </a:lnTo>
                    <a:lnTo>
                      <a:pt x="6304" y="850"/>
                    </a:lnTo>
                    <a:close/>
                    <a:moveTo>
                      <a:pt x="3005" y="762"/>
                    </a:moveTo>
                    <a:lnTo>
                      <a:pt x="3003" y="762"/>
                    </a:lnTo>
                    <a:lnTo>
                      <a:pt x="3003" y="765"/>
                    </a:lnTo>
                    <a:lnTo>
                      <a:pt x="3003" y="899"/>
                    </a:lnTo>
                    <a:lnTo>
                      <a:pt x="3005" y="899"/>
                    </a:lnTo>
                    <a:lnTo>
                      <a:pt x="3005" y="762"/>
                    </a:lnTo>
                    <a:close/>
                    <a:moveTo>
                      <a:pt x="5039" y="731"/>
                    </a:moveTo>
                    <a:lnTo>
                      <a:pt x="5036" y="731"/>
                    </a:lnTo>
                    <a:lnTo>
                      <a:pt x="5036" y="734"/>
                    </a:lnTo>
                    <a:lnTo>
                      <a:pt x="5036" y="892"/>
                    </a:lnTo>
                    <a:lnTo>
                      <a:pt x="5039" y="892"/>
                    </a:lnTo>
                    <a:lnTo>
                      <a:pt x="5039" y="731"/>
                    </a:lnTo>
                    <a:close/>
                    <a:moveTo>
                      <a:pt x="3043" y="656"/>
                    </a:moveTo>
                    <a:lnTo>
                      <a:pt x="3043" y="656"/>
                    </a:lnTo>
                    <a:lnTo>
                      <a:pt x="3043" y="658"/>
                    </a:lnTo>
                    <a:lnTo>
                      <a:pt x="3043" y="724"/>
                    </a:lnTo>
                    <a:lnTo>
                      <a:pt x="3043" y="724"/>
                    </a:lnTo>
                    <a:lnTo>
                      <a:pt x="3043" y="724"/>
                    </a:lnTo>
                    <a:lnTo>
                      <a:pt x="3043" y="724"/>
                    </a:lnTo>
                    <a:lnTo>
                      <a:pt x="3043" y="656"/>
                    </a:lnTo>
                    <a:close/>
                    <a:moveTo>
                      <a:pt x="2" y="615"/>
                    </a:moveTo>
                    <a:lnTo>
                      <a:pt x="0" y="615"/>
                    </a:lnTo>
                    <a:lnTo>
                      <a:pt x="0" y="618"/>
                    </a:lnTo>
                    <a:lnTo>
                      <a:pt x="0" y="1373"/>
                    </a:lnTo>
                    <a:lnTo>
                      <a:pt x="2" y="1373"/>
                    </a:lnTo>
                    <a:lnTo>
                      <a:pt x="2" y="615"/>
                    </a:lnTo>
                    <a:close/>
                    <a:moveTo>
                      <a:pt x="5159" y="608"/>
                    </a:moveTo>
                    <a:lnTo>
                      <a:pt x="5157" y="608"/>
                    </a:lnTo>
                    <a:lnTo>
                      <a:pt x="5157" y="611"/>
                    </a:lnTo>
                    <a:lnTo>
                      <a:pt x="5157" y="651"/>
                    </a:lnTo>
                    <a:lnTo>
                      <a:pt x="5159" y="651"/>
                    </a:lnTo>
                    <a:lnTo>
                      <a:pt x="5159" y="608"/>
                    </a:lnTo>
                    <a:close/>
                    <a:moveTo>
                      <a:pt x="6930" y="509"/>
                    </a:moveTo>
                    <a:lnTo>
                      <a:pt x="6930" y="509"/>
                    </a:lnTo>
                    <a:lnTo>
                      <a:pt x="6930" y="511"/>
                    </a:lnTo>
                    <a:lnTo>
                      <a:pt x="6930" y="1013"/>
                    </a:lnTo>
                    <a:lnTo>
                      <a:pt x="6930" y="1013"/>
                    </a:lnTo>
                    <a:lnTo>
                      <a:pt x="6930" y="509"/>
                    </a:lnTo>
                    <a:close/>
                    <a:moveTo>
                      <a:pt x="4100" y="502"/>
                    </a:moveTo>
                    <a:lnTo>
                      <a:pt x="4098" y="502"/>
                    </a:lnTo>
                    <a:lnTo>
                      <a:pt x="4098" y="504"/>
                    </a:lnTo>
                    <a:lnTo>
                      <a:pt x="4098" y="504"/>
                    </a:lnTo>
                    <a:lnTo>
                      <a:pt x="4100" y="502"/>
                    </a:lnTo>
                    <a:close/>
                    <a:moveTo>
                      <a:pt x="3206" y="502"/>
                    </a:moveTo>
                    <a:lnTo>
                      <a:pt x="3204" y="502"/>
                    </a:lnTo>
                    <a:lnTo>
                      <a:pt x="3204" y="502"/>
                    </a:lnTo>
                    <a:lnTo>
                      <a:pt x="3204" y="566"/>
                    </a:lnTo>
                    <a:lnTo>
                      <a:pt x="3204" y="566"/>
                    </a:lnTo>
                    <a:lnTo>
                      <a:pt x="3204" y="563"/>
                    </a:lnTo>
                    <a:lnTo>
                      <a:pt x="3206" y="563"/>
                    </a:lnTo>
                    <a:lnTo>
                      <a:pt x="3206" y="502"/>
                    </a:lnTo>
                    <a:close/>
                    <a:moveTo>
                      <a:pt x="3942" y="454"/>
                    </a:moveTo>
                    <a:lnTo>
                      <a:pt x="3942" y="454"/>
                    </a:lnTo>
                    <a:lnTo>
                      <a:pt x="3939" y="454"/>
                    </a:lnTo>
                    <a:lnTo>
                      <a:pt x="3939" y="457"/>
                    </a:lnTo>
                    <a:lnTo>
                      <a:pt x="3939" y="490"/>
                    </a:lnTo>
                    <a:lnTo>
                      <a:pt x="3859" y="644"/>
                    </a:lnTo>
                    <a:lnTo>
                      <a:pt x="3859" y="847"/>
                    </a:lnTo>
                    <a:lnTo>
                      <a:pt x="3861" y="847"/>
                    </a:lnTo>
                    <a:lnTo>
                      <a:pt x="3861" y="641"/>
                    </a:lnTo>
                    <a:lnTo>
                      <a:pt x="3942" y="490"/>
                    </a:lnTo>
                    <a:lnTo>
                      <a:pt x="3942" y="454"/>
                    </a:lnTo>
                    <a:close/>
                    <a:moveTo>
                      <a:pt x="3235" y="433"/>
                    </a:moveTo>
                    <a:lnTo>
                      <a:pt x="3232" y="433"/>
                    </a:lnTo>
                    <a:lnTo>
                      <a:pt x="3232" y="435"/>
                    </a:lnTo>
                    <a:lnTo>
                      <a:pt x="3232" y="473"/>
                    </a:lnTo>
                    <a:lnTo>
                      <a:pt x="3232" y="473"/>
                    </a:lnTo>
                    <a:lnTo>
                      <a:pt x="3232" y="471"/>
                    </a:lnTo>
                    <a:lnTo>
                      <a:pt x="3235" y="471"/>
                    </a:lnTo>
                    <a:lnTo>
                      <a:pt x="3235" y="433"/>
                    </a:lnTo>
                    <a:close/>
                    <a:moveTo>
                      <a:pt x="3949" y="390"/>
                    </a:moveTo>
                    <a:lnTo>
                      <a:pt x="3946" y="390"/>
                    </a:lnTo>
                    <a:lnTo>
                      <a:pt x="3946" y="390"/>
                    </a:lnTo>
                    <a:lnTo>
                      <a:pt x="3946" y="393"/>
                    </a:lnTo>
                    <a:lnTo>
                      <a:pt x="3946" y="450"/>
                    </a:lnTo>
                    <a:lnTo>
                      <a:pt x="3949" y="450"/>
                    </a:lnTo>
                    <a:lnTo>
                      <a:pt x="3949" y="447"/>
                    </a:lnTo>
                    <a:lnTo>
                      <a:pt x="3949" y="447"/>
                    </a:lnTo>
                    <a:lnTo>
                      <a:pt x="3949" y="390"/>
                    </a:lnTo>
                    <a:close/>
                    <a:moveTo>
                      <a:pt x="1714" y="369"/>
                    </a:moveTo>
                    <a:lnTo>
                      <a:pt x="1714" y="369"/>
                    </a:lnTo>
                    <a:lnTo>
                      <a:pt x="1714" y="369"/>
                    </a:lnTo>
                    <a:lnTo>
                      <a:pt x="1714" y="1051"/>
                    </a:lnTo>
                    <a:lnTo>
                      <a:pt x="1714" y="1051"/>
                    </a:lnTo>
                    <a:lnTo>
                      <a:pt x="1714" y="369"/>
                    </a:lnTo>
                    <a:close/>
                    <a:moveTo>
                      <a:pt x="3956" y="327"/>
                    </a:moveTo>
                    <a:lnTo>
                      <a:pt x="3953" y="327"/>
                    </a:lnTo>
                    <a:lnTo>
                      <a:pt x="3953" y="329"/>
                    </a:lnTo>
                    <a:lnTo>
                      <a:pt x="3953" y="383"/>
                    </a:lnTo>
                    <a:lnTo>
                      <a:pt x="3956" y="383"/>
                    </a:lnTo>
                    <a:lnTo>
                      <a:pt x="3956" y="381"/>
                    </a:lnTo>
                    <a:lnTo>
                      <a:pt x="3956" y="381"/>
                    </a:lnTo>
                    <a:lnTo>
                      <a:pt x="3956" y="327"/>
                    </a:lnTo>
                    <a:close/>
                    <a:moveTo>
                      <a:pt x="4608" y="232"/>
                    </a:moveTo>
                    <a:lnTo>
                      <a:pt x="4608" y="232"/>
                    </a:lnTo>
                    <a:lnTo>
                      <a:pt x="4606" y="234"/>
                    </a:lnTo>
                    <a:lnTo>
                      <a:pt x="4552" y="438"/>
                    </a:lnTo>
                    <a:lnTo>
                      <a:pt x="4554" y="438"/>
                    </a:lnTo>
                    <a:lnTo>
                      <a:pt x="4608" y="232"/>
                    </a:lnTo>
                    <a:close/>
                    <a:moveTo>
                      <a:pt x="4757" y="0"/>
                    </a:moveTo>
                    <a:lnTo>
                      <a:pt x="4757" y="0"/>
                    </a:lnTo>
                    <a:lnTo>
                      <a:pt x="4757" y="2"/>
                    </a:lnTo>
                    <a:lnTo>
                      <a:pt x="4757" y="123"/>
                    </a:lnTo>
                    <a:lnTo>
                      <a:pt x="4757" y="123"/>
                    </a:lnTo>
                    <a:lnTo>
                      <a:pt x="4757" y="123"/>
                    </a:lnTo>
                    <a:lnTo>
                      <a:pt x="4757" y="123"/>
                    </a:lnTo>
                    <a:lnTo>
                      <a:pt x="4757" y="0"/>
                    </a:lnTo>
                    <a:close/>
                  </a:path>
                </a:pathLst>
              </a:custGeom>
              <a:solidFill>
                <a:srgbClr val="F4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7" name="Freeform 59"/>
              <p:cNvSpPr>
                <a:spLocks noEditPoints="1"/>
              </p:cNvSpPr>
              <p:nvPr/>
            </p:nvSpPr>
            <p:spPr bwMode="auto">
              <a:xfrm>
                <a:off x="61" y="1741"/>
                <a:ext cx="6930" cy="1373"/>
              </a:xfrm>
              <a:custGeom>
                <a:avLst/>
                <a:gdLst>
                  <a:gd name="T0" fmla="*/ 3615 w 6930"/>
                  <a:gd name="T1" fmla="*/ 1236 h 1373"/>
                  <a:gd name="T2" fmla="*/ 5734 w 6930"/>
                  <a:gd name="T3" fmla="*/ 1210 h 1373"/>
                  <a:gd name="T4" fmla="*/ 5736 w 6930"/>
                  <a:gd name="T5" fmla="*/ 1210 h 1373"/>
                  <a:gd name="T6" fmla="*/ 5760 w 6930"/>
                  <a:gd name="T7" fmla="*/ 1184 h 1373"/>
                  <a:gd name="T8" fmla="*/ 5762 w 6930"/>
                  <a:gd name="T9" fmla="*/ 1127 h 1373"/>
                  <a:gd name="T10" fmla="*/ 6228 w 6930"/>
                  <a:gd name="T11" fmla="*/ 1129 h 1373"/>
                  <a:gd name="T12" fmla="*/ 2764 w 6930"/>
                  <a:gd name="T13" fmla="*/ 1065 h 1373"/>
                  <a:gd name="T14" fmla="*/ 5836 w 6930"/>
                  <a:gd name="T15" fmla="*/ 1042 h 1373"/>
                  <a:gd name="T16" fmla="*/ 5836 w 6930"/>
                  <a:gd name="T17" fmla="*/ 1053 h 1373"/>
                  <a:gd name="T18" fmla="*/ 2783 w 6930"/>
                  <a:gd name="T19" fmla="*/ 1011 h 1373"/>
                  <a:gd name="T20" fmla="*/ 2783 w 6930"/>
                  <a:gd name="T21" fmla="*/ 1046 h 1373"/>
                  <a:gd name="T22" fmla="*/ 3677 w 6930"/>
                  <a:gd name="T23" fmla="*/ 994 h 1373"/>
                  <a:gd name="T24" fmla="*/ 3677 w 6930"/>
                  <a:gd name="T25" fmla="*/ 1162 h 1373"/>
                  <a:gd name="T26" fmla="*/ 5855 w 6930"/>
                  <a:gd name="T27" fmla="*/ 989 h 1373"/>
                  <a:gd name="T28" fmla="*/ 5852 w 6930"/>
                  <a:gd name="T29" fmla="*/ 1025 h 1373"/>
                  <a:gd name="T30" fmla="*/ 6245 w 6930"/>
                  <a:gd name="T31" fmla="*/ 935 h 1373"/>
                  <a:gd name="T32" fmla="*/ 6245 w 6930"/>
                  <a:gd name="T33" fmla="*/ 1110 h 1373"/>
                  <a:gd name="T34" fmla="*/ 6294 w 6930"/>
                  <a:gd name="T35" fmla="*/ 878 h 1373"/>
                  <a:gd name="T36" fmla="*/ 6294 w 6930"/>
                  <a:gd name="T37" fmla="*/ 888 h 1373"/>
                  <a:gd name="T38" fmla="*/ 6294 w 6930"/>
                  <a:gd name="T39" fmla="*/ 878 h 1373"/>
                  <a:gd name="T40" fmla="*/ 6301 w 6930"/>
                  <a:gd name="T41" fmla="*/ 871 h 1373"/>
                  <a:gd name="T42" fmla="*/ 6304 w 6930"/>
                  <a:gd name="T43" fmla="*/ 850 h 1373"/>
                  <a:gd name="T44" fmla="*/ 3003 w 6930"/>
                  <a:gd name="T45" fmla="*/ 899 h 1373"/>
                  <a:gd name="T46" fmla="*/ 5036 w 6930"/>
                  <a:gd name="T47" fmla="*/ 731 h 1373"/>
                  <a:gd name="T48" fmla="*/ 5039 w 6930"/>
                  <a:gd name="T49" fmla="*/ 731 h 1373"/>
                  <a:gd name="T50" fmla="*/ 3043 w 6930"/>
                  <a:gd name="T51" fmla="*/ 724 h 1373"/>
                  <a:gd name="T52" fmla="*/ 3043 w 6930"/>
                  <a:gd name="T53" fmla="*/ 656 h 1373"/>
                  <a:gd name="T54" fmla="*/ 0 w 6930"/>
                  <a:gd name="T55" fmla="*/ 1373 h 1373"/>
                  <a:gd name="T56" fmla="*/ 5157 w 6930"/>
                  <a:gd name="T57" fmla="*/ 608 h 1373"/>
                  <a:gd name="T58" fmla="*/ 5159 w 6930"/>
                  <a:gd name="T59" fmla="*/ 608 h 1373"/>
                  <a:gd name="T60" fmla="*/ 6930 w 6930"/>
                  <a:gd name="T61" fmla="*/ 1013 h 1373"/>
                  <a:gd name="T62" fmla="*/ 4098 w 6930"/>
                  <a:gd name="T63" fmla="*/ 502 h 1373"/>
                  <a:gd name="T64" fmla="*/ 3206 w 6930"/>
                  <a:gd name="T65" fmla="*/ 502 h 1373"/>
                  <a:gd name="T66" fmla="*/ 3204 w 6930"/>
                  <a:gd name="T67" fmla="*/ 566 h 1373"/>
                  <a:gd name="T68" fmla="*/ 3942 w 6930"/>
                  <a:gd name="T69" fmla="*/ 454 h 1373"/>
                  <a:gd name="T70" fmla="*/ 3939 w 6930"/>
                  <a:gd name="T71" fmla="*/ 490 h 1373"/>
                  <a:gd name="T72" fmla="*/ 3861 w 6930"/>
                  <a:gd name="T73" fmla="*/ 641 h 1373"/>
                  <a:gd name="T74" fmla="*/ 3232 w 6930"/>
                  <a:gd name="T75" fmla="*/ 433 h 1373"/>
                  <a:gd name="T76" fmla="*/ 3232 w 6930"/>
                  <a:gd name="T77" fmla="*/ 471 h 1373"/>
                  <a:gd name="T78" fmla="*/ 3946 w 6930"/>
                  <a:gd name="T79" fmla="*/ 390 h 1373"/>
                  <a:gd name="T80" fmla="*/ 3949 w 6930"/>
                  <a:gd name="T81" fmla="*/ 450 h 1373"/>
                  <a:gd name="T82" fmla="*/ 1714 w 6930"/>
                  <a:gd name="T83" fmla="*/ 369 h 1373"/>
                  <a:gd name="T84" fmla="*/ 1714 w 6930"/>
                  <a:gd name="T85" fmla="*/ 1051 h 1373"/>
                  <a:gd name="T86" fmla="*/ 3953 w 6930"/>
                  <a:gd name="T87" fmla="*/ 329 h 1373"/>
                  <a:gd name="T88" fmla="*/ 3956 w 6930"/>
                  <a:gd name="T89" fmla="*/ 381 h 1373"/>
                  <a:gd name="T90" fmla="*/ 4606 w 6930"/>
                  <a:gd name="T91" fmla="*/ 234 h 1373"/>
                  <a:gd name="T92" fmla="*/ 4757 w 6930"/>
                  <a:gd name="T93" fmla="*/ 0 h 1373"/>
                  <a:gd name="T94" fmla="*/ 4757 w 6930"/>
                  <a:gd name="T95" fmla="*/ 123 h 1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930" h="1373">
                    <a:moveTo>
                      <a:pt x="3618" y="1221"/>
                    </a:moveTo>
                    <a:lnTo>
                      <a:pt x="3615" y="1221"/>
                    </a:lnTo>
                    <a:lnTo>
                      <a:pt x="3615" y="1224"/>
                    </a:lnTo>
                    <a:lnTo>
                      <a:pt x="3615" y="1236"/>
                    </a:lnTo>
                    <a:lnTo>
                      <a:pt x="3618" y="1236"/>
                    </a:lnTo>
                    <a:lnTo>
                      <a:pt x="3618" y="1221"/>
                    </a:lnTo>
                    <a:moveTo>
                      <a:pt x="5736" y="1210"/>
                    </a:moveTo>
                    <a:lnTo>
                      <a:pt x="5734" y="1210"/>
                    </a:lnTo>
                    <a:lnTo>
                      <a:pt x="5734" y="1210"/>
                    </a:lnTo>
                    <a:lnTo>
                      <a:pt x="5734" y="1245"/>
                    </a:lnTo>
                    <a:lnTo>
                      <a:pt x="5736" y="1245"/>
                    </a:lnTo>
                    <a:lnTo>
                      <a:pt x="5736" y="1210"/>
                    </a:lnTo>
                    <a:moveTo>
                      <a:pt x="5762" y="1127"/>
                    </a:moveTo>
                    <a:lnTo>
                      <a:pt x="5760" y="1127"/>
                    </a:lnTo>
                    <a:lnTo>
                      <a:pt x="5760" y="1129"/>
                    </a:lnTo>
                    <a:lnTo>
                      <a:pt x="5760" y="1184"/>
                    </a:lnTo>
                    <a:lnTo>
                      <a:pt x="5760" y="1184"/>
                    </a:lnTo>
                    <a:lnTo>
                      <a:pt x="5760" y="1184"/>
                    </a:lnTo>
                    <a:lnTo>
                      <a:pt x="5762" y="1184"/>
                    </a:lnTo>
                    <a:lnTo>
                      <a:pt x="5762" y="1127"/>
                    </a:lnTo>
                    <a:moveTo>
                      <a:pt x="6228" y="1127"/>
                    </a:moveTo>
                    <a:lnTo>
                      <a:pt x="6226" y="1127"/>
                    </a:lnTo>
                    <a:lnTo>
                      <a:pt x="6226" y="1129"/>
                    </a:lnTo>
                    <a:lnTo>
                      <a:pt x="6228" y="1129"/>
                    </a:lnTo>
                    <a:lnTo>
                      <a:pt x="6228" y="1127"/>
                    </a:lnTo>
                    <a:moveTo>
                      <a:pt x="2767" y="1063"/>
                    </a:moveTo>
                    <a:lnTo>
                      <a:pt x="2764" y="1063"/>
                    </a:lnTo>
                    <a:lnTo>
                      <a:pt x="2764" y="1065"/>
                    </a:lnTo>
                    <a:lnTo>
                      <a:pt x="2764" y="1160"/>
                    </a:lnTo>
                    <a:lnTo>
                      <a:pt x="2767" y="1160"/>
                    </a:lnTo>
                    <a:lnTo>
                      <a:pt x="2767" y="1063"/>
                    </a:lnTo>
                    <a:moveTo>
                      <a:pt x="5836" y="1042"/>
                    </a:moveTo>
                    <a:lnTo>
                      <a:pt x="5836" y="1042"/>
                    </a:lnTo>
                    <a:lnTo>
                      <a:pt x="5836" y="1044"/>
                    </a:lnTo>
                    <a:lnTo>
                      <a:pt x="5836" y="1053"/>
                    </a:lnTo>
                    <a:lnTo>
                      <a:pt x="5836" y="1053"/>
                    </a:lnTo>
                    <a:lnTo>
                      <a:pt x="5836" y="1051"/>
                    </a:lnTo>
                    <a:lnTo>
                      <a:pt x="5836" y="1051"/>
                    </a:lnTo>
                    <a:lnTo>
                      <a:pt x="5836" y="1042"/>
                    </a:lnTo>
                    <a:moveTo>
                      <a:pt x="2783" y="1011"/>
                    </a:moveTo>
                    <a:lnTo>
                      <a:pt x="2781" y="1013"/>
                    </a:lnTo>
                    <a:lnTo>
                      <a:pt x="2781" y="1013"/>
                    </a:lnTo>
                    <a:lnTo>
                      <a:pt x="2781" y="1046"/>
                    </a:lnTo>
                    <a:lnTo>
                      <a:pt x="2783" y="1046"/>
                    </a:lnTo>
                    <a:lnTo>
                      <a:pt x="2783" y="1044"/>
                    </a:lnTo>
                    <a:lnTo>
                      <a:pt x="2783" y="1044"/>
                    </a:lnTo>
                    <a:lnTo>
                      <a:pt x="2783" y="1011"/>
                    </a:lnTo>
                    <a:moveTo>
                      <a:pt x="3677" y="994"/>
                    </a:moveTo>
                    <a:lnTo>
                      <a:pt x="3674" y="994"/>
                    </a:lnTo>
                    <a:lnTo>
                      <a:pt x="3674" y="994"/>
                    </a:lnTo>
                    <a:lnTo>
                      <a:pt x="3674" y="1162"/>
                    </a:lnTo>
                    <a:lnTo>
                      <a:pt x="3677" y="1162"/>
                    </a:lnTo>
                    <a:lnTo>
                      <a:pt x="3677" y="1160"/>
                    </a:lnTo>
                    <a:lnTo>
                      <a:pt x="3677" y="1160"/>
                    </a:lnTo>
                    <a:lnTo>
                      <a:pt x="3677" y="994"/>
                    </a:lnTo>
                    <a:moveTo>
                      <a:pt x="5855" y="989"/>
                    </a:moveTo>
                    <a:lnTo>
                      <a:pt x="5852" y="989"/>
                    </a:lnTo>
                    <a:lnTo>
                      <a:pt x="5852" y="992"/>
                    </a:lnTo>
                    <a:lnTo>
                      <a:pt x="5852" y="1025"/>
                    </a:lnTo>
                    <a:lnTo>
                      <a:pt x="5852" y="1025"/>
                    </a:lnTo>
                    <a:lnTo>
                      <a:pt x="5852" y="1023"/>
                    </a:lnTo>
                    <a:lnTo>
                      <a:pt x="5855" y="1023"/>
                    </a:lnTo>
                    <a:lnTo>
                      <a:pt x="5855" y="989"/>
                    </a:lnTo>
                    <a:moveTo>
                      <a:pt x="6245" y="935"/>
                    </a:moveTo>
                    <a:lnTo>
                      <a:pt x="6245" y="935"/>
                    </a:lnTo>
                    <a:lnTo>
                      <a:pt x="6245" y="937"/>
                    </a:lnTo>
                    <a:lnTo>
                      <a:pt x="6245" y="1110"/>
                    </a:lnTo>
                    <a:lnTo>
                      <a:pt x="6245" y="1110"/>
                    </a:lnTo>
                    <a:lnTo>
                      <a:pt x="6245" y="1110"/>
                    </a:lnTo>
                    <a:lnTo>
                      <a:pt x="6245" y="1110"/>
                    </a:lnTo>
                    <a:lnTo>
                      <a:pt x="6245" y="935"/>
                    </a:lnTo>
                    <a:moveTo>
                      <a:pt x="6294" y="878"/>
                    </a:moveTo>
                    <a:lnTo>
                      <a:pt x="6294" y="878"/>
                    </a:lnTo>
                    <a:lnTo>
                      <a:pt x="6294" y="878"/>
                    </a:lnTo>
                    <a:lnTo>
                      <a:pt x="6294" y="881"/>
                    </a:lnTo>
                    <a:lnTo>
                      <a:pt x="6294" y="888"/>
                    </a:lnTo>
                    <a:lnTo>
                      <a:pt x="6294" y="888"/>
                    </a:lnTo>
                    <a:lnTo>
                      <a:pt x="6294" y="885"/>
                    </a:lnTo>
                    <a:lnTo>
                      <a:pt x="6294" y="885"/>
                    </a:lnTo>
                    <a:lnTo>
                      <a:pt x="6294" y="878"/>
                    </a:lnTo>
                    <a:moveTo>
                      <a:pt x="6304" y="850"/>
                    </a:moveTo>
                    <a:lnTo>
                      <a:pt x="6301" y="850"/>
                    </a:lnTo>
                    <a:lnTo>
                      <a:pt x="6301" y="852"/>
                    </a:lnTo>
                    <a:lnTo>
                      <a:pt x="6301" y="871"/>
                    </a:lnTo>
                    <a:lnTo>
                      <a:pt x="6304" y="871"/>
                    </a:lnTo>
                    <a:lnTo>
                      <a:pt x="6304" y="869"/>
                    </a:lnTo>
                    <a:lnTo>
                      <a:pt x="6304" y="869"/>
                    </a:lnTo>
                    <a:lnTo>
                      <a:pt x="6304" y="850"/>
                    </a:lnTo>
                    <a:moveTo>
                      <a:pt x="3005" y="762"/>
                    </a:moveTo>
                    <a:lnTo>
                      <a:pt x="3003" y="762"/>
                    </a:lnTo>
                    <a:lnTo>
                      <a:pt x="3003" y="765"/>
                    </a:lnTo>
                    <a:lnTo>
                      <a:pt x="3003" y="899"/>
                    </a:lnTo>
                    <a:lnTo>
                      <a:pt x="3005" y="899"/>
                    </a:lnTo>
                    <a:lnTo>
                      <a:pt x="3005" y="762"/>
                    </a:lnTo>
                    <a:moveTo>
                      <a:pt x="5039" y="731"/>
                    </a:moveTo>
                    <a:lnTo>
                      <a:pt x="5036" y="731"/>
                    </a:lnTo>
                    <a:lnTo>
                      <a:pt x="5036" y="734"/>
                    </a:lnTo>
                    <a:lnTo>
                      <a:pt x="5036" y="892"/>
                    </a:lnTo>
                    <a:lnTo>
                      <a:pt x="5039" y="892"/>
                    </a:lnTo>
                    <a:lnTo>
                      <a:pt x="5039" y="731"/>
                    </a:lnTo>
                    <a:moveTo>
                      <a:pt x="3043" y="656"/>
                    </a:moveTo>
                    <a:lnTo>
                      <a:pt x="3043" y="656"/>
                    </a:lnTo>
                    <a:lnTo>
                      <a:pt x="3043" y="658"/>
                    </a:lnTo>
                    <a:lnTo>
                      <a:pt x="3043" y="724"/>
                    </a:lnTo>
                    <a:lnTo>
                      <a:pt x="3043" y="724"/>
                    </a:lnTo>
                    <a:lnTo>
                      <a:pt x="3043" y="724"/>
                    </a:lnTo>
                    <a:lnTo>
                      <a:pt x="3043" y="724"/>
                    </a:lnTo>
                    <a:lnTo>
                      <a:pt x="3043" y="656"/>
                    </a:lnTo>
                    <a:moveTo>
                      <a:pt x="2" y="615"/>
                    </a:moveTo>
                    <a:lnTo>
                      <a:pt x="0" y="615"/>
                    </a:lnTo>
                    <a:lnTo>
                      <a:pt x="0" y="618"/>
                    </a:lnTo>
                    <a:lnTo>
                      <a:pt x="0" y="1373"/>
                    </a:lnTo>
                    <a:lnTo>
                      <a:pt x="2" y="1373"/>
                    </a:lnTo>
                    <a:lnTo>
                      <a:pt x="2" y="615"/>
                    </a:lnTo>
                    <a:moveTo>
                      <a:pt x="5159" y="608"/>
                    </a:moveTo>
                    <a:lnTo>
                      <a:pt x="5157" y="608"/>
                    </a:lnTo>
                    <a:lnTo>
                      <a:pt x="5157" y="611"/>
                    </a:lnTo>
                    <a:lnTo>
                      <a:pt x="5157" y="651"/>
                    </a:lnTo>
                    <a:lnTo>
                      <a:pt x="5159" y="651"/>
                    </a:lnTo>
                    <a:lnTo>
                      <a:pt x="5159" y="608"/>
                    </a:lnTo>
                    <a:moveTo>
                      <a:pt x="6930" y="509"/>
                    </a:moveTo>
                    <a:lnTo>
                      <a:pt x="6930" y="509"/>
                    </a:lnTo>
                    <a:lnTo>
                      <a:pt x="6930" y="511"/>
                    </a:lnTo>
                    <a:lnTo>
                      <a:pt x="6930" y="1013"/>
                    </a:lnTo>
                    <a:lnTo>
                      <a:pt x="6930" y="1013"/>
                    </a:lnTo>
                    <a:lnTo>
                      <a:pt x="6930" y="509"/>
                    </a:lnTo>
                    <a:moveTo>
                      <a:pt x="4100" y="502"/>
                    </a:moveTo>
                    <a:lnTo>
                      <a:pt x="4098" y="502"/>
                    </a:lnTo>
                    <a:lnTo>
                      <a:pt x="4098" y="504"/>
                    </a:lnTo>
                    <a:lnTo>
                      <a:pt x="4098" y="504"/>
                    </a:lnTo>
                    <a:lnTo>
                      <a:pt x="4100" y="502"/>
                    </a:lnTo>
                    <a:moveTo>
                      <a:pt x="3206" y="502"/>
                    </a:moveTo>
                    <a:lnTo>
                      <a:pt x="3204" y="502"/>
                    </a:lnTo>
                    <a:lnTo>
                      <a:pt x="3204" y="502"/>
                    </a:lnTo>
                    <a:lnTo>
                      <a:pt x="3204" y="566"/>
                    </a:lnTo>
                    <a:lnTo>
                      <a:pt x="3204" y="566"/>
                    </a:lnTo>
                    <a:lnTo>
                      <a:pt x="3204" y="563"/>
                    </a:lnTo>
                    <a:lnTo>
                      <a:pt x="3206" y="563"/>
                    </a:lnTo>
                    <a:lnTo>
                      <a:pt x="3206" y="502"/>
                    </a:lnTo>
                    <a:moveTo>
                      <a:pt x="3942" y="454"/>
                    </a:moveTo>
                    <a:lnTo>
                      <a:pt x="3942" y="454"/>
                    </a:lnTo>
                    <a:lnTo>
                      <a:pt x="3939" y="454"/>
                    </a:lnTo>
                    <a:lnTo>
                      <a:pt x="3939" y="457"/>
                    </a:lnTo>
                    <a:lnTo>
                      <a:pt x="3939" y="490"/>
                    </a:lnTo>
                    <a:lnTo>
                      <a:pt x="3859" y="644"/>
                    </a:lnTo>
                    <a:lnTo>
                      <a:pt x="3859" y="847"/>
                    </a:lnTo>
                    <a:lnTo>
                      <a:pt x="3861" y="847"/>
                    </a:lnTo>
                    <a:lnTo>
                      <a:pt x="3861" y="641"/>
                    </a:lnTo>
                    <a:lnTo>
                      <a:pt x="3942" y="490"/>
                    </a:lnTo>
                    <a:lnTo>
                      <a:pt x="3942" y="454"/>
                    </a:lnTo>
                    <a:moveTo>
                      <a:pt x="3235" y="433"/>
                    </a:moveTo>
                    <a:lnTo>
                      <a:pt x="3232" y="433"/>
                    </a:lnTo>
                    <a:lnTo>
                      <a:pt x="3232" y="435"/>
                    </a:lnTo>
                    <a:lnTo>
                      <a:pt x="3232" y="473"/>
                    </a:lnTo>
                    <a:lnTo>
                      <a:pt x="3232" y="473"/>
                    </a:lnTo>
                    <a:lnTo>
                      <a:pt x="3232" y="471"/>
                    </a:lnTo>
                    <a:lnTo>
                      <a:pt x="3235" y="471"/>
                    </a:lnTo>
                    <a:lnTo>
                      <a:pt x="3235" y="433"/>
                    </a:lnTo>
                    <a:moveTo>
                      <a:pt x="3949" y="390"/>
                    </a:moveTo>
                    <a:lnTo>
                      <a:pt x="3946" y="390"/>
                    </a:lnTo>
                    <a:lnTo>
                      <a:pt x="3946" y="390"/>
                    </a:lnTo>
                    <a:lnTo>
                      <a:pt x="3946" y="393"/>
                    </a:lnTo>
                    <a:lnTo>
                      <a:pt x="3946" y="450"/>
                    </a:lnTo>
                    <a:lnTo>
                      <a:pt x="3949" y="450"/>
                    </a:lnTo>
                    <a:lnTo>
                      <a:pt x="3949" y="447"/>
                    </a:lnTo>
                    <a:lnTo>
                      <a:pt x="3949" y="447"/>
                    </a:lnTo>
                    <a:lnTo>
                      <a:pt x="3949" y="390"/>
                    </a:lnTo>
                    <a:moveTo>
                      <a:pt x="1714" y="369"/>
                    </a:moveTo>
                    <a:lnTo>
                      <a:pt x="1714" y="369"/>
                    </a:lnTo>
                    <a:lnTo>
                      <a:pt x="1714" y="369"/>
                    </a:lnTo>
                    <a:lnTo>
                      <a:pt x="1714" y="1051"/>
                    </a:lnTo>
                    <a:lnTo>
                      <a:pt x="1714" y="1051"/>
                    </a:lnTo>
                    <a:lnTo>
                      <a:pt x="1714" y="369"/>
                    </a:lnTo>
                    <a:moveTo>
                      <a:pt x="3956" y="327"/>
                    </a:moveTo>
                    <a:lnTo>
                      <a:pt x="3953" y="327"/>
                    </a:lnTo>
                    <a:lnTo>
                      <a:pt x="3953" y="329"/>
                    </a:lnTo>
                    <a:lnTo>
                      <a:pt x="3953" y="383"/>
                    </a:lnTo>
                    <a:lnTo>
                      <a:pt x="3956" y="383"/>
                    </a:lnTo>
                    <a:lnTo>
                      <a:pt x="3956" y="381"/>
                    </a:lnTo>
                    <a:lnTo>
                      <a:pt x="3956" y="381"/>
                    </a:lnTo>
                    <a:lnTo>
                      <a:pt x="3956" y="327"/>
                    </a:lnTo>
                    <a:moveTo>
                      <a:pt x="4608" y="232"/>
                    </a:moveTo>
                    <a:lnTo>
                      <a:pt x="4608" y="232"/>
                    </a:lnTo>
                    <a:lnTo>
                      <a:pt x="4606" y="234"/>
                    </a:lnTo>
                    <a:lnTo>
                      <a:pt x="4552" y="438"/>
                    </a:lnTo>
                    <a:lnTo>
                      <a:pt x="4554" y="438"/>
                    </a:lnTo>
                    <a:lnTo>
                      <a:pt x="4608" y="232"/>
                    </a:lnTo>
                    <a:moveTo>
                      <a:pt x="4757" y="0"/>
                    </a:moveTo>
                    <a:lnTo>
                      <a:pt x="4757" y="0"/>
                    </a:lnTo>
                    <a:lnTo>
                      <a:pt x="4757" y="2"/>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8" name="Freeform 60"/>
              <p:cNvSpPr>
                <a:spLocks noEditPoints="1"/>
              </p:cNvSpPr>
              <p:nvPr/>
            </p:nvSpPr>
            <p:spPr bwMode="auto">
              <a:xfrm>
                <a:off x="63" y="1738"/>
                <a:ext cx="6931" cy="1376"/>
              </a:xfrm>
              <a:custGeom>
                <a:avLst/>
                <a:gdLst>
                  <a:gd name="T0" fmla="*/ 3616 w 6931"/>
                  <a:gd name="T1" fmla="*/ 1239 h 1376"/>
                  <a:gd name="T2" fmla="*/ 5734 w 6931"/>
                  <a:gd name="T3" fmla="*/ 1210 h 1376"/>
                  <a:gd name="T4" fmla="*/ 5737 w 6931"/>
                  <a:gd name="T5" fmla="*/ 1210 h 1376"/>
                  <a:gd name="T6" fmla="*/ 5760 w 6931"/>
                  <a:gd name="T7" fmla="*/ 1187 h 1376"/>
                  <a:gd name="T8" fmla="*/ 5760 w 6931"/>
                  <a:gd name="T9" fmla="*/ 1130 h 1376"/>
                  <a:gd name="T10" fmla="*/ 6226 w 6931"/>
                  <a:gd name="T11" fmla="*/ 1130 h 1376"/>
                  <a:gd name="T12" fmla="*/ 2765 w 6931"/>
                  <a:gd name="T13" fmla="*/ 1063 h 1376"/>
                  <a:gd name="T14" fmla="*/ 2765 w 6931"/>
                  <a:gd name="T15" fmla="*/ 1163 h 1376"/>
                  <a:gd name="T16" fmla="*/ 5836 w 6931"/>
                  <a:gd name="T17" fmla="*/ 1042 h 1376"/>
                  <a:gd name="T18" fmla="*/ 5836 w 6931"/>
                  <a:gd name="T19" fmla="*/ 1054 h 1376"/>
                  <a:gd name="T20" fmla="*/ 2783 w 6931"/>
                  <a:gd name="T21" fmla="*/ 1014 h 1376"/>
                  <a:gd name="T22" fmla="*/ 2783 w 6931"/>
                  <a:gd name="T23" fmla="*/ 1047 h 1376"/>
                  <a:gd name="T24" fmla="*/ 3675 w 6931"/>
                  <a:gd name="T25" fmla="*/ 995 h 1376"/>
                  <a:gd name="T26" fmla="*/ 3675 w 6931"/>
                  <a:gd name="T27" fmla="*/ 1163 h 1376"/>
                  <a:gd name="T28" fmla="*/ 5855 w 6931"/>
                  <a:gd name="T29" fmla="*/ 990 h 1376"/>
                  <a:gd name="T30" fmla="*/ 5853 w 6931"/>
                  <a:gd name="T31" fmla="*/ 1026 h 1376"/>
                  <a:gd name="T32" fmla="*/ 6245 w 6931"/>
                  <a:gd name="T33" fmla="*/ 936 h 1376"/>
                  <a:gd name="T34" fmla="*/ 6245 w 6931"/>
                  <a:gd name="T35" fmla="*/ 1113 h 1376"/>
                  <a:gd name="T36" fmla="*/ 6295 w 6931"/>
                  <a:gd name="T37" fmla="*/ 879 h 1376"/>
                  <a:gd name="T38" fmla="*/ 6292 w 6931"/>
                  <a:gd name="T39" fmla="*/ 888 h 1376"/>
                  <a:gd name="T40" fmla="*/ 6295 w 6931"/>
                  <a:gd name="T41" fmla="*/ 879 h 1376"/>
                  <a:gd name="T42" fmla="*/ 6302 w 6931"/>
                  <a:gd name="T43" fmla="*/ 872 h 1376"/>
                  <a:gd name="T44" fmla="*/ 6304 w 6931"/>
                  <a:gd name="T45" fmla="*/ 850 h 1376"/>
                  <a:gd name="T46" fmla="*/ 3003 w 6931"/>
                  <a:gd name="T47" fmla="*/ 902 h 1376"/>
                  <a:gd name="T48" fmla="*/ 5037 w 6931"/>
                  <a:gd name="T49" fmla="*/ 732 h 1376"/>
                  <a:gd name="T50" fmla="*/ 5037 w 6931"/>
                  <a:gd name="T51" fmla="*/ 732 h 1376"/>
                  <a:gd name="T52" fmla="*/ 3041 w 6931"/>
                  <a:gd name="T53" fmla="*/ 727 h 1376"/>
                  <a:gd name="T54" fmla="*/ 3044 w 6931"/>
                  <a:gd name="T55" fmla="*/ 659 h 1376"/>
                  <a:gd name="T56" fmla="*/ 0 w 6931"/>
                  <a:gd name="T57" fmla="*/ 1376 h 1376"/>
                  <a:gd name="T58" fmla="*/ 5157 w 6931"/>
                  <a:gd name="T59" fmla="*/ 611 h 1376"/>
                  <a:gd name="T60" fmla="*/ 5157 w 6931"/>
                  <a:gd name="T61" fmla="*/ 611 h 1376"/>
                  <a:gd name="T62" fmla="*/ 6928 w 6931"/>
                  <a:gd name="T63" fmla="*/ 1016 h 1376"/>
                  <a:gd name="T64" fmla="*/ 4098 w 6931"/>
                  <a:gd name="T65" fmla="*/ 505 h 1376"/>
                  <a:gd name="T66" fmla="*/ 4098 w 6931"/>
                  <a:gd name="T67" fmla="*/ 505 h 1376"/>
                  <a:gd name="T68" fmla="*/ 3204 w 6931"/>
                  <a:gd name="T69" fmla="*/ 566 h 1376"/>
                  <a:gd name="T70" fmla="*/ 3204 w 6931"/>
                  <a:gd name="T71" fmla="*/ 502 h 1376"/>
                  <a:gd name="T72" fmla="*/ 3940 w 6931"/>
                  <a:gd name="T73" fmla="*/ 457 h 1376"/>
                  <a:gd name="T74" fmla="*/ 3859 w 6931"/>
                  <a:gd name="T75" fmla="*/ 850 h 1376"/>
                  <a:gd name="T76" fmla="*/ 3235 w 6931"/>
                  <a:gd name="T77" fmla="*/ 434 h 1376"/>
                  <a:gd name="T78" fmla="*/ 3233 w 6931"/>
                  <a:gd name="T79" fmla="*/ 474 h 1376"/>
                  <a:gd name="T80" fmla="*/ 3947 w 6931"/>
                  <a:gd name="T81" fmla="*/ 391 h 1376"/>
                  <a:gd name="T82" fmla="*/ 3947 w 6931"/>
                  <a:gd name="T83" fmla="*/ 450 h 1376"/>
                  <a:gd name="T84" fmla="*/ 3947 w 6931"/>
                  <a:gd name="T85" fmla="*/ 391 h 1376"/>
                  <a:gd name="T86" fmla="*/ 1712 w 6931"/>
                  <a:gd name="T87" fmla="*/ 1054 h 1376"/>
                  <a:gd name="T88" fmla="*/ 3954 w 6931"/>
                  <a:gd name="T89" fmla="*/ 327 h 1376"/>
                  <a:gd name="T90" fmla="*/ 3956 w 6931"/>
                  <a:gd name="T91" fmla="*/ 382 h 1376"/>
                  <a:gd name="T92" fmla="*/ 4606 w 6931"/>
                  <a:gd name="T93" fmla="*/ 232 h 1376"/>
                  <a:gd name="T94" fmla="*/ 4609 w 6931"/>
                  <a:gd name="T95" fmla="*/ 232 h 1376"/>
                  <a:gd name="T96" fmla="*/ 4755 w 6931"/>
                  <a:gd name="T97" fmla="*/ 126 h 1376"/>
                  <a:gd name="T98" fmla="*/ 4758 w 6931"/>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1" h="1376">
                    <a:moveTo>
                      <a:pt x="3616" y="1222"/>
                    </a:moveTo>
                    <a:lnTo>
                      <a:pt x="3616" y="1222"/>
                    </a:lnTo>
                    <a:lnTo>
                      <a:pt x="3616" y="1224"/>
                    </a:lnTo>
                    <a:lnTo>
                      <a:pt x="3616" y="1239"/>
                    </a:lnTo>
                    <a:lnTo>
                      <a:pt x="3616" y="1239"/>
                    </a:lnTo>
                    <a:lnTo>
                      <a:pt x="3616" y="1222"/>
                    </a:lnTo>
                    <a:close/>
                    <a:moveTo>
                      <a:pt x="5737" y="1210"/>
                    </a:moveTo>
                    <a:lnTo>
                      <a:pt x="5734" y="1210"/>
                    </a:lnTo>
                    <a:lnTo>
                      <a:pt x="5734" y="1213"/>
                    </a:lnTo>
                    <a:lnTo>
                      <a:pt x="5734" y="1248"/>
                    </a:lnTo>
                    <a:lnTo>
                      <a:pt x="5737" y="1248"/>
                    </a:lnTo>
                    <a:lnTo>
                      <a:pt x="5737" y="1210"/>
                    </a:lnTo>
                    <a:close/>
                    <a:moveTo>
                      <a:pt x="5760" y="1130"/>
                    </a:moveTo>
                    <a:lnTo>
                      <a:pt x="5760" y="1130"/>
                    </a:lnTo>
                    <a:lnTo>
                      <a:pt x="5760" y="1130"/>
                    </a:lnTo>
                    <a:lnTo>
                      <a:pt x="5760" y="1187"/>
                    </a:lnTo>
                    <a:lnTo>
                      <a:pt x="5760" y="1187"/>
                    </a:lnTo>
                    <a:lnTo>
                      <a:pt x="5760" y="1184"/>
                    </a:lnTo>
                    <a:lnTo>
                      <a:pt x="5760" y="1184"/>
                    </a:lnTo>
                    <a:lnTo>
                      <a:pt x="5760" y="1130"/>
                    </a:lnTo>
                    <a:close/>
                    <a:moveTo>
                      <a:pt x="6229" y="1130"/>
                    </a:moveTo>
                    <a:lnTo>
                      <a:pt x="6226" y="1130"/>
                    </a:lnTo>
                    <a:lnTo>
                      <a:pt x="6226" y="1130"/>
                    </a:lnTo>
                    <a:lnTo>
                      <a:pt x="6226" y="1130"/>
                    </a:lnTo>
                    <a:lnTo>
                      <a:pt x="6226" y="1132"/>
                    </a:lnTo>
                    <a:lnTo>
                      <a:pt x="6229" y="1132"/>
                    </a:lnTo>
                    <a:lnTo>
                      <a:pt x="6229" y="1130"/>
                    </a:lnTo>
                    <a:close/>
                    <a:moveTo>
                      <a:pt x="2765" y="1063"/>
                    </a:moveTo>
                    <a:lnTo>
                      <a:pt x="2765" y="1063"/>
                    </a:lnTo>
                    <a:lnTo>
                      <a:pt x="2765" y="1063"/>
                    </a:lnTo>
                    <a:lnTo>
                      <a:pt x="2765" y="1066"/>
                    </a:lnTo>
                    <a:lnTo>
                      <a:pt x="2765" y="1163"/>
                    </a:lnTo>
                    <a:lnTo>
                      <a:pt x="2765" y="1163"/>
                    </a:lnTo>
                    <a:lnTo>
                      <a:pt x="2765" y="1063"/>
                    </a:lnTo>
                    <a:close/>
                    <a:moveTo>
                      <a:pt x="5836" y="1042"/>
                    </a:moveTo>
                    <a:lnTo>
                      <a:pt x="5836" y="1042"/>
                    </a:lnTo>
                    <a:lnTo>
                      <a:pt x="5834" y="1042"/>
                    </a:lnTo>
                    <a:lnTo>
                      <a:pt x="5834" y="1045"/>
                    </a:lnTo>
                    <a:lnTo>
                      <a:pt x="5834" y="1054"/>
                    </a:lnTo>
                    <a:lnTo>
                      <a:pt x="5836" y="1054"/>
                    </a:lnTo>
                    <a:lnTo>
                      <a:pt x="5836" y="1054"/>
                    </a:lnTo>
                    <a:lnTo>
                      <a:pt x="5836" y="1054"/>
                    </a:lnTo>
                    <a:lnTo>
                      <a:pt x="5836" y="1042"/>
                    </a:lnTo>
                    <a:close/>
                    <a:moveTo>
                      <a:pt x="2783" y="1014"/>
                    </a:moveTo>
                    <a:lnTo>
                      <a:pt x="2781" y="1014"/>
                    </a:lnTo>
                    <a:lnTo>
                      <a:pt x="2781" y="1014"/>
                    </a:lnTo>
                    <a:lnTo>
                      <a:pt x="2781" y="1047"/>
                    </a:lnTo>
                    <a:lnTo>
                      <a:pt x="2783" y="1047"/>
                    </a:lnTo>
                    <a:lnTo>
                      <a:pt x="2783" y="1045"/>
                    </a:lnTo>
                    <a:lnTo>
                      <a:pt x="2783" y="1045"/>
                    </a:lnTo>
                    <a:lnTo>
                      <a:pt x="2783" y="1014"/>
                    </a:lnTo>
                    <a:close/>
                    <a:moveTo>
                      <a:pt x="3675" y="995"/>
                    </a:moveTo>
                    <a:lnTo>
                      <a:pt x="3675" y="995"/>
                    </a:lnTo>
                    <a:lnTo>
                      <a:pt x="3675" y="997"/>
                    </a:lnTo>
                    <a:lnTo>
                      <a:pt x="3675" y="1163"/>
                    </a:lnTo>
                    <a:lnTo>
                      <a:pt x="3675" y="1163"/>
                    </a:lnTo>
                    <a:lnTo>
                      <a:pt x="3675" y="1163"/>
                    </a:lnTo>
                    <a:lnTo>
                      <a:pt x="3675" y="1163"/>
                    </a:lnTo>
                    <a:lnTo>
                      <a:pt x="3675" y="995"/>
                    </a:lnTo>
                    <a:close/>
                    <a:moveTo>
                      <a:pt x="5855" y="990"/>
                    </a:moveTo>
                    <a:lnTo>
                      <a:pt x="5853" y="990"/>
                    </a:lnTo>
                    <a:lnTo>
                      <a:pt x="5853" y="992"/>
                    </a:lnTo>
                    <a:lnTo>
                      <a:pt x="5853" y="1026"/>
                    </a:lnTo>
                    <a:lnTo>
                      <a:pt x="5853" y="1026"/>
                    </a:lnTo>
                    <a:lnTo>
                      <a:pt x="5853" y="1023"/>
                    </a:lnTo>
                    <a:lnTo>
                      <a:pt x="5855" y="1023"/>
                    </a:lnTo>
                    <a:lnTo>
                      <a:pt x="5855" y="990"/>
                    </a:lnTo>
                    <a:close/>
                    <a:moveTo>
                      <a:pt x="6245" y="936"/>
                    </a:moveTo>
                    <a:lnTo>
                      <a:pt x="6243" y="936"/>
                    </a:lnTo>
                    <a:lnTo>
                      <a:pt x="6243" y="938"/>
                    </a:lnTo>
                    <a:lnTo>
                      <a:pt x="6243" y="1113"/>
                    </a:lnTo>
                    <a:lnTo>
                      <a:pt x="6245" y="1113"/>
                    </a:lnTo>
                    <a:lnTo>
                      <a:pt x="6245" y="1111"/>
                    </a:lnTo>
                    <a:lnTo>
                      <a:pt x="6245" y="1111"/>
                    </a:lnTo>
                    <a:lnTo>
                      <a:pt x="6245" y="936"/>
                    </a:lnTo>
                    <a:close/>
                    <a:moveTo>
                      <a:pt x="6295" y="879"/>
                    </a:moveTo>
                    <a:lnTo>
                      <a:pt x="6295" y="879"/>
                    </a:lnTo>
                    <a:lnTo>
                      <a:pt x="6292" y="879"/>
                    </a:lnTo>
                    <a:lnTo>
                      <a:pt x="6292" y="881"/>
                    </a:lnTo>
                    <a:lnTo>
                      <a:pt x="6292" y="888"/>
                    </a:lnTo>
                    <a:lnTo>
                      <a:pt x="6295" y="888"/>
                    </a:lnTo>
                    <a:lnTo>
                      <a:pt x="6295" y="886"/>
                    </a:lnTo>
                    <a:lnTo>
                      <a:pt x="6295" y="886"/>
                    </a:lnTo>
                    <a:lnTo>
                      <a:pt x="6295" y="879"/>
                    </a:lnTo>
                    <a:close/>
                    <a:moveTo>
                      <a:pt x="6304" y="850"/>
                    </a:moveTo>
                    <a:lnTo>
                      <a:pt x="6302" y="850"/>
                    </a:lnTo>
                    <a:lnTo>
                      <a:pt x="6302" y="853"/>
                    </a:lnTo>
                    <a:lnTo>
                      <a:pt x="6302" y="872"/>
                    </a:lnTo>
                    <a:lnTo>
                      <a:pt x="6302" y="872"/>
                    </a:lnTo>
                    <a:lnTo>
                      <a:pt x="6302" y="869"/>
                    </a:lnTo>
                    <a:lnTo>
                      <a:pt x="6304" y="869"/>
                    </a:lnTo>
                    <a:lnTo>
                      <a:pt x="6304" y="850"/>
                    </a:lnTo>
                    <a:close/>
                    <a:moveTo>
                      <a:pt x="3006" y="763"/>
                    </a:moveTo>
                    <a:lnTo>
                      <a:pt x="3003" y="763"/>
                    </a:lnTo>
                    <a:lnTo>
                      <a:pt x="3003" y="765"/>
                    </a:lnTo>
                    <a:lnTo>
                      <a:pt x="3003" y="902"/>
                    </a:lnTo>
                    <a:lnTo>
                      <a:pt x="3006" y="902"/>
                    </a:lnTo>
                    <a:lnTo>
                      <a:pt x="3006" y="763"/>
                    </a:lnTo>
                    <a:close/>
                    <a:moveTo>
                      <a:pt x="5037" y="732"/>
                    </a:moveTo>
                    <a:lnTo>
                      <a:pt x="5037" y="732"/>
                    </a:lnTo>
                    <a:lnTo>
                      <a:pt x="5037" y="734"/>
                    </a:lnTo>
                    <a:lnTo>
                      <a:pt x="5037" y="895"/>
                    </a:lnTo>
                    <a:lnTo>
                      <a:pt x="5037" y="895"/>
                    </a:lnTo>
                    <a:lnTo>
                      <a:pt x="5037" y="732"/>
                    </a:lnTo>
                    <a:close/>
                    <a:moveTo>
                      <a:pt x="3044" y="659"/>
                    </a:moveTo>
                    <a:lnTo>
                      <a:pt x="3041" y="659"/>
                    </a:lnTo>
                    <a:lnTo>
                      <a:pt x="3041" y="659"/>
                    </a:lnTo>
                    <a:lnTo>
                      <a:pt x="3041" y="727"/>
                    </a:lnTo>
                    <a:lnTo>
                      <a:pt x="3044" y="727"/>
                    </a:lnTo>
                    <a:lnTo>
                      <a:pt x="3044" y="725"/>
                    </a:lnTo>
                    <a:lnTo>
                      <a:pt x="3044" y="725"/>
                    </a:lnTo>
                    <a:lnTo>
                      <a:pt x="3044" y="659"/>
                    </a:lnTo>
                    <a:close/>
                    <a:moveTo>
                      <a:pt x="3" y="618"/>
                    </a:moveTo>
                    <a:lnTo>
                      <a:pt x="0" y="618"/>
                    </a:lnTo>
                    <a:lnTo>
                      <a:pt x="0" y="618"/>
                    </a:lnTo>
                    <a:lnTo>
                      <a:pt x="0" y="1376"/>
                    </a:lnTo>
                    <a:lnTo>
                      <a:pt x="3" y="1376"/>
                    </a:lnTo>
                    <a:lnTo>
                      <a:pt x="3" y="618"/>
                    </a:lnTo>
                    <a:close/>
                    <a:moveTo>
                      <a:pt x="5157" y="611"/>
                    </a:moveTo>
                    <a:lnTo>
                      <a:pt x="5157" y="611"/>
                    </a:lnTo>
                    <a:lnTo>
                      <a:pt x="5157" y="611"/>
                    </a:lnTo>
                    <a:lnTo>
                      <a:pt x="5157" y="654"/>
                    </a:lnTo>
                    <a:lnTo>
                      <a:pt x="5157" y="654"/>
                    </a:lnTo>
                    <a:lnTo>
                      <a:pt x="5157" y="611"/>
                    </a:lnTo>
                    <a:close/>
                    <a:moveTo>
                      <a:pt x="6931" y="509"/>
                    </a:moveTo>
                    <a:lnTo>
                      <a:pt x="6928" y="509"/>
                    </a:lnTo>
                    <a:lnTo>
                      <a:pt x="6928" y="512"/>
                    </a:lnTo>
                    <a:lnTo>
                      <a:pt x="6928" y="1016"/>
                    </a:lnTo>
                    <a:lnTo>
                      <a:pt x="6931" y="1016"/>
                    </a:lnTo>
                    <a:lnTo>
                      <a:pt x="6931" y="509"/>
                    </a:lnTo>
                    <a:close/>
                    <a:moveTo>
                      <a:pt x="4098" y="505"/>
                    </a:moveTo>
                    <a:lnTo>
                      <a:pt x="4098" y="505"/>
                    </a:lnTo>
                    <a:lnTo>
                      <a:pt x="4098" y="505"/>
                    </a:lnTo>
                    <a:lnTo>
                      <a:pt x="4096" y="507"/>
                    </a:lnTo>
                    <a:lnTo>
                      <a:pt x="4096" y="507"/>
                    </a:lnTo>
                    <a:lnTo>
                      <a:pt x="4098" y="505"/>
                    </a:lnTo>
                    <a:close/>
                    <a:moveTo>
                      <a:pt x="3204" y="502"/>
                    </a:moveTo>
                    <a:lnTo>
                      <a:pt x="3204" y="502"/>
                    </a:lnTo>
                    <a:lnTo>
                      <a:pt x="3204" y="505"/>
                    </a:lnTo>
                    <a:lnTo>
                      <a:pt x="3204" y="566"/>
                    </a:lnTo>
                    <a:lnTo>
                      <a:pt x="3204" y="566"/>
                    </a:lnTo>
                    <a:lnTo>
                      <a:pt x="3204" y="564"/>
                    </a:lnTo>
                    <a:lnTo>
                      <a:pt x="3204" y="564"/>
                    </a:lnTo>
                    <a:lnTo>
                      <a:pt x="3204" y="502"/>
                    </a:lnTo>
                    <a:close/>
                    <a:moveTo>
                      <a:pt x="3942" y="455"/>
                    </a:moveTo>
                    <a:lnTo>
                      <a:pt x="3940" y="455"/>
                    </a:lnTo>
                    <a:lnTo>
                      <a:pt x="3940" y="455"/>
                    </a:lnTo>
                    <a:lnTo>
                      <a:pt x="3940" y="457"/>
                    </a:lnTo>
                    <a:lnTo>
                      <a:pt x="3940" y="493"/>
                    </a:lnTo>
                    <a:lnTo>
                      <a:pt x="3859" y="644"/>
                    </a:lnTo>
                    <a:lnTo>
                      <a:pt x="3859" y="850"/>
                    </a:lnTo>
                    <a:lnTo>
                      <a:pt x="3859" y="850"/>
                    </a:lnTo>
                    <a:lnTo>
                      <a:pt x="3859" y="642"/>
                    </a:lnTo>
                    <a:lnTo>
                      <a:pt x="3942" y="491"/>
                    </a:lnTo>
                    <a:lnTo>
                      <a:pt x="3942" y="455"/>
                    </a:lnTo>
                    <a:close/>
                    <a:moveTo>
                      <a:pt x="3235" y="434"/>
                    </a:moveTo>
                    <a:lnTo>
                      <a:pt x="3233" y="434"/>
                    </a:lnTo>
                    <a:lnTo>
                      <a:pt x="3233" y="436"/>
                    </a:lnTo>
                    <a:lnTo>
                      <a:pt x="3233" y="474"/>
                    </a:lnTo>
                    <a:lnTo>
                      <a:pt x="3233" y="474"/>
                    </a:lnTo>
                    <a:lnTo>
                      <a:pt x="3233" y="472"/>
                    </a:lnTo>
                    <a:lnTo>
                      <a:pt x="3235" y="472"/>
                    </a:lnTo>
                    <a:lnTo>
                      <a:pt x="3235" y="434"/>
                    </a:lnTo>
                    <a:close/>
                    <a:moveTo>
                      <a:pt x="3947" y="391"/>
                    </a:moveTo>
                    <a:lnTo>
                      <a:pt x="3947" y="391"/>
                    </a:lnTo>
                    <a:lnTo>
                      <a:pt x="3947" y="391"/>
                    </a:lnTo>
                    <a:lnTo>
                      <a:pt x="3947" y="393"/>
                    </a:lnTo>
                    <a:lnTo>
                      <a:pt x="3947" y="450"/>
                    </a:lnTo>
                    <a:lnTo>
                      <a:pt x="3947" y="450"/>
                    </a:lnTo>
                    <a:lnTo>
                      <a:pt x="3947" y="448"/>
                    </a:lnTo>
                    <a:lnTo>
                      <a:pt x="3947" y="448"/>
                    </a:lnTo>
                    <a:lnTo>
                      <a:pt x="3947" y="391"/>
                    </a:lnTo>
                    <a:close/>
                    <a:moveTo>
                      <a:pt x="1715" y="370"/>
                    </a:moveTo>
                    <a:lnTo>
                      <a:pt x="1712" y="370"/>
                    </a:lnTo>
                    <a:lnTo>
                      <a:pt x="1712" y="372"/>
                    </a:lnTo>
                    <a:lnTo>
                      <a:pt x="1712" y="1054"/>
                    </a:lnTo>
                    <a:lnTo>
                      <a:pt x="1715" y="1054"/>
                    </a:lnTo>
                    <a:lnTo>
                      <a:pt x="1715" y="370"/>
                    </a:lnTo>
                    <a:close/>
                    <a:moveTo>
                      <a:pt x="3956" y="327"/>
                    </a:moveTo>
                    <a:lnTo>
                      <a:pt x="3954" y="327"/>
                    </a:lnTo>
                    <a:lnTo>
                      <a:pt x="3954" y="330"/>
                    </a:lnTo>
                    <a:lnTo>
                      <a:pt x="3954" y="384"/>
                    </a:lnTo>
                    <a:lnTo>
                      <a:pt x="3956" y="384"/>
                    </a:lnTo>
                    <a:lnTo>
                      <a:pt x="3956" y="382"/>
                    </a:lnTo>
                    <a:lnTo>
                      <a:pt x="3956" y="382"/>
                    </a:lnTo>
                    <a:lnTo>
                      <a:pt x="3956" y="327"/>
                    </a:lnTo>
                    <a:close/>
                    <a:moveTo>
                      <a:pt x="4609" y="232"/>
                    </a:moveTo>
                    <a:lnTo>
                      <a:pt x="4606" y="232"/>
                    </a:lnTo>
                    <a:lnTo>
                      <a:pt x="4606" y="235"/>
                    </a:lnTo>
                    <a:lnTo>
                      <a:pt x="4552" y="441"/>
                    </a:lnTo>
                    <a:lnTo>
                      <a:pt x="4552" y="438"/>
                    </a:lnTo>
                    <a:lnTo>
                      <a:pt x="4609" y="232"/>
                    </a:lnTo>
                    <a:close/>
                    <a:moveTo>
                      <a:pt x="4758" y="0"/>
                    </a:moveTo>
                    <a:lnTo>
                      <a:pt x="4755" y="0"/>
                    </a:lnTo>
                    <a:lnTo>
                      <a:pt x="4755" y="3"/>
                    </a:lnTo>
                    <a:lnTo>
                      <a:pt x="4755" y="126"/>
                    </a:lnTo>
                    <a:lnTo>
                      <a:pt x="4758" y="126"/>
                    </a:lnTo>
                    <a:lnTo>
                      <a:pt x="4758" y="124"/>
                    </a:lnTo>
                    <a:lnTo>
                      <a:pt x="4758" y="124"/>
                    </a:lnTo>
                    <a:lnTo>
                      <a:pt x="4758"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39" name="Freeform 61"/>
              <p:cNvSpPr>
                <a:spLocks noEditPoints="1"/>
              </p:cNvSpPr>
              <p:nvPr/>
            </p:nvSpPr>
            <p:spPr bwMode="auto">
              <a:xfrm>
                <a:off x="63" y="1738"/>
                <a:ext cx="6931" cy="1376"/>
              </a:xfrm>
              <a:custGeom>
                <a:avLst/>
                <a:gdLst>
                  <a:gd name="T0" fmla="*/ 3616 w 6931"/>
                  <a:gd name="T1" fmla="*/ 1239 h 1376"/>
                  <a:gd name="T2" fmla="*/ 5734 w 6931"/>
                  <a:gd name="T3" fmla="*/ 1210 h 1376"/>
                  <a:gd name="T4" fmla="*/ 5737 w 6931"/>
                  <a:gd name="T5" fmla="*/ 1210 h 1376"/>
                  <a:gd name="T6" fmla="*/ 5760 w 6931"/>
                  <a:gd name="T7" fmla="*/ 1187 h 1376"/>
                  <a:gd name="T8" fmla="*/ 5760 w 6931"/>
                  <a:gd name="T9" fmla="*/ 1130 h 1376"/>
                  <a:gd name="T10" fmla="*/ 6226 w 6931"/>
                  <a:gd name="T11" fmla="*/ 1130 h 1376"/>
                  <a:gd name="T12" fmla="*/ 2765 w 6931"/>
                  <a:gd name="T13" fmla="*/ 1063 h 1376"/>
                  <a:gd name="T14" fmla="*/ 2765 w 6931"/>
                  <a:gd name="T15" fmla="*/ 1163 h 1376"/>
                  <a:gd name="T16" fmla="*/ 5836 w 6931"/>
                  <a:gd name="T17" fmla="*/ 1042 h 1376"/>
                  <a:gd name="T18" fmla="*/ 5836 w 6931"/>
                  <a:gd name="T19" fmla="*/ 1054 h 1376"/>
                  <a:gd name="T20" fmla="*/ 2783 w 6931"/>
                  <a:gd name="T21" fmla="*/ 1014 h 1376"/>
                  <a:gd name="T22" fmla="*/ 2783 w 6931"/>
                  <a:gd name="T23" fmla="*/ 1047 h 1376"/>
                  <a:gd name="T24" fmla="*/ 3675 w 6931"/>
                  <a:gd name="T25" fmla="*/ 995 h 1376"/>
                  <a:gd name="T26" fmla="*/ 3675 w 6931"/>
                  <a:gd name="T27" fmla="*/ 1163 h 1376"/>
                  <a:gd name="T28" fmla="*/ 5855 w 6931"/>
                  <a:gd name="T29" fmla="*/ 990 h 1376"/>
                  <a:gd name="T30" fmla="*/ 5853 w 6931"/>
                  <a:gd name="T31" fmla="*/ 1026 h 1376"/>
                  <a:gd name="T32" fmla="*/ 6245 w 6931"/>
                  <a:gd name="T33" fmla="*/ 936 h 1376"/>
                  <a:gd name="T34" fmla="*/ 6245 w 6931"/>
                  <a:gd name="T35" fmla="*/ 1113 h 1376"/>
                  <a:gd name="T36" fmla="*/ 6295 w 6931"/>
                  <a:gd name="T37" fmla="*/ 879 h 1376"/>
                  <a:gd name="T38" fmla="*/ 6292 w 6931"/>
                  <a:gd name="T39" fmla="*/ 888 h 1376"/>
                  <a:gd name="T40" fmla="*/ 6295 w 6931"/>
                  <a:gd name="T41" fmla="*/ 879 h 1376"/>
                  <a:gd name="T42" fmla="*/ 6302 w 6931"/>
                  <a:gd name="T43" fmla="*/ 872 h 1376"/>
                  <a:gd name="T44" fmla="*/ 6304 w 6931"/>
                  <a:gd name="T45" fmla="*/ 850 h 1376"/>
                  <a:gd name="T46" fmla="*/ 3003 w 6931"/>
                  <a:gd name="T47" fmla="*/ 902 h 1376"/>
                  <a:gd name="T48" fmla="*/ 5037 w 6931"/>
                  <a:gd name="T49" fmla="*/ 732 h 1376"/>
                  <a:gd name="T50" fmla="*/ 5037 w 6931"/>
                  <a:gd name="T51" fmla="*/ 732 h 1376"/>
                  <a:gd name="T52" fmla="*/ 3041 w 6931"/>
                  <a:gd name="T53" fmla="*/ 727 h 1376"/>
                  <a:gd name="T54" fmla="*/ 3044 w 6931"/>
                  <a:gd name="T55" fmla="*/ 659 h 1376"/>
                  <a:gd name="T56" fmla="*/ 0 w 6931"/>
                  <a:gd name="T57" fmla="*/ 1376 h 1376"/>
                  <a:gd name="T58" fmla="*/ 5157 w 6931"/>
                  <a:gd name="T59" fmla="*/ 611 h 1376"/>
                  <a:gd name="T60" fmla="*/ 5157 w 6931"/>
                  <a:gd name="T61" fmla="*/ 611 h 1376"/>
                  <a:gd name="T62" fmla="*/ 6928 w 6931"/>
                  <a:gd name="T63" fmla="*/ 1016 h 1376"/>
                  <a:gd name="T64" fmla="*/ 4098 w 6931"/>
                  <a:gd name="T65" fmla="*/ 505 h 1376"/>
                  <a:gd name="T66" fmla="*/ 4098 w 6931"/>
                  <a:gd name="T67" fmla="*/ 505 h 1376"/>
                  <a:gd name="T68" fmla="*/ 3204 w 6931"/>
                  <a:gd name="T69" fmla="*/ 566 h 1376"/>
                  <a:gd name="T70" fmla="*/ 3204 w 6931"/>
                  <a:gd name="T71" fmla="*/ 502 h 1376"/>
                  <a:gd name="T72" fmla="*/ 3940 w 6931"/>
                  <a:gd name="T73" fmla="*/ 457 h 1376"/>
                  <a:gd name="T74" fmla="*/ 3859 w 6931"/>
                  <a:gd name="T75" fmla="*/ 850 h 1376"/>
                  <a:gd name="T76" fmla="*/ 3235 w 6931"/>
                  <a:gd name="T77" fmla="*/ 434 h 1376"/>
                  <a:gd name="T78" fmla="*/ 3233 w 6931"/>
                  <a:gd name="T79" fmla="*/ 474 h 1376"/>
                  <a:gd name="T80" fmla="*/ 3947 w 6931"/>
                  <a:gd name="T81" fmla="*/ 391 h 1376"/>
                  <a:gd name="T82" fmla="*/ 3947 w 6931"/>
                  <a:gd name="T83" fmla="*/ 450 h 1376"/>
                  <a:gd name="T84" fmla="*/ 3947 w 6931"/>
                  <a:gd name="T85" fmla="*/ 391 h 1376"/>
                  <a:gd name="T86" fmla="*/ 1712 w 6931"/>
                  <a:gd name="T87" fmla="*/ 1054 h 1376"/>
                  <a:gd name="T88" fmla="*/ 3954 w 6931"/>
                  <a:gd name="T89" fmla="*/ 327 h 1376"/>
                  <a:gd name="T90" fmla="*/ 3956 w 6931"/>
                  <a:gd name="T91" fmla="*/ 382 h 1376"/>
                  <a:gd name="T92" fmla="*/ 4606 w 6931"/>
                  <a:gd name="T93" fmla="*/ 232 h 1376"/>
                  <a:gd name="T94" fmla="*/ 4609 w 6931"/>
                  <a:gd name="T95" fmla="*/ 232 h 1376"/>
                  <a:gd name="T96" fmla="*/ 4755 w 6931"/>
                  <a:gd name="T97" fmla="*/ 126 h 1376"/>
                  <a:gd name="T98" fmla="*/ 4758 w 6931"/>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1" h="1376">
                    <a:moveTo>
                      <a:pt x="3616" y="1222"/>
                    </a:moveTo>
                    <a:lnTo>
                      <a:pt x="3616" y="1222"/>
                    </a:lnTo>
                    <a:lnTo>
                      <a:pt x="3616" y="1224"/>
                    </a:lnTo>
                    <a:lnTo>
                      <a:pt x="3616" y="1239"/>
                    </a:lnTo>
                    <a:lnTo>
                      <a:pt x="3616" y="1239"/>
                    </a:lnTo>
                    <a:lnTo>
                      <a:pt x="3616" y="1222"/>
                    </a:lnTo>
                    <a:moveTo>
                      <a:pt x="5737" y="1210"/>
                    </a:moveTo>
                    <a:lnTo>
                      <a:pt x="5734" y="1210"/>
                    </a:lnTo>
                    <a:lnTo>
                      <a:pt x="5734" y="1213"/>
                    </a:lnTo>
                    <a:lnTo>
                      <a:pt x="5734" y="1248"/>
                    </a:lnTo>
                    <a:lnTo>
                      <a:pt x="5737" y="1248"/>
                    </a:lnTo>
                    <a:lnTo>
                      <a:pt x="5737" y="1210"/>
                    </a:lnTo>
                    <a:moveTo>
                      <a:pt x="5760" y="1130"/>
                    </a:moveTo>
                    <a:lnTo>
                      <a:pt x="5760" y="1130"/>
                    </a:lnTo>
                    <a:lnTo>
                      <a:pt x="5760" y="1130"/>
                    </a:lnTo>
                    <a:lnTo>
                      <a:pt x="5760" y="1187"/>
                    </a:lnTo>
                    <a:lnTo>
                      <a:pt x="5760" y="1187"/>
                    </a:lnTo>
                    <a:lnTo>
                      <a:pt x="5760" y="1184"/>
                    </a:lnTo>
                    <a:lnTo>
                      <a:pt x="5760" y="1184"/>
                    </a:lnTo>
                    <a:lnTo>
                      <a:pt x="5760" y="1130"/>
                    </a:lnTo>
                    <a:moveTo>
                      <a:pt x="6229" y="1130"/>
                    </a:moveTo>
                    <a:lnTo>
                      <a:pt x="6226" y="1130"/>
                    </a:lnTo>
                    <a:lnTo>
                      <a:pt x="6226" y="1130"/>
                    </a:lnTo>
                    <a:lnTo>
                      <a:pt x="6226" y="1130"/>
                    </a:lnTo>
                    <a:lnTo>
                      <a:pt x="6226" y="1132"/>
                    </a:lnTo>
                    <a:lnTo>
                      <a:pt x="6229" y="1132"/>
                    </a:lnTo>
                    <a:lnTo>
                      <a:pt x="6229" y="1130"/>
                    </a:lnTo>
                    <a:moveTo>
                      <a:pt x="2765" y="1063"/>
                    </a:moveTo>
                    <a:lnTo>
                      <a:pt x="2765" y="1063"/>
                    </a:lnTo>
                    <a:lnTo>
                      <a:pt x="2765" y="1063"/>
                    </a:lnTo>
                    <a:lnTo>
                      <a:pt x="2765" y="1066"/>
                    </a:lnTo>
                    <a:lnTo>
                      <a:pt x="2765" y="1163"/>
                    </a:lnTo>
                    <a:lnTo>
                      <a:pt x="2765" y="1163"/>
                    </a:lnTo>
                    <a:lnTo>
                      <a:pt x="2765" y="1063"/>
                    </a:lnTo>
                    <a:moveTo>
                      <a:pt x="5836" y="1042"/>
                    </a:moveTo>
                    <a:lnTo>
                      <a:pt x="5836" y="1042"/>
                    </a:lnTo>
                    <a:lnTo>
                      <a:pt x="5834" y="1042"/>
                    </a:lnTo>
                    <a:lnTo>
                      <a:pt x="5834" y="1045"/>
                    </a:lnTo>
                    <a:lnTo>
                      <a:pt x="5834" y="1054"/>
                    </a:lnTo>
                    <a:lnTo>
                      <a:pt x="5836" y="1054"/>
                    </a:lnTo>
                    <a:lnTo>
                      <a:pt x="5836" y="1054"/>
                    </a:lnTo>
                    <a:lnTo>
                      <a:pt x="5836" y="1054"/>
                    </a:lnTo>
                    <a:lnTo>
                      <a:pt x="5836" y="1042"/>
                    </a:lnTo>
                    <a:moveTo>
                      <a:pt x="2783" y="1014"/>
                    </a:moveTo>
                    <a:lnTo>
                      <a:pt x="2781" y="1014"/>
                    </a:lnTo>
                    <a:lnTo>
                      <a:pt x="2781" y="1014"/>
                    </a:lnTo>
                    <a:lnTo>
                      <a:pt x="2781" y="1047"/>
                    </a:lnTo>
                    <a:lnTo>
                      <a:pt x="2783" y="1047"/>
                    </a:lnTo>
                    <a:lnTo>
                      <a:pt x="2783" y="1045"/>
                    </a:lnTo>
                    <a:lnTo>
                      <a:pt x="2783" y="1045"/>
                    </a:lnTo>
                    <a:lnTo>
                      <a:pt x="2783" y="1014"/>
                    </a:lnTo>
                    <a:moveTo>
                      <a:pt x="3675" y="995"/>
                    </a:moveTo>
                    <a:lnTo>
                      <a:pt x="3675" y="995"/>
                    </a:lnTo>
                    <a:lnTo>
                      <a:pt x="3675" y="997"/>
                    </a:lnTo>
                    <a:lnTo>
                      <a:pt x="3675" y="1163"/>
                    </a:lnTo>
                    <a:lnTo>
                      <a:pt x="3675" y="1163"/>
                    </a:lnTo>
                    <a:lnTo>
                      <a:pt x="3675" y="1163"/>
                    </a:lnTo>
                    <a:lnTo>
                      <a:pt x="3675" y="1163"/>
                    </a:lnTo>
                    <a:lnTo>
                      <a:pt x="3675" y="995"/>
                    </a:lnTo>
                    <a:moveTo>
                      <a:pt x="5855" y="990"/>
                    </a:moveTo>
                    <a:lnTo>
                      <a:pt x="5853" y="990"/>
                    </a:lnTo>
                    <a:lnTo>
                      <a:pt x="5853" y="992"/>
                    </a:lnTo>
                    <a:lnTo>
                      <a:pt x="5853" y="1026"/>
                    </a:lnTo>
                    <a:lnTo>
                      <a:pt x="5853" y="1026"/>
                    </a:lnTo>
                    <a:lnTo>
                      <a:pt x="5853" y="1023"/>
                    </a:lnTo>
                    <a:lnTo>
                      <a:pt x="5855" y="1023"/>
                    </a:lnTo>
                    <a:lnTo>
                      <a:pt x="5855" y="990"/>
                    </a:lnTo>
                    <a:moveTo>
                      <a:pt x="6245" y="936"/>
                    </a:moveTo>
                    <a:lnTo>
                      <a:pt x="6243" y="936"/>
                    </a:lnTo>
                    <a:lnTo>
                      <a:pt x="6243" y="938"/>
                    </a:lnTo>
                    <a:lnTo>
                      <a:pt x="6243" y="1113"/>
                    </a:lnTo>
                    <a:lnTo>
                      <a:pt x="6245" y="1113"/>
                    </a:lnTo>
                    <a:lnTo>
                      <a:pt x="6245" y="1111"/>
                    </a:lnTo>
                    <a:lnTo>
                      <a:pt x="6245" y="1111"/>
                    </a:lnTo>
                    <a:lnTo>
                      <a:pt x="6245" y="936"/>
                    </a:lnTo>
                    <a:moveTo>
                      <a:pt x="6295" y="879"/>
                    </a:moveTo>
                    <a:lnTo>
                      <a:pt x="6295" y="879"/>
                    </a:lnTo>
                    <a:lnTo>
                      <a:pt x="6292" y="879"/>
                    </a:lnTo>
                    <a:lnTo>
                      <a:pt x="6292" y="881"/>
                    </a:lnTo>
                    <a:lnTo>
                      <a:pt x="6292" y="888"/>
                    </a:lnTo>
                    <a:lnTo>
                      <a:pt x="6295" y="888"/>
                    </a:lnTo>
                    <a:lnTo>
                      <a:pt x="6295" y="886"/>
                    </a:lnTo>
                    <a:lnTo>
                      <a:pt x="6295" y="886"/>
                    </a:lnTo>
                    <a:lnTo>
                      <a:pt x="6295" y="879"/>
                    </a:lnTo>
                    <a:moveTo>
                      <a:pt x="6304" y="850"/>
                    </a:moveTo>
                    <a:lnTo>
                      <a:pt x="6302" y="850"/>
                    </a:lnTo>
                    <a:lnTo>
                      <a:pt x="6302" y="853"/>
                    </a:lnTo>
                    <a:lnTo>
                      <a:pt x="6302" y="872"/>
                    </a:lnTo>
                    <a:lnTo>
                      <a:pt x="6302" y="872"/>
                    </a:lnTo>
                    <a:lnTo>
                      <a:pt x="6302" y="869"/>
                    </a:lnTo>
                    <a:lnTo>
                      <a:pt x="6304" y="869"/>
                    </a:lnTo>
                    <a:lnTo>
                      <a:pt x="6304" y="850"/>
                    </a:lnTo>
                    <a:moveTo>
                      <a:pt x="3006" y="763"/>
                    </a:moveTo>
                    <a:lnTo>
                      <a:pt x="3003" y="763"/>
                    </a:lnTo>
                    <a:lnTo>
                      <a:pt x="3003" y="765"/>
                    </a:lnTo>
                    <a:lnTo>
                      <a:pt x="3003" y="902"/>
                    </a:lnTo>
                    <a:lnTo>
                      <a:pt x="3006" y="902"/>
                    </a:lnTo>
                    <a:lnTo>
                      <a:pt x="3006" y="763"/>
                    </a:lnTo>
                    <a:moveTo>
                      <a:pt x="5037" y="732"/>
                    </a:moveTo>
                    <a:lnTo>
                      <a:pt x="5037" y="732"/>
                    </a:lnTo>
                    <a:lnTo>
                      <a:pt x="5037" y="734"/>
                    </a:lnTo>
                    <a:lnTo>
                      <a:pt x="5037" y="895"/>
                    </a:lnTo>
                    <a:lnTo>
                      <a:pt x="5037" y="895"/>
                    </a:lnTo>
                    <a:lnTo>
                      <a:pt x="5037" y="732"/>
                    </a:lnTo>
                    <a:moveTo>
                      <a:pt x="3044" y="659"/>
                    </a:moveTo>
                    <a:lnTo>
                      <a:pt x="3041" y="659"/>
                    </a:lnTo>
                    <a:lnTo>
                      <a:pt x="3041" y="659"/>
                    </a:lnTo>
                    <a:lnTo>
                      <a:pt x="3041" y="727"/>
                    </a:lnTo>
                    <a:lnTo>
                      <a:pt x="3044" y="727"/>
                    </a:lnTo>
                    <a:lnTo>
                      <a:pt x="3044" y="725"/>
                    </a:lnTo>
                    <a:lnTo>
                      <a:pt x="3044" y="725"/>
                    </a:lnTo>
                    <a:lnTo>
                      <a:pt x="3044" y="659"/>
                    </a:lnTo>
                    <a:moveTo>
                      <a:pt x="3" y="618"/>
                    </a:moveTo>
                    <a:lnTo>
                      <a:pt x="0" y="618"/>
                    </a:lnTo>
                    <a:lnTo>
                      <a:pt x="0" y="618"/>
                    </a:lnTo>
                    <a:lnTo>
                      <a:pt x="0" y="1376"/>
                    </a:lnTo>
                    <a:lnTo>
                      <a:pt x="3" y="1376"/>
                    </a:lnTo>
                    <a:lnTo>
                      <a:pt x="3" y="618"/>
                    </a:lnTo>
                    <a:moveTo>
                      <a:pt x="5157" y="611"/>
                    </a:moveTo>
                    <a:lnTo>
                      <a:pt x="5157" y="611"/>
                    </a:lnTo>
                    <a:lnTo>
                      <a:pt x="5157" y="611"/>
                    </a:lnTo>
                    <a:lnTo>
                      <a:pt x="5157" y="654"/>
                    </a:lnTo>
                    <a:lnTo>
                      <a:pt x="5157" y="654"/>
                    </a:lnTo>
                    <a:lnTo>
                      <a:pt x="5157" y="611"/>
                    </a:lnTo>
                    <a:moveTo>
                      <a:pt x="6931" y="509"/>
                    </a:moveTo>
                    <a:lnTo>
                      <a:pt x="6928" y="509"/>
                    </a:lnTo>
                    <a:lnTo>
                      <a:pt x="6928" y="512"/>
                    </a:lnTo>
                    <a:lnTo>
                      <a:pt x="6928" y="1016"/>
                    </a:lnTo>
                    <a:lnTo>
                      <a:pt x="6931" y="1016"/>
                    </a:lnTo>
                    <a:lnTo>
                      <a:pt x="6931" y="509"/>
                    </a:lnTo>
                    <a:moveTo>
                      <a:pt x="4098" y="505"/>
                    </a:moveTo>
                    <a:lnTo>
                      <a:pt x="4098" y="505"/>
                    </a:lnTo>
                    <a:lnTo>
                      <a:pt x="4098" y="505"/>
                    </a:lnTo>
                    <a:lnTo>
                      <a:pt x="4096" y="507"/>
                    </a:lnTo>
                    <a:lnTo>
                      <a:pt x="4096" y="507"/>
                    </a:lnTo>
                    <a:lnTo>
                      <a:pt x="4098" y="505"/>
                    </a:lnTo>
                    <a:moveTo>
                      <a:pt x="3204" y="502"/>
                    </a:moveTo>
                    <a:lnTo>
                      <a:pt x="3204" y="502"/>
                    </a:lnTo>
                    <a:lnTo>
                      <a:pt x="3204" y="505"/>
                    </a:lnTo>
                    <a:lnTo>
                      <a:pt x="3204" y="566"/>
                    </a:lnTo>
                    <a:lnTo>
                      <a:pt x="3204" y="566"/>
                    </a:lnTo>
                    <a:lnTo>
                      <a:pt x="3204" y="564"/>
                    </a:lnTo>
                    <a:lnTo>
                      <a:pt x="3204" y="564"/>
                    </a:lnTo>
                    <a:lnTo>
                      <a:pt x="3204" y="502"/>
                    </a:lnTo>
                    <a:moveTo>
                      <a:pt x="3942" y="455"/>
                    </a:moveTo>
                    <a:lnTo>
                      <a:pt x="3940" y="455"/>
                    </a:lnTo>
                    <a:lnTo>
                      <a:pt x="3940" y="455"/>
                    </a:lnTo>
                    <a:lnTo>
                      <a:pt x="3940" y="457"/>
                    </a:lnTo>
                    <a:lnTo>
                      <a:pt x="3940" y="493"/>
                    </a:lnTo>
                    <a:lnTo>
                      <a:pt x="3859" y="644"/>
                    </a:lnTo>
                    <a:lnTo>
                      <a:pt x="3859" y="850"/>
                    </a:lnTo>
                    <a:lnTo>
                      <a:pt x="3859" y="850"/>
                    </a:lnTo>
                    <a:lnTo>
                      <a:pt x="3859" y="642"/>
                    </a:lnTo>
                    <a:lnTo>
                      <a:pt x="3942" y="491"/>
                    </a:lnTo>
                    <a:lnTo>
                      <a:pt x="3942" y="455"/>
                    </a:lnTo>
                    <a:moveTo>
                      <a:pt x="3235" y="434"/>
                    </a:moveTo>
                    <a:lnTo>
                      <a:pt x="3233" y="434"/>
                    </a:lnTo>
                    <a:lnTo>
                      <a:pt x="3233" y="436"/>
                    </a:lnTo>
                    <a:lnTo>
                      <a:pt x="3233" y="474"/>
                    </a:lnTo>
                    <a:lnTo>
                      <a:pt x="3233" y="474"/>
                    </a:lnTo>
                    <a:lnTo>
                      <a:pt x="3233" y="472"/>
                    </a:lnTo>
                    <a:lnTo>
                      <a:pt x="3235" y="472"/>
                    </a:lnTo>
                    <a:lnTo>
                      <a:pt x="3235" y="434"/>
                    </a:lnTo>
                    <a:moveTo>
                      <a:pt x="3947" y="391"/>
                    </a:moveTo>
                    <a:lnTo>
                      <a:pt x="3947" y="391"/>
                    </a:lnTo>
                    <a:lnTo>
                      <a:pt x="3947" y="391"/>
                    </a:lnTo>
                    <a:lnTo>
                      <a:pt x="3947" y="393"/>
                    </a:lnTo>
                    <a:lnTo>
                      <a:pt x="3947" y="450"/>
                    </a:lnTo>
                    <a:lnTo>
                      <a:pt x="3947" y="450"/>
                    </a:lnTo>
                    <a:lnTo>
                      <a:pt x="3947" y="448"/>
                    </a:lnTo>
                    <a:lnTo>
                      <a:pt x="3947" y="448"/>
                    </a:lnTo>
                    <a:lnTo>
                      <a:pt x="3947" y="391"/>
                    </a:lnTo>
                    <a:moveTo>
                      <a:pt x="1715" y="370"/>
                    </a:moveTo>
                    <a:lnTo>
                      <a:pt x="1712" y="370"/>
                    </a:lnTo>
                    <a:lnTo>
                      <a:pt x="1712" y="372"/>
                    </a:lnTo>
                    <a:lnTo>
                      <a:pt x="1712" y="1054"/>
                    </a:lnTo>
                    <a:lnTo>
                      <a:pt x="1715" y="1054"/>
                    </a:lnTo>
                    <a:lnTo>
                      <a:pt x="1715" y="370"/>
                    </a:lnTo>
                    <a:moveTo>
                      <a:pt x="3956" y="327"/>
                    </a:moveTo>
                    <a:lnTo>
                      <a:pt x="3954" y="327"/>
                    </a:lnTo>
                    <a:lnTo>
                      <a:pt x="3954" y="330"/>
                    </a:lnTo>
                    <a:lnTo>
                      <a:pt x="3954" y="384"/>
                    </a:lnTo>
                    <a:lnTo>
                      <a:pt x="3956" y="384"/>
                    </a:lnTo>
                    <a:lnTo>
                      <a:pt x="3956" y="382"/>
                    </a:lnTo>
                    <a:lnTo>
                      <a:pt x="3956" y="382"/>
                    </a:lnTo>
                    <a:lnTo>
                      <a:pt x="3956" y="327"/>
                    </a:lnTo>
                    <a:moveTo>
                      <a:pt x="4609" y="232"/>
                    </a:moveTo>
                    <a:lnTo>
                      <a:pt x="4606" y="232"/>
                    </a:lnTo>
                    <a:lnTo>
                      <a:pt x="4606" y="235"/>
                    </a:lnTo>
                    <a:lnTo>
                      <a:pt x="4552" y="441"/>
                    </a:lnTo>
                    <a:lnTo>
                      <a:pt x="4552" y="438"/>
                    </a:lnTo>
                    <a:lnTo>
                      <a:pt x="4609" y="232"/>
                    </a:lnTo>
                    <a:moveTo>
                      <a:pt x="4758" y="0"/>
                    </a:moveTo>
                    <a:lnTo>
                      <a:pt x="4755" y="0"/>
                    </a:lnTo>
                    <a:lnTo>
                      <a:pt x="4755" y="3"/>
                    </a:lnTo>
                    <a:lnTo>
                      <a:pt x="4755" y="126"/>
                    </a:lnTo>
                    <a:lnTo>
                      <a:pt x="4758" y="126"/>
                    </a:lnTo>
                    <a:lnTo>
                      <a:pt x="4758" y="124"/>
                    </a:lnTo>
                    <a:lnTo>
                      <a:pt x="4758" y="124"/>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0" name="Freeform 62"/>
              <p:cNvSpPr>
                <a:spLocks noEditPoints="1"/>
              </p:cNvSpPr>
              <p:nvPr/>
            </p:nvSpPr>
            <p:spPr bwMode="auto">
              <a:xfrm>
                <a:off x="66" y="1738"/>
                <a:ext cx="6930" cy="1376"/>
              </a:xfrm>
              <a:custGeom>
                <a:avLst/>
                <a:gdLst>
                  <a:gd name="T0" fmla="*/ 3613 w 6930"/>
                  <a:gd name="T1" fmla="*/ 1239 h 1376"/>
                  <a:gd name="T2" fmla="*/ 5734 w 6930"/>
                  <a:gd name="T3" fmla="*/ 1208 h 1376"/>
                  <a:gd name="T4" fmla="*/ 5736 w 6930"/>
                  <a:gd name="T5" fmla="*/ 1208 h 1376"/>
                  <a:gd name="T6" fmla="*/ 5757 w 6930"/>
                  <a:gd name="T7" fmla="*/ 1184 h 1376"/>
                  <a:gd name="T8" fmla="*/ 5760 w 6930"/>
                  <a:gd name="T9" fmla="*/ 1127 h 1376"/>
                  <a:gd name="T10" fmla="*/ 6226 w 6930"/>
                  <a:gd name="T11" fmla="*/ 1130 h 1376"/>
                  <a:gd name="T12" fmla="*/ 2764 w 6930"/>
                  <a:gd name="T13" fmla="*/ 1061 h 1376"/>
                  <a:gd name="T14" fmla="*/ 2762 w 6930"/>
                  <a:gd name="T15" fmla="*/ 1163 h 1376"/>
                  <a:gd name="T16" fmla="*/ 5835 w 6930"/>
                  <a:gd name="T17" fmla="*/ 1040 h 1376"/>
                  <a:gd name="T18" fmla="*/ 5835 w 6930"/>
                  <a:gd name="T19" fmla="*/ 1054 h 1376"/>
                  <a:gd name="T20" fmla="*/ 2783 w 6930"/>
                  <a:gd name="T21" fmla="*/ 1011 h 1376"/>
                  <a:gd name="T22" fmla="*/ 2780 w 6930"/>
                  <a:gd name="T23" fmla="*/ 1045 h 1376"/>
                  <a:gd name="T24" fmla="*/ 3674 w 6930"/>
                  <a:gd name="T25" fmla="*/ 992 h 1376"/>
                  <a:gd name="T26" fmla="*/ 3674 w 6930"/>
                  <a:gd name="T27" fmla="*/ 1163 h 1376"/>
                  <a:gd name="T28" fmla="*/ 5854 w 6930"/>
                  <a:gd name="T29" fmla="*/ 988 h 1376"/>
                  <a:gd name="T30" fmla="*/ 5852 w 6930"/>
                  <a:gd name="T31" fmla="*/ 1023 h 1376"/>
                  <a:gd name="T32" fmla="*/ 6244 w 6930"/>
                  <a:gd name="T33" fmla="*/ 936 h 1376"/>
                  <a:gd name="T34" fmla="*/ 6244 w 6930"/>
                  <a:gd name="T35" fmla="*/ 1111 h 1376"/>
                  <a:gd name="T36" fmla="*/ 6294 w 6930"/>
                  <a:gd name="T37" fmla="*/ 876 h 1376"/>
                  <a:gd name="T38" fmla="*/ 6292 w 6930"/>
                  <a:gd name="T39" fmla="*/ 886 h 1376"/>
                  <a:gd name="T40" fmla="*/ 6294 w 6930"/>
                  <a:gd name="T41" fmla="*/ 876 h 1376"/>
                  <a:gd name="T42" fmla="*/ 6301 w 6930"/>
                  <a:gd name="T43" fmla="*/ 869 h 1376"/>
                  <a:gd name="T44" fmla="*/ 6301 w 6930"/>
                  <a:gd name="T45" fmla="*/ 850 h 1376"/>
                  <a:gd name="T46" fmla="*/ 3003 w 6930"/>
                  <a:gd name="T47" fmla="*/ 902 h 1376"/>
                  <a:gd name="T48" fmla="*/ 5034 w 6930"/>
                  <a:gd name="T49" fmla="*/ 732 h 1376"/>
                  <a:gd name="T50" fmla="*/ 5036 w 6930"/>
                  <a:gd name="T51" fmla="*/ 732 h 1376"/>
                  <a:gd name="T52" fmla="*/ 3041 w 6930"/>
                  <a:gd name="T53" fmla="*/ 725 h 1376"/>
                  <a:gd name="T54" fmla="*/ 3043 w 6930"/>
                  <a:gd name="T55" fmla="*/ 656 h 1376"/>
                  <a:gd name="T56" fmla="*/ 0 w 6930"/>
                  <a:gd name="T57" fmla="*/ 1376 h 1376"/>
                  <a:gd name="T58" fmla="*/ 5154 w 6930"/>
                  <a:gd name="T59" fmla="*/ 609 h 1376"/>
                  <a:gd name="T60" fmla="*/ 5157 w 6930"/>
                  <a:gd name="T61" fmla="*/ 609 h 1376"/>
                  <a:gd name="T62" fmla="*/ 6928 w 6930"/>
                  <a:gd name="T63" fmla="*/ 1016 h 1376"/>
                  <a:gd name="T64" fmla="*/ 4097 w 6930"/>
                  <a:gd name="T65" fmla="*/ 502 h 1376"/>
                  <a:gd name="T66" fmla="*/ 4097 w 6930"/>
                  <a:gd name="T67" fmla="*/ 502 h 1376"/>
                  <a:gd name="T68" fmla="*/ 3201 w 6930"/>
                  <a:gd name="T69" fmla="*/ 564 h 1376"/>
                  <a:gd name="T70" fmla="*/ 3204 w 6930"/>
                  <a:gd name="T71" fmla="*/ 500 h 1376"/>
                  <a:gd name="T72" fmla="*/ 3939 w 6930"/>
                  <a:gd name="T73" fmla="*/ 455 h 1376"/>
                  <a:gd name="T74" fmla="*/ 3859 w 6930"/>
                  <a:gd name="T75" fmla="*/ 850 h 1376"/>
                  <a:gd name="T76" fmla="*/ 3232 w 6930"/>
                  <a:gd name="T77" fmla="*/ 434 h 1376"/>
                  <a:gd name="T78" fmla="*/ 3232 w 6930"/>
                  <a:gd name="T79" fmla="*/ 472 h 1376"/>
                  <a:gd name="T80" fmla="*/ 3946 w 6930"/>
                  <a:gd name="T81" fmla="*/ 391 h 1376"/>
                  <a:gd name="T82" fmla="*/ 3944 w 6930"/>
                  <a:gd name="T83" fmla="*/ 448 h 1376"/>
                  <a:gd name="T84" fmla="*/ 3946 w 6930"/>
                  <a:gd name="T85" fmla="*/ 391 h 1376"/>
                  <a:gd name="T86" fmla="*/ 1712 w 6930"/>
                  <a:gd name="T87" fmla="*/ 1054 h 1376"/>
                  <a:gd name="T88" fmla="*/ 3953 w 6930"/>
                  <a:gd name="T89" fmla="*/ 327 h 1376"/>
                  <a:gd name="T90" fmla="*/ 3953 w 6930"/>
                  <a:gd name="T91" fmla="*/ 382 h 1376"/>
                  <a:gd name="T92" fmla="*/ 4606 w 6930"/>
                  <a:gd name="T93" fmla="*/ 230 h 1376"/>
                  <a:gd name="T94" fmla="*/ 4608 w 6930"/>
                  <a:gd name="T95" fmla="*/ 230 h 1376"/>
                  <a:gd name="T96" fmla="*/ 4755 w 6930"/>
                  <a:gd name="T97" fmla="*/ 124 h 1376"/>
                  <a:gd name="T98" fmla="*/ 4757 w 6930"/>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76">
                    <a:moveTo>
                      <a:pt x="3615" y="1222"/>
                    </a:moveTo>
                    <a:lnTo>
                      <a:pt x="3613" y="1222"/>
                    </a:lnTo>
                    <a:lnTo>
                      <a:pt x="3613" y="1222"/>
                    </a:lnTo>
                    <a:lnTo>
                      <a:pt x="3613" y="1239"/>
                    </a:lnTo>
                    <a:lnTo>
                      <a:pt x="3615" y="1239"/>
                    </a:lnTo>
                    <a:lnTo>
                      <a:pt x="3615" y="1222"/>
                    </a:lnTo>
                    <a:close/>
                    <a:moveTo>
                      <a:pt x="5736" y="1208"/>
                    </a:moveTo>
                    <a:lnTo>
                      <a:pt x="5734" y="1208"/>
                    </a:lnTo>
                    <a:lnTo>
                      <a:pt x="5734" y="1210"/>
                    </a:lnTo>
                    <a:lnTo>
                      <a:pt x="5734" y="1248"/>
                    </a:lnTo>
                    <a:lnTo>
                      <a:pt x="5736" y="1248"/>
                    </a:lnTo>
                    <a:lnTo>
                      <a:pt x="5736" y="1208"/>
                    </a:lnTo>
                    <a:close/>
                    <a:moveTo>
                      <a:pt x="5760" y="1127"/>
                    </a:moveTo>
                    <a:lnTo>
                      <a:pt x="5757" y="1127"/>
                    </a:lnTo>
                    <a:lnTo>
                      <a:pt x="5757" y="1130"/>
                    </a:lnTo>
                    <a:lnTo>
                      <a:pt x="5757" y="1184"/>
                    </a:lnTo>
                    <a:lnTo>
                      <a:pt x="5760" y="1184"/>
                    </a:lnTo>
                    <a:lnTo>
                      <a:pt x="5760" y="1182"/>
                    </a:lnTo>
                    <a:lnTo>
                      <a:pt x="5760" y="1182"/>
                    </a:lnTo>
                    <a:lnTo>
                      <a:pt x="5760" y="1127"/>
                    </a:lnTo>
                    <a:close/>
                    <a:moveTo>
                      <a:pt x="6228" y="1127"/>
                    </a:moveTo>
                    <a:lnTo>
                      <a:pt x="6226" y="1127"/>
                    </a:lnTo>
                    <a:lnTo>
                      <a:pt x="6226" y="1127"/>
                    </a:lnTo>
                    <a:lnTo>
                      <a:pt x="6226" y="1130"/>
                    </a:lnTo>
                    <a:lnTo>
                      <a:pt x="6226" y="1132"/>
                    </a:lnTo>
                    <a:lnTo>
                      <a:pt x="6228" y="1132"/>
                    </a:lnTo>
                    <a:lnTo>
                      <a:pt x="6228" y="1127"/>
                    </a:lnTo>
                    <a:close/>
                    <a:moveTo>
                      <a:pt x="2764" y="1061"/>
                    </a:moveTo>
                    <a:lnTo>
                      <a:pt x="2764" y="1061"/>
                    </a:lnTo>
                    <a:lnTo>
                      <a:pt x="2762" y="1061"/>
                    </a:lnTo>
                    <a:lnTo>
                      <a:pt x="2762" y="1063"/>
                    </a:lnTo>
                    <a:lnTo>
                      <a:pt x="2762" y="1163"/>
                    </a:lnTo>
                    <a:lnTo>
                      <a:pt x="2764" y="1163"/>
                    </a:lnTo>
                    <a:lnTo>
                      <a:pt x="2764" y="1061"/>
                    </a:lnTo>
                    <a:close/>
                    <a:moveTo>
                      <a:pt x="5835" y="1040"/>
                    </a:moveTo>
                    <a:lnTo>
                      <a:pt x="5835" y="1040"/>
                    </a:lnTo>
                    <a:lnTo>
                      <a:pt x="5833" y="1040"/>
                    </a:lnTo>
                    <a:lnTo>
                      <a:pt x="5833" y="1042"/>
                    </a:lnTo>
                    <a:lnTo>
                      <a:pt x="5833" y="1054"/>
                    </a:lnTo>
                    <a:lnTo>
                      <a:pt x="5835" y="1054"/>
                    </a:lnTo>
                    <a:lnTo>
                      <a:pt x="5835" y="1052"/>
                    </a:lnTo>
                    <a:lnTo>
                      <a:pt x="5835" y="1052"/>
                    </a:lnTo>
                    <a:lnTo>
                      <a:pt x="5835" y="1040"/>
                    </a:lnTo>
                    <a:close/>
                    <a:moveTo>
                      <a:pt x="2783" y="1011"/>
                    </a:moveTo>
                    <a:lnTo>
                      <a:pt x="2780" y="1011"/>
                    </a:lnTo>
                    <a:lnTo>
                      <a:pt x="2780" y="1014"/>
                    </a:lnTo>
                    <a:lnTo>
                      <a:pt x="2780" y="1045"/>
                    </a:lnTo>
                    <a:lnTo>
                      <a:pt x="2780" y="1045"/>
                    </a:lnTo>
                    <a:lnTo>
                      <a:pt x="2780" y="1042"/>
                    </a:lnTo>
                    <a:lnTo>
                      <a:pt x="2783" y="1042"/>
                    </a:lnTo>
                    <a:lnTo>
                      <a:pt x="2783" y="1011"/>
                    </a:lnTo>
                    <a:close/>
                    <a:moveTo>
                      <a:pt x="3674" y="992"/>
                    </a:moveTo>
                    <a:lnTo>
                      <a:pt x="3672" y="992"/>
                    </a:lnTo>
                    <a:lnTo>
                      <a:pt x="3672" y="995"/>
                    </a:lnTo>
                    <a:lnTo>
                      <a:pt x="3672" y="1163"/>
                    </a:lnTo>
                    <a:lnTo>
                      <a:pt x="3674" y="1163"/>
                    </a:lnTo>
                    <a:lnTo>
                      <a:pt x="3674" y="1161"/>
                    </a:lnTo>
                    <a:lnTo>
                      <a:pt x="3674" y="1161"/>
                    </a:lnTo>
                    <a:lnTo>
                      <a:pt x="3674" y="992"/>
                    </a:lnTo>
                    <a:close/>
                    <a:moveTo>
                      <a:pt x="5854" y="988"/>
                    </a:moveTo>
                    <a:lnTo>
                      <a:pt x="5852" y="988"/>
                    </a:lnTo>
                    <a:lnTo>
                      <a:pt x="5852" y="990"/>
                    </a:lnTo>
                    <a:lnTo>
                      <a:pt x="5852" y="1023"/>
                    </a:lnTo>
                    <a:lnTo>
                      <a:pt x="5852" y="1023"/>
                    </a:lnTo>
                    <a:lnTo>
                      <a:pt x="5852" y="1021"/>
                    </a:lnTo>
                    <a:lnTo>
                      <a:pt x="5854" y="1021"/>
                    </a:lnTo>
                    <a:lnTo>
                      <a:pt x="5854" y="988"/>
                    </a:lnTo>
                    <a:close/>
                    <a:moveTo>
                      <a:pt x="6244" y="936"/>
                    </a:moveTo>
                    <a:lnTo>
                      <a:pt x="6242" y="936"/>
                    </a:lnTo>
                    <a:lnTo>
                      <a:pt x="6242" y="936"/>
                    </a:lnTo>
                    <a:lnTo>
                      <a:pt x="6242" y="1111"/>
                    </a:lnTo>
                    <a:lnTo>
                      <a:pt x="6244" y="1111"/>
                    </a:lnTo>
                    <a:lnTo>
                      <a:pt x="6244" y="1108"/>
                    </a:lnTo>
                    <a:lnTo>
                      <a:pt x="6244" y="1108"/>
                    </a:lnTo>
                    <a:lnTo>
                      <a:pt x="6244" y="936"/>
                    </a:lnTo>
                    <a:close/>
                    <a:moveTo>
                      <a:pt x="6294" y="876"/>
                    </a:moveTo>
                    <a:lnTo>
                      <a:pt x="6292" y="876"/>
                    </a:lnTo>
                    <a:lnTo>
                      <a:pt x="6292" y="876"/>
                    </a:lnTo>
                    <a:lnTo>
                      <a:pt x="6292" y="879"/>
                    </a:lnTo>
                    <a:lnTo>
                      <a:pt x="6292" y="886"/>
                    </a:lnTo>
                    <a:lnTo>
                      <a:pt x="6292" y="886"/>
                    </a:lnTo>
                    <a:lnTo>
                      <a:pt x="6292" y="884"/>
                    </a:lnTo>
                    <a:lnTo>
                      <a:pt x="6294" y="884"/>
                    </a:lnTo>
                    <a:lnTo>
                      <a:pt x="6294" y="876"/>
                    </a:lnTo>
                    <a:close/>
                    <a:moveTo>
                      <a:pt x="6301" y="850"/>
                    </a:moveTo>
                    <a:lnTo>
                      <a:pt x="6301" y="850"/>
                    </a:lnTo>
                    <a:lnTo>
                      <a:pt x="6301" y="850"/>
                    </a:lnTo>
                    <a:lnTo>
                      <a:pt x="6301" y="869"/>
                    </a:lnTo>
                    <a:lnTo>
                      <a:pt x="6301" y="869"/>
                    </a:lnTo>
                    <a:lnTo>
                      <a:pt x="6301" y="869"/>
                    </a:lnTo>
                    <a:lnTo>
                      <a:pt x="6301" y="869"/>
                    </a:lnTo>
                    <a:lnTo>
                      <a:pt x="6301" y="850"/>
                    </a:lnTo>
                    <a:close/>
                    <a:moveTo>
                      <a:pt x="3005" y="763"/>
                    </a:moveTo>
                    <a:lnTo>
                      <a:pt x="3003" y="763"/>
                    </a:lnTo>
                    <a:lnTo>
                      <a:pt x="3003" y="763"/>
                    </a:lnTo>
                    <a:lnTo>
                      <a:pt x="3003" y="902"/>
                    </a:lnTo>
                    <a:lnTo>
                      <a:pt x="3005" y="902"/>
                    </a:lnTo>
                    <a:lnTo>
                      <a:pt x="3005" y="763"/>
                    </a:lnTo>
                    <a:close/>
                    <a:moveTo>
                      <a:pt x="5036" y="732"/>
                    </a:moveTo>
                    <a:lnTo>
                      <a:pt x="5034" y="732"/>
                    </a:lnTo>
                    <a:lnTo>
                      <a:pt x="5034" y="732"/>
                    </a:lnTo>
                    <a:lnTo>
                      <a:pt x="5034" y="895"/>
                    </a:lnTo>
                    <a:lnTo>
                      <a:pt x="5036" y="895"/>
                    </a:lnTo>
                    <a:lnTo>
                      <a:pt x="5036" y="732"/>
                    </a:lnTo>
                    <a:close/>
                    <a:moveTo>
                      <a:pt x="3043" y="656"/>
                    </a:moveTo>
                    <a:lnTo>
                      <a:pt x="3041" y="656"/>
                    </a:lnTo>
                    <a:lnTo>
                      <a:pt x="3041" y="659"/>
                    </a:lnTo>
                    <a:lnTo>
                      <a:pt x="3041" y="725"/>
                    </a:lnTo>
                    <a:lnTo>
                      <a:pt x="3041" y="725"/>
                    </a:lnTo>
                    <a:lnTo>
                      <a:pt x="3041" y="723"/>
                    </a:lnTo>
                    <a:lnTo>
                      <a:pt x="3043" y="723"/>
                    </a:lnTo>
                    <a:lnTo>
                      <a:pt x="3043" y="656"/>
                    </a:lnTo>
                    <a:close/>
                    <a:moveTo>
                      <a:pt x="2" y="616"/>
                    </a:moveTo>
                    <a:lnTo>
                      <a:pt x="0" y="616"/>
                    </a:lnTo>
                    <a:lnTo>
                      <a:pt x="0" y="618"/>
                    </a:lnTo>
                    <a:lnTo>
                      <a:pt x="0" y="1376"/>
                    </a:lnTo>
                    <a:lnTo>
                      <a:pt x="2" y="1376"/>
                    </a:lnTo>
                    <a:lnTo>
                      <a:pt x="2" y="616"/>
                    </a:lnTo>
                    <a:close/>
                    <a:moveTo>
                      <a:pt x="5157" y="609"/>
                    </a:moveTo>
                    <a:lnTo>
                      <a:pt x="5154" y="609"/>
                    </a:lnTo>
                    <a:lnTo>
                      <a:pt x="5154" y="611"/>
                    </a:lnTo>
                    <a:lnTo>
                      <a:pt x="5154" y="654"/>
                    </a:lnTo>
                    <a:lnTo>
                      <a:pt x="5157" y="654"/>
                    </a:lnTo>
                    <a:lnTo>
                      <a:pt x="5157" y="609"/>
                    </a:lnTo>
                    <a:close/>
                    <a:moveTo>
                      <a:pt x="6930" y="507"/>
                    </a:moveTo>
                    <a:lnTo>
                      <a:pt x="6928" y="507"/>
                    </a:lnTo>
                    <a:lnTo>
                      <a:pt x="6928" y="509"/>
                    </a:lnTo>
                    <a:lnTo>
                      <a:pt x="6928" y="1016"/>
                    </a:lnTo>
                    <a:lnTo>
                      <a:pt x="6930" y="1016"/>
                    </a:lnTo>
                    <a:lnTo>
                      <a:pt x="6930" y="507"/>
                    </a:lnTo>
                    <a:close/>
                    <a:moveTo>
                      <a:pt x="4097" y="502"/>
                    </a:moveTo>
                    <a:lnTo>
                      <a:pt x="4097" y="502"/>
                    </a:lnTo>
                    <a:lnTo>
                      <a:pt x="4095" y="505"/>
                    </a:lnTo>
                    <a:lnTo>
                      <a:pt x="4093" y="507"/>
                    </a:lnTo>
                    <a:lnTo>
                      <a:pt x="4093" y="509"/>
                    </a:lnTo>
                    <a:lnTo>
                      <a:pt x="4097" y="502"/>
                    </a:lnTo>
                    <a:close/>
                    <a:moveTo>
                      <a:pt x="3204" y="500"/>
                    </a:moveTo>
                    <a:lnTo>
                      <a:pt x="3201" y="500"/>
                    </a:lnTo>
                    <a:lnTo>
                      <a:pt x="3201" y="502"/>
                    </a:lnTo>
                    <a:lnTo>
                      <a:pt x="3201" y="564"/>
                    </a:lnTo>
                    <a:lnTo>
                      <a:pt x="3204" y="564"/>
                    </a:lnTo>
                    <a:lnTo>
                      <a:pt x="3204" y="562"/>
                    </a:lnTo>
                    <a:lnTo>
                      <a:pt x="3204" y="562"/>
                    </a:lnTo>
                    <a:lnTo>
                      <a:pt x="3204" y="500"/>
                    </a:lnTo>
                    <a:close/>
                    <a:moveTo>
                      <a:pt x="3941" y="453"/>
                    </a:moveTo>
                    <a:lnTo>
                      <a:pt x="3939" y="453"/>
                    </a:lnTo>
                    <a:lnTo>
                      <a:pt x="3939" y="453"/>
                    </a:lnTo>
                    <a:lnTo>
                      <a:pt x="3939" y="455"/>
                    </a:lnTo>
                    <a:lnTo>
                      <a:pt x="3939" y="491"/>
                    </a:lnTo>
                    <a:lnTo>
                      <a:pt x="3856" y="642"/>
                    </a:lnTo>
                    <a:lnTo>
                      <a:pt x="3856" y="850"/>
                    </a:lnTo>
                    <a:lnTo>
                      <a:pt x="3859" y="850"/>
                    </a:lnTo>
                    <a:lnTo>
                      <a:pt x="3859" y="640"/>
                    </a:lnTo>
                    <a:lnTo>
                      <a:pt x="3941" y="488"/>
                    </a:lnTo>
                    <a:lnTo>
                      <a:pt x="3941" y="453"/>
                    </a:lnTo>
                    <a:close/>
                    <a:moveTo>
                      <a:pt x="3232" y="434"/>
                    </a:moveTo>
                    <a:lnTo>
                      <a:pt x="3232" y="434"/>
                    </a:lnTo>
                    <a:lnTo>
                      <a:pt x="3232" y="434"/>
                    </a:lnTo>
                    <a:lnTo>
                      <a:pt x="3232" y="472"/>
                    </a:lnTo>
                    <a:lnTo>
                      <a:pt x="3232" y="472"/>
                    </a:lnTo>
                    <a:lnTo>
                      <a:pt x="3232" y="472"/>
                    </a:lnTo>
                    <a:lnTo>
                      <a:pt x="3232" y="472"/>
                    </a:lnTo>
                    <a:lnTo>
                      <a:pt x="3232" y="434"/>
                    </a:lnTo>
                    <a:close/>
                    <a:moveTo>
                      <a:pt x="3946" y="391"/>
                    </a:moveTo>
                    <a:lnTo>
                      <a:pt x="3946" y="391"/>
                    </a:lnTo>
                    <a:lnTo>
                      <a:pt x="3944" y="391"/>
                    </a:lnTo>
                    <a:lnTo>
                      <a:pt x="3944" y="391"/>
                    </a:lnTo>
                    <a:lnTo>
                      <a:pt x="3944" y="448"/>
                    </a:lnTo>
                    <a:lnTo>
                      <a:pt x="3946" y="448"/>
                    </a:lnTo>
                    <a:lnTo>
                      <a:pt x="3946" y="446"/>
                    </a:lnTo>
                    <a:lnTo>
                      <a:pt x="3946" y="446"/>
                    </a:lnTo>
                    <a:lnTo>
                      <a:pt x="3946" y="391"/>
                    </a:lnTo>
                    <a:close/>
                    <a:moveTo>
                      <a:pt x="1714" y="367"/>
                    </a:moveTo>
                    <a:lnTo>
                      <a:pt x="1712" y="367"/>
                    </a:lnTo>
                    <a:lnTo>
                      <a:pt x="1712" y="370"/>
                    </a:lnTo>
                    <a:lnTo>
                      <a:pt x="1712" y="1054"/>
                    </a:lnTo>
                    <a:lnTo>
                      <a:pt x="1714" y="1054"/>
                    </a:lnTo>
                    <a:lnTo>
                      <a:pt x="1714" y="367"/>
                    </a:lnTo>
                    <a:close/>
                    <a:moveTo>
                      <a:pt x="3956" y="327"/>
                    </a:moveTo>
                    <a:lnTo>
                      <a:pt x="3953" y="327"/>
                    </a:lnTo>
                    <a:lnTo>
                      <a:pt x="3953" y="327"/>
                    </a:lnTo>
                    <a:lnTo>
                      <a:pt x="3953" y="382"/>
                    </a:lnTo>
                    <a:lnTo>
                      <a:pt x="3953" y="382"/>
                    </a:lnTo>
                    <a:lnTo>
                      <a:pt x="3953" y="382"/>
                    </a:lnTo>
                    <a:lnTo>
                      <a:pt x="3956" y="382"/>
                    </a:lnTo>
                    <a:lnTo>
                      <a:pt x="3956" y="327"/>
                    </a:lnTo>
                    <a:close/>
                    <a:moveTo>
                      <a:pt x="4608" y="230"/>
                    </a:moveTo>
                    <a:lnTo>
                      <a:pt x="4606" y="230"/>
                    </a:lnTo>
                    <a:lnTo>
                      <a:pt x="4606" y="232"/>
                    </a:lnTo>
                    <a:lnTo>
                      <a:pt x="4549" y="438"/>
                    </a:lnTo>
                    <a:lnTo>
                      <a:pt x="4551" y="438"/>
                    </a:lnTo>
                    <a:lnTo>
                      <a:pt x="4608" y="230"/>
                    </a:lnTo>
                    <a:close/>
                    <a:moveTo>
                      <a:pt x="4757" y="0"/>
                    </a:moveTo>
                    <a:lnTo>
                      <a:pt x="4755" y="0"/>
                    </a:lnTo>
                    <a:lnTo>
                      <a:pt x="4755" y="0"/>
                    </a:lnTo>
                    <a:lnTo>
                      <a:pt x="4755" y="124"/>
                    </a:lnTo>
                    <a:lnTo>
                      <a:pt x="4757" y="124"/>
                    </a:lnTo>
                    <a:lnTo>
                      <a:pt x="4757" y="121"/>
                    </a:lnTo>
                    <a:lnTo>
                      <a:pt x="4757" y="121"/>
                    </a:lnTo>
                    <a:lnTo>
                      <a:pt x="4757" y="0"/>
                    </a:lnTo>
                    <a:close/>
                  </a:path>
                </a:pathLst>
              </a:custGeom>
              <a:solidFill>
                <a:srgbClr val="F1F1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1" name="Freeform 63"/>
              <p:cNvSpPr>
                <a:spLocks noEditPoints="1"/>
              </p:cNvSpPr>
              <p:nvPr/>
            </p:nvSpPr>
            <p:spPr bwMode="auto">
              <a:xfrm>
                <a:off x="66" y="1738"/>
                <a:ext cx="6930" cy="1376"/>
              </a:xfrm>
              <a:custGeom>
                <a:avLst/>
                <a:gdLst>
                  <a:gd name="T0" fmla="*/ 3613 w 6930"/>
                  <a:gd name="T1" fmla="*/ 1239 h 1376"/>
                  <a:gd name="T2" fmla="*/ 5734 w 6930"/>
                  <a:gd name="T3" fmla="*/ 1208 h 1376"/>
                  <a:gd name="T4" fmla="*/ 5736 w 6930"/>
                  <a:gd name="T5" fmla="*/ 1208 h 1376"/>
                  <a:gd name="T6" fmla="*/ 5757 w 6930"/>
                  <a:gd name="T7" fmla="*/ 1184 h 1376"/>
                  <a:gd name="T8" fmla="*/ 5760 w 6930"/>
                  <a:gd name="T9" fmla="*/ 1127 h 1376"/>
                  <a:gd name="T10" fmla="*/ 6226 w 6930"/>
                  <a:gd name="T11" fmla="*/ 1130 h 1376"/>
                  <a:gd name="T12" fmla="*/ 2764 w 6930"/>
                  <a:gd name="T13" fmla="*/ 1061 h 1376"/>
                  <a:gd name="T14" fmla="*/ 2762 w 6930"/>
                  <a:gd name="T15" fmla="*/ 1163 h 1376"/>
                  <a:gd name="T16" fmla="*/ 5835 w 6930"/>
                  <a:gd name="T17" fmla="*/ 1040 h 1376"/>
                  <a:gd name="T18" fmla="*/ 5835 w 6930"/>
                  <a:gd name="T19" fmla="*/ 1054 h 1376"/>
                  <a:gd name="T20" fmla="*/ 2783 w 6930"/>
                  <a:gd name="T21" fmla="*/ 1011 h 1376"/>
                  <a:gd name="T22" fmla="*/ 2780 w 6930"/>
                  <a:gd name="T23" fmla="*/ 1045 h 1376"/>
                  <a:gd name="T24" fmla="*/ 3674 w 6930"/>
                  <a:gd name="T25" fmla="*/ 992 h 1376"/>
                  <a:gd name="T26" fmla="*/ 3674 w 6930"/>
                  <a:gd name="T27" fmla="*/ 1163 h 1376"/>
                  <a:gd name="T28" fmla="*/ 5854 w 6930"/>
                  <a:gd name="T29" fmla="*/ 988 h 1376"/>
                  <a:gd name="T30" fmla="*/ 5852 w 6930"/>
                  <a:gd name="T31" fmla="*/ 1023 h 1376"/>
                  <a:gd name="T32" fmla="*/ 6244 w 6930"/>
                  <a:gd name="T33" fmla="*/ 936 h 1376"/>
                  <a:gd name="T34" fmla="*/ 6244 w 6930"/>
                  <a:gd name="T35" fmla="*/ 1111 h 1376"/>
                  <a:gd name="T36" fmla="*/ 6294 w 6930"/>
                  <a:gd name="T37" fmla="*/ 876 h 1376"/>
                  <a:gd name="T38" fmla="*/ 6292 w 6930"/>
                  <a:gd name="T39" fmla="*/ 886 h 1376"/>
                  <a:gd name="T40" fmla="*/ 6294 w 6930"/>
                  <a:gd name="T41" fmla="*/ 876 h 1376"/>
                  <a:gd name="T42" fmla="*/ 6301 w 6930"/>
                  <a:gd name="T43" fmla="*/ 869 h 1376"/>
                  <a:gd name="T44" fmla="*/ 6301 w 6930"/>
                  <a:gd name="T45" fmla="*/ 850 h 1376"/>
                  <a:gd name="T46" fmla="*/ 3003 w 6930"/>
                  <a:gd name="T47" fmla="*/ 902 h 1376"/>
                  <a:gd name="T48" fmla="*/ 5034 w 6930"/>
                  <a:gd name="T49" fmla="*/ 732 h 1376"/>
                  <a:gd name="T50" fmla="*/ 5036 w 6930"/>
                  <a:gd name="T51" fmla="*/ 732 h 1376"/>
                  <a:gd name="T52" fmla="*/ 3041 w 6930"/>
                  <a:gd name="T53" fmla="*/ 725 h 1376"/>
                  <a:gd name="T54" fmla="*/ 3043 w 6930"/>
                  <a:gd name="T55" fmla="*/ 656 h 1376"/>
                  <a:gd name="T56" fmla="*/ 0 w 6930"/>
                  <a:gd name="T57" fmla="*/ 1376 h 1376"/>
                  <a:gd name="T58" fmla="*/ 5154 w 6930"/>
                  <a:gd name="T59" fmla="*/ 609 h 1376"/>
                  <a:gd name="T60" fmla="*/ 5157 w 6930"/>
                  <a:gd name="T61" fmla="*/ 609 h 1376"/>
                  <a:gd name="T62" fmla="*/ 6928 w 6930"/>
                  <a:gd name="T63" fmla="*/ 1016 h 1376"/>
                  <a:gd name="T64" fmla="*/ 4097 w 6930"/>
                  <a:gd name="T65" fmla="*/ 502 h 1376"/>
                  <a:gd name="T66" fmla="*/ 4097 w 6930"/>
                  <a:gd name="T67" fmla="*/ 502 h 1376"/>
                  <a:gd name="T68" fmla="*/ 3201 w 6930"/>
                  <a:gd name="T69" fmla="*/ 564 h 1376"/>
                  <a:gd name="T70" fmla="*/ 3204 w 6930"/>
                  <a:gd name="T71" fmla="*/ 500 h 1376"/>
                  <a:gd name="T72" fmla="*/ 3939 w 6930"/>
                  <a:gd name="T73" fmla="*/ 455 h 1376"/>
                  <a:gd name="T74" fmla="*/ 3859 w 6930"/>
                  <a:gd name="T75" fmla="*/ 850 h 1376"/>
                  <a:gd name="T76" fmla="*/ 3232 w 6930"/>
                  <a:gd name="T77" fmla="*/ 434 h 1376"/>
                  <a:gd name="T78" fmla="*/ 3232 w 6930"/>
                  <a:gd name="T79" fmla="*/ 472 h 1376"/>
                  <a:gd name="T80" fmla="*/ 3946 w 6930"/>
                  <a:gd name="T81" fmla="*/ 391 h 1376"/>
                  <a:gd name="T82" fmla="*/ 3944 w 6930"/>
                  <a:gd name="T83" fmla="*/ 448 h 1376"/>
                  <a:gd name="T84" fmla="*/ 3946 w 6930"/>
                  <a:gd name="T85" fmla="*/ 391 h 1376"/>
                  <a:gd name="T86" fmla="*/ 1712 w 6930"/>
                  <a:gd name="T87" fmla="*/ 1054 h 1376"/>
                  <a:gd name="T88" fmla="*/ 3953 w 6930"/>
                  <a:gd name="T89" fmla="*/ 327 h 1376"/>
                  <a:gd name="T90" fmla="*/ 3953 w 6930"/>
                  <a:gd name="T91" fmla="*/ 382 h 1376"/>
                  <a:gd name="T92" fmla="*/ 4606 w 6930"/>
                  <a:gd name="T93" fmla="*/ 230 h 1376"/>
                  <a:gd name="T94" fmla="*/ 4608 w 6930"/>
                  <a:gd name="T95" fmla="*/ 230 h 1376"/>
                  <a:gd name="T96" fmla="*/ 4755 w 6930"/>
                  <a:gd name="T97" fmla="*/ 124 h 1376"/>
                  <a:gd name="T98" fmla="*/ 4757 w 6930"/>
                  <a:gd name="T99" fmla="*/ 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30" h="1376">
                    <a:moveTo>
                      <a:pt x="3615" y="1222"/>
                    </a:moveTo>
                    <a:lnTo>
                      <a:pt x="3613" y="1222"/>
                    </a:lnTo>
                    <a:lnTo>
                      <a:pt x="3613" y="1222"/>
                    </a:lnTo>
                    <a:lnTo>
                      <a:pt x="3613" y="1239"/>
                    </a:lnTo>
                    <a:lnTo>
                      <a:pt x="3615" y="1239"/>
                    </a:lnTo>
                    <a:lnTo>
                      <a:pt x="3615" y="1222"/>
                    </a:lnTo>
                    <a:moveTo>
                      <a:pt x="5736" y="1208"/>
                    </a:moveTo>
                    <a:lnTo>
                      <a:pt x="5734" y="1208"/>
                    </a:lnTo>
                    <a:lnTo>
                      <a:pt x="5734" y="1210"/>
                    </a:lnTo>
                    <a:lnTo>
                      <a:pt x="5734" y="1248"/>
                    </a:lnTo>
                    <a:lnTo>
                      <a:pt x="5736" y="1248"/>
                    </a:lnTo>
                    <a:lnTo>
                      <a:pt x="5736" y="1208"/>
                    </a:lnTo>
                    <a:moveTo>
                      <a:pt x="5760" y="1127"/>
                    </a:moveTo>
                    <a:lnTo>
                      <a:pt x="5757" y="1127"/>
                    </a:lnTo>
                    <a:lnTo>
                      <a:pt x="5757" y="1130"/>
                    </a:lnTo>
                    <a:lnTo>
                      <a:pt x="5757" y="1184"/>
                    </a:lnTo>
                    <a:lnTo>
                      <a:pt x="5760" y="1184"/>
                    </a:lnTo>
                    <a:lnTo>
                      <a:pt x="5760" y="1182"/>
                    </a:lnTo>
                    <a:lnTo>
                      <a:pt x="5760" y="1182"/>
                    </a:lnTo>
                    <a:lnTo>
                      <a:pt x="5760" y="1127"/>
                    </a:lnTo>
                    <a:moveTo>
                      <a:pt x="6228" y="1127"/>
                    </a:moveTo>
                    <a:lnTo>
                      <a:pt x="6226" y="1127"/>
                    </a:lnTo>
                    <a:lnTo>
                      <a:pt x="6226" y="1127"/>
                    </a:lnTo>
                    <a:lnTo>
                      <a:pt x="6226" y="1130"/>
                    </a:lnTo>
                    <a:lnTo>
                      <a:pt x="6226" y="1132"/>
                    </a:lnTo>
                    <a:lnTo>
                      <a:pt x="6228" y="1132"/>
                    </a:lnTo>
                    <a:lnTo>
                      <a:pt x="6228" y="1127"/>
                    </a:lnTo>
                    <a:moveTo>
                      <a:pt x="2764" y="1061"/>
                    </a:moveTo>
                    <a:lnTo>
                      <a:pt x="2764" y="1061"/>
                    </a:lnTo>
                    <a:lnTo>
                      <a:pt x="2762" y="1061"/>
                    </a:lnTo>
                    <a:lnTo>
                      <a:pt x="2762" y="1063"/>
                    </a:lnTo>
                    <a:lnTo>
                      <a:pt x="2762" y="1163"/>
                    </a:lnTo>
                    <a:lnTo>
                      <a:pt x="2764" y="1163"/>
                    </a:lnTo>
                    <a:lnTo>
                      <a:pt x="2764" y="1061"/>
                    </a:lnTo>
                    <a:moveTo>
                      <a:pt x="5835" y="1040"/>
                    </a:moveTo>
                    <a:lnTo>
                      <a:pt x="5835" y="1040"/>
                    </a:lnTo>
                    <a:lnTo>
                      <a:pt x="5833" y="1040"/>
                    </a:lnTo>
                    <a:lnTo>
                      <a:pt x="5833" y="1042"/>
                    </a:lnTo>
                    <a:lnTo>
                      <a:pt x="5833" y="1054"/>
                    </a:lnTo>
                    <a:lnTo>
                      <a:pt x="5835" y="1054"/>
                    </a:lnTo>
                    <a:lnTo>
                      <a:pt x="5835" y="1052"/>
                    </a:lnTo>
                    <a:lnTo>
                      <a:pt x="5835" y="1052"/>
                    </a:lnTo>
                    <a:lnTo>
                      <a:pt x="5835" y="1040"/>
                    </a:lnTo>
                    <a:moveTo>
                      <a:pt x="2783" y="1011"/>
                    </a:moveTo>
                    <a:lnTo>
                      <a:pt x="2780" y="1011"/>
                    </a:lnTo>
                    <a:lnTo>
                      <a:pt x="2780" y="1014"/>
                    </a:lnTo>
                    <a:lnTo>
                      <a:pt x="2780" y="1045"/>
                    </a:lnTo>
                    <a:lnTo>
                      <a:pt x="2780" y="1045"/>
                    </a:lnTo>
                    <a:lnTo>
                      <a:pt x="2780" y="1042"/>
                    </a:lnTo>
                    <a:lnTo>
                      <a:pt x="2783" y="1042"/>
                    </a:lnTo>
                    <a:lnTo>
                      <a:pt x="2783" y="1011"/>
                    </a:lnTo>
                    <a:moveTo>
                      <a:pt x="3674" y="992"/>
                    </a:moveTo>
                    <a:lnTo>
                      <a:pt x="3672" y="992"/>
                    </a:lnTo>
                    <a:lnTo>
                      <a:pt x="3672" y="995"/>
                    </a:lnTo>
                    <a:lnTo>
                      <a:pt x="3672" y="1163"/>
                    </a:lnTo>
                    <a:lnTo>
                      <a:pt x="3674" y="1163"/>
                    </a:lnTo>
                    <a:lnTo>
                      <a:pt x="3674" y="1161"/>
                    </a:lnTo>
                    <a:lnTo>
                      <a:pt x="3674" y="1161"/>
                    </a:lnTo>
                    <a:lnTo>
                      <a:pt x="3674" y="992"/>
                    </a:lnTo>
                    <a:moveTo>
                      <a:pt x="5854" y="988"/>
                    </a:moveTo>
                    <a:lnTo>
                      <a:pt x="5852" y="988"/>
                    </a:lnTo>
                    <a:lnTo>
                      <a:pt x="5852" y="990"/>
                    </a:lnTo>
                    <a:lnTo>
                      <a:pt x="5852" y="1023"/>
                    </a:lnTo>
                    <a:lnTo>
                      <a:pt x="5852" y="1023"/>
                    </a:lnTo>
                    <a:lnTo>
                      <a:pt x="5852" y="1021"/>
                    </a:lnTo>
                    <a:lnTo>
                      <a:pt x="5854" y="1021"/>
                    </a:lnTo>
                    <a:lnTo>
                      <a:pt x="5854" y="988"/>
                    </a:lnTo>
                    <a:moveTo>
                      <a:pt x="6244" y="936"/>
                    </a:moveTo>
                    <a:lnTo>
                      <a:pt x="6242" y="936"/>
                    </a:lnTo>
                    <a:lnTo>
                      <a:pt x="6242" y="936"/>
                    </a:lnTo>
                    <a:lnTo>
                      <a:pt x="6242" y="1111"/>
                    </a:lnTo>
                    <a:lnTo>
                      <a:pt x="6244" y="1111"/>
                    </a:lnTo>
                    <a:lnTo>
                      <a:pt x="6244" y="1108"/>
                    </a:lnTo>
                    <a:lnTo>
                      <a:pt x="6244" y="1108"/>
                    </a:lnTo>
                    <a:lnTo>
                      <a:pt x="6244" y="936"/>
                    </a:lnTo>
                    <a:moveTo>
                      <a:pt x="6294" y="876"/>
                    </a:moveTo>
                    <a:lnTo>
                      <a:pt x="6292" y="876"/>
                    </a:lnTo>
                    <a:lnTo>
                      <a:pt x="6292" y="876"/>
                    </a:lnTo>
                    <a:lnTo>
                      <a:pt x="6292" y="879"/>
                    </a:lnTo>
                    <a:lnTo>
                      <a:pt x="6292" y="886"/>
                    </a:lnTo>
                    <a:lnTo>
                      <a:pt x="6292" y="886"/>
                    </a:lnTo>
                    <a:lnTo>
                      <a:pt x="6292" y="884"/>
                    </a:lnTo>
                    <a:lnTo>
                      <a:pt x="6294" y="884"/>
                    </a:lnTo>
                    <a:lnTo>
                      <a:pt x="6294" y="876"/>
                    </a:lnTo>
                    <a:moveTo>
                      <a:pt x="6301" y="850"/>
                    </a:moveTo>
                    <a:lnTo>
                      <a:pt x="6301" y="850"/>
                    </a:lnTo>
                    <a:lnTo>
                      <a:pt x="6301" y="850"/>
                    </a:lnTo>
                    <a:lnTo>
                      <a:pt x="6301" y="869"/>
                    </a:lnTo>
                    <a:lnTo>
                      <a:pt x="6301" y="869"/>
                    </a:lnTo>
                    <a:lnTo>
                      <a:pt x="6301" y="869"/>
                    </a:lnTo>
                    <a:lnTo>
                      <a:pt x="6301" y="869"/>
                    </a:lnTo>
                    <a:lnTo>
                      <a:pt x="6301" y="850"/>
                    </a:lnTo>
                    <a:moveTo>
                      <a:pt x="3005" y="763"/>
                    </a:moveTo>
                    <a:lnTo>
                      <a:pt x="3003" y="763"/>
                    </a:lnTo>
                    <a:lnTo>
                      <a:pt x="3003" y="763"/>
                    </a:lnTo>
                    <a:lnTo>
                      <a:pt x="3003" y="902"/>
                    </a:lnTo>
                    <a:lnTo>
                      <a:pt x="3005" y="902"/>
                    </a:lnTo>
                    <a:lnTo>
                      <a:pt x="3005" y="763"/>
                    </a:lnTo>
                    <a:moveTo>
                      <a:pt x="5036" y="732"/>
                    </a:moveTo>
                    <a:lnTo>
                      <a:pt x="5034" y="732"/>
                    </a:lnTo>
                    <a:lnTo>
                      <a:pt x="5034" y="732"/>
                    </a:lnTo>
                    <a:lnTo>
                      <a:pt x="5034" y="895"/>
                    </a:lnTo>
                    <a:lnTo>
                      <a:pt x="5036" y="895"/>
                    </a:lnTo>
                    <a:lnTo>
                      <a:pt x="5036" y="732"/>
                    </a:lnTo>
                    <a:moveTo>
                      <a:pt x="3043" y="656"/>
                    </a:moveTo>
                    <a:lnTo>
                      <a:pt x="3041" y="656"/>
                    </a:lnTo>
                    <a:lnTo>
                      <a:pt x="3041" y="659"/>
                    </a:lnTo>
                    <a:lnTo>
                      <a:pt x="3041" y="725"/>
                    </a:lnTo>
                    <a:lnTo>
                      <a:pt x="3041" y="725"/>
                    </a:lnTo>
                    <a:lnTo>
                      <a:pt x="3041" y="723"/>
                    </a:lnTo>
                    <a:lnTo>
                      <a:pt x="3043" y="723"/>
                    </a:lnTo>
                    <a:lnTo>
                      <a:pt x="3043" y="656"/>
                    </a:lnTo>
                    <a:moveTo>
                      <a:pt x="2" y="616"/>
                    </a:moveTo>
                    <a:lnTo>
                      <a:pt x="0" y="616"/>
                    </a:lnTo>
                    <a:lnTo>
                      <a:pt x="0" y="618"/>
                    </a:lnTo>
                    <a:lnTo>
                      <a:pt x="0" y="1376"/>
                    </a:lnTo>
                    <a:lnTo>
                      <a:pt x="2" y="1376"/>
                    </a:lnTo>
                    <a:lnTo>
                      <a:pt x="2" y="616"/>
                    </a:lnTo>
                    <a:moveTo>
                      <a:pt x="5157" y="609"/>
                    </a:moveTo>
                    <a:lnTo>
                      <a:pt x="5154" y="609"/>
                    </a:lnTo>
                    <a:lnTo>
                      <a:pt x="5154" y="611"/>
                    </a:lnTo>
                    <a:lnTo>
                      <a:pt x="5154" y="654"/>
                    </a:lnTo>
                    <a:lnTo>
                      <a:pt x="5157" y="654"/>
                    </a:lnTo>
                    <a:lnTo>
                      <a:pt x="5157" y="609"/>
                    </a:lnTo>
                    <a:moveTo>
                      <a:pt x="6930" y="507"/>
                    </a:moveTo>
                    <a:lnTo>
                      <a:pt x="6928" y="507"/>
                    </a:lnTo>
                    <a:lnTo>
                      <a:pt x="6928" y="509"/>
                    </a:lnTo>
                    <a:lnTo>
                      <a:pt x="6928" y="1016"/>
                    </a:lnTo>
                    <a:lnTo>
                      <a:pt x="6930" y="1016"/>
                    </a:lnTo>
                    <a:lnTo>
                      <a:pt x="6930" y="507"/>
                    </a:lnTo>
                    <a:moveTo>
                      <a:pt x="4097" y="502"/>
                    </a:moveTo>
                    <a:lnTo>
                      <a:pt x="4097" y="502"/>
                    </a:lnTo>
                    <a:lnTo>
                      <a:pt x="4095" y="505"/>
                    </a:lnTo>
                    <a:lnTo>
                      <a:pt x="4093" y="507"/>
                    </a:lnTo>
                    <a:lnTo>
                      <a:pt x="4093" y="509"/>
                    </a:lnTo>
                    <a:lnTo>
                      <a:pt x="4097" y="502"/>
                    </a:lnTo>
                    <a:moveTo>
                      <a:pt x="3204" y="500"/>
                    </a:moveTo>
                    <a:lnTo>
                      <a:pt x="3201" y="500"/>
                    </a:lnTo>
                    <a:lnTo>
                      <a:pt x="3201" y="502"/>
                    </a:lnTo>
                    <a:lnTo>
                      <a:pt x="3201" y="564"/>
                    </a:lnTo>
                    <a:lnTo>
                      <a:pt x="3204" y="564"/>
                    </a:lnTo>
                    <a:lnTo>
                      <a:pt x="3204" y="562"/>
                    </a:lnTo>
                    <a:lnTo>
                      <a:pt x="3204" y="562"/>
                    </a:lnTo>
                    <a:lnTo>
                      <a:pt x="3204" y="500"/>
                    </a:lnTo>
                    <a:moveTo>
                      <a:pt x="3941" y="453"/>
                    </a:moveTo>
                    <a:lnTo>
                      <a:pt x="3939" y="453"/>
                    </a:lnTo>
                    <a:lnTo>
                      <a:pt x="3939" y="453"/>
                    </a:lnTo>
                    <a:lnTo>
                      <a:pt x="3939" y="455"/>
                    </a:lnTo>
                    <a:lnTo>
                      <a:pt x="3939" y="491"/>
                    </a:lnTo>
                    <a:lnTo>
                      <a:pt x="3856" y="642"/>
                    </a:lnTo>
                    <a:lnTo>
                      <a:pt x="3856" y="850"/>
                    </a:lnTo>
                    <a:lnTo>
                      <a:pt x="3859" y="850"/>
                    </a:lnTo>
                    <a:lnTo>
                      <a:pt x="3859" y="640"/>
                    </a:lnTo>
                    <a:lnTo>
                      <a:pt x="3941" y="488"/>
                    </a:lnTo>
                    <a:lnTo>
                      <a:pt x="3941" y="453"/>
                    </a:lnTo>
                    <a:moveTo>
                      <a:pt x="3232" y="434"/>
                    </a:moveTo>
                    <a:lnTo>
                      <a:pt x="3232" y="434"/>
                    </a:lnTo>
                    <a:lnTo>
                      <a:pt x="3232" y="434"/>
                    </a:lnTo>
                    <a:lnTo>
                      <a:pt x="3232" y="472"/>
                    </a:lnTo>
                    <a:lnTo>
                      <a:pt x="3232" y="472"/>
                    </a:lnTo>
                    <a:lnTo>
                      <a:pt x="3232" y="472"/>
                    </a:lnTo>
                    <a:lnTo>
                      <a:pt x="3232" y="472"/>
                    </a:lnTo>
                    <a:lnTo>
                      <a:pt x="3232" y="434"/>
                    </a:lnTo>
                    <a:moveTo>
                      <a:pt x="3946" y="391"/>
                    </a:moveTo>
                    <a:lnTo>
                      <a:pt x="3946" y="391"/>
                    </a:lnTo>
                    <a:lnTo>
                      <a:pt x="3944" y="391"/>
                    </a:lnTo>
                    <a:lnTo>
                      <a:pt x="3944" y="391"/>
                    </a:lnTo>
                    <a:lnTo>
                      <a:pt x="3944" y="448"/>
                    </a:lnTo>
                    <a:lnTo>
                      <a:pt x="3946" y="448"/>
                    </a:lnTo>
                    <a:lnTo>
                      <a:pt x="3946" y="446"/>
                    </a:lnTo>
                    <a:lnTo>
                      <a:pt x="3946" y="446"/>
                    </a:lnTo>
                    <a:lnTo>
                      <a:pt x="3946" y="391"/>
                    </a:lnTo>
                    <a:moveTo>
                      <a:pt x="1714" y="367"/>
                    </a:moveTo>
                    <a:lnTo>
                      <a:pt x="1712" y="367"/>
                    </a:lnTo>
                    <a:lnTo>
                      <a:pt x="1712" y="370"/>
                    </a:lnTo>
                    <a:lnTo>
                      <a:pt x="1712" y="1054"/>
                    </a:lnTo>
                    <a:lnTo>
                      <a:pt x="1714" y="1054"/>
                    </a:lnTo>
                    <a:lnTo>
                      <a:pt x="1714" y="367"/>
                    </a:lnTo>
                    <a:moveTo>
                      <a:pt x="3956" y="327"/>
                    </a:moveTo>
                    <a:lnTo>
                      <a:pt x="3953" y="327"/>
                    </a:lnTo>
                    <a:lnTo>
                      <a:pt x="3953" y="327"/>
                    </a:lnTo>
                    <a:lnTo>
                      <a:pt x="3953" y="382"/>
                    </a:lnTo>
                    <a:lnTo>
                      <a:pt x="3953" y="382"/>
                    </a:lnTo>
                    <a:lnTo>
                      <a:pt x="3953" y="382"/>
                    </a:lnTo>
                    <a:lnTo>
                      <a:pt x="3956" y="382"/>
                    </a:lnTo>
                    <a:lnTo>
                      <a:pt x="3956" y="327"/>
                    </a:lnTo>
                    <a:moveTo>
                      <a:pt x="4608" y="230"/>
                    </a:moveTo>
                    <a:lnTo>
                      <a:pt x="4606" y="230"/>
                    </a:lnTo>
                    <a:lnTo>
                      <a:pt x="4606" y="232"/>
                    </a:lnTo>
                    <a:lnTo>
                      <a:pt x="4549" y="438"/>
                    </a:lnTo>
                    <a:lnTo>
                      <a:pt x="4551" y="438"/>
                    </a:lnTo>
                    <a:lnTo>
                      <a:pt x="4608" y="230"/>
                    </a:lnTo>
                    <a:moveTo>
                      <a:pt x="4757" y="0"/>
                    </a:moveTo>
                    <a:lnTo>
                      <a:pt x="4755" y="0"/>
                    </a:lnTo>
                    <a:lnTo>
                      <a:pt x="4755" y="0"/>
                    </a:lnTo>
                    <a:lnTo>
                      <a:pt x="4755" y="124"/>
                    </a:lnTo>
                    <a:lnTo>
                      <a:pt x="4757" y="124"/>
                    </a:lnTo>
                    <a:lnTo>
                      <a:pt x="4757" y="121"/>
                    </a:lnTo>
                    <a:lnTo>
                      <a:pt x="4757" y="121"/>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2" name="Freeform 64"/>
              <p:cNvSpPr>
                <a:spLocks noEditPoints="1"/>
              </p:cNvSpPr>
              <p:nvPr/>
            </p:nvSpPr>
            <p:spPr bwMode="auto">
              <a:xfrm>
                <a:off x="68" y="1736"/>
                <a:ext cx="6930" cy="1378"/>
              </a:xfrm>
              <a:custGeom>
                <a:avLst/>
                <a:gdLst>
                  <a:gd name="T0" fmla="*/ 3613 w 6930"/>
                  <a:gd name="T1" fmla="*/ 1241 h 1378"/>
                  <a:gd name="T2" fmla="*/ 5734 w 6930"/>
                  <a:gd name="T3" fmla="*/ 1208 h 1378"/>
                  <a:gd name="T4" fmla="*/ 5736 w 6930"/>
                  <a:gd name="T5" fmla="*/ 1208 h 1378"/>
                  <a:gd name="T6" fmla="*/ 5758 w 6930"/>
                  <a:gd name="T7" fmla="*/ 1184 h 1378"/>
                  <a:gd name="T8" fmla="*/ 5760 w 6930"/>
                  <a:gd name="T9" fmla="*/ 1127 h 1378"/>
                  <a:gd name="T10" fmla="*/ 6226 w 6930"/>
                  <a:gd name="T11" fmla="*/ 1129 h 1378"/>
                  <a:gd name="T12" fmla="*/ 2764 w 6930"/>
                  <a:gd name="T13" fmla="*/ 1061 h 1378"/>
                  <a:gd name="T14" fmla="*/ 2762 w 6930"/>
                  <a:gd name="T15" fmla="*/ 1165 h 1378"/>
                  <a:gd name="T16" fmla="*/ 5836 w 6930"/>
                  <a:gd name="T17" fmla="*/ 1042 h 1378"/>
                  <a:gd name="T18" fmla="*/ 5836 w 6930"/>
                  <a:gd name="T19" fmla="*/ 1054 h 1378"/>
                  <a:gd name="T20" fmla="*/ 2781 w 6930"/>
                  <a:gd name="T21" fmla="*/ 1013 h 1378"/>
                  <a:gd name="T22" fmla="*/ 2781 w 6930"/>
                  <a:gd name="T23" fmla="*/ 1044 h 1378"/>
                  <a:gd name="T24" fmla="*/ 3672 w 6930"/>
                  <a:gd name="T25" fmla="*/ 994 h 1378"/>
                  <a:gd name="T26" fmla="*/ 3675 w 6930"/>
                  <a:gd name="T27" fmla="*/ 1160 h 1378"/>
                  <a:gd name="T28" fmla="*/ 5852 w 6930"/>
                  <a:gd name="T29" fmla="*/ 990 h 1378"/>
                  <a:gd name="T30" fmla="*/ 5852 w 6930"/>
                  <a:gd name="T31" fmla="*/ 1023 h 1378"/>
                  <a:gd name="T32" fmla="*/ 6242 w 6930"/>
                  <a:gd name="T33" fmla="*/ 938 h 1378"/>
                  <a:gd name="T34" fmla="*/ 6245 w 6930"/>
                  <a:gd name="T35" fmla="*/ 1108 h 1378"/>
                  <a:gd name="T36" fmla="*/ 6292 w 6930"/>
                  <a:gd name="T37" fmla="*/ 878 h 1378"/>
                  <a:gd name="T38" fmla="*/ 6292 w 6930"/>
                  <a:gd name="T39" fmla="*/ 886 h 1378"/>
                  <a:gd name="T40" fmla="*/ 6299 w 6930"/>
                  <a:gd name="T41" fmla="*/ 850 h 1378"/>
                  <a:gd name="T42" fmla="*/ 6302 w 6930"/>
                  <a:gd name="T43" fmla="*/ 869 h 1378"/>
                  <a:gd name="T44" fmla="*/ 3003 w 6930"/>
                  <a:gd name="T45" fmla="*/ 762 h 1378"/>
                  <a:gd name="T46" fmla="*/ 3005 w 6930"/>
                  <a:gd name="T47" fmla="*/ 762 h 1378"/>
                  <a:gd name="T48" fmla="*/ 5034 w 6930"/>
                  <a:gd name="T49" fmla="*/ 897 h 1378"/>
                  <a:gd name="T50" fmla="*/ 3041 w 6930"/>
                  <a:gd name="T51" fmla="*/ 656 h 1378"/>
                  <a:gd name="T52" fmla="*/ 3041 w 6930"/>
                  <a:gd name="T53" fmla="*/ 722 h 1378"/>
                  <a:gd name="T54" fmla="*/ 0 w 6930"/>
                  <a:gd name="T55" fmla="*/ 616 h 1378"/>
                  <a:gd name="T56" fmla="*/ 0 w 6930"/>
                  <a:gd name="T57" fmla="*/ 616 h 1378"/>
                  <a:gd name="T58" fmla="*/ 5155 w 6930"/>
                  <a:gd name="T59" fmla="*/ 656 h 1378"/>
                  <a:gd name="T60" fmla="*/ 3185 w 6930"/>
                  <a:gd name="T61" fmla="*/ 580 h 1378"/>
                  <a:gd name="T62" fmla="*/ 3187 w 6930"/>
                  <a:gd name="T63" fmla="*/ 580 h 1378"/>
                  <a:gd name="T64" fmla="*/ 6928 w 6930"/>
                  <a:gd name="T65" fmla="*/ 1018 h 1378"/>
                  <a:gd name="T66" fmla="*/ 4098 w 6930"/>
                  <a:gd name="T67" fmla="*/ 502 h 1378"/>
                  <a:gd name="T68" fmla="*/ 4098 w 6930"/>
                  <a:gd name="T69" fmla="*/ 502 h 1378"/>
                  <a:gd name="T70" fmla="*/ 3202 w 6930"/>
                  <a:gd name="T71" fmla="*/ 564 h 1378"/>
                  <a:gd name="T72" fmla="*/ 3204 w 6930"/>
                  <a:gd name="T73" fmla="*/ 500 h 1378"/>
                  <a:gd name="T74" fmla="*/ 3939 w 6930"/>
                  <a:gd name="T75" fmla="*/ 455 h 1378"/>
                  <a:gd name="T76" fmla="*/ 3859 w 6930"/>
                  <a:gd name="T77" fmla="*/ 852 h 1378"/>
                  <a:gd name="T78" fmla="*/ 3232 w 6930"/>
                  <a:gd name="T79" fmla="*/ 433 h 1378"/>
                  <a:gd name="T80" fmla="*/ 3232 w 6930"/>
                  <a:gd name="T81" fmla="*/ 474 h 1378"/>
                  <a:gd name="T82" fmla="*/ 3946 w 6930"/>
                  <a:gd name="T83" fmla="*/ 391 h 1378"/>
                  <a:gd name="T84" fmla="*/ 3944 w 6930"/>
                  <a:gd name="T85" fmla="*/ 448 h 1378"/>
                  <a:gd name="T86" fmla="*/ 3946 w 6930"/>
                  <a:gd name="T87" fmla="*/ 391 h 1378"/>
                  <a:gd name="T88" fmla="*/ 1712 w 6930"/>
                  <a:gd name="T89" fmla="*/ 1056 h 1378"/>
                  <a:gd name="T90" fmla="*/ 3954 w 6930"/>
                  <a:gd name="T91" fmla="*/ 327 h 1378"/>
                  <a:gd name="T92" fmla="*/ 3954 w 6930"/>
                  <a:gd name="T93" fmla="*/ 381 h 1378"/>
                  <a:gd name="T94" fmla="*/ 4606 w 6930"/>
                  <a:gd name="T95" fmla="*/ 232 h 1378"/>
                  <a:gd name="T96" fmla="*/ 4609 w 6930"/>
                  <a:gd name="T97" fmla="*/ 232 h 1378"/>
                  <a:gd name="T98" fmla="*/ 4755 w 6930"/>
                  <a:gd name="T99" fmla="*/ 123 h 1378"/>
                  <a:gd name="T100" fmla="*/ 4758 w 6930"/>
                  <a:gd name="T101" fmla="*/ 0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30" h="1378">
                    <a:moveTo>
                      <a:pt x="3615" y="1222"/>
                    </a:moveTo>
                    <a:lnTo>
                      <a:pt x="3613" y="1222"/>
                    </a:lnTo>
                    <a:lnTo>
                      <a:pt x="3613" y="1224"/>
                    </a:lnTo>
                    <a:lnTo>
                      <a:pt x="3613" y="1241"/>
                    </a:lnTo>
                    <a:lnTo>
                      <a:pt x="3615" y="1241"/>
                    </a:lnTo>
                    <a:lnTo>
                      <a:pt x="3615" y="1222"/>
                    </a:lnTo>
                    <a:close/>
                    <a:moveTo>
                      <a:pt x="5736" y="1208"/>
                    </a:moveTo>
                    <a:lnTo>
                      <a:pt x="5734" y="1208"/>
                    </a:lnTo>
                    <a:lnTo>
                      <a:pt x="5734" y="1210"/>
                    </a:lnTo>
                    <a:lnTo>
                      <a:pt x="5734" y="1250"/>
                    </a:lnTo>
                    <a:lnTo>
                      <a:pt x="5736" y="1250"/>
                    </a:lnTo>
                    <a:lnTo>
                      <a:pt x="5736" y="1208"/>
                    </a:lnTo>
                    <a:close/>
                    <a:moveTo>
                      <a:pt x="5760" y="1127"/>
                    </a:moveTo>
                    <a:lnTo>
                      <a:pt x="5758" y="1127"/>
                    </a:lnTo>
                    <a:lnTo>
                      <a:pt x="5758" y="1129"/>
                    </a:lnTo>
                    <a:lnTo>
                      <a:pt x="5758" y="1184"/>
                    </a:lnTo>
                    <a:lnTo>
                      <a:pt x="5760" y="1184"/>
                    </a:lnTo>
                    <a:lnTo>
                      <a:pt x="5760" y="1181"/>
                    </a:lnTo>
                    <a:lnTo>
                      <a:pt x="5760" y="1181"/>
                    </a:lnTo>
                    <a:lnTo>
                      <a:pt x="5760" y="1127"/>
                    </a:lnTo>
                    <a:close/>
                    <a:moveTo>
                      <a:pt x="6226" y="1127"/>
                    </a:moveTo>
                    <a:lnTo>
                      <a:pt x="6226" y="1127"/>
                    </a:lnTo>
                    <a:lnTo>
                      <a:pt x="6226" y="1127"/>
                    </a:lnTo>
                    <a:lnTo>
                      <a:pt x="6226" y="1129"/>
                    </a:lnTo>
                    <a:lnTo>
                      <a:pt x="6226" y="1134"/>
                    </a:lnTo>
                    <a:lnTo>
                      <a:pt x="6226" y="1134"/>
                    </a:lnTo>
                    <a:lnTo>
                      <a:pt x="6226" y="1127"/>
                    </a:lnTo>
                    <a:close/>
                    <a:moveTo>
                      <a:pt x="2764" y="1061"/>
                    </a:moveTo>
                    <a:lnTo>
                      <a:pt x="2764" y="1061"/>
                    </a:lnTo>
                    <a:lnTo>
                      <a:pt x="2762" y="1061"/>
                    </a:lnTo>
                    <a:lnTo>
                      <a:pt x="2762" y="1063"/>
                    </a:lnTo>
                    <a:lnTo>
                      <a:pt x="2762" y="1165"/>
                    </a:lnTo>
                    <a:lnTo>
                      <a:pt x="2764" y="1165"/>
                    </a:lnTo>
                    <a:lnTo>
                      <a:pt x="2764" y="1061"/>
                    </a:lnTo>
                    <a:close/>
                    <a:moveTo>
                      <a:pt x="5836" y="1042"/>
                    </a:moveTo>
                    <a:lnTo>
                      <a:pt x="5836" y="1042"/>
                    </a:lnTo>
                    <a:lnTo>
                      <a:pt x="5833" y="1042"/>
                    </a:lnTo>
                    <a:lnTo>
                      <a:pt x="5833" y="1042"/>
                    </a:lnTo>
                    <a:lnTo>
                      <a:pt x="5833" y="1054"/>
                    </a:lnTo>
                    <a:lnTo>
                      <a:pt x="5836" y="1054"/>
                    </a:lnTo>
                    <a:lnTo>
                      <a:pt x="5836" y="1042"/>
                    </a:lnTo>
                    <a:close/>
                    <a:moveTo>
                      <a:pt x="2781" y="1011"/>
                    </a:moveTo>
                    <a:lnTo>
                      <a:pt x="2781" y="1011"/>
                    </a:lnTo>
                    <a:lnTo>
                      <a:pt x="2781" y="1013"/>
                    </a:lnTo>
                    <a:lnTo>
                      <a:pt x="2781" y="1044"/>
                    </a:lnTo>
                    <a:lnTo>
                      <a:pt x="2781" y="1044"/>
                    </a:lnTo>
                    <a:lnTo>
                      <a:pt x="2781" y="1044"/>
                    </a:lnTo>
                    <a:lnTo>
                      <a:pt x="2781" y="1044"/>
                    </a:lnTo>
                    <a:lnTo>
                      <a:pt x="2781" y="1011"/>
                    </a:lnTo>
                    <a:close/>
                    <a:moveTo>
                      <a:pt x="3675" y="992"/>
                    </a:moveTo>
                    <a:lnTo>
                      <a:pt x="3672" y="992"/>
                    </a:lnTo>
                    <a:lnTo>
                      <a:pt x="3672" y="994"/>
                    </a:lnTo>
                    <a:lnTo>
                      <a:pt x="3672" y="1163"/>
                    </a:lnTo>
                    <a:lnTo>
                      <a:pt x="3675" y="1163"/>
                    </a:lnTo>
                    <a:lnTo>
                      <a:pt x="3675" y="1160"/>
                    </a:lnTo>
                    <a:lnTo>
                      <a:pt x="3675" y="1160"/>
                    </a:lnTo>
                    <a:lnTo>
                      <a:pt x="3675" y="992"/>
                    </a:lnTo>
                    <a:close/>
                    <a:moveTo>
                      <a:pt x="5852" y="990"/>
                    </a:moveTo>
                    <a:lnTo>
                      <a:pt x="5852" y="990"/>
                    </a:lnTo>
                    <a:lnTo>
                      <a:pt x="5852" y="990"/>
                    </a:lnTo>
                    <a:lnTo>
                      <a:pt x="5852" y="1023"/>
                    </a:lnTo>
                    <a:lnTo>
                      <a:pt x="5852" y="1023"/>
                    </a:lnTo>
                    <a:lnTo>
                      <a:pt x="5852" y="1023"/>
                    </a:lnTo>
                    <a:lnTo>
                      <a:pt x="5852" y="1023"/>
                    </a:lnTo>
                    <a:lnTo>
                      <a:pt x="5852" y="990"/>
                    </a:lnTo>
                    <a:close/>
                    <a:moveTo>
                      <a:pt x="6245" y="935"/>
                    </a:moveTo>
                    <a:lnTo>
                      <a:pt x="6242" y="935"/>
                    </a:lnTo>
                    <a:lnTo>
                      <a:pt x="6242" y="938"/>
                    </a:lnTo>
                    <a:lnTo>
                      <a:pt x="6242" y="1110"/>
                    </a:lnTo>
                    <a:lnTo>
                      <a:pt x="6242" y="1110"/>
                    </a:lnTo>
                    <a:lnTo>
                      <a:pt x="6242" y="1108"/>
                    </a:lnTo>
                    <a:lnTo>
                      <a:pt x="6245" y="1108"/>
                    </a:lnTo>
                    <a:lnTo>
                      <a:pt x="6245" y="935"/>
                    </a:lnTo>
                    <a:close/>
                    <a:moveTo>
                      <a:pt x="6294" y="878"/>
                    </a:moveTo>
                    <a:lnTo>
                      <a:pt x="6292" y="878"/>
                    </a:lnTo>
                    <a:lnTo>
                      <a:pt x="6292" y="878"/>
                    </a:lnTo>
                    <a:lnTo>
                      <a:pt x="6292" y="878"/>
                    </a:lnTo>
                    <a:lnTo>
                      <a:pt x="6292" y="886"/>
                    </a:lnTo>
                    <a:lnTo>
                      <a:pt x="6292" y="886"/>
                    </a:lnTo>
                    <a:lnTo>
                      <a:pt x="6292" y="886"/>
                    </a:lnTo>
                    <a:lnTo>
                      <a:pt x="6294" y="886"/>
                    </a:lnTo>
                    <a:lnTo>
                      <a:pt x="6294" y="878"/>
                    </a:lnTo>
                    <a:close/>
                    <a:moveTo>
                      <a:pt x="6302" y="850"/>
                    </a:moveTo>
                    <a:lnTo>
                      <a:pt x="6299" y="850"/>
                    </a:lnTo>
                    <a:lnTo>
                      <a:pt x="6299" y="852"/>
                    </a:lnTo>
                    <a:lnTo>
                      <a:pt x="6299" y="871"/>
                    </a:lnTo>
                    <a:lnTo>
                      <a:pt x="6302" y="871"/>
                    </a:lnTo>
                    <a:lnTo>
                      <a:pt x="6302" y="869"/>
                    </a:lnTo>
                    <a:lnTo>
                      <a:pt x="6302" y="869"/>
                    </a:lnTo>
                    <a:lnTo>
                      <a:pt x="6302" y="850"/>
                    </a:lnTo>
                    <a:close/>
                    <a:moveTo>
                      <a:pt x="3005" y="762"/>
                    </a:moveTo>
                    <a:lnTo>
                      <a:pt x="3003" y="762"/>
                    </a:lnTo>
                    <a:lnTo>
                      <a:pt x="3003" y="765"/>
                    </a:lnTo>
                    <a:lnTo>
                      <a:pt x="3003" y="904"/>
                    </a:lnTo>
                    <a:lnTo>
                      <a:pt x="3005" y="904"/>
                    </a:lnTo>
                    <a:lnTo>
                      <a:pt x="3005" y="762"/>
                    </a:lnTo>
                    <a:close/>
                    <a:moveTo>
                      <a:pt x="5037" y="732"/>
                    </a:moveTo>
                    <a:lnTo>
                      <a:pt x="5034" y="732"/>
                    </a:lnTo>
                    <a:lnTo>
                      <a:pt x="5034" y="734"/>
                    </a:lnTo>
                    <a:lnTo>
                      <a:pt x="5034" y="897"/>
                    </a:lnTo>
                    <a:lnTo>
                      <a:pt x="5037" y="897"/>
                    </a:lnTo>
                    <a:lnTo>
                      <a:pt x="5037" y="732"/>
                    </a:lnTo>
                    <a:close/>
                    <a:moveTo>
                      <a:pt x="3043" y="656"/>
                    </a:moveTo>
                    <a:lnTo>
                      <a:pt x="3041" y="656"/>
                    </a:lnTo>
                    <a:lnTo>
                      <a:pt x="3041" y="658"/>
                    </a:lnTo>
                    <a:lnTo>
                      <a:pt x="3041" y="725"/>
                    </a:lnTo>
                    <a:lnTo>
                      <a:pt x="3041" y="725"/>
                    </a:lnTo>
                    <a:lnTo>
                      <a:pt x="3041" y="722"/>
                    </a:lnTo>
                    <a:lnTo>
                      <a:pt x="3043" y="722"/>
                    </a:lnTo>
                    <a:lnTo>
                      <a:pt x="3043" y="656"/>
                    </a:lnTo>
                    <a:close/>
                    <a:moveTo>
                      <a:pt x="0" y="616"/>
                    </a:moveTo>
                    <a:lnTo>
                      <a:pt x="0" y="616"/>
                    </a:lnTo>
                    <a:lnTo>
                      <a:pt x="0" y="618"/>
                    </a:lnTo>
                    <a:lnTo>
                      <a:pt x="0" y="1378"/>
                    </a:lnTo>
                    <a:lnTo>
                      <a:pt x="0" y="1378"/>
                    </a:lnTo>
                    <a:lnTo>
                      <a:pt x="0" y="616"/>
                    </a:lnTo>
                    <a:close/>
                    <a:moveTo>
                      <a:pt x="5157" y="609"/>
                    </a:moveTo>
                    <a:lnTo>
                      <a:pt x="5155" y="609"/>
                    </a:lnTo>
                    <a:lnTo>
                      <a:pt x="5155" y="611"/>
                    </a:lnTo>
                    <a:lnTo>
                      <a:pt x="5155" y="656"/>
                    </a:lnTo>
                    <a:lnTo>
                      <a:pt x="5157" y="656"/>
                    </a:lnTo>
                    <a:lnTo>
                      <a:pt x="5157" y="609"/>
                    </a:lnTo>
                    <a:close/>
                    <a:moveTo>
                      <a:pt x="3187" y="580"/>
                    </a:moveTo>
                    <a:lnTo>
                      <a:pt x="3185" y="580"/>
                    </a:lnTo>
                    <a:lnTo>
                      <a:pt x="3185" y="580"/>
                    </a:lnTo>
                    <a:lnTo>
                      <a:pt x="3185" y="582"/>
                    </a:lnTo>
                    <a:lnTo>
                      <a:pt x="3187" y="582"/>
                    </a:lnTo>
                    <a:lnTo>
                      <a:pt x="3187" y="580"/>
                    </a:lnTo>
                    <a:close/>
                    <a:moveTo>
                      <a:pt x="6930" y="509"/>
                    </a:moveTo>
                    <a:lnTo>
                      <a:pt x="6928" y="509"/>
                    </a:lnTo>
                    <a:lnTo>
                      <a:pt x="6928" y="509"/>
                    </a:lnTo>
                    <a:lnTo>
                      <a:pt x="6928" y="1018"/>
                    </a:lnTo>
                    <a:lnTo>
                      <a:pt x="6930" y="1018"/>
                    </a:lnTo>
                    <a:lnTo>
                      <a:pt x="6930" y="509"/>
                    </a:lnTo>
                    <a:close/>
                    <a:moveTo>
                      <a:pt x="4098" y="502"/>
                    </a:moveTo>
                    <a:lnTo>
                      <a:pt x="4098" y="502"/>
                    </a:lnTo>
                    <a:lnTo>
                      <a:pt x="4095" y="504"/>
                    </a:lnTo>
                    <a:lnTo>
                      <a:pt x="4091" y="511"/>
                    </a:lnTo>
                    <a:lnTo>
                      <a:pt x="4091" y="511"/>
                    </a:lnTo>
                    <a:lnTo>
                      <a:pt x="4098" y="502"/>
                    </a:lnTo>
                    <a:close/>
                    <a:moveTo>
                      <a:pt x="3204" y="500"/>
                    </a:moveTo>
                    <a:lnTo>
                      <a:pt x="3202" y="500"/>
                    </a:lnTo>
                    <a:lnTo>
                      <a:pt x="3202" y="502"/>
                    </a:lnTo>
                    <a:lnTo>
                      <a:pt x="3202" y="564"/>
                    </a:lnTo>
                    <a:lnTo>
                      <a:pt x="3204" y="564"/>
                    </a:lnTo>
                    <a:lnTo>
                      <a:pt x="3204" y="564"/>
                    </a:lnTo>
                    <a:lnTo>
                      <a:pt x="3204" y="564"/>
                    </a:lnTo>
                    <a:lnTo>
                      <a:pt x="3204" y="500"/>
                    </a:lnTo>
                    <a:close/>
                    <a:moveTo>
                      <a:pt x="3942" y="455"/>
                    </a:moveTo>
                    <a:lnTo>
                      <a:pt x="3939" y="455"/>
                    </a:lnTo>
                    <a:lnTo>
                      <a:pt x="3939" y="455"/>
                    </a:lnTo>
                    <a:lnTo>
                      <a:pt x="3939" y="455"/>
                    </a:lnTo>
                    <a:lnTo>
                      <a:pt x="3939" y="490"/>
                    </a:lnTo>
                    <a:lnTo>
                      <a:pt x="3857" y="642"/>
                    </a:lnTo>
                    <a:lnTo>
                      <a:pt x="3857" y="852"/>
                    </a:lnTo>
                    <a:lnTo>
                      <a:pt x="3859" y="852"/>
                    </a:lnTo>
                    <a:lnTo>
                      <a:pt x="3859" y="642"/>
                    </a:lnTo>
                    <a:lnTo>
                      <a:pt x="3942" y="488"/>
                    </a:lnTo>
                    <a:lnTo>
                      <a:pt x="3942" y="455"/>
                    </a:lnTo>
                    <a:close/>
                    <a:moveTo>
                      <a:pt x="3232" y="433"/>
                    </a:moveTo>
                    <a:lnTo>
                      <a:pt x="3230" y="433"/>
                    </a:lnTo>
                    <a:lnTo>
                      <a:pt x="3230" y="436"/>
                    </a:lnTo>
                    <a:lnTo>
                      <a:pt x="3230" y="474"/>
                    </a:lnTo>
                    <a:lnTo>
                      <a:pt x="3232" y="474"/>
                    </a:lnTo>
                    <a:lnTo>
                      <a:pt x="3232" y="471"/>
                    </a:lnTo>
                    <a:lnTo>
                      <a:pt x="3232" y="471"/>
                    </a:lnTo>
                    <a:lnTo>
                      <a:pt x="3232" y="433"/>
                    </a:lnTo>
                    <a:close/>
                    <a:moveTo>
                      <a:pt x="3946" y="391"/>
                    </a:moveTo>
                    <a:lnTo>
                      <a:pt x="3944" y="391"/>
                    </a:lnTo>
                    <a:lnTo>
                      <a:pt x="3944" y="391"/>
                    </a:lnTo>
                    <a:lnTo>
                      <a:pt x="3944" y="393"/>
                    </a:lnTo>
                    <a:lnTo>
                      <a:pt x="3944" y="448"/>
                    </a:lnTo>
                    <a:lnTo>
                      <a:pt x="3946" y="448"/>
                    </a:lnTo>
                    <a:lnTo>
                      <a:pt x="3946" y="445"/>
                    </a:lnTo>
                    <a:lnTo>
                      <a:pt x="3946" y="445"/>
                    </a:lnTo>
                    <a:lnTo>
                      <a:pt x="3946" y="391"/>
                    </a:lnTo>
                    <a:close/>
                    <a:moveTo>
                      <a:pt x="1714" y="367"/>
                    </a:moveTo>
                    <a:lnTo>
                      <a:pt x="1712" y="367"/>
                    </a:lnTo>
                    <a:lnTo>
                      <a:pt x="1712" y="369"/>
                    </a:lnTo>
                    <a:lnTo>
                      <a:pt x="1712" y="1056"/>
                    </a:lnTo>
                    <a:lnTo>
                      <a:pt x="1714" y="1056"/>
                    </a:lnTo>
                    <a:lnTo>
                      <a:pt x="1714" y="367"/>
                    </a:lnTo>
                    <a:close/>
                    <a:moveTo>
                      <a:pt x="3954" y="327"/>
                    </a:moveTo>
                    <a:lnTo>
                      <a:pt x="3954" y="327"/>
                    </a:lnTo>
                    <a:lnTo>
                      <a:pt x="3954" y="329"/>
                    </a:lnTo>
                    <a:lnTo>
                      <a:pt x="3954" y="384"/>
                    </a:lnTo>
                    <a:lnTo>
                      <a:pt x="3954" y="384"/>
                    </a:lnTo>
                    <a:lnTo>
                      <a:pt x="3954" y="381"/>
                    </a:lnTo>
                    <a:lnTo>
                      <a:pt x="3954" y="381"/>
                    </a:lnTo>
                    <a:lnTo>
                      <a:pt x="3954" y="327"/>
                    </a:lnTo>
                    <a:close/>
                    <a:moveTo>
                      <a:pt x="4609" y="232"/>
                    </a:moveTo>
                    <a:lnTo>
                      <a:pt x="4606" y="232"/>
                    </a:lnTo>
                    <a:lnTo>
                      <a:pt x="4606" y="232"/>
                    </a:lnTo>
                    <a:lnTo>
                      <a:pt x="4549" y="440"/>
                    </a:lnTo>
                    <a:lnTo>
                      <a:pt x="4552" y="438"/>
                    </a:lnTo>
                    <a:lnTo>
                      <a:pt x="4609" y="232"/>
                    </a:lnTo>
                    <a:close/>
                    <a:moveTo>
                      <a:pt x="4758" y="0"/>
                    </a:moveTo>
                    <a:lnTo>
                      <a:pt x="4755" y="0"/>
                    </a:lnTo>
                    <a:lnTo>
                      <a:pt x="4755" y="2"/>
                    </a:lnTo>
                    <a:lnTo>
                      <a:pt x="4755" y="123"/>
                    </a:lnTo>
                    <a:lnTo>
                      <a:pt x="4755" y="123"/>
                    </a:lnTo>
                    <a:lnTo>
                      <a:pt x="4755" y="121"/>
                    </a:lnTo>
                    <a:lnTo>
                      <a:pt x="4758" y="121"/>
                    </a:lnTo>
                    <a:lnTo>
                      <a:pt x="4758" y="0"/>
                    </a:lnTo>
                    <a:close/>
                  </a:path>
                </a:pathLst>
              </a:custGeom>
              <a:solidFill>
                <a:srgbClr val="EFEF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3" name="Freeform 65"/>
              <p:cNvSpPr>
                <a:spLocks noEditPoints="1"/>
              </p:cNvSpPr>
              <p:nvPr/>
            </p:nvSpPr>
            <p:spPr bwMode="auto">
              <a:xfrm>
                <a:off x="68" y="1736"/>
                <a:ext cx="6930" cy="1378"/>
              </a:xfrm>
              <a:custGeom>
                <a:avLst/>
                <a:gdLst>
                  <a:gd name="T0" fmla="*/ 3613 w 6930"/>
                  <a:gd name="T1" fmla="*/ 1241 h 1378"/>
                  <a:gd name="T2" fmla="*/ 5734 w 6930"/>
                  <a:gd name="T3" fmla="*/ 1208 h 1378"/>
                  <a:gd name="T4" fmla="*/ 5736 w 6930"/>
                  <a:gd name="T5" fmla="*/ 1208 h 1378"/>
                  <a:gd name="T6" fmla="*/ 5758 w 6930"/>
                  <a:gd name="T7" fmla="*/ 1184 h 1378"/>
                  <a:gd name="T8" fmla="*/ 5760 w 6930"/>
                  <a:gd name="T9" fmla="*/ 1127 h 1378"/>
                  <a:gd name="T10" fmla="*/ 6226 w 6930"/>
                  <a:gd name="T11" fmla="*/ 1129 h 1378"/>
                  <a:gd name="T12" fmla="*/ 2764 w 6930"/>
                  <a:gd name="T13" fmla="*/ 1061 h 1378"/>
                  <a:gd name="T14" fmla="*/ 2762 w 6930"/>
                  <a:gd name="T15" fmla="*/ 1165 h 1378"/>
                  <a:gd name="T16" fmla="*/ 5836 w 6930"/>
                  <a:gd name="T17" fmla="*/ 1042 h 1378"/>
                  <a:gd name="T18" fmla="*/ 5836 w 6930"/>
                  <a:gd name="T19" fmla="*/ 1054 h 1378"/>
                  <a:gd name="T20" fmla="*/ 2781 w 6930"/>
                  <a:gd name="T21" fmla="*/ 1013 h 1378"/>
                  <a:gd name="T22" fmla="*/ 2781 w 6930"/>
                  <a:gd name="T23" fmla="*/ 1044 h 1378"/>
                  <a:gd name="T24" fmla="*/ 3672 w 6930"/>
                  <a:gd name="T25" fmla="*/ 994 h 1378"/>
                  <a:gd name="T26" fmla="*/ 3675 w 6930"/>
                  <a:gd name="T27" fmla="*/ 1160 h 1378"/>
                  <a:gd name="T28" fmla="*/ 5852 w 6930"/>
                  <a:gd name="T29" fmla="*/ 990 h 1378"/>
                  <a:gd name="T30" fmla="*/ 5852 w 6930"/>
                  <a:gd name="T31" fmla="*/ 1023 h 1378"/>
                  <a:gd name="T32" fmla="*/ 6242 w 6930"/>
                  <a:gd name="T33" fmla="*/ 938 h 1378"/>
                  <a:gd name="T34" fmla="*/ 6245 w 6930"/>
                  <a:gd name="T35" fmla="*/ 1108 h 1378"/>
                  <a:gd name="T36" fmla="*/ 6292 w 6930"/>
                  <a:gd name="T37" fmla="*/ 878 h 1378"/>
                  <a:gd name="T38" fmla="*/ 6292 w 6930"/>
                  <a:gd name="T39" fmla="*/ 886 h 1378"/>
                  <a:gd name="T40" fmla="*/ 6299 w 6930"/>
                  <a:gd name="T41" fmla="*/ 850 h 1378"/>
                  <a:gd name="T42" fmla="*/ 6302 w 6930"/>
                  <a:gd name="T43" fmla="*/ 869 h 1378"/>
                  <a:gd name="T44" fmla="*/ 3003 w 6930"/>
                  <a:gd name="T45" fmla="*/ 762 h 1378"/>
                  <a:gd name="T46" fmla="*/ 3005 w 6930"/>
                  <a:gd name="T47" fmla="*/ 762 h 1378"/>
                  <a:gd name="T48" fmla="*/ 5034 w 6930"/>
                  <a:gd name="T49" fmla="*/ 897 h 1378"/>
                  <a:gd name="T50" fmla="*/ 3041 w 6930"/>
                  <a:gd name="T51" fmla="*/ 656 h 1378"/>
                  <a:gd name="T52" fmla="*/ 3041 w 6930"/>
                  <a:gd name="T53" fmla="*/ 722 h 1378"/>
                  <a:gd name="T54" fmla="*/ 0 w 6930"/>
                  <a:gd name="T55" fmla="*/ 616 h 1378"/>
                  <a:gd name="T56" fmla="*/ 0 w 6930"/>
                  <a:gd name="T57" fmla="*/ 616 h 1378"/>
                  <a:gd name="T58" fmla="*/ 5155 w 6930"/>
                  <a:gd name="T59" fmla="*/ 656 h 1378"/>
                  <a:gd name="T60" fmla="*/ 3185 w 6930"/>
                  <a:gd name="T61" fmla="*/ 580 h 1378"/>
                  <a:gd name="T62" fmla="*/ 3187 w 6930"/>
                  <a:gd name="T63" fmla="*/ 580 h 1378"/>
                  <a:gd name="T64" fmla="*/ 6928 w 6930"/>
                  <a:gd name="T65" fmla="*/ 1018 h 1378"/>
                  <a:gd name="T66" fmla="*/ 4098 w 6930"/>
                  <a:gd name="T67" fmla="*/ 502 h 1378"/>
                  <a:gd name="T68" fmla="*/ 4098 w 6930"/>
                  <a:gd name="T69" fmla="*/ 502 h 1378"/>
                  <a:gd name="T70" fmla="*/ 3202 w 6930"/>
                  <a:gd name="T71" fmla="*/ 564 h 1378"/>
                  <a:gd name="T72" fmla="*/ 3204 w 6930"/>
                  <a:gd name="T73" fmla="*/ 500 h 1378"/>
                  <a:gd name="T74" fmla="*/ 3939 w 6930"/>
                  <a:gd name="T75" fmla="*/ 455 h 1378"/>
                  <a:gd name="T76" fmla="*/ 3859 w 6930"/>
                  <a:gd name="T77" fmla="*/ 852 h 1378"/>
                  <a:gd name="T78" fmla="*/ 3232 w 6930"/>
                  <a:gd name="T79" fmla="*/ 433 h 1378"/>
                  <a:gd name="T80" fmla="*/ 3232 w 6930"/>
                  <a:gd name="T81" fmla="*/ 474 h 1378"/>
                  <a:gd name="T82" fmla="*/ 3946 w 6930"/>
                  <a:gd name="T83" fmla="*/ 391 h 1378"/>
                  <a:gd name="T84" fmla="*/ 3944 w 6930"/>
                  <a:gd name="T85" fmla="*/ 448 h 1378"/>
                  <a:gd name="T86" fmla="*/ 3946 w 6930"/>
                  <a:gd name="T87" fmla="*/ 391 h 1378"/>
                  <a:gd name="T88" fmla="*/ 1712 w 6930"/>
                  <a:gd name="T89" fmla="*/ 1056 h 1378"/>
                  <a:gd name="T90" fmla="*/ 3954 w 6930"/>
                  <a:gd name="T91" fmla="*/ 327 h 1378"/>
                  <a:gd name="T92" fmla="*/ 3954 w 6930"/>
                  <a:gd name="T93" fmla="*/ 381 h 1378"/>
                  <a:gd name="T94" fmla="*/ 4606 w 6930"/>
                  <a:gd name="T95" fmla="*/ 232 h 1378"/>
                  <a:gd name="T96" fmla="*/ 4609 w 6930"/>
                  <a:gd name="T97" fmla="*/ 232 h 1378"/>
                  <a:gd name="T98" fmla="*/ 4755 w 6930"/>
                  <a:gd name="T99" fmla="*/ 123 h 1378"/>
                  <a:gd name="T100" fmla="*/ 4758 w 6930"/>
                  <a:gd name="T101" fmla="*/ 0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930" h="1378">
                    <a:moveTo>
                      <a:pt x="3615" y="1222"/>
                    </a:moveTo>
                    <a:lnTo>
                      <a:pt x="3613" y="1222"/>
                    </a:lnTo>
                    <a:lnTo>
                      <a:pt x="3613" y="1224"/>
                    </a:lnTo>
                    <a:lnTo>
                      <a:pt x="3613" y="1241"/>
                    </a:lnTo>
                    <a:lnTo>
                      <a:pt x="3615" y="1241"/>
                    </a:lnTo>
                    <a:lnTo>
                      <a:pt x="3615" y="1222"/>
                    </a:lnTo>
                    <a:moveTo>
                      <a:pt x="5736" y="1208"/>
                    </a:moveTo>
                    <a:lnTo>
                      <a:pt x="5734" y="1208"/>
                    </a:lnTo>
                    <a:lnTo>
                      <a:pt x="5734" y="1210"/>
                    </a:lnTo>
                    <a:lnTo>
                      <a:pt x="5734" y="1250"/>
                    </a:lnTo>
                    <a:lnTo>
                      <a:pt x="5736" y="1250"/>
                    </a:lnTo>
                    <a:lnTo>
                      <a:pt x="5736" y="1208"/>
                    </a:lnTo>
                    <a:moveTo>
                      <a:pt x="5760" y="1127"/>
                    </a:moveTo>
                    <a:lnTo>
                      <a:pt x="5758" y="1127"/>
                    </a:lnTo>
                    <a:lnTo>
                      <a:pt x="5758" y="1129"/>
                    </a:lnTo>
                    <a:lnTo>
                      <a:pt x="5758" y="1184"/>
                    </a:lnTo>
                    <a:lnTo>
                      <a:pt x="5760" y="1184"/>
                    </a:lnTo>
                    <a:lnTo>
                      <a:pt x="5760" y="1181"/>
                    </a:lnTo>
                    <a:lnTo>
                      <a:pt x="5760" y="1181"/>
                    </a:lnTo>
                    <a:lnTo>
                      <a:pt x="5760" y="1127"/>
                    </a:lnTo>
                    <a:moveTo>
                      <a:pt x="6226" y="1127"/>
                    </a:moveTo>
                    <a:lnTo>
                      <a:pt x="6226" y="1127"/>
                    </a:lnTo>
                    <a:lnTo>
                      <a:pt x="6226" y="1127"/>
                    </a:lnTo>
                    <a:lnTo>
                      <a:pt x="6226" y="1129"/>
                    </a:lnTo>
                    <a:lnTo>
                      <a:pt x="6226" y="1134"/>
                    </a:lnTo>
                    <a:lnTo>
                      <a:pt x="6226" y="1134"/>
                    </a:lnTo>
                    <a:lnTo>
                      <a:pt x="6226" y="1127"/>
                    </a:lnTo>
                    <a:moveTo>
                      <a:pt x="2764" y="1061"/>
                    </a:moveTo>
                    <a:lnTo>
                      <a:pt x="2764" y="1061"/>
                    </a:lnTo>
                    <a:lnTo>
                      <a:pt x="2762" y="1061"/>
                    </a:lnTo>
                    <a:lnTo>
                      <a:pt x="2762" y="1063"/>
                    </a:lnTo>
                    <a:lnTo>
                      <a:pt x="2762" y="1165"/>
                    </a:lnTo>
                    <a:lnTo>
                      <a:pt x="2764" y="1165"/>
                    </a:lnTo>
                    <a:lnTo>
                      <a:pt x="2764" y="1061"/>
                    </a:lnTo>
                    <a:moveTo>
                      <a:pt x="5836" y="1042"/>
                    </a:moveTo>
                    <a:lnTo>
                      <a:pt x="5836" y="1042"/>
                    </a:lnTo>
                    <a:lnTo>
                      <a:pt x="5833" y="1042"/>
                    </a:lnTo>
                    <a:lnTo>
                      <a:pt x="5833" y="1042"/>
                    </a:lnTo>
                    <a:lnTo>
                      <a:pt x="5833" y="1054"/>
                    </a:lnTo>
                    <a:lnTo>
                      <a:pt x="5836" y="1054"/>
                    </a:lnTo>
                    <a:lnTo>
                      <a:pt x="5836" y="1042"/>
                    </a:lnTo>
                    <a:moveTo>
                      <a:pt x="2781" y="1011"/>
                    </a:moveTo>
                    <a:lnTo>
                      <a:pt x="2781" y="1011"/>
                    </a:lnTo>
                    <a:lnTo>
                      <a:pt x="2781" y="1013"/>
                    </a:lnTo>
                    <a:lnTo>
                      <a:pt x="2781" y="1044"/>
                    </a:lnTo>
                    <a:lnTo>
                      <a:pt x="2781" y="1044"/>
                    </a:lnTo>
                    <a:lnTo>
                      <a:pt x="2781" y="1044"/>
                    </a:lnTo>
                    <a:lnTo>
                      <a:pt x="2781" y="1044"/>
                    </a:lnTo>
                    <a:lnTo>
                      <a:pt x="2781" y="1011"/>
                    </a:lnTo>
                    <a:moveTo>
                      <a:pt x="3675" y="992"/>
                    </a:moveTo>
                    <a:lnTo>
                      <a:pt x="3672" y="992"/>
                    </a:lnTo>
                    <a:lnTo>
                      <a:pt x="3672" y="994"/>
                    </a:lnTo>
                    <a:lnTo>
                      <a:pt x="3672" y="1163"/>
                    </a:lnTo>
                    <a:lnTo>
                      <a:pt x="3675" y="1163"/>
                    </a:lnTo>
                    <a:lnTo>
                      <a:pt x="3675" y="1160"/>
                    </a:lnTo>
                    <a:lnTo>
                      <a:pt x="3675" y="1160"/>
                    </a:lnTo>
                    <a:lnTo>
                      <a:pt x="3675" y="992"/>
                    </a:lnTo>
                    <a:moveTo>
                      <a:pt x="5852" y="990"/>
                    </a:moveTo>
                    <a:lnTo>
                      <a:pt x="5852" y="990"/>
                    </a:lnTo>
                    <a:lnTo>
                      <a:pt x="5852" y="990"/>
                    </a:lnTo>
                    <a:lnTo>
                      <a:pt x="5852" y="1023"/>
                    </a:lnTo>
                    <a:lnTo>
                      <a:pt x="5852" y="1023"/>
                    </a:lnTo>
                    <a:lnTo>
                      <a:pt x="5852" y="1023"/>
                    </a:lnTo>
                    <a:lnTo>
                      <a:pt x="5852" y="1023"/>
                    </a:lnTo>
                    <a:lnTo>
                      <a:pt x="5852" y="990"/>
                    </a:lnTo>
                    <a:moveTo>
                      <a:pt x="6245" y="935"/>
                    </a:moveTo>
                    <a:lnTo>
                      <a:pt x="6242" y="935"/>
                    </a:lnTo>
                    <a:lnTo>
                      <a:pt x="6242" y="938"/>
                    </a:lnTo>
                    <a:lnTo>
                      <a:pt x="6242" y="1110"/>
                    </a:lnTo>
                    <a:lnTo>
                      <a:pt x="6242" y="1110"/>
                    </a:lnTo>
                    <a:lnTo>
                      <a:pt x="6242" y="1108"/>
                    </a:lnTo>
                    <a:lnTo>
                      <a:pt x="6245" y="1108"/>
                    </a:lnTo>
                    <a:lnTo>
                      <a:pt x="6245" y="935"/>
                    </a:lnTo>
                    <a:moveTo>
                      <a:pt x="6294" y="878"/>
                    </a:moveTo>
                    <a:lnTo>
                      <a:pt x="6292" y="878"/>
                    </a:lnTo>
                    <a:lnTo>
                      <a:pt x="6292" y="878"/>
                    </a:lnTo>
                    <a:lnTo>
                      <a:pt x="6292" y="878"/>
                    </a:lnTo>
                    <a:lnTo>
                      <a:pt x="6292" y="886"/>
                    </a:lnTo>
                    <a:lnTo>
                      <a:pt x="6292" y="886"/>
                    </a:lnTo>
                    <a:lnTo>
                      <a:pt x="6292" y="886"/>
                    </a:lnTo>
                    <a:lnTo>
                      <a:pt x="6294" y="886"/>
                    </a:lnTo>
                    <a:lnTo>
                      <a:pt x="6294" y="878"/>
                    </a:lnTo>
                    <a:moveTo>
                      <a:pt x="6302" y="850"/>
                    </a:moveTo>
                    <a:lnTo>
                      <a:pt x="6299" y="850"/>
                    </a:lnTo>
                    <a:lnTo>
                      <a:pt x="6299" y="852"/>
                    </a:lnTo>
                    <a:lnTo>
                      <a:pt x="6299" y="871"/>
                    </a:lnTo>
                    <a:lnTo>
                      <a:pt x="6302" y="871"/>
                    </a:lnTo>
                    <a:lnTo>
                      <a:pt x="6302" y="869"/>
                    </a:lnTo>
                    <a:lnTo>
                      <a:pt x="6302" y="869"/>
                    </a:lnTo>
                    <a:lnTo>
                      <a:pt x="6302" y="850"/>
                    </a:lnTo>
                    <a:moveTo>
                      <a:pt x="3005" y="762"/>
                    </a:moveTo>
                    <a:lnTo>
                      <a:pt x="3003" y="762"/>
                    </a:lnTo>
                    <a:lnTo>
                      <a:pt x="3003" y="765"/>
                    </a:lnTo>
                    <a:lnTo>
                      <a:pt x="3003" y="904"/>
                    </a:lnTo>
                    <a:lnTo>
                      <a:pt x="3005" y="904"/>
                    </a:lnTo>
                    <a:lnTo>
                      <a:pt x="3005" y="762"/>
                    </a:lnTo>
                    <a:moveTo>
                      <a:pt x="5037" y="732"/>
                    </a:moveTo>
                    <a:lnTo>
                      <a:pt x="5034" y="732"/>
                    </a:lnTo>
                    <a:lnTo>
                      <a:pt x="5034" y="734"/>
                    </a:lnTo>
                    <a:lnTo>
                      <a:pt x="5034" y="897"/>
                    </a:lnTo>
                    <a:lnTo>
                      <a:pt x="5037" y="897"/>
                    </a:lnTo>
                    <a:lnTo>
                      <a:pt x="5037" y="732"/>
                    </a:lnTo>
                    <a:moveTo>
                      <a:pt x="3043" y="656"/>
                    </a:moveTo>
                    <a:lnTo>
                      <a:pt x="3041" y="656"/>
                    </a:lnTo>
                    <a:lnTo>
                      <a:pt x="3041" y="658"/>
                    </a:lnTo>
                    <a:lnTo>
                      <a:pt x="3041" y="725"/>
                    </a:lnTo>
                    <a:lnTo>
                      <a:pt x="3041" y="725"/>
                    </a:lnTo>
                    <a:lnTo>
                      <a:pt x="3041" y="722"/>
                    </a:lnTo>
                    <a:lnTo>
                      <a:pt x="3043" y="722"/>
                    </a:lnTo>
                    <a:lnTo>
                      <a:pt x="3043" y="656"/>
                    </a:lnTo>
                    <a:moveTo>
                      <a:pt x="0" y="616"/>
                    </a:moveTo>
                    <a:lnTo>
                      <a:pt x="0" y="616"/>
                    </a:lnTo>
                    <a:lnTo>
                      <a:pt x="0" y="618"/>
                    </a:lnTo>
                    <a:lnTo>
                      <a:pt x="0" y="1378"/>
                    </a:lnTo>
                    <a:lnTo>
                      <a:pt x="0" y="1378"/>
                    </a:lnTo>
                    <a:lnTo>
                      <a:pt x="0" y="616"/>
                    </a:lnTo>
                    <a:moveTo>
                      <a:pt x="5157" y="609"/>
                    </a:moveTo>
                    <a:lnTo>
                      <a:pt x="5155" y="609"/>
                    </a:lnTo>
                    <a:lnTo>
                      <a:pt x="5155" y="611"/>
                    </a:lnTo>
                    <a:lnTo>
                      <a:pt x="5155" y="656"/>
                    </a:lnTo>
                    <a:lnTo>
                      <a:pt x="5157" y="656"/>
                    </a:lnTo>
                    <a:lnTo>
                      <a:pt x="5157" y="609"/>
                    </a:lnTo>
                    <a:moveTo>
                      <a:pt x="3187" y="580"/>
                    </a:moveTo>
                    <a:lnTo>
                      <a:pt x="3185" y="580"/>
                    </a:lnTo>
                    <a:lnTo>
                      <a:pt x="3185" y="580"/>
                    </a:lnTo>
                    <a:lnTo>
                      <a:pt x="3185" y="582"/>
                    </a:lnTo>
                    <a:lnTo>
                      <a:pt x="3187" y="582"/>
                    </a:lnTo>
                    <a:lnTo>
                      <a:pt x="3187" y="580"/>
                    </a:lnTo>
                    <a:moveTo>
                      <a:pt x="6930" y="509"/>
                    </a:moveTo>
                    <a:lnTo>
                      <a:pt x="6928" y="509"/>
                    </a:lnTo>
                    <a:lnTo>
                      <a:pt x="6928" y="509"/>
                    </a:lnTo>
                    <a:lnTo>
                      <a:pt x="6928" y="1018"/>
                    </a:lnTo>
                    <a:lnTo>
                      <a:pt x="6930" y="1018"/>
                    </a:lnTo>
                    <a:lnTo>
                      <a:pt x="6930" y="509"/>
                    </a:lnTo>
                    <a:moveTo>
                      <a:pt x="4098" y="502"/>
                    </a:moveTo>
                    <a:lnTo>
                      <a:pt x="4098" y="502"/>
                    </a:lnTo>
                    <a:lnTo>
                      <a:pt x="4095" y="504"/>
                    </a:lnTo>
                    <a:lnTo>
                      <a:pt x="4091" y="511"/>
                    </a:lnTo>
                    <a:lnTo>
                      <a:pt x="4091" y="511"/>
                    </a:lnTo>
                    <a:lnTo>
                      <a:pt x="4098" y="502"/>
                    </a:lnTo>
                    <a:moveTo>
                      <a:pt x="3204" y="500"/>
                    </a:moveTo>
                    <a:lnTo>
                      <a:pt x="3202" y="500"/>
                    </a:lnTo>
                    <a:lnTo>
                      <a:pt x="3202" y="502"/>
                    </a:lnTo>
                    <a:lnTo>
                      <a:pt x="3202" y="564"/>
                    </a:lnTo>
                    <a:lnTo>
                      <a:pt x="3204" y="564"/>
                    </a:lnTo>
                    <a:lnTo>
                      <a:pt x="3204" y="564"/>
                    </a:lnTo>
                    <a:lnTo>
                      <a:pt x="3204" y="564"/>
                    </a:lnTo>
                    <a:lnTo>
                      <a:pt x="3204" y="500"/>
                    </a:lnTo>
                    <a:moveTo>
                      <a:pt x="3942" y="455"/>
                    </a:moveTo>
                    <a:lnTo>
                      <a:pt x="3939" y="455"/>
                    </a:lnTo>
                    <a:lnTo>
                      <a:pt x="3939" y="455"/>
                    </a:lnTo>
                    <a:lnTo>
                      <a:pt x="3939" y="455"/>
                    </a:lnTo>
                    <a:lnTo>
                      <a:pt x="3939" y="490"/>
                    </a:lnTo>
                    <a:lnTo>
                      <a:pt x="3857" y="642"/>
                    </a:lnTo>
                    <a:lnTo>
                      <a:pt x="3857" y="852"/>
                    </a:lnTo>
                    <a:lnTo>
                      <a:pt x="3859" y="852"/>
                    </a:lnTo>
                    <a:lnTo>
                      <a:pt x="3859" y="642"/>
                    </a:lnTo>
                    <a:lnTo>
                      <a:pt x="3942" y="488"/>
                    </a:lnTo>
                    <a:lnTo>
                      <a:pt x="3942" y="455"/>
                    </a:lnTo>
                    <a:moveTo>
                      <a:pt x="3232" y="433"/>
                    </a:moveTo>
                    <a:lnTo>
                      <a:pt x="3230" y="433"/>
                    </a:lnTo>
                    <a:lnTo>
                      <a:pt x="3230" y="436"/>
                    </a:lnTo>
                    <a:lnTo>
                      <a:pt x="3230" y="474"/>
                    </a:lnTo>
                    <a:lnTo>
                      <a:pt x="3232" y="474"/>
                    </a:lnTo>
                    <a:lnTo>
                      <a:pt x="3232" y="471"/>
                    </a:lnTo>
                    <a:lnTo>
                      <a:pt x="3232" y="471"/>
                    </a:lnTo>
                    <a:lnTo>
                      <a:pt x="3232" y="433"/>
                    </a:lnTo>
                    <a:moveTo>
                      <a:pt x="3946" y="391"/>
                    </a:moveTo>
                    <a:lnTo>
                      <a:pt x="3944" y="391"/>
                    </a:lnTo>
                    <a:lnTo>
                      <a:pt x="3944" y="391"/>
                    </a:lnTo>
                    <a:lnTo>
                      <a:pt x="3944" y="393"/>
                    </a:lnTo>
                    <a:lnTo>
                      <a:pt x="3944" y="448"/>
                    </a:lnTo>
                    <a:lnTo>
                      <a:pt x="3946" y="448"/>
                    </a:lnTo>
                    <a:lnTo>
                      <a:pt x="3946" y="445"/>
                    </a:lnTo>
                    <a:lnTo>
                      <a:pt x="3946" y="445"/>
                    </a:lnTo>
                    <a:lnTo>
                      <a:pt x="3946" y="391"/>
                    </a:lnTo>
                    <a:moveTo>
                      <a:pt x="1714" y="367"/>
                    </a:moveTo>
                    <a:lnTo>
                      <a:pt x="1712" y="367"/>
                    </a:lnTo>
                    <a:lnTo>
                      <a:pt x="1712" y="369"/>
                    </a:lnTo>
                    <a:lnTo>
                      <a:pt x="1712" y="1056"/>
                    </a:lnTo>
                    <a:lnTo>
                      <a:pt x="1714" y="1056"/>
                    </a:lnTo>
                    <a:lnTo>
                      <a:pt x="1714" y="367"/>
                    </a:lnTo>
                    <a:moveTo>
                      <a:pt x="3954" y="327"/>
                    </a:moveTo>
                    <a:lnTo>
                      <a:pt x="3954" y="327"/>
                    </a:lnTo>
                    <a:lnTo>
                      <a:pt x="3954" y="329"/>
                    </a:lnTo>
                    <a:lnTo>
                      <a:pt x="3954" y="384"/>
                    </a:lnTo>
                    <a:lnTo>
                      <a:pt x="3954" y="384"/>
                    </a:lnTo>
                    <a:lnTo>
                      <a:pt x="3954" y="381"/>
                    </a:lnTo>
                    <a:lnTo>
                      <a:pt x="3954" y="381"/>
                    </a:lnTo>
                    <a:lnTo>
                      <a:pt x="3954" y="327"/>
                    </a:lnTo>
                    <a:moveTo>
                      <a:pt x="4609" y="232"/>
                    </a:moveTo>
                    <a:lnTo>
                      <a:pt x="4606" y="232"/>
                    </a:lnTo>
                    <a:lnTo>
                      <a:pt x="4606" y="232"/>
                    </a:lnTo>
                    <a:lnTo>
                      <a:pt x="4549" y="440"/>
                    </a:lnTo>
                    <a:lnTo>
                      <a:pt x="4552" y="438"/>
                    </a:lnTo>
                    <a:lnTo>
                      <a:pt x="4609" y="232"/>
                    </a:lnTo>
                    <a:moveTo>
                      <a:pt x="4758" y="0"/>
                    </a:moveTo>
                    <a:lnTo>
                      <a:pt x="4755" y="0"/>
                    </a:lnTo>
                    <a:lnTo>
                      <a:pt x="4755" y="2"/>
                    </a:lnTo>
                    <a:lnTo>
                      <a:pt x="4755" y="123"/>
                    </a:lnTo>
                    <a:lnTo>
                      <a:pt x="4755" y="123"/>
                    </a:lnTo>
                    <a:lnTo>
                      <a:pt x="4755" y="121"/>
                    </a:lnTo>
                    <a:lnTo>
                      <a:pt x="4758" y="121"/>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4" name="Freeform 66"/>
              <p:cNvSpPr>
                <a:spLocks noEditPoints="1"/>
              </p:cNvSpPr>
              <p:nvPr/>
            </p:nvSpPr>
            <p:spPr bwMode="auto">
              <a:xfrm>
                <a:off x="68" y="1734"/>
                <a:ext cx="6930" cy="1380"/>
              </a:xfrm>
              <a:custGeom>
                <a:avLst/>
                <a:gdLst>
                  <a:gd name="T0" fmla="*/ 3615 w 6930"/>
                  <a:gd name="T1" fmla="*/ 1243 h 1380"/>
                  <a:gd name="T2" fmla="*/ 5736 w 6930"/>
                  <a:gd name="T3" fmla="*/ 1207 h 1380"/>
                  <a:gd name="T4" fmla="*/ 5736 w 6930"/>
                  <a:gd name="T5" fmla="*/ 1207 h 1380"/>
                  <a:gd name="T6" fmla="*/ 5760 w 6930"/>
                  <a:gd name="T7" fmla="*/ 1183 h 1380"/>
                  <a:gd name="T8" fmla="*/ 5762 w 6930"/>
                  <a:gd name="T9" fmla="*/ 1127 h 1380"/>
                  <a:gd name="T10" fmla="*/ 6226 w 6930"/>
                  <a:gd name="T11" fmla="*/ 1129 h 1380"/>
                  <a:gd name="T12" fmla="*/ 2767 w 6930"/>
                  <a:gd name="T13" fmla="*/ 1063 h 1380"/>
                  <a:gd name="T14" fmla="*/ 2764 w 6930"/>
                  <a:gd name="T15" fmla="*/ 1167 h 1380"/>
                  <a:gd name="T16" fmla="*/ 5836 w 6930"/>
                  <a:gd name="T17" fmla="*/ 1041 h 1380"/>
                  <a:gd name="T18" fmla="*/ 5838 w 6930"/>
                  <a:gd name="T19" fmla="*/ 1056 h 1380"/>
                  <a:gd name="T20" fmla="*/ 2781 w 6930"/>
                  <a:gd name="T21" fmla="*/ 1013 h 1380"/>
                  <a:gd name="T22" fmla="*/ 2783 w 6930"/>
                  <a:gd name="T23" fmla="*/ 1044 h 1380"/>
                  <a:gd name="T24" fmla="*/ 3675 w 6930"/>
                  <a:gd name="T25" fmla="*/ 994 h 1380"/>
                  <a:gd name="T26" fmla="*/ 3677 w 6930"/>
                  <a:gd name="T27" fmla="*/ 1160 h 1380"/>
                  <a:gd name="T28" fmla="*/ 5852 w 6930"/>
                  <a:gd name="T29" fmla="*/ 992 h 1380"/>
                  <a:gd name="T30" fmla="*/ 5855 w 6930"/>
                  <a:gd name="T31" fmla="*/ 1022 h 1380"/>
                  <a:gd name="T32" fmla="*/ 6245 w 6930"/>
                  <a:gd name="T33" fmla="*/ 937 h 1380"/>
                  <a:gd name="T34" fmla="*/ 6247 w 6930"/>
                  <a:gd name="T35" fmla="*/ 1108 h 1380"/>
                  <a:gd name="T36" fmla="*/ 6294 w 6930"/>
                  <a:gd name="T37" fmla="*/ 878 h 1380"/>
                  <a:gd name="T38" fmla="*/ 6294 w 6930"/>
                  <a:gd name="T39" fmla="*/ 885 h 1380"/>
                  <a:gd name="T40" fmla="*/ 6302 w 6930"/>
                  <a:gd name="T41" fmla="*/ 850 h 1380"/>
                  <a:gd name="T42" fmla="*/ 6304 w 6930"/>
                  <a:gd name="T43" fmla="*/ 869 h 1380"/>
                  <a:gd name="T44" fmla="*/ 3005 w 6930"/>
                  <a:gd name="T45" fmla="*/ 762 h 1380"/>
                  <a:gd name="T46" fmla="*/ 3005 w 6930"/>
                  <a:gd name="T47" fmla="*/ 762 h 1380"/>
                  <a:gd name="T48" fmla="*/ 915 w 6930"/>
                  <a:gd name="T49" fmla="*/ 755 h 1380"/>
                  <a:gd name="T50" fmla="*/ 5037 w 6930"/>
                  <a:gd name="T51" fmla="*/ 734 h 1380"/>
                  <a:gd name="T52" fmla="*/ 3046 w 6930"/>
                  <a:gd name="T53" fmla="*/ 656 h 1380"/>
                  <a:gd name="T54" fmla="*/ 3043 w 6930"/>
                  <a:gd name="T55" fmla="*/ 724 h 1380"/>
                  <a:gd name="T56" fmla="*/ 2 w 6930"/>
                  <a:gd name="T57" fmla="*/ 615 h 1380"/>
                  <a:gd name="T58" fmla="*/ 2 w 6930"/>
                  <a:gd name="T59" fmla="*/ 1380 h 1380"/>
                  <a:gd name="T60" fmla="*/ 5157 w 6930"/>
                  <a:gd name="T61" fmla="*/ 611 h 1380"/>
                  <a:gd name="T62" fmla="*/ 3190 w 6930"/>
                  <a:gd name="T63" fmla="*/ 582 h 1380"/>
                  <a:gd name="T64" fmla="*/ 3187 w 6930"/>
                  <a:gd name="T65" fmla="*/ 584 h 1380"/>
                  <a:gd name="T66" fmla="*/ 6930 w 6930"/>
                  <a:gd name="T67" fmla="*/ 509 h 1380"/>
                  <a:gd name="T68" fmla="*/ 6930 w 6930"/>
                  <a:gd name="T69" fmla="*/ 509 h 1380"/>
                  <a:gd name="T70" fmla="*/ 4091 w 6930"/>
                  <a:gd name="T71" fmla="*/ 513 h 1380"/>
                  <a:gd name="T72" fmla="*/ 3204 w 6930"/>
                  <a:gd name="T73" fmla="*/ 502 h 1380"/>
                  <a:gd name="T74" fmla="*/ 3206 w 6930"/>
                  <a:gd name="T75" fmla="*/ 563 h 1380"/>
                  <a:gd name="T76" fmla="*/ 3942 w 6930"/>
                  <a:gd name="T77" fmla="*/ 454 h 1380"/>
                  <a:gd name="T78" fmla="*/ 3859 w 6930"/>
                  <a:gd name="T79" fmla="*/ 644 h 1380"/>
                  <a:gd name="T80" fmla="*/ 3942 w 6930"/>
                  <a:gd name="T81" fmla="*/ 487 h 1380"/>
                  <a:gd name="T82" fmla="*/ 3232 w 6930"/>
                  <a:gd name="T83" fmla="*/ 435 h 1380"/>
                  <a:gd name="T84" fmla="*/ 3235 w 6930"/>
                  <a:gd name="T85" fmla="*/ 471 h 1380"/>
                  <a:gd name="T86" fmla="*/ 3946 w 6930"/>
                  <a:gd name="T87" fmla="*/ 390 h 1380"/>
                  <a:gd name="T88" fmla="*/ 3949 w 6930"/>
                  <a:gd name="T89" fmla="*/ 447 h 1380"/>
                  <a:gd name="T90" fmla="*/ 1714 w 6930"/>
                  <a:gd name="T91" fmla="*/ 367 h 1380"/>
                  <a:gd name="T92" fmla="*/ 1717 w 6930"/>
                  <a:gd name="T93" fmla="*/ 367 h 1380"/>
                  <a:gd name="T94" fmla="*/ 3954 w 6930"/>
                  <a:gd name="T95" fmla="*/ 383 h 1380"/>
                  <a:gd name="T96" fmla="*/ 3956 w 6930"/>
                  <a:gd name="T97" fmla="*/ 326 h 1380"/>
                  <a:gd name="T98" fmla="*/ 4552 w 6930"/>
                  <a:gd name="T99" fmla="*/ 440 h 1380"/>
                  <a:gd name="T100" fmla="*/ 4758 w 6930"/>
                  <a:gd name="T101" fmla="*/ 0 h 1380"/>
                  <a:gd name="T102" fmla="*/ 4758 w 6930"/>
                  <a:gd name="T103" fmla="*/ 120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30" h="1380">
                    <a:moveTo>
                      <a:pt x="3618" y="1221"/>
                    </a:moveTo>
                    <a:lnTo>
                      <a:pt x="3615" y="1221"/>
                    </a:lnTo>
                    <a:lnTo>
                      <a:pt x="3615" y="1224"/>
                    </a:lnTo>
                    <a:lnTo>
                      <a:pt x="3615" y="1243"/>
                    </a:lnTo>
                    <a:lnTo>
                      <a:pt x="3618" y="1243"/>
                    </a:lnTo>
                    <a:lnTo>
                      <a:pt x="3618" y="1221"/>
                    </a:lnTo>
                    <a:close/>
                    <a:moveTo>
                      <a:pt x="5736" y="1207"/>
                    </a:moveTo>
                    <a:lnTo>
                      <a:pt x="5736" y="1207"/>
                    </a:lnTo>
                    <a:lnTo>
                      <a:pt x="5736" y="1210"/>
                    </a:lnTo>
                    <a:lnTo>
                      <a:pt x="5736" y="1252"/>
                    </a:lnTo>
                    <a:lnTo>
                      <a:pt x="5736" y="1252"/>
                    </a:lnTo>
                    <a:lnTo>
                      <a:pt x="5736" y="1207"/>
                    </a:lnTo>
                    <a:close/>
                    <a:moveTo>
                      <a:pt x="5762" y="1127"/>
                    </a:moveTo>
                    <a:lnTo>
                      <a:pt x="5760" y="1127"/>
                    </a:lnTo>
                    <a:lnTo>
                      <a:pt x="5760" y="1129"/>
                    </a:lnTo>
                    <a:lnTo>
                      <a:pt x="5760" y="1183"/>
                    </a:lnTo>
                    <a:lnTo>
                      <a:pt x="5760" y="1183"/>
                    </a:lnTo>
                    <a:lnTo>
                      <a:pt x="5760" y="1181"/>
                    </a:lnTo>
                    <a:lnTo>
                      <a:pt x="5762" y="1181"/>
                    </a:lnTo>
                    <a:lnTo>
                      <a:pt x="5762" y="1127"/>
                    </a:lnTo>
                    <a:close/>
                    <a:moveTo>
                      <a:pt x="6228" y="1127"/>
                    </a:moveTo>
                    <a:lnTo>
                      <a:pt x="6228" y="1127"/>
                    </a:lnTo>
                    <a:lnTo>
                      <a:pt x="6226" y="1127"/>
                    </a:lnTo>
                    <a:lnTo>
                      <a:pt x="6226" y="1129"/>
                    </a:lnTo>
                    <a:lnTo>
                      <a:pt x="6226" y="1136"/>
                    </a:lnTo>
                    <a:lnTo>
                      <a:pt x="6228" y="1136"/>
                    </a:lnTo>
                    <a:lnTo>
                      <a:pt x="6228" y="1127"/>
                    </a:lnTo>
                    <a:close/>
                    <a:moveTo>
                      <a:pt x="2767" y="1063"/>
                    </a:moveTo>
                    <a:lnTo>
                      <a:pt x="2764" y="1063"/>
                    </a:lnTo>
                    <a:lnTo>
                      <a:pt x="2764" y="1063"/>
                    </a:lnTo>
                    <a:lnTo>
                      <a:pt x="2764" y="1063"/>
                    </a:lnTo>
                    <a:lnTo>
                      <a:pt x="2764" y="1167"/>
                    </a:lnTo>
                    <a:lnTo>
                      <a:pt x="2767" y="1167"/>
                    </a:lnTo>
                    <a:lnTo>
                      <a:pt x="2767" y="1063"/>
                    </a:lnTo>
                    <a:close/>
                    <a:moveTo>
                      <a:pt x="5838" y="1041"/>
                    </a:moveTo>
                    <a:lnTo>
                      <a:pt x="5836" y="1041"/>
                    </a:lnTo>
                    <a:lnTo>
                      <a:pt x="5836" y="1041"/>
                    </a:lnTo>
                    <a:lnTo>
                      <a:pt x="5836" y="1044"/>
                    </a:lnTo>
                    <a:lnTo>
                      <a:pt x="5836" y="1056"/>
                    </a:lnTo>
                    <a:lnTo>
                      <a:pt x="5838" y="1056"/>
                    </a:lnTo>
                    <a:lnTo>
                      <a:pt x="5838" y="1041"/>
                    </a:lnTo>
                    <a:close/>
                    <a:moveTo>
                      <a:pt x="2783" y="1011"/>
                    </a:moveTo>
                    <a:lnTo>
                      <a:pt x="2781" y="1013"/>
                    </a:lnTo>
                    <a:lnTo>
                      <a:pt x="2781" y="1013"/>
                    </a:lnTo>
                    <a:lnTo>
                      <a:pt x="2781" y="1046"/>
                    </a:lnTo>
                    <a:lnTo>
                      <a:pt x="2783" y="1046"/>
                    </a:lnTo>
                    <a:lnTo>
                      <a:pt x="2783" y="1044"/>
                    </a:lnTo>
                    <a:lnTo>
                      <a:pt x="2783" y="1044"/>
                    </a:lnTo>
                    <a:lnTo>
                      <a:pt x="2783" y="1011"/>
                    </a:lnTo>
                    <a:close/>
                    <a:moveTo>
                      <a:pt x="3677" y="992"/>
                    </a:moveTo>
                    <a:lnTo>
                      <a:pt x="3675" y="992"/>
                    </a:lnTo>
                    <a:lnTo>
                      <a:pt x="3675" y="994"/>
                    </a:lnTo>
                    <a:lnTo>
                      <a:pt x="3675" y="1162"/>
                    </a:lnTo>
                    <a:lnTo>
                      <a:pt x="3677" y="1162"/>
                    </a:lnTo>
                    <a:lnTo>
                      <a:pt x="3677" y="1160"/>
                    </a:lnTo>
                    <a:lnTo>
                      <a:pt x="3677" y="1160"/>
                    </a:lnTo>
                    <a:lnTo>
                      <a:pt x="3677" y="992"/>
                    </a:lnTo>
                    <a:close/>
                    <a:moveTo>
                      <a:pt x="5855" y="989"/>
                    </a:moveTo>
                    <a:lnTo>
                      <a:pt x="5852" y="989"/>
                    </a:lnTo>
                    <a:lnTo>
                      <a:pt x="5852" y="992"/>
                    </a:lnTo>
                    <a:lnTo>
                      <a:pt x="5852" y="1025"/>
                    </a:lnTo>
                    <a:lnTo>
                      <a:pt x="5855" y="1025"/>
                    </a:lnTo>
                    <a:lnTo>
                      <a:pt x="5855" y="1022"/>
                    </a:lnTo>
                    <a:lnTo>
                      <a:pt x="5855" y="1022"/>
                    </a:lnTo>
                    <a:lnTo>
                      <a:pt x="5855" y="989"/>
                    </a:lnTo>
                    <a:close/>
                    <a:moveTo>
                      <a:pt x="6247" y="935"/>
                    </a:moveTo>
                    <a:lnTo>
                      <a:pt x="6245" y="935"/>
                    </a:lnTo>
                    <a:lnTo>
                      <a:pt x="6245" y="937"/>
                    </a:lnTo>
                    <a:lnTo>
                      <a:pt x="6245" y="1110"/>
                    </a:lnTo>
                    <a:lnTo>
                      <a:pt x="6245" y="1110"/>
                    </a:lnTo>
                    <a:lnTo>
                      <a:pt x="6245" y="1108"/>
                    </a:lnTo>
                    <a:lnTo>
                      <a:pt x="6247" y="1108"/>
                    </a:lnTo>
                    <a:lnTo>
                      <a:pt x="6247" y="935"/>
                    </a:lnTo>
                    <a:close/>
                    <a:moveTo>
                      <a:pt x="6297" y="878"/>
                    </a:moveTo>
                    <a:lnTo>
                      <a:pt x="6294" y="878"/>
                    </a:lnTo>
                    <a:lnTo>
                      <a:pt x="6294" y="878"/>
                    </a:lnTo>
                    <a:lnTo>
                      <a:pt x="6294" y="880"/>
                    </a:lnTo>
                    <a:lnTo>
                      <a:pt x="6294" y="888"/>
                    </a:lnTo>
                    <a:lnTo>
                      <a:pt x="6294" y="888"/>
                    </a:lnTo>
                    <a:lnTo>
                      <a:pt x="6294" y="885"/>
                    </a:lnTo>
                    <a:lnTo>
                      <a:pt x="6297" y="885"/>
                    </a:lnTo>
                    <a:lnTo>
                      <a:pt x="6297" y="878"/>
                    </a:lnTo>
                    <a:close/>
                    <a:moveTo>
                      <a:pt x="6304" y="850"/>
                    </a:moveTo>
                    <a:lnTo>
                      <a:pt x="6302" y="850"/>
                    </a:lnTo>
                    <a:lnTo>
                      <a:pt x="6302" y="852"/>
                    </a:lnTo>
                    <a:lnTo>
                      <a:pt x="6302" y="871"/>
                    </a:lnTo>
                    <a:lnTo>
                      <a:pt x="6304" y="871"/>
                    </a:lnTo>
                    <a:lnTo>
                      <a:pt x="6304" y="869"/>
                    </a:lnTo>
                    <a:lnTo>
                      <a:pt x="6304" y="869"/>
                    </a:lnTo>
                    <a:lnTo>
                      <a:pt x="6304" y="850"/>
                    </a:lnTo>
                    <a:close/>
                    <a:moveTo>
                      <a:pt x="3005" y="762"/>
                    </a:moveTo>
                    <a:lnTo>
                      <a:pt x="3005" y="762"/>
                    </a:lnTo>
                    <a:lnTo>
                      <a:pt x="3005" y="764"/>
                    </a:lnTo>
                    <a:lnTo>
                      <a:pt x="3005" y="906"/>
                    </a:lnTo>
                    <a:lnTo>
                      <a:pt x="3005" y="906"/>
                    </a:lnTo>
                    <a:lnTo>
                      <a:pt x="3005" y="762"/>
                    </a:lnTo>
                    <a:close/>
                    <a:moveTo>
                      <a:pt x="915" y="753"/>
                    </a:moveTo>
                    <a:lnTo>
                      <a:pt x="913" y="753"/>
                    </a:lnTo>
                    <a:lnTo>
                      <a:pt x="913" y="755"/>
                    </a:lnTo>
                    <a:lnTo>
                      <a:pt x="915" y="755"/>
                    </a:lnTo>
                    <a:lnTo>
                      <a:pt x="915" y="753"/>
                    </a:lnTo>
                    <a:close/>
                    <a:moveTo>
                      <a:pt x="5039" y="731"/>
                    </a:moveTo>
                    <a:lnTo>
                      <a:pt x="5037" y="731"/>
                    </a:lnTo>
                    <a:lnTo>
                      <a:pt x="5037" y="734"/>
                    </a:lnTo>
                    <a:lnTo>
                      <a:pt x="5037" y="899"/>
                    </a:lnTo>
                    <a:lnTo>
                      <a:pt x="5039" y="899"/>
                    </a:lnTo>
                    <a:lnTo>
                      <a:pt x="5039" y="731"/>
                    </a:lnTo>
                    <a:close/>
                    <a:moveTo>
                      <a:pt x="3046" y="656"/>
                    </a:moveTo>
                    <a:lnTo>
                      <a:pt x="3043" y="656"/>
                    </a:lnTo>
                    <a:lnTo>
                      <a:pt x="3043" y="658"/>
                    </a:lnTo>
                    <a:lnTo>
                      <a:pt x="3043" y="724"/>
                    </a:lnTo>
                    <a:lnTo>
                      <a:pt x="3043" y="724"/>
                    </a:lnTo>
                    <a:lnTo>
                      <a:pt x="3043" y="724"/>
                    </a:lnTo>
                    <a:lnTo>
                      <a:pt x="3046" y="724"/>
                    </a:lnTo>
                    <a:lnTo>
                      <a:pt x="3046" y="656"/>
                    </a:lnTo>
                    <a:close/>
                    <a:moveTo>
                      <a:pt x="2" y="615"/>
                    </a:moveTo>
                    <a:lnTo>
                      <a:pt x="0" y="615"/>
                    </a:lnTo>
                    <a:lnTo>
                      <a:pt x="0" y="618"/>
                    </a:lnTo>
                    <a:lnTo>
                      <a:pt x="0" y="1380"/>
                    </a:lnTo>
                    <a:lnTo>
                      <a:pt x="2" y="1380"/>
                    </a:lnTo>
                    <a:lnTo>
                      <a:pt x="2" y="615"/>
                    </a:lnTo>
                    <a:close/>
                    <a:moveTo>
                      <a:pt x="5159" y="608"/>
                    </a:moveTo>
                    <a:lnTo>
                      <a:pt x="5157" y="608"/>
                    </a:lnTo>
                    <a:lnTo>
                      <a:pt x="5157" y="611"/>
                    </a:lnTo>
                    <a:lnTo>
                      <a:pt x="5157" y="658"/>
                    </a:lnTo>
                    <a:lnTo>
                      <a:pt x="5159" y="658"/>
                    </a:lnTo>
                    <a:lnTo>
                      <a:pt x="5159" y="608"/>
                    </a:lnTo>
                    <a:close/>
                    <a:moveTo>
                      <a:pt x="3190" y="582"/>
                    </a:moveTo>
                    <a:lnTo>
                      <a:pt x="3187" y="582"/>
                    </a:lnTo>
                    <a:lnTo>
                      <a:pt x="3187" y="582"/>
                    </a:lnTo>
                    <a:lnTo>
                      <a:pt x="3187" y="582"/>
                    </a:lnTo>
                    <a:lnTo>
                      <a:pt x="3187" y="584"/>
                    </a:lnTo>
                    <a:lnTo>
                      <a:pt x="3190" y="584"/>
                    </a:lnTo>
                    <a:lnTo>
                      <a:pt x="3190" y="582"/>
                    </a:lnTo>
                    <a:close/>
                    <a:moveTo>
                      <a:pt x="6930" y="509"/>
                    </a:moveTo>
                    <a:lnTo>
                      <a:pt x="6930" y="509"/>
                    </a:lnTo>
                    <a:lnTo>
                      <a:pt x="6930" y="511"/>
                    </a:lnTo>
                    <a:lnTo>
                      <a:pt x="6930" y="1020"/>
                    </a:lnTo>
                    <a:lnTo>
                      <a:pt x="6930" y="1020"/>
                    </a:lnTo>
                    <a:lnTo>
                      <a:pt x="6930" y="509"/>
                    </a:lnTo>
                    <a:close/>
                    <a:moveTo>
                      <a:pt x="4100" y="502"/>
                    </a:moveTo>
                    <a:lnTo>
                      <a:pt x="4100" y="502"/>
                    </a:lnTo>
                    <a:lnTo>
                      <a:pt x="4098" y="504"/>
                    </a:lnTo>
                    <a:lnTo>
                      <a:pt x="4091" y="513"/>
                    </a:lnTo>
                    <a:lnTo>
                      <a:pt x="4091" y="513"/>
                    </a:lnTo>
                    <a:lnTo>
                      <a:pt x="4100" y="502"/>
                    </a:lnTo>
                    <a:close/>
                    <a:moveTo>
                      <a:pt x="3206" y="502"/>
                    </a:moveTo>
                    <a:lnTo>
                      <a:pt x="3204" y="502"/>
                    </a:lnTo>
                    <a:lnTo>
                      <a:pt x="3204" y="502"/>
                    </a:lnTo>
                    <a:lnTo>
                      <a:pt x="3204" y="566"/>
                    </a:lnTo>
                    <a:lnTo>
                      <a:pt x="3206" y="566"/>
                    </a:lnTo>
                    <a:lnTo>
                      <a:pt x="3206" y="563"/>
                    </a:lnTo>
                    <a:lnTo>
                      <a:pt x="3206" y="563"/>
                    </a:lnTo>
                    <a:lnTo>
                      <a:pt x="3206" y="502"/>
                    </a:lnTo>
                    <a:close/>
                    <a:moveTo>
                      <a:pt x="3942" y="454"/>
                    </a:moveTo>
                    <a:lnTo>
                      <a:pt x="3942" y="454"/>
                    </a:lnTo>
                    <a:lnTo>
                      <a:pt x="3942" y="454"/>
                    </a:lnTo>
                    <a:lnTo>
                      <a:pt x="3942" y="457"/>
                    </a:lnTo>
                    <a:lnTo>
                      <a:pt x="3942" y="490"/>
                    </a:lnTo>
                    <a:lnTo>
                      <a:pt x="3859" y="644"/>
                    </a:lnTo>
                    <a:lnTo>
                      <a:pt x="3859" y="854"/>
                    </a:lnTo>
                    <a:lnTo>
                      <a:pt x="3861" y="854"/>
                    </a:lnTo>
                    <a:lnTo>
                      <a:pt x="3861" y="641"/>
                    </a:lnTo>
                    <a:lnTo>
                      <a:pt x="3942" y="487"/>
                    </a:lnTo>
                    <a:lnTo>
                      <a:pt x="3942" y="454"/>
                    </a:lnTo>
                    <a:close/>
                    <a:moveTo>
                      <a:pt x="3235" y="433"/>
                    </a:moveTo>
                    <a:lnTo>
                      <a:pt x="3232" y="433"/>
                    </a:lnTo>
                    <a:lnTo>
                      <a:pt x="3232" y="435"/>
                    </a:lnTo>
                    <a:lnTo>
                      <a:pt x="3232" y="473"/>
                    </a:lnTo>
                    <a:lnTo>
                      <a:pt x="3235" y="473"/>
                    </a:lnTo>
                    <a:lnTo>
                      <a:pt x="3235" y="471"/>
                    </a:lnTo>
                    <a:lnTo>
                      <a:pt x="3235" y="471"/>
                    </a:lnTo>
                    <a:lnTo>
                      <a:pt x="3235" y="433"/>
                    </a:lnTo>
                    <a:close/>
                    <a:moveTo>
                      <a:pt x="3949" y="390"/>
                    </a:moveTo>
                    <a:lnTo>
                      <a:pt x="3946" y="390"/>
                    </a:lnTo>
                    <a:lnTo>
                      <a:pt x="3946" y="390"/>
                    </a:lnTo>
                    <a:lnTo>
                      <a:pt x="3946" y="393"/>
                    </a:lnTo>
                    <a:lnTo>
                      <a:pt x="3946" y="447"/>
                    </a:lnTo>
                    <a:lnTo>
                      <a:pt x="3949" y="447"/>
                    </a:lnTo>
                    <a:lnTo>
                      <a:pt x="3949" y="447"/>
                    </a:lnTo>
                    <a:lnTo>
                      <a:pt x="3949" y="447"/>
                    </a:lnTo>
                    <a:lnTo>
                      <a:pt x="3949" y="390"/>
                    </a:lnTo>
                    <a:close/>
                    <a:moveTo>
                      <a:pt x="1717" y="367"/>
                    </a:moveTo>
                    <a:lnTo>
                      <a:pt x="1714" y="367"/>
                    </a:lnTo>
                    <a:lnTo>
                      <a:pt x="1714" y="369"/>
                    </a:lnTo>
                    <a:lnTo>
                      <a:pt x="1714" y="1058"/>
                    </a:lnTo>
                    <a:lnTo>
                      <a:pt x="1717" y="1058"/>
                    </a:lnTo>
                    <a:lnTo>
                      <a:pt x="1717" y="367"/>
                    </a:lnTo>
                    <a:close/>
                    <a:moveTo>
                      <a:pt x="3956" y="326"/>
                    </a:moveTo>
                    <a:lnTo>
                      <a:pt x="3954" y="326"/>
                    </a:lnTo>
                    <a:lnTo>
                      <a:pt x="3954" y="329"/>
                    </a:lnTo>
                    <a:lnTo>
                      <a:pt x="3954" y="383"/>
                    </a:lnTo>
                    <a:lnTo>
                      <a:pt x="3956" y="383"/>
                    </a:lnTo>
                    <a:lnTo>
                      <a:pt x="3956" y="381"/>
                    </a:lnTo>
                    <a:lnTo>
                      <a:pt x="3956" y="381"/>
                    </a:lnTo>
                    <a:lnTo>
                      <a:pt x="3956" y="326"/>
                    </a:lnTo>
                    <a:close/>
                    <a:moveTo>
                      <a:pt x="4609" y="232"/>
                    </a:moveTo>
                    <a:lnTo>
                      <a:pt x="4609" y="232"/>
                    </a:lnTo>
                    <a:lnTo>
                      <a:pt x="4609" y="234"/>
                    </a:lnTo>
                    <a:lnTo>
                      <a:pt x="4552" y="440"/>
                    </a:lnTo>
                    <a:lnTo>
                      <a:pt x="4552" y="440"/>
                    </a:lnTo>
                    <a:lnTo>
                      <a:pt x="4609" y="232"/>
                    </a:lnTo>
                    <a:close/>
                    <a:moveTo>
                      <a:pt x="4758" y="0"/>
                    </a:moveTo>
                    <a:lnTo>
                      <a:pt x="4758" y="0"/>
                    </a:lnTo>
                    <a:lnTo>
                      <a:pt x="4758" y="2"/>
                    </a:lnTo>
                    <a:lnTo>
                      <a:pt x="4758" y="123"/>
                    </a:lnTo>
                    <a:lnTo>
                      <a:pt x="4758" y="123"/>
                    </a:lnTo>
                    <a:lnTo>
                      <a:pt x="4758" y="120"/>
                    </a:lnTo>
                    <a:lnTo>
                      <a:pt x="4758" y="120"/>
                    </a:lnTo>
                    <a:lnTo>
                      <a:pt x="4758"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5" name="Freeform 67"/>
              <p:cNvSpPr>
                <a:spLocks noEditPoints="1"/>
              </p:cNvSpPr>
              <p:nvPr/>
            </p:nvSpPr>
            <p:spPr bwMode="auto">
              <a:xfrm>
                <a:off x="68" y="1734"/>
                <a:ext cx="6930" cy="1380"/>
              </a:xfrm>
              <a:custGeom>
                <a:avLst/>
                <a:gdLst>
                  <a:gd name="T0" fmla="*/ 3615 w 6930"/>
                  <a:gd name="T1" fmla="*/ 1243 h 1380"/>
                  <a:gd name="T2" fmla="*/ 5736 w 6930"/>
                  <a:gd name="T3" fmla="*/ 1207 h 1380"/>
                  <a:gd name="T4" fmla="*/ 5736 w 6930"/>
                  <a:gd name="T5" fmla="*/ 1207 h 1380"/>
                  <a:gd name="T6" fmla="*/ 5760 w 6930"/>
                  <a:gd name="T7" fmla="*/ 1183 h 1380"/>
                  <a:gd name="T8" fmla="*/ 5762 w 6930"/>
                  <a:gd name="T9" fmla="*/ 1127 h 1380"/>
                  <a:gd name="T10" fmla="*/ 6226 w 6930"/>
                  <a:gd name="T11" fmla="*/ 1129 h 1380"/>
                  <a:gd name="T12" fmla="*/ 2767 w 6930"/>
                  <a:gd name="T13" fmla="*/ 1063 h 1380"/>
                  <a:gd name="T14" fmla="*/ 2764 w 6930"/>
                  <a:gd name="T15" fmla="*/ 1167 h 1380"/>
                  <a:gd name="T16" fmla="*/ 5836 w 6930"/>
                  <a:gd name="T17" fmla="*/ 1041 h 1380"/>
                  <a:gd name="T18" fmla="*/ 5838 w 6930"/>
                  <a:gd name="T19" fmla="*/ 1056 h 1380"/>
                  <a:gd name="T20" fmla="*/ 2781 w 6930"/>
                  <a:gd name="T21" fmla="*/ 1013 h 1380"/>
                  <a:gd name="T22" fmla="*/ 2783 w 6930"/>
                  <a:gd name="T23" fmla="*/ 1044 h 1380"/>
                  <a:gd name="T24" fmla="*/ 3675 w 6930"/>
                  <a:gd name="T25" fmla="*/ 994 h 1380"/>
                  <a:gd name="T26" fmla="*/ 3677 w 6930"/>
                  <a:gd name="T27" fmla="*/ 1160 h 1380"/>
                  <a:gd name="T28" fmla="*/ 5852 w 6930"/>
                  <a:gd name="T29" fmla="*/ 992 h 1380"/>
                  <a:gd name="T30" fmla="*/ 5855 w 6930"/>
                  <a:gd name="T31" fmla="*/ 1022 h 1380"/>
                  <a:gd name="T32" fmla="*/ 6245 w 6930"/>
                  <a:gd name="T33" fmla="*/ 937 h 1380"/>
                  <a:gd name="T34" fmla="*/ 6247 w 6930"/>
                  <a:gd name="T35" fmla="*/ 1108 h 1380"/>
                  <a:gd name="T36" fmla="*/ 6294 w 6930"/>
                  <a:gd name="T37" fmla="*/ 878 h 1380"/>
                  <a:gd name="T38" fmla="*/ 6294 w 6930"/>
                  <a:gd name="T39" fmla="*/ 885 h 1380"/>
                  <a:gd name="T40" fmla="*/ 6302 w 6930"/>
                  <a:gd name="T41" fmla="*/ 850 h 1380"/>
                  <a:gd name="T42" fmla="*/ 6304 w 6930"/>
                  <a:gd name="T43" fmla="*/ 869 h 1380"/>
                  <a:gd name="T44" fmla="*/ 3005 w 6930"/>
                  <a:gd name="T45" fmla="*/ 762 h 1380"/>
                  <a:gd name="T46" fmla="*/ 3005 w 6930"/>
                  <a:gd name="T47" fmla="*/ 762 h 1380"/>
                  <a:gd name="T48" fmla="*/ 915 w 6930"/>
                  <a:gd name="T49" fmla="*/ 755 h 1380"/>
                  <a:gd name="T50" fmla="*/ 5037 w 6930"/>
                  <a:gd name="T51" fmla="*/ 734 h 1380"/>
                  <a:gd name="T52" fmla="*/ 3046 w 6930"/>
                  <a:gd name="T53" fmla="*/ 656 h 1380"/>
                  <a:gd name="T54" fmla="*/ 3043 w 6930"/>
                  <a:gd name="T55" fmla="*/ 724 h 1380"/>
                  <a:gd name="T56" fmla="*/ 2 w 6930"/>
                  <a:gd name="T57" fmla="*/ 615 h 1380"/>
                  <a:gd name="T58" fmla="*/ 2 w 6930"/>
                  <a:gd name="T59" fmla="*/ 1380 h 1380"/>
                  <a:gd name="T60" fmla="*/ 5157 w 6930"/>
                  <a:gd name="T61" fmla="*/ 611 h 1380"/>
                  <a:gd name="T62" fmla="*/ 3190 w 6930"/>
                  <a:gd name="T63" fmla="*/ 582 h 1380"/>
                  <a:gd name="T64" fmla="*/ 3187 w 6930"/>
                  <a:gd name="T65" fmla="*/ 584 h 1380"/>
                  <a:gd name="T66" fmla="*/ 6930 w 6930"/>
                  <a:gd name="T67" fmla="*/ 509 h 1380"/>
                  <a:gd name="T68" fmla="*/ 6930 w 6930"/>
                  <a:gd name="T69" fmla="*/ 509 h 1380"/>
                  <a:gd name="T70" fmla="*/ 4091 w 6930"/>
                  <a:gd name="T71" fmla="*/ 513 h 1380"/>
                  <a:gd name="T72" fmla="*/ 3204 w 6930"/>
                  <a:gd name="T73" fmla="*/ 502 h 1380"/>
                  <a:gd name="T74" fmla="*/ 3206 w 6930"/>
                  <a:gd name="T75" fmla="*/ 563 h 1380"/>
                  <a:gd name="T76" fmla="*/ 3942 w 6930"/>
                  <a:gd name="T77" fmla="*/ 454 h 1380"/>
                  <a:gd name="T78" fmla="*/ 3859 w 6930"/>
                  <a:gd name="T79" fmla="*/ 644 h 1380"/>
                  <a:gd name="T80" fmla="*/ 3942 w 6930"/>
                  <a:gd name="T81" fmla="*/ 487 h 1380"/>
                  <a:gd name="T82" fmla="*/ 3232 w 6930"/>
                  <a:gd name="T83" fmla="*/ 435 h 1380"/>
                  <a:gd name="T84" fmla="*/ 3235 w 6930"/>
                  <a:gd name="T85" fmla="*/ 471 h 1380"/>
                  <a:gd name="T86" fmla="*/ 3946 w 6930"/>
                  <a:gd name="T87" fmla="*/ 390 h 1380"/>
                  <a:gd name="T88" fmla="*/ 3949 w 6930"/>
                  <a:gd name="T89" fmla="*/ 447 h 1380"/>
                  <a:gd name="T90" fmla="*/ 1714 w 6930"/>
                  <a:gd name="T91" fmla="*/ 367 h 1380"/>
                  <a:gd name="T92" fmla="*/ 1717 w 6930"/>
                  <a:gd name="T93" fmla="*/ 367 h 1380"/>
                  <a:gd name="T94" fmla="*/ 3954 w 6930"/>
                  <a:gd name="T95" fmla="*/ 383 h 1380"/>
                  <a:gd name="T96" fmla="*/ 3956 w 6930"/>
                  <a:gd name="T97" fmla="*/ 326 h 1380"/>
                  <a:gd name="T98" fmla="*/ 4552 w 6930"/>
                  <a:gd name="T99" fmla="*/ 440 h 1380"/>
                  <a:gd name="T100" fmla="*/ 4758 w 6930"/>
                  <a:gd name="T101" fmla="*/ 0 h 1380"/>
                  <a:gd name="T102" fmla="*/ 4758 w 6930"/>
                  <a:gd name="T103" fmla="*/ 120 h 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30" h="1380">
                    <a:moveTo>
                      <a:pt x="3618" y="1221"/>
                    </a:moveTo>
                    <a:lnTo>
                      <a:pt x="3615" y="1221"/>
                    </a:lnTo>
                    <a:lnTo>
                      <a:pt x="3615" y="1224"/>
                    </a:lnTo>
                    <a:lnTo>
                      <a:pt x="3615" y="1243"/>
                    </a:lnTo>
                    <a:lnTo>
                      <a:pt x="3618" y="1243"/>
                    </a:lnTo>
                    <a:lnTo>
                      <a:pt x="3618" y="1221"/>
                    </a:lnTo>
                    <a:moveTo>
                      <a:pt x="5736" y="1207"/>
                    </a:moveTo>
                    <a:lnTo>
                      <a:pt x="5736" y="1207"/>
                    </a:lnTo>
                    <a:lnTo>
                      <a:pt x="5736" y="1210"/>
                    </a:lnTo>
                    <a:lnTo>
                      <a:pt x="5736" y="1252"/>
                    </a:lnTo>
                    <a:lnTo>
                      <a:pt x="5736" y="1252"/>
                    </a:lnTo>
                    <a:lnTo>
                      <a:pt x="5736" y="1207"/>
                    </a:lnTo>
                    <a:moveTo>
                      <a:pt x="5762" y="1127"/>
                    </a:moveTo>
                    <a:lnTo>
                      <a:pt x="5760" y="1127"/>
                    </a:lnTo>
                    <a:lnTo>
                      <a:pt x="5760" y="1129"/>
                    </a:lnTo>
                    <a:lnTo>
                      <a:pt x="5760" y="1183"/>
                    </a:lnTo>
                    <a:lnTo>
                      <a:pt x="5760" y="1183"/>
                    </a:lnTo>
                    <a:lnTo>
                      <a:pt x="5760" y="1181"/>
                    </a:lnTo>
                    <a:lnTo>
                      <a:pt x="5762" y="1181"/>
                    </a:lnTo>
                    <a:lnTo>
                      <a:pt x="5762" y="1127"/>
                    </a:lnTo>
                    <a:moveTo>
                      <a:pt x="6228" y="1127"/>
                    </a:moveTo>
                    <a:lnTo>
                      <a:pt x="6228" y="1127"/>
                    </a:lnTo>
                    <a:lnTo>
                      <a:pt x="6226" y="1127"/>
                    </a:lnTo>
                    <a:lnTo>
                      <a:pt x="6226" y="1129"/>
                    </a:lnTo>
                    <a:lnTo>
                      <a:pt x="6226" y="1136"/>
                    </a:lnTo>
                    <a:lnTo>
                      <a:pt x="6228" y="1136"/>
                    </a:lnTo>
                    <a:lnTo>
                      <a:pt x="6228" y="1127"/>
                    </a:lnTo>
                    <a:moveTo>
                      <a:pt x="2767" y="1063"/>
                    </a:moveTo>
                    <a:lnTo>
                      <a:pt x="2764" y="1063"/>
                    </a:lnTo>
                    <a:lnTo>
                      <a:pt x="2764" y="1063"/>
                    </a:lnTo>
                    <a:lnTo>
                      <a:pt x="2764" y="1063"/>
                    </a:lnTo>
                    <a:lnTo>
                      <a:pt x="2764" y="1167"/>
                    </a:lnTo>
                    <a:lnTo>
                      <a:pt x="2767" y="1167"/>
                    </a:lnTo>
                    <a:lnTo>
                      <a:pt x="2767" y="1063"/>
                    </a:lnTo>
                    <a:moveTo>
                      <a:pt x="5838" y="1041"/>
                    </a:moveTo>
                    <a:lnTo>
                      <a:pt x="5836" y="1041"/>
                    </a:lnTo>
                    <a:lnTo>
                      <a:pt x="5836" y="1041"/>
                    </a:lnTo>
                    <a:lnTo>
                      <a:pt x="5836" y="1044"/>
                    </a:lnTo>
                    <a:lnTo>
                      <a:pt x="5836" y="1056"/>
                    </a:lnTo>
                    <a:lnTo>
                      <a:pt x="5838" y="1056"/>
                    </a:lnTo>
                    <a:lnTo>
                      <a:pt x="5838" y="1041"/>
                    </a:lnTo>
                    <a:moveTo>
                      <a:pt x="2783" y="1011"/>
                    </a:moveTo>
                    <a:lnTo>
                      <a:pt x="2781" y="1013"/>
                    </a:lnTo>
                    <a:lnTo>
                      <a:pt x="2781" y="1013"/>
                    </a:lnTo>
                    <a:lnTo>
                      <a:pt x="2781" y="1046"/>
                    </a:lnTo>
                    <a:lnTo>
                      <a:pt x="2783" y="1046"/>
                    </a:lnTo>
                    <a:lnTo>
                      <a:pt x="2783" y="1044"/>
                    </a:lnTo>
                    <a:lnTo>
                      <a:pt x="2783" y="1044"/>
                    </a:lnTo>
                    <a:lnTo>
                      <a:pt x="2783" y="1011"/>
                    </a:lnTo>
                    <a:moveTo>
                      <a:pt x="3677" y="992"/>
                    </a:moveTo>
                    <a:lnTo>
                      <a:pt x="3675" y="992"/>
                    </a:lnTo>
                    <a:lnTo>
                      <a:pt x="3675" y="994"/>
                    </a:lnTo>
                    <a:lnTo>
                      <a:pt x="3675" y="1162"/>
                    </a:lnTo>
                    <a:lnTo>
                      <a:pt x="3677" y="1162"/>
                    </a:lnTo>
                    <a:lnTo>
                      <a:pt x="3677" y="1160"/>
                    </a:lnTo>
                    <a:lnTo>
                      <a:pt x="3677" y="1160"/>
                    </a:lnTo>
                    <a:lnTo>
                      <a:pt x="3677" y="992"/>
                    </a:lnTo>
                    <a:moveTo>
                      <a:pt x="5855" y="989"/>
                    </a:moveTo>
                    <a:lnTo>
                      <a:pt x="5852" y="989"/>
                    </a:lnTo>
                    <a:lnTo>
                      <a:pt x="5852" y="992"/>
                    </a:lnTo>
                    <a:lnTo>
                      <a:pt x="5852" y="1025"/>
                    </a:lnTo>
                    <a:lnTo>
                      <a:pt x="5855" y="1025"/>
                    </a:lnTo>
                    <a:lnTo>
                      <a:pt x="5855" y="1022"/>
                    </a:lnTo>
                    <a:lnTo>
                      <a:pt x="5855" y="1022"/>
                    </a:lnTo>
                    <a:lnTo>
                      <a:pt x="5855" y="989"/>
                    </a:lnTo>
                    <a:moveTo>
                      <a:pt x="6247" y="935"/>
                    </a:moveTo>
                    <a:lnTo>
                      <a:pt x="6245" y="935"/>
                    </a:lnTo>
                    <a:lnTo>
                      <a:pt x="6245" y="937"/>
                    </a:lnTo>
                    <a:lnTo>
                      <a:pt x="6245" y="1110"/>
                    </a:lnTo>
                    <a:lnTo>
                      <a:pt x="6245" y="1110"/>
                    </a:lnTo>
                    <a:lnTo>
                      <a:pt x="6245" y="1108"/>
                    </a:lnTo>
                    <a:lnTo>
                      <a:pt x="6247" y="1108"/>
                    </a:lnTo>
                    <a:lnTo>
                      <a:pt x="6247" y="935"/>
                    </a:lnTo>
                    <a:moveTo>
                      <a:pt x="6297" y="878"/>
                    </a:moveTo>
                    <a:lnTo>
                      <a:pt x="6294" y="878"/>
                    </a:lnTo>
                    <a:lnTo>
                      <a:pt x="6294" y="878"/>
                    </a:lnTo>
                    <a:lnTo>
                      <a:pt x="6294" y="880"/>
                    </a:lnTo>
                    <a:lnTo>
                      <a:pt x="6294" y="888"/>
                    </a:lnTo>
                    <a:lnTo>
                      <a:pt x="6294" y="888"/>
                    </a:lnTo>
                    <a:lnTo>
                      <a:pt x="6294" y="885"/>
                    </a:lnTo>
                    <a:lnTo>
                      <a:pt x="6297" y="885"/>
                    </a:lnTo>
                    <a:lnTo>
                      <a:pt x="6297" y="878"/>
                    </a:lnTo>
                    <a:moveTo>
                      <a:pt x="6304" y="850"/>
                    </a:moveTo>
                    <a:lnTo>
                      <a:pt x="6302" y="850"/>
                    </a:lnTo>
                    <a:lnTo>
                      <a:pt x="6302" y="852"/>
                    </a:lnTo>
                    <a:lnTo>
                      <a:pt x="6302" y="871"/>
                    </a:lnTo>
                    <a:lnTo>
                      <a:pt x="6304" y="871"/>
                    </a:lnTo>
                    <a:lnTo>
                      <a:pt x="6304" y="869"/>
                    </a:lnTo>
                    <a:lnTo>
                      <a:pt x="6304" y="869"/>
                    </a:lnTo>
                    <a:lnTo>
                      <a:pt x="6304" y="850"/>
                    </a:lnTo>
                    <a:moveTo>
                      <a:pt x="3005" y="762"/>
                    </a:moveTo>
                    <a:lnTo>
                      <a:pt x="3005" y="762"/>
                    </a:lnTo>
                    <a:lnTo>
                      <a:pt x="3005" y="764"/>
                    </a:lnTo>
                    <a:lnTo>
                      <a:pt x="3005" y="906"/>
                    </a:lnTo>
                    <a:lnTo>
                      <a:pt x="3005" y="906"/>
                    </a:lnTo>
                    <a:lnTo>
                      <a:pt x="3005" y="762"/>
                    </a:lnTo>
                    <a:moveTo>
                      <a:pt x="915" y="753"/>
                    </a:moveTo>
                    <a:lnTo>
                      <a:pt x="913" y="753"/>
                    </a:lnTo>
                    <a:lnTo>
                      <a:pt x="913" y="755"/>
                    </a:lnTo>
                    <a:lnTo>
                      <a:pt x="915" y="755"/>
                    </a:lnTo>
                    <a:lnTo>
                      <a:pt x="915" y="753"/>
                    </a:lnTo>
                    <a:moveTo>
                      <a:pt x="5039" y="731"/>
                    </a:moveTo>
                    <a:lnTo>
                      <a:pt x="5037" y="731"/>
                    </a:lnTo>
                    <a:lnTo>
                      <a:pt x="5037" y="734"/>
                    </a:lnTo>
                    <a:lnTo>
                      <a:pt x="5037" y="899"/>
                    </a:lnTo>
                    <a:lnTo>
                      <a:pt x="5039" y="899"/>
                    </a:lnTo>
                    <a:lnTo>
                      <a:pt x="5039" y="731"/>
                    </a:lnTo>
                    <a:moveTo>
                      <a:pt x="3046" y="656"/>
                    </a:moveTo>
                    <a:lnTo>
                      <a:pt x="3043" y="656"/>
                    </a:lnTo>
                    <a:lnTo>
                      <a:pt x="3043" y="658"/>
                    </a:lnTo>
                    <a:lnTo>
                      <a:pt x="3043" y="724"/>
                    </a:lnTo>
                    <a:lnTo>
                      <a:pt x="3043" y="724"/>
                    </a:lnTo>
                    <a:lnTo>
                      <a:pt x="3043" y="724"/>
                    </a:lnTo>
                    <a:lnTo>
                      <a:pt x="3046" y="724"/>
                    </a:lnTo>
                    <a:lnTo>
                      <a:pt x="3046" y="656"/>
                    </a:lnTo>
                    <a:moveTo>
                      <a:pt x="2" y="615"/>
                    </a:moveTo>
                    <a:lnTo>
                      <a:pt x="0" y="615"/>
                    </a:lnTo>
                    <a:lnTo>
                      <a:pt x="0" y="618"/>
                    </a:lnTo>
                    <a:lnTo>
                      <a:pt x="0" y="1380"/>
                    </a:lnTo>
                    <a:lnTo>
                      <a:pt x="2" y="1380"/>
                    </a:lnTo>
                    <a:lnTo>
                      <a:pt x="2" y="615"/>
                    </a:lnTo>
                    <a:moveTo>
                      <a:pt x="5159" y="608"/>
                    </a:moveTo>
                    <a:lnTo>
                      <a:pt x="5157" y="608"/>
                    </a:lnTo>
                    <a:lnTo>
                      <a:pt x="5157" y="611"/>
                    </a:lnTo>
                    <a:lnTo>
                      <a:pt x="5157" y="658"/>
                    </a:lnTo>
                    <a:lnTo>
                      <a:pt x="5159" y="658"/>
                    </a:lnTo>
                    <a:lnTo>
                      <a:pt x="5159" y="608"/>
                    </a:lnTo>
                    <a:moveTo>
                      <a:pt x="3190" y="582"/>
                    </a:moveTo>
                    <a:lnTo>
                      <a:pt x="3187" y="582"/>
                    </a:lnTo>
                    <a:lnTo>
                      <a:pt x="3187" y="582"/>
                    </a:lnTo>
                    <a:lnTo>
                      <a:pt x="3187" y="582"/>
                    </a:lnTo>
                    <a:lnTo>
                      <a:pt x="3187" y="584"/>
                    </a:lnTo>
                    <a:lnTo>
                      <a:pt x="3190" y="584"/>
                    </a:lnTo>
                    <a:lnTo>
                      <a:pt x="3190" y="582"/>
                    </a:lnTo>
                    <a:moveTo>
                      <a:pt x="6930" y="509"/>
                    </a:moveTo>
                    <a:lnTo>
                      <a:pt x="6930" y="509"/>
                    </a:lnTo>
                    <a:lnTo>
                      <a:pt x="6930" y="511"/>
                    </a:lnTo>
                    <a:lnTo>
                      <a:pt x="6930" y="1020"/>
                    </a:lnTo>
                    <a:lnTo>
                      <a:pt x="6930" y="1020"/>
                    </a:lnTo>
                    <a:lnTo>
                      <a:pt x="6930" y="509"/>
                    </a:lnTo>
                    <a:moveTo>
                      <a:pt x="4100" y="502"/>
                    </a:moveTo>
                    <a:lnTo>
                      <a:pt x="4100" y="502"/>
                    </a:lnTo>
                    <a:lnTo>
                      <a:pt x="4098" y="504"/>
                    </a:lnTo>
                    <a:lnTo>
                      <a:pt x="4091" y="513"/>
                    </a:lnTo>
                    <a:lnTo>
                      <a:pt x="4091" y="513"/>
                    </a:lnTo>
                    <a:lnTo>
                      <a:pt x="4100" y="502"/>
                    </a:lnTo>
                    <a:moveTo>
                      <a:pt x="3206" y="502"/>
                    </a:moveTo>
                    <a:lnTo>
                      <a:pt x="3204" y="502"/>
                    </a:lnTo>
                    <a:lnTo>
                      <a:pt x="3204" y="502"/>
                    </a:lnTo>
                    <a:lnTo>
                      <a:pt x="3204" y="566"/>
                    </a:lnTo>
                    <a:lnTo>
                      <a:pt x="3206" y="566"/>
                    </a:lnTo>
                    <a:lnTo>
                      <a:pt x="3206" y="563"/>
                    </a:lnTo>
                    <a:lnTo>
                      <a:pt x="3206" y="563"/>
                    </a:lnTo>
                    <a:lnTo>
                      <a:pt x="3206" y="502"/>
                    </a:lnTo>
                    <a:moveTo>
                      <a:pt x="3942" y="454"/>
                    </a:moveTo>
                    <a:lnTo>
                      <a:pt x="3942" y="454"/>
                    </a:lnTo>
                    <a:lnTo>
                      <a:pt x="3942" y="454"/>
                    </a:lnTo>
                    <a:lnTo>
                      <a:pt x="3942" y="457"/>
                    </a:lnTo>
                    <a:lnTo>
                      <a:pt x="3942" y="490"/>
                    </a:lnTo>
                    <a:lnTo>
                      <a:pt x="3859" y="644"/>
                    </a:lnTo>
                    <a:lnTo>
                      <a:pt x="3859" y="854"/>
                    </a:lnTo>
                    <a:lnTo>
                      <a:pt x="3861" y="854"/>
                    </a:lnTo>
                    <a:lnTo>
                      <a:pt x="3861" y="641"/>
                    </a:lnTo>
                    <a:lnTo>
                      <a:pt x="3942" y="487"/>
                    </a:lnTo>
                    <a:lnTo>
                      <a:pt x="3942" y="454"/>
                    </a:lnTo>
                    <a:moveTo>
                      <a:pt x="3235" y="433"/>
                    </a:moveTo>
                    <a:lnTo>
                      <a:pt x="3232" y="433"/>
                    </a:lnTo>
                    <a:lnTo>
                      <a:pt x="3232" y="435"/>
                    </a:lnTo>
                    <a:lnTo>
                      <a:pt x="3232" y="473"/>
                    </a:lnTo>
                    <a:lnTo>
                      <a:pt x="3235" y="473"/>
                    </a:lnTo>
                    <a:lnTo>
                      <a:pt x="3235" y="471"/>
                    </a:lnTo>
                    <a:lnTo>
                      <a:pt x="3235" y="471"/>
                    </a:lnTo>
                    <a:lnTo>
                      <a:pt x="3235" y="433"/>
                    </a:lnTo>
                    <a:moveTo>
                      <a:pt x="3949" y="390"/>
                    </a:moveTo>
                    <a:lnTo>
                      <a:pt x="3946" y="390"/>
                    </a:lnTo>
                    <a:lnTo>
                      <a:pt x="3946" y="390"/>
                    </a:lnTo>
                    <a:lnTo>
                      <a:pt x="3946" y="393"/>
                    </a:lnTo>
                    <a:lnTo>
                      <a:pt x="3946" y="447"/>
                    </a:lnTo>
                    <a:lnTo>
                      <a:pt x="3949" y="447"/>
                    </a:lnTo>
                    <a:lnTo>
                      <a:pt x="3949" y="447"/>
                    </a:lnTo>
                    <a:lnTo>
                      <a:pt x="3949" y="447"/>
                    </a:lnTo>
                    <a:lnTo>
                      <a:pt x="3949" y="390"/>
                    </a:lnTo>
                    <a:moveTo>
                      <a:pt x="1717" y="367"/>
                    </a:moveTo>
                    <a:lnTo>
                      <a:pt x="1714" y="367"/>
                    </a:lnTo>
                    <a:lnTo>
                      <a:pt x="1714" y="369"/>
                    </a:lnTo>
                    <a:lnTo>
                      <a:pt x="1714" y="1058"/>
                    </a:lnTo>
                    <a:lnTo>
                      <a:pt x="1717" y="1058"/>
                    </a:lnTo>
                    <a:lnTo>
                      <a:pt x="1717" y="367"/>
                    </a:lnTo>
                    <a:moveTo>
                      <a:pt x="3956" y="326"/>
                    </a:moveTo>
                    <a:lnTo>
                      <a:pt x="3954" y="326"/>
                    </a:lnTo>
                    <a:lnTo>
                      <a:pt x="3954" y="329"/>
                    </a:lnTo>
                    <a:lnTo>
                      <a:pt x="3954" y="383"/>
                    </a:lnTo>
                    <a:lnTo>
                      <a:pt x="3956" y="383"/>
                    </a:lnTo>
                    <a:lnTo>
                      <a:pt x="3956" y="381"/>
                    </a:lnTo>
                    <a:lnTo>
                      <a:pt x="3956" y="381"/>
                    </a:lnTo>
                    <a:lnTo>
                      <a:pt x="3956" y="326"/>
                    </a:lnTo>
                    <a:moveTo>
                      <a:pt x="4609" y="232"/>
                    </a:moveTo>
                    <a:lnTo>
                      <a:pt x="4609" y="232"/>
                    </a:lnTo>
                    <a:lnTo>
                      <a:pt x="4609" y="234"/>
                    </a:lnTo>
                    <a:lnTo>
                      <a:pt x="4552" y="440"/>
                    </a:lnTo>
                    <a:lnTo>
                      <a:pt x="4552" y="440"/>
                    </a:lnTo>
                    <a:lnTo>
                      <a:pt x="4609" y="232"/>
                    </a:lnTo>
                    <a:moveTo>
                      <a:pt x="4758" y="0"/>
                    </a:moveTo>
                    <a:lnTo>
                      <a:pt x="4758" y="0"/>
                    </a:lnTo>
                    <a:lnTo>
                      <a:pt x="4758" y="2"/>
                    </a:lnTo>
                    <a:lnTo>
                      <a:pt x="4758" y="123"/>
                    </a:lnTo>
                    <a:lnTo>
                      <a:pt x="4758" y="123"/>
                    </a:lnTo>
                    <a:lnTo>
                      <a:pt x="4758" y="120"/>
                    </a:lnTo>
                    <a:lnTo>
                      <a:pt x="4758" y="120"/>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6" name="Freeform 68"/>
              <p:cNvSpPr>
                <a:spLocks noEditPoints="1"/>
              </p:cNvSpPr>
              <p:nvPr/>
            </p:nvSpPr>
            <p:spPr bwMode="auto">
              <a:xfrm>
                <a:off x="70" y="1731"/>
                <a:ext cx="6931" cy="1383"/>
              </a:xfrm>
              <a:custGeom>
                <a:avLst/>
                <a:gdLst>
                  <a:gd name="T0" fmla="*/ 3616 w 6931"/>
                  <a:gd name="T1" fmla="*/ 1246 h 1383"/>
                  <a:gd name="T2" fmla="*/ 5737 w 6931"/>
                  <a:gd name="T3" fmla="*/ 1210 h 1383"/>
                  <a:gd name="T4" fmla="*/ 5737 w 6931"/>
                  <a:gd name="T5" fmla="*/ 1255 h 1383"/>
                  <a:gd name="T6" fmla="*/ 5760 w 6931"/>
                  <a:gd name="T7" fmla="*/ 1130 h 1383"/>
                  <a:gd name="T8" fmla="*/ 5763 w 6931"/>
                  <a:gd name="T9" fmla="*/ 1184 h 1383"/>
                  <a:gd name="T10" fmla="*/ 6226 w 6931"/>
                  <a:gd name="T11" fmla="*/ 1130 h 1383"/>
                  <a:gd name="T12" fmla="*/ 6229 w 6931"/>
                  <a:gd name="T13" fmla="*/ 1130 h 1383"/>
                  <a:gd name="T14" fmla="*/ 2765 w 6931"/>
                  <a:gd name="T15" fmla="*/ 1066 h 1383"/>
                  <a:gd name="T16" fmla="*/ 5836 w 6931"/>
                  <a:gd name="T17" fmla="*/ 1042 h 1383"/>
                  <a:gd name="T18" fmla="*/ 5836 w 6931"/>
                  <a:gd name="T19" fmla="*/ 1059 h 1383"/>
                  <a:gd name="T20" fmla="*/ 2781 w 6931"/>
                  <a:gd name="T21" fmla="*/ 1014 h 1383"/>
                  <a:gd name="T22" fmla="*/ 2784 w 6931"/>
                  <a:gd name="T23" fmla="*/ 1044 h 1383"/>
                  <a:gd name="T24" fmla="*/ 3675 w 6931"/>
                  <a:gd name="T25" fmla="*/ 995 h 1383"/>
                  <a:gd name="T26" fmla="*/ 3677 w 6931"/>
                  <a:gd name="T27" fmla="*/ 1160 h 1383"/>
                  <a:gd name="T28" fmla="*/ 5853 w 6931"/>
                  <a:gd name="T29" fmla="*/ 990 h 1383"/>
                  <a:gd name="T30" fmla="*/ 5853 w 6931"/>
                  <a:gd name="T31" fmla="*/ 1023 h 1383"/>
                  <a:gd name="T32" fmla="*/ 6245 w 6931"/>
                  <a:gd name="T33" fmla="*/ 936 h 1383"/>
                  <a:gd name="T34" fmla="*/ 6245 w 6931"/>
                  <a:gd name="T35" fmla="*/ 1111 h 1383"/>
                  <a:gd name="T36" fmla="*/ 6295 w 6931"/>
                  <a:gd name="T37" fmla="*/ 879 h 1383"/>
                  <a:gd name="T38" fmla="*/ 6295 w 6931"/>
                  <a:gd name="T39" fmla="*/ 888 h 1383"/>
                  <a:gd name="T40" fmla="*/ 6304 w 6931"/>
                  <a:gd name="T41" fmla="*/ 850 h 1383"/>
                  <a:gd name="T42" fmla="*/ 6302 w 6931"/>
                  <a:gd name="T43" fmla="*/ 872 h 1383"/>
                  <a:gd name="T44" fmla="*/ 3006 w 6931"/>
                  <a:gd name="T45" fmla="*/ 763 h 1383"/>
                  <a:gd name="T46" fmla="*/ 3006 w 6931"/>
                  <a:gd name="T47" fmla="*/ 909 h 1383"/>
                  <a:gd name="T48" fmla="*/ 913 w 6931"/>
                  <a:gd name="T49" fmla="*/ 756 h 1383"/>
                  <a:gd name="T50" fmla="*/ 5037 w 6931"/>
                  <a:gd name="T51" fmla="*/ 732 h 1383"/>
                  <a:gd name="T52" fmla="*/ 5037 w 6931"/>
                  <a:gd name="T53" fmla="*/ 902 h 1383"/>
                  <a:gd name="T54" fmla="*/ 3044 w 6931"/>
                  <a:gd name="T55" fmla="*/ 659 h 1383"/>
                  <a:gd name="T56" fmla="*/ 3044 w 6931"/>
                  <a:gd name="T57" fmla="*/ 725 h 1383"/>
                  <a:gd name="T58" fmla="*/ 0 w 6931"/>
                  <a:gd name="T59" fmla="*/ 618 h 1383"/>
                  <a:gd name="T60" fmla="*/ 5160 w 6931"/>
                  <a:gd name="T61" fmla="*/ 609 h 1383"/>
                  <a:gd name="T62" fmla="*/ 5160 w 6931"/>
                  <a:gd name="T63" fmla="*/ 661 h 1383"/>
                  <a:gd name="T64" fmla="*/ 3188 w 6931"/>
                  <a:gd name="T65" fmla="*/ 583 h 1383"/>
                  <a:gd name="T66" fmla="*/ 3188 w 6931"/>
                  <a:gd name="T67" fmla="*/ 583 h 1383"/>
                  <a:gd name="T68" fmla="*/ 6928 w 6931"/>
                  <a:gd name="T69" fmla="*/ 1023 h 1383"/>
                  <a:gd name="T70" fmla="*/ 4098 w 6931"/>
                  <a:gd name="T71" fmla="*/ 505 h 1383"/>
                  <a:gd name="T72" fmla="*/ 4101 w 6931"/>
                  <a:gd name="T73" fmla="*/ 505 h 1383"/>
                  <a:gd name="T74" fmla="*/ 3204 w 6931"/>
                  <a:gd name="T75" fmla="*/ 566 h 1383"/>
                  <a:gd name="T76" fmla="*/ 3207 w 6931"/>
                  <a:gd name="T77" fmla="*/ 502 h 1383"/>
                  <a:gd name="T78" fmla="*/ 3940 w 6931"/>
                  <a:gd name="T79" fmla="*/ 457 h 1383"/>
                  <a:gd name="T80" fmla="*/ 3862 w 6931"/>
                  <a:gd name="T81" fmla="*/ 857 h 1383"/>
                  <a:gd name="T82" fmla="*/ 3235 w 6931"/>
                  <a:gd name="T83" fmla="*/ 434 h 1383"/>
                  <a:gd name="T84" fmla="*/ 3233 w 6931"/>
                  <a:gd name="T85" fmla="*/ 474 h 1383"/>
                  <a:gd name="T86" fmla="*/ 3949 w 6931"/>
                  <a:gd name="T87" fmla="*/ 391 h 1383"/>
                  <a:gd name="T88" fmla="*/ 3947 w 6931"/>
                  <a:gd name="T89" fmla="*/ 450 h 1383"/>
                  <a:gd name="T90" fmla="*/ 3949 w 6931"/>
                  <a:gd name="T91" fmla="*/ 391 h 1383"/>
                  <a:gd name="T92" fmla="*/ 1715 w 6931"/>
                  <a:gd name="T93" fmla="*/ 1061 h 1383"/>
                  <a:gd name="T94" fmla="*/ 3954 w 6931"/>
                  <a:gd name="T95" fmla="*/ 327 h 1383"/>
                  <a:gd name="T96" fmla="*/ 3956 w 6931"/>
                  <a:gd name="T97" fmla="*/ 381 h 1383"/>
                  <a:gd name="T98" fmla="*/ 4609 w 6931"/>
                  <a:gd name="T99" fmla="*/ 232 h 1383"/>
                  <a:gd name="T100" fmla="*/ 4609 w 6931"/>
                  <a:gd name="T101" fmla="*/ 232 h 1383"/>
                  <a:gd name="T102" fmla="*/ 4756 w 6931"/>
                  <a:gd name="T103" fmla="*/ 123 h 1383"/>
                  <a:gd name="T104" fmla="*/ 4758 w 6931"/>
                  <a:gd name="T105" fmla="*/ 0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31" h="1383">
                    <a:moveTo>
                      <a:pt x="3616" y="1222"/>
                    </a:moveTo>
                    <a:lnTo>
                      <a:pt x="3616" y="1222"/>
                    </a:lnTo>
                    <a:lnTo>
                      <a:pt x="3616" y="1224"/>
                    </a:lnTo>
                    <a:lnTo>
                      <a:pt x="3616" y="1246"/>
                    </a:lnTo>
                    <a:lnTo>
                      <a:pt x="3616" y="1246"/>
                    </a:lnTo>
                    <a:lnTo>
                      <a:pt x="3616" y="1222"/>
                    </a:lnTo>
                    <a:close/>
                    <a:moveTo>
                      <a:pt x="5737" y="1210"/>
                    </a:moveTo>
                    <a:lnTo>
                      <a:pt x="5737" y="1210"/>
                    </a:lnTo>
                    <a:lnTo>
                      <a:pt x="5734" y="1210"/>
                    </a:lnTo>
                    <a:lnTo>
                      <a:pt x="5734" y="1210"/>
                    </a:lnTo>
                    <a:lnTo>
                      <a:pt x="5734" y="1255"/>
                    </a:lnTo>
                    <a:lnTo>
                      <a:pt x="5737" y="1255"/>
                    </a:lnTo>
                    <a:lnTo>
                      <a:pt x="5737" y="1210"/>
                    </a:lnTo>
                    <a:close/>
                    <a:moveTo>
                      <a:pt x="5763" y="1130"/>
                    </a:moveTo>
                    <a:lnTo>
                      <a:pt x="5760" y="1130"/>
                    </a:lnTo>
                    <a:lnTo>
                      <a:pt x="5760" y="1130"/>
                    </a:lnTo>
                    <a:lnTo>
                      <a:pt x="5760" y="1184"/>
                    </a:lnTo>
                    <a:lnTo>
                      <a:pt x="5760" y="1184"/>
                    </a:lnTo>
                    <a:lnTo>
                      <a:pt x="5760" y="1184"/>
                    </a:lnTo>
                    <a:lnTo>
                      <a:pt x="5763" y="1184"/>
                    </a:lnTo>
                    <a:lnTo>
                      <a:pt x="5763" y="1130"/>
                    </a:lnTo>
                    <a:close/>
                    <a:moveTo>
                      <a:pt x="6229" y="1130"/>
                    </a:moveTo>
                    <a:lnTo>
                      <a:pt x="6226" y="1130"/>
                    </a:lnTo>
                    <a:lnTo>
                      <a:pt x="6226" y="1130"/>
                    </a:lnTo>
                    <a:lnTo>
                      <a:pt x="6226" y="1130"/>
                    </a:lnTo>
                    <a:lnTo>
                      <a:pt x="6226" y="1139"/>
                    </a:lnTo>
                    <a:lnTo>
                      <a:pt x="6229" y="1139"/>
                    </a:lnTo>
                    <a:lnTo>
                      <a:pt x="6229" y="1130"/>
                    </a:lnTo>
                    <a:close/>
                    <a:moveTo>
                      <a:pt x="2767" y="1063"/>
                    </a:moveTo>
                    <a:lnTo>
                      <a:pt x="2765" y="1063"/>
                    </a:lnTo>
                    <a:lnTo>
                      <a:pt x="2765" y="1063"/>
                    </a:lnTo>
                    <a:lnTo>
                      <a:pt x="2765" y="1066"/>
                    </a:lnTo>
                    <a:lnTo>
                      <a:pt x="2765" y="1170"/>
                    </a:lnTo>
                    <a:lnTo>
                      <a:pt x="2767" y="1170"/>
                    </a:lnTo>
                    <a:lnTo>
                      <a:pt x="2767" y="1063"/>
                    </a:lnTo>
                    <a:close/>
                    <a:moveTo>
                      <a:pt x="5836" y="1042"/>
                    </a:moveTo>
                    <a:lnTo>
                      <a:pt x="5836" y="1042"/>
                    </a:lnTo>
                    <a:lnTo>
                      <a:pt x="5836" y="1042"/>
                    </a:lnTo>
                    <a:lnTo>
                      <a:pt x="5836" y="1044"/>
                    </a:lnTo>
                    <a:lnTo>
                      <a:pt x="5836" y="1059"/>
                    </a:lnTo>
                    <a:lnTo>
                      <a:pt x="5836" y="1059"/>
                    </a:lnTo>
                    <a:lnTo>
                      <a:pt x="5836" y="1042"/>
                    </a:lnTo>
                    <a:close/>
                    <a:moveTo>
                      <a:pt x="2784" y="1011"/>
                    </a:moveTo>
                    <a:lnTo>
                      <a:pt x="2781" y="1014"/>
                    </a:lnTo>
                    <a:lnTo>
                      <a:pt x="2781" y="1014"/>
                    </a:lnTo>
                    <a:lnTo>
                      <a:pt x="2781" y="1047"/>
                    </a:lnTo>
                    <a:lnTo>
                      <a:pt x="2784" y="1047"/>
                    </a:lnTo>
                    <a:lnTo>
                      <a:pt x="2784" y="1044"/>
                    </a:lnTo>
                    <a:lnTo>
                      <a:pt x="2784" y="1044"/>
                    </a:lnTo>
                    <a:lnTo>
                      <a:pt x="2784" y="1011"/>
                    </a:lnTo>
                    <a:close/>
                    <a:moveTo>
                      <a:pt x="3677" y="995"/>
                    </a:moveTo>
                    <a:lnTo>
                      <a:pt x="3675" y="995"/>
                    </a:lnTo>
                    <a:lnTo>
                      <a:pt x="3675" y="995"/>
                    </a:lnTo>
                    <a:lnTo>
                      <a:pt x="3675" y="1163"/>
                    </a:lnTo>
                    <a:lnTo>
                      <a:pt x="3677" y="1163"/>
                    </a:lnTo>
                    <a:lnTo>
                      <a:pt x="3677" y="1160"/>
                    </a:lnTo>
                    <a:lnTo>
                      <a:pt x="3677" y="1160"/>
                    </a:lnTo>
                    <a:lnTo>
                      <a:pt x="3677" y="995"/>
                    </a:lnTo>
                    <a:close/>
                    <a:moveTo>
                      <a:pt x="5855" y="990"/>
                    </a:moveTo>
                    <a:lnTo>
                      <a:pt x="5853" y="990"/>
                    </a:lnTo>
                    <a:lnTo>
                      <a:pt x="5853" y="992"/>
                    </a:lnTo>
                    <a:lnTo>
                      <a:pt x="5853" y="1025"/>
                    </a:lnTo>
                    <a:lnTo>
                      <a:pt x="5853" y="1025"/>
                    </a:lnTo>
                    <a:lnTo>
                      <a:pt x="5853" y="1023"/>
                    </a:lnTo>
                    <a:lnTo>
                      <a:pt x="5855" y="1023"/>
                    </a:lnTo>
                    <a:lnTo>
                      <a:pt x="5855" y="990"/>
                    </a:lnTo>
                    <a:close/>
                    <a:moveTo>
                      <a:pt x="6245" y="936"/>
                    </a:moveTo>
                    <a:lnTo>
                      <a:pt x="6245" y="936"/>
                    </a:lnTo>
                    <a:lnTo>
                      <a:pt x="6245" y="938"/>
                    </a:lnTo>
                    <a:lnTo>
                      <a:pt x="6245" y="1111"/>
                    </a:lnTo>
                    <a:lnTo>
                      <a:pt x="6245" y="1111"/>
                    </a:lnTo>
                    <a:lnTo>
                      <a:pt x="6245" y="1111"/>
                    </a:lnTo>
                    <a:lnTo>
                      <a:pt x="6245" y="1111"/>
                    </a:lnTo>
                    <a:lnTo>
                      <a:pt x="6245" y="936"/>
                    </a:lnTo>
                    <a:close/>
                    <a:moveTo>
                      <a:pt x="6295" y="879"/>
                    </a:moveTo>
                    <a:lnTo>
                      <a:pt x="6295" y="879"/>
                    </a:lnTo>
                    <a:lnTo>
                      <a:pt x="6295" y="879"/>
                    </a:lnTo>
                    <a:lnTo>
                      <a:pt x="6295" y="881"/>
                    </a:lnTo>
                    <a:lnTo>
                      <a:pt x="6295" y="888"/>
                    </a:lnTo>
                    <a:lnTo>
                      <a:pt x="6295" y="888"/>
                    </a:lnTo>
                    <a:lnTo>
                      <a:pt x="6295" y="886"/>
                    </a:lnTo>
                    <a:lnTo>
                      <a:pt x="6295" y="886"/>
                    </a:lnTo>
                    <a:lnTo>
                      <a:pt x="6295" y="879"/>
                    </a:lnTo>
                    <a:close/>
                    <a:moveTo>
                      <a:pt x="6304" y="850"/>
                    </a:moveTo>
                    <a:lnTo>
                      <a:pt x="6302" y="850"/>
                    </a:lnTo>
                    <a:lnTo>
                      <a:pt x="6302" y="853"/>
                    </a:lnTo>
                    <a:lnTo>
                      <a:pt x="6302" y="872"/>
                    </a:lnTo>
                    <a:lnTo>
                      <a:pt x="6302" y="872"/>
                    </a:lnTo>
                    <a:lnTo>
                      <a:pt x="6302" y="869"/>
                    </a:lnTo>
                    <a:lnTo>
                      <a:pt x="6304" y="869"/>
                    </a:lnTo>
                    <a:lnTo>
                      <a:pt x="6304" y="850"/>
                    </a:lnTo>
                    <a:close/>
                    <a:moveTo>
                      <a:pt x="3006" y="763"/>
                    </a:moveTo>
                    <a:lnTo>
                      <a:pt x="3003" y="763"/>
                    </a:lnTo>
                    <a:lnTo>
                      <a:pt x="3003" y="765"/>
                    </a:lnTo>
                    <a:lnTo>
                      <a:pt x="3003" y="909"/>
                    </a:lnTo>
                    <a:lnTo>
                      <a:pt x="3006" y="909"/>
                    </a:lnTo>
                    <a:lnTo>
                      <a:pt x="3006" y="763"/>
                    </a:lnTo>
                    <a:close/>
                    <a:moveTo>
                      <a:pt x="916" y="753"/>
                    </a:moveTo>
                    <a:lnTo>
                      <a:pt x="913" y="753"/>
                    </a:lnTo>
                    <a:lnTo>
                      <a:pt x="913" y="756"/>
                    </a:lnTo>
                    <a:lnTo>
                      <a:pt x="913" y="758"/>
                    </a:lnTo>
                    <a:lnTo>
                      <a:pt x="916" y="758"/>
                    </a:lnTo>
                    <a:lnTo>
                      <a:pt x="916" y="753"/>
                    </a:lnTo>
                    <a:close/>
                    <a:moveTo>
                      <a:pt x="5037" y="732"/>
                    </a:moveTo>
                    <a:lnTo>
                      <a:pt x="5037" y="732"/>
                    </a:lnTo>
                    <a:lnTo>
                      <a:pt x="5037" y="734"/>
                    </a:lnTo>
                    <a:lnTo>
                      <a:pt x="5037" y="902"/>
                    </a:lnTo>
                    <a:lnTo>
                      <a:pt x="5037" y="902"/>
                    </a:lnTo>
                    <a:lnTo>
                      <a:pt x="5037" y="732"/>
                    </a:lnTo>
                    <a:close/>
                    <a:moveTo>
                      <a:pt x="3044" y="659"/>
                    </a:moveTo>
                    <a:lnTo>
                      <a:pt x="3044" y="659"/>
                    </a:lnTo>
                    <a:lnTo>
                      <a:pt x="3044" y="659"/>
                    </a:lnTo>
                    <a:lnTo>
                      <a:pt x="3044" y="727"/>
                    </a:lnTo>
                    <a:lnTo>
                      <a:pt x="3044" y="727"/>
                    </a:lnTo>
                    <a:lnTo>
                      <a:pt x="3044" y="725"/>
                    </a:lnTo>
                    <a:lnTo>
                      <a:pt x="3044" y="725"/>
                    </a:lnTo>
                    <a:lnTo>
                      <a:pt x="3044" y="659"/>
                    </a:lnTo>
                    <a:close/>
                    <a:moveTo>
                      <a:pt x="3" y="616"/>
                    </a:moveTo>
                    <a:lnTo>
                      <a:pt x="0" y="616"/>
                    </a:lnTo>
                    <a:lnTo>
                      <a:pt x="0" y="618"/>
                    </a:lnTo>
                    <a:lnTo>
                      <a:pt x="0" y="1383"/>
                    </a:lnTo>
                    <a:lnTo>
                      <a:pt x="3" y="1383"/>
                    </a:lnTo>
                    <a:lnTo>
                      <a:pt x="3" y="616"/>
                    </a:lnTo>
                    <a:close/>
                    <a:moveTo>
                      <a:pt x="5160" y="609"/>
                    </a:moveTo>
                    <a:lnTo>
                      <a:pt x="5157" y="609"/>
                    </a:lnTo>
                    <a:lnTo>
                      <a:pt x="5157" y="611"/>
                    </a:lnTo>
                    <a:lnTo>
                      <a:pt x="5157" y="661"/>
                    </a:lnTo>
                    <a:lnTo>
                      <a:pt x="5160" y="661"/>
                    </a:lnTo>
                    <a:lnTo>
                      <a:pt x="5160" y="609"/>
                    </a:lnTo>
                    <a:close/>
                    <a:moveTo>
                      <a:pt x="3188" y="583"/>
                    </a:moveTo>
                    <a:lnTo>
                      <a:pt x="3188" y="583"/>
                    </a:lnTo>
                    <a:lnTo>
                      <a:pt x="3188" y="583"/>
                    </a:lnTo>
                    <a:lnTo>
                      <a:pt x="3188" y="585"/>
                    </a:lnTo>
                    <a:lnTo>
                      <a:pt x="3188" y="587"/>
                    </a:lnTo>
                    <a:lnTo>
                      <a:pt x="3188" y="587"/>
                    </a:lnTo>
                    <a:lnTo>
                      <a:pt x="3188" y="583"/>
                    </a:lnTo>
                    <a:close/>
                    <a:moveTo>
                      <a:pt x="6931" y="509"/>
                    </a:moveTo>
                    <a:lnTo>
                      <a:pt x="6928" y="509"/>
                    </a:lnTo>
                    <a:lnTo>
                      <a:pt x="6928" y="512"/>
                    </a:lnTo>
                    <a:lnTo>
                      <a:pt x="6928" y="1023"/>
                    </a:lnTo>
                    <a:lnTo>
                      <a:pt x="6931" y="1023"/>
                    </a:lnTo>
                    <a:lnTo>
                      <a:pt x="6931" y="509"/>
                    </a:lnTo>
                    <a:close/>
                    <a:moveTo>
                      <a:pt x="4101" y="505"/>
                    </a:moveTo>
                    <a:lnTo>
                      <a:pt x="4098" y="505"/>
                    </a:lnTo>
                    <a:lnTo>
                      <a:pt x="4098" y="505"/>
                    </a:lnTo>
                    <a:lnTo>
                      <a:pt x="4089" y="516"/>
                    </a:lnTo>
                    <a:lnTo>
                      <a:pt x="4089" y="516"/>
                    </a:lnTo>
                    <a:lnTo>
                      <a:pt x="4101" y="505"/>
                    </a:lnTo>
                    <a:close/>
                    <a:moveTo>
                      <a:pt x="3207" y="502"/>
                    </a:moveTo>
                    <a:lnTo>
                      <a:pt x="3204" y="502"/>
                    </a:lnTo>
                    <a:lnTo>
                      <a:pt x="3204" y="505"/>
                    </a:lnTo>
                    <a:lnTo>
                      <a:pt x="3204" y="566"/>
                    </a:lnTo>
                    <a:lnTo>
                      <a:pt x="3204" y="566"/>
                    </a:lnTo>
                    <a:lnTo>
                      <a:pt x="3204" y="564"/>
                    </a:lnTo>
                    <a:lnTo>
                      <a:pt x="3207" y="564"/>
                    </a:lnTo>
                    <a:lnTo>
                      <a:pt x="3207" y="502"/>
                    </a:lnTo>
                    <a:close/>
                    <a:moveTo>
                      <a:pt x="3942" y="455"/>
                    </a:moveTo>
                    <a:lnTo>
                      <a:pt x="3940" y="455"/>
                    </a:lnTo>
                    <a:lnTo>
                      <a:pt x="3940" y="455"/>
                    </a:lnTo>
                    <a:lnTo>
                      <a:pt x="3940" y="457"/>
                    </a:lnTo>
                    <a:lnTo>
                      <a:pt x="3940" y="490"/>
                    </a:lnTo>
                    <a:lnTo>
                      <a:pt x="3859" y="644"/>
                    </a:lnTo>
                    <a:lnTo>
                      <a:pt x="3859" y="857"/>
                    </a:lnTo>
                    <a:lnTo>
                      <a:pt x="3862" y="857"/>
                    </a:lnTo>
                    <a:lnTo>
                      <a:pt x="3862" y="642"/>
                    </a:lnTo>
                    <a:lnTo>
                      <a:pt x="3942" y="490"/>
                    </a:lnTo>
                    <a:lnTo>
                      <a:pt x="3942" y="455"/>
                    </a:lnTo>
                    <a:close/>
                    <a:moveTo>
                      <a:pt x="3235" y="434"/>
                    </a:moveTo>
                    <a:lnTo>
                      <a:pt x="3233" y="434"/>
                    </a:lnTo>
                    <a:lnTo>
                      <a:pt x="3233" y="436"/>
                    </a:lnTo>
                    <a:lnTo>
                      <a:pt x="3233" y="474"/>
                    </a:lnTo>
                    <a:lnTo>
                      <a:pt x="3233" y="474"/>
                    </a:lnTo>
                    <a:lnTo>
                      <a:pt x="3233" y="471"/>
                    </a:lnTo>
                    <a:lnTo>
                      <a:pt x="3235" y="471"/>
                    </a:lnTo>
                    <a:lnTo>
                      <a:pt x="3235" y="434"/>
                    </a:lnTo>
                    <a:close/>
                    <a:moveTo>
                      <a:pt x="3949" y="391"/>
                    </a:moveTo>
                    <a:lnTo>
                      <a:pt x="3947" y="391"/>
                    </a:lnTo>
                    <a:lnTo>
                      <a:pt x="3947" y="391"/>
                    </a:lnTo>
                    <a:lnTo>
                      <a:pt x="3947" y="393"/>
                    </a:lnTo>
                    <a:lnTo>
                      <a:pt x="3947" y="450"/>
                    </a:lnTo>
                    <a:lnTo>
                      <a:pt x="3949" y="450"/>
                    </a:lnTo>
                    <a:lnTo>
                      <a:pt x="3949" y="448"/>
                    </a:lnTo>
                    <a:lnTo>
                      <a:pt x="3949" y="448"/>
                    </a:lnTo>
                    <a:lnTo>
                      <a:pt x="3949" y="391"/>
                    </a:lnTo>
                    <a:close/>
                    <a:moveTo>
                      <a:pt x="1715" y="370"/>
                    </a:moveTo>
                    <a:lnTo>
                      <a:pt x="1715" y="370"/>
                    </a:lnTo>
                    <a:lnTo>
                      <a:pt x="1715" y="370"/>
                    </a:lnTo>
                    <a:lnTo>
                      <a:pt x="1715" y="1061"/>
                    </a:lnTo>
                    <a:lnTo>
                      <a:pt x="1715" y="1061"/>
                    </a:lnTo>
                    <a:lnTo>
                      <a:pt x="1715" y="370"/>
                    </a:lnTo>
                    <a:close/>
                    <a:moveTo>
                      <a:pt x="3956" y="327"/>
                    </a:moveTo>
                    <a:lnTo>
                      <a:pt x="3954" y="327"/>
                    </a:lnTo>
                    <a:lnTo>
                      <a:pt x="3954" y="329"/>
                    </a:lnTo>
                    <a:lnTo>
                      <a:pt x="3954" y="384"/>
                    </a:lnTo>
                    <a:lnTo>
                      <a:pt x="3956" y="384"/>
                    </a:lnTo>
                    <a:lnTo>
                      <a:pt x="3956" y="381"/>
                    </a:lnTo>
                    <a:lnTo>
                      <a:pt x="3956" y="381"/>
                    </a:lnTo>
                    <a:lnTo>
                      <a:pt x="3956" y="327"/>
                    </a:lnTo>
                    <a:close/>
                    <a:moveTo>
                      <a:pt x="4609" y="232"/>
                    </a:moveTo>
                    <a:lnTo>
                      <a:pt x="4609" y="232"/>
                    </a:lnTo>
                    <a:lnTo>
                      <a:pt x="4607" y="235"/>
                    </a:lnTo>
                    <a:lnTo>
                      <a:pt x="4550" y="443"/>
                    </a:lnTo>
                    <a:lnTo>
                      <a:pt x="4552" y="441"/>
                    </a:lnTo>
                    <a:lnTo>
                      <a:pt x="4609" y="232"/>
                    </a:lnTo>
                    <a:close/>
                    <a:moveTo>
                      <a:pt x="4758" y="0"/>
                    </a:moveTo>
                    <a:lnTo>
                      <a:pt x="4756" y="0"/>
                    </a:lnTo>
                    <a:lnTo>
                      <a:pt x="4756" y="3"/>
                    </a:lnTo>
                    <a:lnTo>
                      <a:pt x="4756" y="123"/>
                    </a:lnTo>
                    <a:lnTo>
                      <a:pt x="4758" y="123"/>
                    </a:lnTo>
                    <a:lnTo>
                      <a:pt x="4758" y="123"/>
                    </a:lnTo>
                    <a:lnTo>
                      <a:pt x="4758" y="123"/>
                    </a:lnTo>
                    <a:lnTo>
                      <a:pt x="4758" y="0"/>
                    </a:lnTo>
                    <a:close/>
                  </a:path>
                </a:pathLst>
              </a:custGeom>
              <a:solidFill>
                <a:srgbClr val="EDEC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7" name="Freeform 69"/>
              <p:cNvSpPr>
                <a:spLocks noEditPoints="1"/>
              </p:cNvSpPr>
              <p:nvPr/>
            </p:nvSpPr>
            <p:spPr bwMode="auto">
              <a:xfrm>
                <a:off x="70" y="1731"/>
                <a:ext cx="6931" cy="1383"/>
              </a:xfrm>
              <a:custGeom>
                <a:avLst/>
                <a:gdLst>
                  <a:gd name="T0" fmla="*/ 3616 w 6931"/>
                  <a:gd name="T1" fmla="*/ 1246 h 1383"/>
                  <a:gd name="T2" fmla="*/ 5737 w 6931"/>
                  <a:gd name="T3" fmla="*/ 1210 h 1383"/>
                  <a:gd name="T4" fmla="*/ 5737 w 6931"/>
                  <a:gd name="T5" fmla="*/ 1255 h 1383"/>
                  <a:gd name="T6" fmla="*/ 5760 w 6931"/>
                  <a:gd name="T7" fmla="*/ 1130 h 1383"/>
                  <a:gd name="T8" fmla="*/ 5763 w 6931"/>
                  <a:gd name="T9" fmla="*/ 1184 h 1383"/>
                  <a:gd name="T10" fmla="*/ 6226 w 6931"/>
                  <a:gd name="T11" fmla="*/ 1130 h 1383"/>
                  <a:gd name="T12" fmla="*/ 6229 w 6931"/>
                  <a:gd name="T13" fmla="*/ 1130 h 1383"/>
                  <a:gd name="T14" fmla="*/ 2765 w 6931"/>
                  <a:gd name="T15" fmla="*/ 1066 h 1383"/>
                  <a:gd name="T16" fmla="*/ 5836 w 6931"/>
                  <a:gd name="T17" fmla="*/ 1042 h 1383"/>
                  <a:gd name="T18" fmla="*/ 5836 w 6931"/>
                  <a:gd name="T19" fmla="*/ 1059 h 1383"/>
                  <a:gd name="T20" fmla="*/ 2781 w 6931"/>
                  <a:gd name="T21" fmla="*/ 1014 h 1383"/>
                  <a:gd name="T22" fmla="*/ 2784 w 6931"/>
                  <a:gd name="T23" fmla="*/ 1044 h 1383"/>
                  <a:gd name="T24" fmla="*/ 3675 w 6931"/>
                  <a:gd name="T25" fmla="*/ 995 h 1383"/>
                  <a:gd name="T26" fmla="*/ 3677 w 6931"/>
                  <a:gd name="T27" fmla="*/ 1160 h 1383"/>
                  <a:gd name="T28" fmla="*/ 5853 w 6931"/>
                  <a:gd name="T29" fmla="*/ 990 h 1383"/>
                  <a:gd name="T30" fmla="*/ 5853 w 6931"/>
                  <a:gd name="T31" fmla="*/ 1023 h 1383"/>
                  <a:gd name="T32" fmla="*/ 6245 w 6931"/>
                  <a:gd name="T33" fmla="*/ 936 h 1383"/>
                  <a:gd name="T34" fmla="*/ 6245 w 6931"/>
                  <a:gd name="T35" fmla="*/ 1111 h 1383"/>
                  <a:gd name="T36" fmla="*/ 6295 w 6931"/>
                  <a:gd name="T37" fmla="*/ 879 h 1383"/>
                  <a:gd name="T38" fmla="*/ 6295 w 6931"/>
                  <a:gd name="T39" fmla="*/ 888 h 1383"/>
                  <a:gd name="T40" fmla="*/ 6304 w 6931"/>
                  <a:gd name="T41" fmla="*/ 850 h 1383"/>
                  <a:gd name="T42" fmla="*/ 6302 w 6931"/>
                  <a:gd name="T43" fmla="*/ 872 h 1383"/>
                  <a:gd name="T44" fmla="*/ 3006 w 6931"/>
                  <a:gd name="T45" fmla="*/ 763 h 1383"/>
                  <a:gd name="T46" fmla="*/ 3006 w 6931"/>
                  <a:gd name="T47" fmla="*/ 909 h 1383"/>
                  <a:gd name="T48" fmla="*/ 913 w 6931"/>
                  <a:gd name="T49" fmla="*/ 756 h 1383"/>
                  <a:gd name="T50" fmla="*/ 5037 w 6931"/>
                  <a:gd name="T51" fmla="*/ 732 h 1383"/>
                  <a:gd name="T52" fmla="*/ 5037 w 6931"/>
                  <a:gd name="T53" fmla="*/ 902 h 1383"/>
                  <a:gd name="T54" fmla="*/ 3044 w 6931"/>
                  <a:gd name="T55" fmla="*/ 659 h 1383"/>
                  <a:gd name="T56" fmla="*/ 3044 w 6931"/>
                  <a:gd name="T57" fmla="*/ 725 h 1383"/>
                  <a:gd name="T58" fmla="*/ 0 w 6931"/>
                  <a:gd name="T59" fmla="*/ 618 h 1383"/>
                  <a:gd name="T60" fmla="*/ 5160 w 6931"/>
                  <a:gd name="T61" fmla="*/ 609 h 1383"/>
                  <a:gd name="T62" fmla="*/ 5160 w 6931"/>
                  <a:gd name="T63" fmla="*/ 661 h 1383"/>
                  <a:gd name="T64" fmla="*/ 3188 w 6931"/>
                  <a:gd name="T65" fmla="*/ 583 h 1383"/>
                  <a:gd name="T66" fmla="*/ 3188 w 6931"/>
                  <a:gd name="T67" fmla="*/ 583 h 1383"/>
                  <a:gd name="T68" fmla="*/ 6928 w 6931"/>
                  <a:gd name="T69" fmla="*/ 1023 h 1383"/>
                  <a:gd name="T70" fmla="*/ 4098 w 6931"/>
                  <a:gd name="T71" fmla="*/ 505 h 1383"/>
                  <a:gd name="T72" fmla="*/ 4101 w 6931"/>
                  <a:gd name="T73" fmla="*/ 505 h 1383"/>
                  <a:gd name="T74" fmla="*/ 3204 w 6931"/>
                  <a:gd name="T75" fmla="*/ 566 h 1383"/>
                  <a:gd name="T76" fmla="*/ 3207 w 6931"/>
                  <a:gd name="T77" fmla="*/ 502 h 1383"/>
                  <a:gd name="T78" fmla="*/ 3940 w 6931"/>
                  <a:gd name="T79" fmla="*/ 457 h 1383"/>
                  <a:gd name="T80" fmla="*/ 3862 w 6931"/>
                  <a:gd name="T81" fmla="*/ 857 h 1383"/>
                  <a:gd name="T82" fmla="*/ 3235 w 6931"/>
                  <a:gd name="T83" fmla="*/ 434 h 1383"/>
                  <a:gd name="T84" fmla="*/ 3233 w 6931"/>
                  <a:gd name="T85" fmla="*/ 474 h 1383"/>
                  <a:gd name="T86" fmla="*/ 3949 w 6931"/>
                  <a:gd name="T87" fmla="*/ 391 h 1383"/>
                  <a:gd name="T88" fmla="*/ 3947 w 6931"/>
                  <a:gd name="T89" fmla="*/ 450 h 1383"/>
                  <a:gd name="T90" fmla="*/ 3949 w 6931"/>
                  <a:gd name="T91" fmla="*/ 391 h 1383"/>
                  <a:gd name="T92" fmla="*/ 1715 w 6931"/>
                  <a:gd name="T93" fmla="*/ 1061 h 1383"/>
                  <a:gd name="T94" fmla="*/ 3954 w 6931"/>
                  <a:gd name="T95" fmla="*/ 327 h 1383"/>
                  <a:gd name="T96" fmla="*/ 3956 w 6931"/>
                  <a:gd name="T97" fmla="*/ 381 h 1383"/>
                  <a:gd name="T98" fmla="*/ 4609 w 6931"/>
                  <a:gd name="T99" fmla="*/ 232 h 1383"/>
                  <a:gd name="T100" fmla="*/ 4609 w 6931"/>
                  <a:gd name="T101" fmla="*/ 232 h 1383"/>
                  <a:gd name="T102" fmla="*/ 4756 w 6931"/>
                  <a:gd name="T103" fmla="*/ 123 h 1383"/>
                  <a:gd name="T104" fmla="*/ 4758 w 6931"/>
                  <a:gd name="T105" fmla="*/ 0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31" h="1383">
                    <a:moveTo>
                      <a:pt x="3616" y="1222"/>
                    </a:moveTo>
                    <a:lnTo>
                      <a:pt x="3616" y="1222"/>
                    </a:lnTo>
                    <a:lnTo>
                      <a:pt x="3616" y="1224"/>
                    </a:lnTo>
                    <a:lnTo>
                      <a:pt x="3616" y="1246"/>
                    </a:lnTo>
                    <a:lnTo>
                      <a:pt x="3616" y="1246"/>
                    </a:lnTo>
                    <a:lnTo>
                      <a:pt x="3616" y="1222"/>
                    </a:lnTo>
                    <a:moveTo>
                      <a:pt x="5737" y="1210"/>
                    </a:moveTo>
                    <a:lnTo>
                      <a:pt x="5737" y="1210"/>
                    </a:lnTo>
                    <a:lnTo>
                      <a:pt x="5734" y="1210"/>
                    </a:lnTo>
                    <a:lnTo>
                      <a:pt x="5734" y="1210"/>
                    </a:lnTo>
                    <a:lnTo>
                      <a:pt x="5734" y="1255"/>
                    </a:lnTo>
                    <a:lnTo>
                      <a:pt x="5737" y="1255"/>
                    </a:lnTo>
                    <a:lnTo>
                      <a:pt x="5737" y="1210"/>
                    </a:lnTo>
                    <a:moveTo>
                      <a:pt x="5763" y="1130"/>
                    </a:moveTo>
                    <a:lnTo>
                      <a:pt x="5760" y="1130"/>
                    </a:lnTo>
                    <a:lnTo>
                      <a:pt x="5760" y="1130"/>
                    </a:lnTo>
                    <a:lnTo>
                      <a:pt x="5760" y="1184"/>
                    </a:lnTo>
                    <a:lnTo>
                      <a:pt x="5760" y="1184"/>
                    </a:lnTo>
                    <a:lnTo>
                      <a:pt x="5760" y="1184"/>
                    </a:lnTo>
                    <a:lnTo>
                      <a:pt x="5763" y="1184"/>
                    </a:lnTo>
                    <a:lnTo>
                      <a:pt x="5763" y="1130"/>
                    </a:lnTo>
                    <a:moveTo>
                      <a:pt x="6229" y="1130"/>
                    </a:moveTo>
                    <a:lnTo>
                      <a:pt x="6226" y="1130"/>
                    </a:lnTo>
                    <a:lnTo>
                      <a:pt x="6226" y="1130"/>
                    </a:lnTo>
                    <a:lnTo>
                      <a:pt x="6226" y="1130"/>
                    </a:lnTo>
                    <a:lnTo>
                      <a:pt x="6226" y="1139"/>
                    </a:lnTo>
                    <a:lnTo>
                      <a:pt x="6229" y="1139"/>
                    </a:lnTo>
                    <a:lnTo>
                      <a:pt x="6229" y="1130"/>
                    </a:lnTo>
                    <a:moveTo>
                      <a:pt x="2767" y="1063"/>
                    </a:moveTo>
                    <a:lnTo>
                      <a:pt x="2765" y="1063"/>
                    </a:lnTo>
                    <a:lnTo>
                      <a:pt x="2765" y="1063"/>
                    </a:lnTo>
                    <a:lnTo>
                      <a:pt x="2765" y="1066"/>
                    </a:lnTo>
                    <a:lnTo>
                      <a:pt x="2765" y="1170"/>
                    </a:lnTo>
                    <a:lnTo>
                      <a:pt x="2767" y="1170"/>
                    </a:lnTo>
                    <a:lnTo>
                      <a:pt x="2767" y="1063"/>
                    </a:lnTo>
                    <a:moveTo>
                      <a:pt x="5836" y="1042"/>
                    </a:moveTo>
                    <a:lnTo>
                      <a:pt x="5836" y="1042"/>
                    </a:lnTo>
                    <a:lnTo>
                      <a:pt x="5836" y="1042"/>
                    </a:lnTo>
                    <a:lnTo>
                      <a:pt x="5836" y="1044"/>
                    </a:lnTo>
                    <a:lnTo>
                      <a:pt x="5836" y="1059"/>
                    </a:lnTo>
                    <a:lnTo>
                      <a:pt x="5836" y="1059"/>
                    </a:lnTo>
                    <a:lnTo>
                      <a:pt x="5836" y="1042"/>
                    </a:lnTo>
                    <a:moveTo>
                      <a:pt x="2784" y="1011"/>
                    </a:moveTo>
                    <a:lnTo>
                      <a:pt x="2781" y="1014"/>
                    </a:lnTo>
                    <a:lnTo>
                      <a:pt x="2781" y="1014"/>
                    </a:lnTo>
                    <a:lnTo>
                      <a:pt x="2781" y="1047"/>
                    </a:lnTo>
                    <a:lnTo>
                      <a:pt x="2784" y="1047"/>
                    </a:lnTo>
                    <a:lnTo>
                      <a:pt x="2784" y="1044"/>
                    </a:lnTo>
                    <a:lnTo>
                      <a:pt x="2784" y="1044"/>
                    </a:lnTo>
                    <a:lnTo>
                      <a:pt x="2784" y="1011"/>
                    </a:lnTo>
                    <a:moveTo>
                      <a:pt x="3677" y="995"/>
                    </a:moveTo>
                    <a:lnTo>
                      <a:pt x="3675" y="995"/>
                    </a:lnTo>
                    <a:lnTo>
                      <a:pt x="3675" y="995"/>
                    </a:lnTo>
                    <a:lnTo>
                      <a:pt x="3675" y="1163"/>
                    </a:lnTo>
                    <a:lnTo>
                      <a:pt x="3677" y="1163"/>
                    </a:lnTo>
                    <a:lnTo>
                      <a:pt x="3677" y="1160"/>
                    </a:lnTo>
                    <a:lnTo>
                      <a:pt x="3677" y="1160"/>
                    </a:lnTo>
                    <a:lnTo>
                      <a:pt x="3677" y="995"/>
                    </a:lnTo>
                    <a:moveTo>
                      <a:pt x="5855" y="990"/>
                    </a:moveTo>
                    <a:lnTo>
                      <a:pt x="5853" y="990"/>
                    </a:lnTo>
                    <a:lnTo>
                      <a:pt x="5853" y="992"/>
                    </a:lnTo>
                    <a:lnTo>
                      <a:pt x="5853" y="1025"/>
                    </a:lnTo>
                    <a:lnTo>
                      <a:pt x="5853" y="1025"/>
                    </a:lnTo>
                    <a:lnTo>
                      <a:pt x="5853" y="1023"/>
                    </a:lnTo>
                    <a:lnTo>
                      <a:pt x="5855" y="1023"/>
                    </a:lnTo>
                    <a:lnTo>
                      <a:pt x="5855" y="990"/>
                    </a:lnTo>
                    <a:moveTo>
                      <a:pt x="6245" y="936"/>
                    </a:moveTo>
                    <a:lnTo>
                      <a:pt x="6245" y="936"/>
                    </a:lnTo>
                    <a:lnTo>
                      <a:pt x="6245" y="938"/>
                    </a:lnTo>
                    <a:lnTo>
                      <a:pt x="6245" y="1111"/>
                    </a:lnTo>
                    <a:lnTo>
                      <a:pt x="6245" y="1111"/>
                    </a:lnTo>
                    <a:lnTo>
                      <a:pt x="6245" y="1111"/>
                    </a:lnTo>
                    <a:lnTo>
                      <a:pt x="6245" y="1111"/>
                    </a:lnTo>
                    <a:lnTo>
                      <a:pt x="6245" y="936"/>
                    </a:lnTo>
                    <a:moveTo>
                      <a:pt x="6295" y="879"/>
                    </a:moveTo>
                    <a:lnTo>
                      <a:pt x="6295" y="879"/>
                    </a:lnTo>
                    <a:lnTo>
                      <a:pt x="6295" y="879"/>
                    </a:lnTo>
                    <a:lnTo>
                      <a:pt x="6295" y="881"/>
                    </a:lnTo>
                    <a:lnTo>
                      <a:pt x="6295" y="888"/>
                    </a:lnTo>
                    <a:lnTo>
                      <a:pt x="6295" y="888"/>
                    </a:lnTo>
                    <a:lnTo>
                      <a:pt x="6295" y="886"/>
                    </a:lnTo>
                    <a:lnTo>
                      <a:pt x="6295" y="886"/>
                    </a:lnTo>
                    <a:lnTo>
                      <a:pt x="6295" y="879"/>
                    </a:lnTo>
                    <a:moveTo>
                      <a:pt x="6304" y="850"/>
                    </a:moveTo>
                    <a:lnTo>
                      <a:pt x="6302" y="850"/>
                    </a:lnTo>
                    <a:lnTo>
                      <a:pt x="6302" y="853"/>
                    </a:lnTo>
                    <a:lnTo>
                      <a:pt x="6302" y="872"/>
                    </a:lnTo>
                    <a:lnTo>
                      <a:pt x="6302" y="872"/>
                    </a:lnTo>
                    <a:lnTo>
                      <a:pt x="6302" y="869"/>
                    </a:lnTo>
                    <a:lnTo>
                      <a:pt x="6304" y="869"/>
                    </a:lnTo>
                    <a:lnTo>
                      <a:pt x="6304" y="850"/>
                    </a:lnTo>
                    <a:moveTo>
                      <a:pt x="3006" y="763"/>
                    </a:moveTo>
                    <a:lnTo>
                      <a:pt x="3003" y="763"/>
                    </a:lnTo>
                    <a:lnTo>
                      <a:pt x="3003" y="765"/>
                    </a:lnTo>
                    <a:lnTo>
                      <a:pt x="3003" y="909"/>
                    </a:lnTo>
                    <a:lnTo>
                      <a:pt x="3006" y="909"/>
                    </a:lnTo>
                    <a:lnTo>
                      <a:pt x="3006" y="763"/>
                    </a:lnTo>
                    <a:moveTo>
                      <a:pt x="916" y="753"/>
                    </a:moveTo>
                    <a:lnTo>
                      <a:pt x="913" y="753"/>
                    </a:lnTo>
                    <a:lnTo>
                      <a:pt x="913" y="756"/>
                    </a:lnTo>
                    <a:lnTo>
                      <a:pt x="913" y="758"/>
                    </a:lnTo>
                    <a:lnTo>
                      <a:pt x="916" y="758"/>
                    </a:lnTo>
                    <a:lnTo>
                      <a:pt x="916" y="753"/>
                    </a:lnTo>
                    <a:moveTo>
                      <a:pt x="5037" y="732"/>
                    </a:moveTo>
                    <a:lnTo>
                      <a:pt x="5037" y="732"/>
                    </a:lnTo>
                    <a:lnTo>
                      <a:pt x="5037" y="734"/>
                    </a:lnTo>
                    <a:lnTo>
                      <a:pt x="5037" y="902"/>
                    </a:lnTo>
                    <a:lnTo>
                      <a:pt x="5037" y="902"/>
                    </a:lnTo>
                    <a:lnTo>
                      <a:pt x="5037" y="732"/>
                    </a:lnTo>
                    <a:moveTo>
                      <a:pt x="3044" y="659"/>
                    </a:moveTo>
                    <a:lnTo>
                      <a:pt x="3044" y="659"/>
                    </a:lnTo>
                    <a:lnTo>
                      <a:pt x="3044" y="659"/>
                    </a:lnTo>
                    <a:lnTo>
                      <a:pt x="3044" y="727"/>
                    </a:lnTo>
                    <a:lnTo>
                      <a:pt x="3044" y="727"/>
                    </a:lnTo>
                    <a:lnTo>
                      <a:pt x="3044" y="725"/>
                    </a:lnTo>
                    <a:lnTo>
                      <a:pt x="3044" y="725"/>
                    </a:lnTo>
                    <a:lnTo>
                      <a:pt x="3044" y="659"/>
                    </a:lnTo>
                    <a:moveTo>
                      <a:pt x="3" y="616"/>
                    </a:moveTo>
                    <a:lnTo>
                      <a:pt x="0" y="616"/>
                    </a:lnTo>
                    <a:lnTo>
                      <a:pt x="0" y="618"/>
                    </a:lnTo>
                    <a:lnTo>
                      <a:pt x="0" y="1383"/>
                    </a:lnTo>
                    <a:lnTo>
                      <a:pt x="3" y="1383"/>
                    </a:lnTo>
                    <a:lnTo>
                      <a:pt x="3" y="616"/>
                    </a:lnTo>
                    <a:moveTo>
                      <a:pt x="5160" y="609"/>
                    </a:moveTo>
                    <a:lnTo>
                      <a:pt x="5157" y="609"/>
                    </a:lnTo>
                    <a:lnTo>
                      <a:pt x="5157" y="611"/>
                    </a:lnTo>
                    <a:lnTo>
                      <a:pt x="5157" y="661"/>
                    </a:lnTo>
                    <a:lnTo>
                      <a:pt x="5160" y="661"/>
                    </a:lnTo>
                    <a:lnTo>
                      <a:pt x="5160" y="609"/>
                    </a:lnTo>
                    <a:moveTo>
                      <a:pt x="3188" y="583"/>
                    </a:moveTo>
                    <a:lnTo>
                      <a:pt x="3188" y="583"/>
                    </a:lnTo>
                    <a:lnTo>
                      <a:pt x="3188" y="583"/>
                    </a:lnTo>
                    <a:lnTo>
                      <a:pt x="3188" y="585"/>
                    </a:lnTo>
                    <a:lnTo>
                      <a:pt x="3188" y="587"/>
                    </a:lnTo>
                    <a:lnTo>
                      <a:pt x="3188" y="587"/>
                    </a:lnTo>
                    <a:lnTo>
                      <a:pt x="3188" y="583"/>
                    </a:lnTo>
                    <a:moveTo>
                      <a:pt x="6931" y="509"/>
                    </a:moveTo>
                    <a:lnTo>
                      <a:pt x="6928" y="509"/>
                    </a:lnTo>
                    <a:lnTo>
                      <a:pt x="6928" y="512"/>
                    </a:lnTo>
                    <a:lnTo>
                      <a:pt x="6928" y="1023"/>
                    </a:lnTo>
                    <a:lnTo>
                      <a:pt x="6931" y="1023"/>
                    </a:lnTo>
                    <a:lnTo>
                      <a:pt x="6931" y="509"/>
                    </a:lnTo>
                    <a:moveTo>
                      <a:pt x="4101" y="505"/>
                    </a:moveTo>
                    <a:lnTo>
                      <a:pt x="4098" y="505"/>
                    </a:lnTo>
                    <a:lnTo>
                      <a:pt x="4098" y="505"/>
                    </a:lnTo>
                    <a:lnTo>
                      <a:pt x="4089" y="516"/>
                    </a:lnTo>
                    <a:lnTo>
                      <a:pt x="4089" y="516"/>
                    </a:lnTo>
                    <a:lnTo>
                      <a:pt x="4101" y="505"/>
                    </a:lnTo>
                    <a:moveTo>
                      <a:pt x="3207" y="502"/>
                    </a:moveTo>
                    <a:lnTo>
                      <a:pt x="3204" y="502"/>
                    </a:lnTo>
                    <a:lnTo>
                      <a:pt x="3204" y="505"/>
                    </a:lnTo>
                    <a:lnTo>
                      <a:pt x="3204" y="566"/>
                    </a:lnTo>
                    <a:lnTo>
                      <a:pt x="3204" y="566"/>
                    </a:lnTo>
                    <a:lnTo>
                      <a:pt x="3204" y="564"/>
                    </a:lnTo>
                    <a:lnTo>
                      <a:pt x="3207" y="564"/>
                    </a:lnTo>
                    <a:lnTo>
                      <a:pt x="3207" y="502"/>
                    </a:lnTo>
                    <a:moveTo>
                      <a:pt x="3942" y="455"/>
                    </a:moveTo>
                    <a:lnTo>
                      <a:pt x="3940" y="455"/>
                    </a:lnTo>
                    <a:lnTo>
                      <a:pt x="3940" y="455"/>
                    </a:lnTo>
                    <a:lnTo>
                      <a:pt x="3940" y="457"/>
                    </a:lnTo>
                    <a:lnTo>
                      <a:pt x="3940" y="490"/>
                    </a:lnTo>
                    <a:lnTo>
                      <a:pt x="3859" y="644"/>
                    </a:lnTo>
                    <a:lnTo>
                      <a:pt x="3859" y="857"/>
                    </a:lnTo>
                    <a:lnTo>
                      <a:pt x="3862" y="857"/>
                    </a:lnTo>
                    <a:lnTo>
                      <a:pt x="3862" y="642"/>
                    </a:lnTo>
                    <a:lnTo>
                      <a:pt x="3942" y="490"/>
                    </a:lnTo>
                    <a:lnTo>
                      <a:pt x="3942" y="455"/>
                    </a:lnTo>
                    <a:moveTo>
                      <a:pt x="3235" y="434"/>
                    </a:moveTo>
                    <a:lnTo>
                      <a:pt x="3233" y="434"/>
                    </a:lnTo>
                    <a:lnTo>
                      <a:pt x="3233" y="436"/>
                    </a:lnTo>
                    <a:lnTo>
                      <a:pt x="3233" y="474"/>
                    </a:lnTo>
                    <a:lnTo>
                      <a:pt x="3233" y="474"/>
                    </a:lnTo>
                    <a:lnTo>
                      <a:pt x="3233" y="471"/>
                    </a:lnTo>
                    <a:lnTo>
                      <a:pt x="3235" y="471"/>
                    </a:lnTo>
                    <a:lnTo>
                      <a:pt x="3235" y="434"/>
                    </a:lnTo>
                    <a:moveTo>
                      <a:pt x="3949" y="391"/>
                    </a:moveTo>
                    <a:lnTo>
                      <a:pt x="3947" y="391"/>
                    </a:lnTo>
                    <a:lnTo>
                      <a:pt x="3947" y="391"/>
                    </a:lnTo>
                    <a:lnTo>
                      <a:pt x="3947" y="393"/>
                    </a:lnTo>
                    <a:lnTo>
                      <a:pt x="3947" y="450"/>
                    </a:lnTo>
                    <a:lnTo>
                      <a:pt x="3949" y="450"/>
                    </a:lnTo>
                    <a:lnTo>
                      <a:pt x="3949" y="448"/>
                    </a:lnTo>
                    <a:lnTo>
                      <a:pt x="3949" y="448"/>
                    </a:lnTo>
                    <a:lnTo>
                      <a:pt x="3949" y="391"/>
                    </a:lnTo>
                    <a:moveTo>
                      <a:pt x="1715" y="370"/>
                    </a:moveTo>
                    <a:lnTo>
                      <a:pt x="1715" y="370"/>
                    </a:lnTo>
                    <a:lnTo>
                      <a:pt x="1715" y="370"/>
                    </a:lnTo>
                    <a:lnTo>
                      <a:pt x="1715" y="1061"/>
                    </a:lnTo>
                    <a:lnTo>
                      <a:pt x="1715" y="1061"/>
                    </a:lnTo>
                    <a:lnTo>
                      <a:pt x="1715" y="370"/>
                    </a:lnTo>
                    <a:moveTo>
                      <a:pt x="3956" y="327"/>
                    </a:moveTo>
                    <a:lnTo>
                      <a:pt x="3954" y="327"/>
                    </a:lnTo>
                    <a:lnTo>
                      <a:pt x="3954" y="329"/>
                    </a:lnTo>
                    <a:lnTo>
                      <a:pt x="3954" y="384"/>
                    </a:lnTo>
                    <a:lnTo>
                      <a:pt x="3956" y="384"/>
                    </a:lnTo>
                    <a:lnTo>
                      <a:pt x="3956" y="381"/>
                    </a:lnTo>
                    <a:lnTo>
                      <a:pt x="3956" y="381"/>
                    </a:lnTo>
                    <a:lnTo>
                      <a:pt x="3956" y="327"/>
                    </a:lnTo>
                    <a:moveTo>
                      <a:pt x="4609" y="232"/>
                    </a:moveTo>
                    <a:lnTo>
                      <a:pt x="4609" y="232"/>
                    </a:lnTo>
                    <a:lnTo>
                      <a:pt x="4607" y="235"/>
                    </a:lnTo>
                    <a:lnTo>
                      <a:pt x="4550" y="443"/>
                    </a:lnTo>
                    <a:lnTo>
                      <a:pt x="4552" y="441"/>
                    </a:lnTo>
                    <a:lnTo>
                      <a:pt x="4609" y="232"/>
                    </a:lnTo>
                    <a:moveTo>
                      <a:pt x="4758" y="0"/>
                    </a:moveTo>
                    <a:lnTo>
                      <a:pt x="4756" y="0"/>
                    </a:lnTo>
                    <a:lnTo>
                      <a:pt x="4756" y="3"/>
                    </a:lnTo>
                    <a:lnTo>
                      <a:pt x="4756" y="123"/>
                    </a:lnTo>
                    <a:lnTo>
                      <a:pt x="4758" y="123"/>
                    </a:lnTo>
                    <a:lnTo>
                      <a:pt x="4758" y="123"/>
                    </a:lnTo>
                    <a:lnTo>
                      <a:pt x="4758" y="123"/>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8" name="Freeform 70"/>
              <p:cNvSpPr>
                <a:spLocks noEditPoints="1"/>
              </p:cNvSpPr>
              <p:nvPr/>
            </p:nvSpPr>
            <p:spPr bwMode="auto">
              <a:xfrm>
                <a:off x="73" y="1729"/>
                <a:ext cx="6930" cy="1385"/>
              </a:xfrm>
              <a:custGeom>
                <a:avLst/>
                <a:gdLst>
                  <a:gd name="T0" fmla="*/ 3613 w 6930"/>
                  <a:gd name="T1" fmla="*/ 1248 h 1385"/>
                  <a:gd name="T2" fmla="*/ 5734 w 6930"/>
                  <a:gd name="T3" fmla="*/ 1210 h 1385"/>
                  <a:gd name="T4" fmla="*/ 5736 w 6930"/>
                  <a:gd name="T5" fmla="*/ 1257 h 1385"/>
                  <a:gd name="T6" fmla="*/ 5760 w 6930"/>
                  <a:gd name="T7" fmla="*/ 1132 h 1385"/>
                  <a:gd name="T8" fmla="*/ 5760 w 6930"/>
                  <a:gd name="T9" fmla="*/ 1184 h 1385"/>
                  <a:gd name="T10" fmla="*/ 6226 w 6930"/>
                  <a:gd name="T11" fmla="*/ 1129 h 1385"/>
                  <a:gd name="T12" fmla="*/ 6228 w 6930"/>
                  <a:gd name="T13" fmla="*/ 1129 h 1385"/>
                  <a:gd name="T14" fmla="*/ 2764 w 6930"/>
                  <a:gd name="T15" fmla="*/ 1065 h 1385"/>
                  <a:gd name="T16" fmla="*/ 5835 w 6930"/>
                  <a:gd name="T17" fmla="*/ 1042 h 1385"/>
                  <a:gd name="T18" fmla="*/ 5833 w 6930"/>
                  <a:gd name="T19" fmla="*/ 1061 h 1385"/>
                  <a:gd name="T20" fmla="*/ 2781 w 6930"/>
                  <a:gd name="T21" fmla="*/ 1013 h 1385"/>
                  <a:gd name="T22" fmla="*/ 2781 w 6930"/>
                  <a:gd name="T23" fmla="*/ 1044 h 1385"/>
                  <a:gd name="T24" fmla="*/ 3674 w 6930"/>
                  <a:gd name="T25" fmla="*/ 994 h 1385"/>
                  <a:gd name="T26" fmla="*/ 3674 w 6930"/>
                  <a:gd name="T27" fmla="*/ 1162 h 1385"/>
                  <a:gd name="T28" fmla="*/ 5852 w 6930"/>
                  <a:gd name="T29" fmla="*/ 990 h 1385"/>
                  <a:gd name="T30" fmla="*/ 5852 w 6930"/>
                  <a:gd name="T31" fmla="*/ 1023 h 1385"/>
                  <a:gd name="T32" fmla="*/ 6242 w 6930"/>
                  <a:gd name="T33" fmla="*/ 938 h 1385"/>
                  <a:gd name="T34" fmla="*/ 6245 w 6930"/>
                  <a:gd name="T35" fmla="*/ 1110 h 1385"/>
                  <a:gd name="T36" fmla="*/ 6294 w 6930"/>
                  <a:gd name="T37" fmla="*/ 878 h 1385"/>
                  <a:gd name="T38" fmla="*/ 6292 w 6930"/>
                  <a:gd name="T39" fmla="*/ 888 h 1385"/>
                  <a:gd name="T40" fmla="*/ 6301 w 6930"/>
                  <a:gd name="T41" fmla="*/ 850 h 1385"/>
                  <a:gd name="T42" fmla="*/ 6301 w 6930"/>
                  <a:gd name="T43" fmla="*/ 871 h 1385"/>
                  <a:gd name="T44" fmla="*/ 3005 w 6930"/>
                  <a:gd name="T45" fmla="*/ 762 h 1385"/>
                  <a:gd name="T46" fmla="*/ 3005 w 6930"/>
                  <a:gd name="T47" fmla="*/ 911 h 1385"/>
                  <a:gd name="T48" fmla="*/ 913 w 6930"/>
                  <a:gd name="T49" fmla="*/ 755 h 1385"/>
                  <a:gd name="T50" fmla="*/ 5036 w 6930"/>
                  <a:gd name="T51" fmla="*/ 732 h 1385"/>
                  <a:gd name="T52" fmla="*/ 5036 w 6930"/>
                  <a:gd name="T53" fmla="*/ 904 h 1385"/>
                  <a:gd name="T54" fmla="*/ 3041 w 6930"/>
                  <a:gd name="T55" fmla="*/ 661 h 1385"/>
                  <a:gd name="T56" fmla="*/ 3043 w 6930"/>
                  <a:gd name="T57" fmla="*/ 724 h 1385"/>
                  <a:gd name="T58" fmla="*/ 0 w 6930"/>
                  <a:gd name="T59" fmla="*/ 618 h 1385"/>
                  <a:gd name="T60" fmla="*/ 5157 w 6930"/>
                  <a:gd name="T61" fmla="*/ 611 h 1385"/>
                  <a:gd name="T62" fmla="*/ 5157 w 6930"/>
                  <a:gd name="T63" fmla="*/ 663 h 1385"/>
                  <a:gd name="T64" fmla="*/ 3185 w 6930"/>
                  <a:gd name="T65" fmla="*/ 582 h 1385"/>
                  <a:gd name="T66" fmla="*/ 3187 w 6930"/>
                  <a:gd name="T67" fmla="*/ 582 h 1385"/>
                  <a:gd name="T68" fmla="*/ 208 w 6930"/>
                  <a:gd name="T69" fmla="*/ 549 h 1385"/>
                  <a:gd name="T70" fmla="*/ 6928 w 6930"/>
                  <a:gd name="T71" fmla="*/ 511 h 1385"/>
                  <a:gd name="T72" fmla="*/ 4098 w 6930"/>
                  <a:gd name="T73" fmla="*/ 504 h 1385"/>
                  <a:gd name="T74" fmla="*/ 4086 w 6930"/>
                  <a:gd name="T75" fmla="*/ 518 h 1385"/>
                  <a:gd name="T76" fmla="*/ 3204 w 6930"/>
                  <a:gd name="T77" fmla="*/ 504 h 1385"/>
                  <a:gd name="T78" fmla="*/ 3204 w 6930"/>
                  <a:gd name="T79" fmla="*/ 563 h 1385"/>
                  <a:gd name="T80" fmla="*/ 3939 w 6930"/>
                  <a:gd name="T81" fmla="*/ 455 h 1385"/>
                  <a:gd name="T82" fmla="*/ 3859 w 6930"/>
                  <a:gd name="T83" fmla="*/ 859 h 1385"/>
                  <a:gd name="T84" fmla="*/ 3941 w 6930"/>
                  <a:gd name="T85" fmla="*/ 455 h 1385"/>
                  <a:gd name="T86" fmla="*/ 3232 w 6930"/>
                  <a:gd name="T87" fmla="*/ 473 h 1385"/>
                  <a:gd name="T88" fmla="*/ 3234 w 6930"/>
                  <a:gd name="T89" fmla="*/ 436 h 1385"/>
                  <a:gd name="T90" fmla="*/ 3946 w 6930"/>
                  <a:gd name="T91" fmla="*/ 393 h 1385"/>
                  <a:gd name="T92" fmla="*/ 3946 w 6930"/>
                  <a:gd name="T93" fmla="*/ 447 h 1385"/>
                  <a:gd name="T94" fmla="*/ 1712 w 6930"/>
                  <a:gd name="T95" fmla="*/ 372 h 1385"/>
                  <a:gd name="T96" fmla="*/ 3956 w 6930"/>
                  <a:gd name="T97" fmla="*/ 329 h 1385"/>
                  <a:gd name="T98" fmla="*/ 3956 w 6930"/>
                  <a:gd name="T99" fmla="*/ 383 h 1385"/>
                  <a:gd name="T100" fmla="*/ 4608 w 6930"/>
                  <a:gd name="T101" fmla="*/ 232 h 1385"/>
                  <a:gd name="T102" fmla="*/ 4552 w 6930"/>
                  <a:gd name="T103" fmla="*/ 443 h 1385"/>
                  <a:gd name="T104" fmla="*/ 4755 w 6930"/>
                  <a:gd name="T105" fmla="*/ 2 h 1385"/>
                  <a:gd name="T106" fmla="*/ 4757 w 6930"/>
                  <a:gd name="T107" fmla="*/ 12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30" h="1385">
                    <a:moveTo>
                      <a:pt x="3615" y="1224"/>
                    </a:moveTo>
                    <a:lnTo>
                      <a:pt x="3613" y="1224"/>
                    </a:lnTo>
                    <a:lnTo>
                      <a:pt x="3613" y="1224"/>
                    </a:lnTo>
                    <a:lnTo>
                      <a:pt x="3613" y="1248"/>
                    </a:lnTo>
                    <a:lnTo>
                      <a:pt x="3615" y="1248"/>
                    </a:lnTo>
                    <a:lnTo>
                      <a:pt x="3615" y="1224"/>
                    </a:lnTo>
                    <a:close/>
                    <a:moveTo>
                      <a:pt x="5736" y="1210"/>
                    </a:moveTo>
                    <a:lnTo>
                      <a:pt x="5734" y="1210"/>
                    </a:lnTo>
                    <a:lnTo>
                      <a:pt x="5734" y="1210"/>
                    </a:lnTo>
                    <a:lnTo>
                      <a:pt x="5734" y="1212"/>
                    </a:lnTo>
                    <a:lnTo>
                      <a:pt x="5734" y="1257"/>
                    </a:lnTo>
                    <a:lnTo>
                      <a:pt x="5736" y="1257"/>
                    </a:lnTo>
                    <a:lnTo>
                      <a:pt x="5736" y="1210"/>
                    </a:lnTo>
                    <a:close/>
                    <a:moveTo>
                      <a:pt x="5760" y="1129"/>
                    </a:moveTo>
                    <a:lnTo>
                      <a:pt x="5760" y="1129"/>
                    </a:lnTo>
                    <a:lnTo>
                      <a:pt x="5760" y="1132"/>
                    </a:lnTo>
                    <a:lnTo>
                      <a:pt x="5760" y="1186"/>
                    </a:lnTo>
                    <a:lnTo>
                      <a:pt x="5760" y="1186"/>
                    </a:lnTo>
                    <a:lnTo>
                      <a:pt x="5760" y="1184"/>
                    </a:lnTo>
                    <a:lnTo>
                      <a:pt x="5760" y="1184"/>
                    </a:lnTo>
                    <a:lnTo>
                      <a:pt x="5760" y="1129"/>
                    </a:lnTo>
                    <a:close/>
                    <a:moveTo>
                      <a:pt x="6228" y="1129"/>
                    </a:moveTo>
                    <a:lnTo>
                      <a:pt x="6226" y="1129"/>
                    </a:lnTo>
                    <a:lnTo>
                      <a:pt x="6226" y="1129"/>
                    </a:lnTo>
                    <a:lnTo>
                      <a:pt x="6226" y="1132"/>
                    </a:lnTo>
                    <a:lnTo>
                      <a:pt x="6226" y="1141"/>
                    </a:lnTo>
                    <a:lnTo>
                      <a:pt x="6228" y="1141"/>
                    </a:lnTo>
                    <a:lnTo>
                      <a:pt x="6228" y="1129"/>
                    </a:lnTo>
                    <a:close/>
                    <a:moveTo>
                      <a:pt x="2764" y="1063"/>
                    </a:moveTo>
                    <a:lnTo>
                      <a:pt x="2764" y="1063"/>
                    </a:lnTo>
                    <a:lnTo>
                      <a:pt x="2764" y="1063"/>
                    </a:lnTo>
                    <a:lnTo>
                      <a:pt x="2764" y="1065"/>
                    </a:lnTo>
                    <a:lnTo>
                      <a:pt x="2764" y="1172"/>
                    </a:lnTo>
                    <a:lnTo>
                      <a:pt x="2764" y="1172"/>
                    </a:lnTo>
                    <a:lnTo>
                      <a:pt x="2764" y="1063"/>
                    </a:lnTo>
                    <a:close/>
                    <a:moveTo>
                      <a:pt x="5835" y="1042"/>
                    </a:moveTo>
                    <a:lnTo>
                      <a:pt x="5835" y="1042"/>
                    </a:lnTo>
                    <a:lnTo>
                      <a:pt x="5833" y="1042"/>
                    </a:lnTo>
                    <a:lnTo>
                      <a:pt x="5833" y="1044"/>
                    </a:lnTo>
                    <a:lnTo>
                      <a:pt x="5833" y="1061"/>
                    </a:lnTo>
                    <a:lnTo>
                      <a:pt x="5835" y="1061"/>
                    </a:lnTo>
                    <a:lnTo>
                      <a:pt x="5835" y="1042"/>
                    </a:lnTo>
                    <a:close/>
                    <a:moveTo>
                      <a:pt x="2783" y="1013"/>
                    </a:moveTo>
                    <a:lnTo>
                      <a:pt x="2781" y="1013"/>
                    </a:lnTo>
                    <a:lnTo>
                      <a:pt x="2781" y="1013"/>
                    </a:lnTo>
                    <a:lnTo>
                      <a:pt x="2781" y="1046"/>
                    </a:lnTo>
                    <a:lnTo>
                      <a:pt x="2781" y="1046"/>
                    </a:lnTo>
                    <a:lnTo>
                      <a:pt x="2781" y="1044"/>
                    </a:lnTo>
                    <a:lnTo>
                      <a:pt x="2783" y="1044"/>
                    </a:lnTo>
                    <a:lnTo>
                      <a:pt x="2783" y="1013"/>
                    </a:lnTo>
                    <a:close/>
                    <a:moveTo>
                      <a:pt x="3674" y="994"/>
                    </a:moveTo>
                    <a:lnTo>
                      <a:pt x="3674" y="994"/>
                    </a:lnTo>
                    <a:lnTo>
                      <a:pt x="3674" y="997"/>
                    </a:lnTo>
                    <a:lnTo>
                      <a:pt x="3674" y="1162"/>
                    </a:lnTo>
                    <a:lnTo>
                      <a:pt x="3674" y="1162"/>
                    </a:lnTo>
                    <a:lnTo>
                      <a:pt x="3674" y="1162"/>
                    </a:lnTo>
                    <a:lnTo>
                      <a:pt x="3674" y="1162"/>
                    </a:lnTo>
                    <a:lnTo>
                      <a:pt x="3674" y="994"/>
                    </a:lnTo>
                    <a:close/>
                    <a:moveTo>
                      <a:pt x="5854" y="990"/>
                    </a:moveTo>
                    <a:lnTo>
                      <a:pt x="5852" y="990"/>
                    </a:lnTo>
                    <a:lnTo>
                      <a:pt x="5852" y="992"/>
                    </a:lnTo>
                    <a:lnTo>
                      <a:pt x="5852" y="1025"/>
                    </a:lnTo>
                    <a:lnTo>
                      <a:pt x="5852" y="1025"/>
                    </a:lnTo>
                    <a:lnTo>
                      <a:pt x="5852" y="1023"/>
                    </a:lnTo>
                    <a:lnTo>
                      <a:pt x="5854" y="1023"/>
                    </a:lnTo>
                    <a:lnTo>
                      <a:pt x="5854" y="990"/>
                    </a:lnTo>
                    <a:close/>
                    <a:moveTo>
                      <a:pt x="6245" y="938"/>
                    </a:moveTo>
                    <a:lnTo>
                      <a:pt x="6242" y="938"/>
                    </a:lnTo>
                    <a:lnTo>
                      <a:pt x="6242" y="938"/>
                    </a:lnTo>
                    <a:lnTo>
                      <a:pt x="6242" y="1113"/>
                    </a:lnTo>
                    <a:lnTo>
                      <a:pt x="6245" y="1113"/>
                    </a:lnTo>
                    <a:lnTo>
                      <a:pt x="6245" y="1110"/>
                    </a:lnTo>
                    <a:lnTo>
                      <a:pt x="6245" y="1110"/>
                    </a:lnTo>
                    <a:lnTo>
                      <a:pt x="6245" y="938"/>
                    </a:lnTo>
                    <a:close/>
                    <a:moveTo>
                      <a:pt x="6294" y="878"/>
                    </a:moveTo>
                    <a:lnTo>
                      <a:pt x="6294" y="878"/>
                    </a:lnTo>
                    <a:lnTo>
                      <a:pt x="6292" y="878"/>
                    </a:lnTo>
                    <a:lnTo>
                      <a:pt x="6292" y="881"/>
                    </a:lnTo>
                    <a:lnTo>
                      <a:pt x="6292" y="888"/>
                    </a:lnTo>
                    <a:lnTo>
                      <a:pt x="6292" y="888"/>
                    </a:lnTo>
                    <a:lnTo>
                      <a:pt x="6292" y="885"/>
                    </a:lnTo>
                    <a:lnTo>
                      <a:pt x="6294" y="885"/>
                    </a:lnTo>
                    <a:lnTo>
                      <a:pt x="6294" y="878"/>
                    </a:lnTo>
                    <a:close/>
                    <a:moveTo>
                      <a:pt x="6301" y="850"/>
                    </a:moveTo>
                    <a:lnTo>
                      <a:pt x="6301" y="850"/>
                    </a:lnTo>
                    <a:lnTo>
                      <a:pt x="6301" y="852"/>
                    </a:lnTo>
                    <a:lnTo>
                      <a:pt x="6301" y="871"/>
                    </a:lnTo>
                    <a:lnTo>
                      <a:pt x="6301" y="871"/>
                    </a:lnTo>
                    <a:lnTo>
                      <a:pt x="6301" y="869"/>
                    </a:lnTo>
                    <a:lnTo>
                      <a:pt x="6301" y="869"/>
                    </a:lnTo>
                    <a:lnTo>
                      <a:pt x="6301" y="850"/>
                    </a:lnTo>
                    <a:close/>
                    <a:moveTo>
                      <a:pt x="3005" y="762"/>
                    </a:moveTo>
                    <a:lnTo>
                      <a:pt x="3003" y="762"/>
                    </a:lnTo>
                    <a:lnTo>
                      <a:pt x="3003" y="765"/>
                    </a:lnTo>
                    <a:lnTo>
                      <a:pt x="3003" y="911"/>
                    </a:lnTo>
                    <a:lnTo>
                      <a:pt x="3005" y="911"/>
                    </a:lnTo>
                    <a:lnTo>
                      <a:pt x="3005" y="762"/>
                    </a:lnTo>
                    <a:close/>
                    <a:moveTo>
                      <a:pt x="913" y="753"/>
                    </a:moveTo>
                    <a:lnTo>
                      <a:pt x="913" y="753"/>
                    </a:lnTo>
                    <a:lnTo>
                      <a:pt x="913" y="755"/>
                    </a:lnTo>
                    <a:lnTo>
                      <a:pt x="913" y="760"/>
                    </a:lnTo>
                    <a:lnTo>
                      <a:pt x="913" y="760"/>
                    </a:lnTo>
                    <a:lnTo>
                      <a:pt x="913" y="753"/>
                    </a:lnTo>
                    <a:close/>
                    <a:moveTo>
                      <a:pt x="5036" y="732"/>
                    </a:moveTo>
                    <a:lnTo>
                      <a:pt x="5034" y="732"/>
                    </a:lnTo>
                    <a:lnTo>
                      <a:pt x="5034" y="734"/>
                    </a:lnTo>
                    <a:lnTo>
                      <a:pt x="5034" y="904"/>
                    </a:lnTo>
                    <a:lnTo>
                      <a:pt x="5036" y="904"/>
                    </a:lnTo>
                    <a:lnTo>
                      <a:pt x="5036" y="732"/>
                    </a:lnTo>
                    <a:close/>
                    <a:moveTo>
                      <a:pt x="3043" y="658"/>
                    </a:moveTo>
                    <a:lnTo>
                      <a:pt x="3041" y="658"/>
                    </a:lnTo>
                    <a:lnTo>
                      <a:pt x="3041" y="661"/>
                    </a:lnTo>
                    <a:lnTo>
                      <a:pt x="3041" y="727"/>
                    </a:lnTo>
                    <a:lnTo>
                      <a:pt x="3043" y="727"/>
                    </a:lnTo>
                    <a:lnTo>
                      <a:pt x="3043" y="724"/>
                    </a:lnTo>
                    <a:lnTo>
                      <a:pt x="3043" y="724"/>
                    </a:lnTo>
                    <a:lnTo>
                      <a:pt x="3043" y="658"/>
                    </a:lnTo>
                    <a:close/>
                    <a:moveTo>
                      <a:pt x="2" y="618"/>
                    </a:moveTo>
                    <a:lnTo>
                      <a:pt x="0" y="618"/>
                    </a:lnTo>
                    <a:lnTo>
                      <a:pt x="0" y="618"/>
                    </a:lnTo>
                    <a:lnTo>
                      <a:pt x="0" y="1385"/>
                    </a:lnTo>
                    <a:lnTo>
                      <a:pt x="2" y="1385"/>
                    </a:lnTo>
                    <a:lnTo>
                      <a:pt x="2" y="618"/>
                    </a:lnTo>
                    <a:close/>
                    <a:moveTo>
                      <a:pt x="5157" y="611"/>
                    </a:moveTo>
                    <a:lnTo>
                      <a:pt x="5157" y="611"/>
                    </a:lnTo>
                    <a:lnTo>
                      <a:pt x="5157" y="611"/>
                    </a:lnTo>
                    <a:lnTo>
                      <a:pt x="5157" y="663"/>
                    </a:lnTo>
                    <a:lnTo>
                      <a:pt x="5157" y="663"/>
                    </a:lnTo>
                    <a:lnTo>
                      <a:pt x="5157" y="611"/>
                    </a:lnTo>
                    <a:close/>
                    <a:moveTo>
                      <a:pt x="3187" y="582"/>
                    </a:moveTo>
                    <a:lnTo>
                      <a:pt x="3187" y="582"/>
                    </a:lnTo>
                    <a:lnTo>
                      <a:pt x="3185" y="582"/>
                    </a:lnTo>
                    <a:lnTo>
                      <a:pt x="3185" y="585"/>
                    </a:lnTo>
                    <a:lnTo>
                      <a:pt x="3185" y="589"/>
                    </a:lnTo>
                    <a:lnTo>
                      <a:pt x="3187" y="589"/>
                    </a:lnTo>
                    <a:lnTo>
                      <a:pt x="3187" y="582"/>
                    </a:lnTo>
                    <a:close/>
                    <a:moveTo>
                      <a:pt x="208" y="547"/>
                    </a:moveTo>
                    <a:lnTo>
                      <a:pt x="206" y="547"/>
                    </a:lnTo>
                    <a:lnTo>
                      <a:pt x="206" y="549"/>
                    </a:lnTo>
                    <a:lnTo>
                      <a:pt x="208" y="549"/>
                    </a:lnTo>
                    <a:lnTo>
                      <a:pt x="208" y="547"/>
                    </a:lnTo>
                    <a:close/>
                    <a:moveTo>
                      <a:pt x="6930" y="509"/>
                    </a:moveTo>
                    <a:lnTo>
                      <a:pt x="6928" y="509"/>
                    </a:lnTo>
                    <a:lnTo>
                      <a:pt x="6928" y="511"/>
                    </a:lnTo>
                    <a:lnTo>
                      <a:pt x="6928" y="1025"/>
                    </a:lnTo>
                    <a:lnTo>
                      <a:pt x="6930" y="1025"/>
                    </a:lnTo>
                    <a:lnTo>
                      <a:pt x="6930" y="509"/>
                    </a:lnTo>
                    <a:close/>
                    <a:moveTo>
                      <a:pt x="4098" y="504"/>
                    </a:moveTo>
                    <a:lnTo>
                      <a:pt x="4098" y="504"/>
                    </a:lnTo>
                    <a:lnTo>
                      <a:pt x="4098" y="507"/>
                    </a:lnTo>
                    <a:lnTo>
                      <a:pt x="4086" y="518"/>
                    </a:lnTo>
                    <a:lnTo>
                      <a:pt x="4086" y="518"/>
                    </a:lnTo>
                    <a:lnTo>
                      <a:pt x="4098" y="504"/>
                    </a:lnTo>
                    <a:close/>
                    <a:moveTo>
                      <a:pt x="3204" y="502"/>
                    </a:moveTo>
                    <a:lnTo>
                      <a:pt x="3204" y="502"/>
                    </a:lnTo>
                    <a:lnTo>
                      <a:pt x="3204" y="504"/>
                    </a:lnTo>
                    <a:lnTo>
                      <a:pt x="3204" y="566"/>
                    </a:lnTo>
                    <a:lnTo>
                      <a:pt x="3204" y="566"/>
                    </a:lnTo>
                    <a:lnTo>
                      <a:pt x="3204" y="563"/>
                    </a:lnTo>
                    <a:lnTo>
                      <a:pt x="3204" y="563"/>
                    </a:lnTo>
                    <a:lnTo>
                      <a:pt x="3204" y="502"/>
                    </a:lnTo>
                    <a:close/>
                    <a:moveTo>
                      <a:pt x="3941" y="455"/>
                    </a:moveTo>
                    <a:lnTo>
                      <a:pt x="3939" y="455"/>
                    </a:lnTo>
                    <a:lnTo>
                      <a:pt x="3939" y="455"/>
                    </a:lnTo>
                    <a:lnTo>
                      <a:pt x="3939" y="457"/>
                    </a:lnTo>
                    <a:lnTo>
                      <a:pt x="3939" y="492"/>
                    </a:lnTo>
                    <a:lnTo>
                      <a:pt x="3859" y="644"/>
                    </a:lnTo>
                    <a:lnTo>
                      <a:pt x="3859" y="859"/>
                    </a:lnTo>
                    <a:lnTo>
                      <a:pt x="3859" y="859"/>
                    </a:lnTo>
                    <a:lnTo>
                      <a:pt x="3859" y="642"/>
                    </a:lnTo>
                    <a:lnTo>
                      <a:pt x="3941" y="490"/>
                    </a:lnTo>
                    <a:lnTo>
                      <a:pt x="3941" y="455"/>
                    </a:lnTo>
                    <a:close/>
                    <a:moveTo>
                      <a:pt x="3234" y="436"/>
                    </a:moveTo>
                    <a:lnTo>
                      <a:pt x="3232" y="436"/>
                    </a:lnTo>
                    <a:lnTo>
                      <a:pt x="3232" y="436"/>
                    </a:lnTo>
                    <a:lnTo>
                      <a:pt x="3232" y="473"/>
                    </a:lnTo>
                    <a:lnTo>
                      <a:pt x="3232" y="473"/>
                    </a:lnTo>
                    <a:lnTo>
                      <a:pt x="3232" y="471"/>
                    </a:lnTo>
                    <a:lnTo>
                      <a:pt x="3234" y="471"/>
                    </a:lnTo>
                    <a:lnTo>
                      <a:pt x="3234" y="436"/>
                    </a:lnTo>
                    <a:close/>
                    <a:moveTo>
                      <a:pt x="3946" y="391"/>
                    </a:moveTo>
                    <a:lnTo>
                      <a:pt x="3946" y="391"/>
                    </a:lnTo>
                    <a:lnTo>
                      <a:pt x="3946" y="391"/>
                    </a:lnTo>
                    <a:lnTo>
                      <a:pt x="3946" y="393"/>
                    </a:lnTo>
                    <a:lnTo>
                      <a:pt x="3946" y="450"/>
                    </a:lnTo>
                    <a:lnTo>
                      <a:pt x="3946" y="450"/>
                    </a:lnTo>
                    <a:lnTo>
                      <a:pt x="3946" y="447"/>
                    </a:lnTo>
                    <a:lnTo>
                      <a:pt x="3946" y="447"/>
                    </a:lnTo>
                    <a:lnTo>
                      <a:pt x="3946" y="391"/>
                    </a:lnTo>
                    <a:close/>
                    <a:moveTo>
                      <a:pt x="1714" y="369"/>
                    </a:moveTo>
                    <a:lnTo>
                      <a:pt x="1712" y="369"/>
                    </a:lnTo>
                    <a:lnTo>
                      <a:pt x="1712" y="372"/>
                    </a:lnTo>
                    <a:lnTo>
                      <a:pt x="1712" y="1063"/>
                    </a:lnTo>
                    <a:lnTo>
                      <a:pt x="1714" y="1063"/>
                    </a:lnTo>
                    <a:lnTo>
                      <a:pt x="1714" y="369"/>
                    </a:lnTo>
                    <a:close/>
                    <a:moveTo>
                      <a:pt x="3956" y="329"/>
                    </a:moveTo>
                    <a:lnTo>
                      <a:pt x="3953" y="329"/>
                    </a:lnTo>
                    <a:lnTo>
                      <a:pt x="3953" y="329"/>
                    </a:lnTo>
                    <a:lnTo>
                      <a:pt x="3953" y="383"/>
                    </a:lnTo>
                    <a:lnTo>
                      <a:pt x="3956" y="383"/>
                    </a:lnTo>
                    <a:lnTo>
                      <a:pt x="3956" y="381"/>
                    </a:lnTo>
                    <a:lnTo>
                      <a:pt x="3956" y="381"/>
                    </a:lnTo>
                    <a:lnTo>
                      <a:pt x="3956" y="329"/>
                    </a:lnTo>
                    <a:close/>
                    <a:moveTo>
                      <a:pt x="4608" y="232"/>
                    </a:moveTo>
                    <a:lnTo>
                      <a:pt x="4606" y="232"/>
                    </a:lnTo>
                    <a:lnTo>
                      <a:pt x="4606" y="234"/>
                    </a:lnTo>
                    <a:lnTo>
                      <a:pt x="4549" y="443"/>
                    </a:lnTo>
                    <a:lnTo>
                      <a:pt x="4552" y="443"/>
                    </a:lnTo>
                    <a:lnTo>
                      <a:pt x="4608" y="232"/>
                    </a:lnTo>
                    <a:close/>
                    <a:moveTo>
                      <a:pt x="4757" y="0"/>
                    </a:moveTo>
                    <a:lnTo>
                      <a:pt x="4755" y="0"/>
                    </a:lnTo>
                    <a:lnTo>
                      <a:pt x="4755" y="2"/>
                    </a:lnTo>
                    <a:lnTo>
                      <a:pt x="4755" y="125"/>
                    </a:lnTo>
                    <a:lnTo>
                      <a:pt x="4757" y="125"/>
                    </a:lnTo>
                    <a:lnTo>
                      <a:pt x="4757" y="123"/>
                    </a:lnTo>
                    <a:lnTo>
                      <a:pt x="4757" y="123"/>
                    </a:lnTo>
                    <a:lnTo>
                      <a:pt x="4757"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49" name="Freeform 71"/>
              <p:cNvSpPr>
                <a:spLocks noEditPoints="1"/>
              </p:cNvSpPr>
              <p:nvPr/>
            </p:nvSpPr>
            <p:spPr bwMode="auto">
              <a:xfrm>
                <a:off x="73" y="1729"/>
                <a:ext cx="6930" cy="1385"/>
              </a:xfrm>
              <a:custGeom>
                <a:avLst/>
                <a:gdLst>
                  <a:gd name="T0" fmla="*/ 3613 w 6930"/>
                  <a:gd name="T1" fmla="*/ 1248 h 1385"/>
                  <a:gd name="T2" fmla="*/ 5734 w 6930"/>
                  <a:gd name="T3" fmla="*/ 1210 h 1385"/>
                  <a:gd name="T4" fmla="*/ 5736 w 6930"/>
                  <a:gd name="T5" fmla="*/ 1257 h 1385"/>
                  <a:gd name="T6" fmla="*/ 5760 w 6930"/>
                  <a:gd name="T7" fmla="*/ 1132 h 1385"/>
                  <a:gd name="T8" fmla="*/ 5760 w 6930"/>
                  <a:gd name="T9" fmla="*/ 1184 h 1385"/>
                  <a:gd name="T10" fmla="*/ 6226 w 6930"/>
                  <a:gd name="T11" fmla="*/ 1129 h 1385"/>
                  <a:gd name="T12" fmla="*/ 6228 w 6930"/>
                  <a:gd name="T13" fmla="*/ 1129 h 1385"/>
                  <a:gd name="T14" fmla="*/ 2764 w 6930"/>
                  <a:gd name="T15" fmla="*/ 1065 h 1385"/>
                  <a:gd name="T16" fmla="*/ 5835 w 6930"/>
                  <a:gd name="T17" fmla="*/ 1042 h 1385"/>
                  <a:gd name="T18" fmla="*/ 5833 w 6930"/>
                  <a:gd name="T19" fmla="*/ 1061 h 1385"/>
                  <a:gd name="T20" fmla="*/ 2781 w 6930"/>
                  <a:gd name="T21" fmla="*/ 1013 h 1385"/>
                  <a:gd name="T22" fmla="*/ 2781 w 6930"/>
                  <a:gd name="T23" fmla="*/ 1044 h 1385"/>
                  <a:gd name="T24" fmla="*/ 3674 w 6930"/>
                  <a:gd name="T25" fmla="*/ 994 h 1385"/>
                  <a:gd name="T26" fmla="*/ 3674 w 6930"/>
                  <a:gd name="T27" fmla="*/ 1162 h 1385"/>
                  <a:gd name="T28" fmla="*/ 5852 w 6930"/>
                  <a:gd name="T29" fmla="*/ 990 h 1385"/>
                  <a:gd name="T30" fmla="*/ 5852 w 6930"/>
                  <a:gd name="T31" fmla="*/ 1023 h 1385"/>
                  <a:gd name="T32" fmla="*/ 6242 w 6930"/>
                  <a:gd name="T33" fmla="*/ 938 h 1385"/>
                  <a:gd name="T34" fmla="*/ 6245 w 6930"/>
                  <a:gd name="T35" fmla="*/ 1110 h 1385"/>
                  <a:gd name="T36" fmla="*/ 6294 w 6930"/>
                  <a:gd name="T37" fmla="*/ 878 h 1385"/>
                  <a:gd name="T38" fmla="*/ 6292 w 6930"/>
                  <a:gd name="T39" fmla="*/ 888 h 1385"/>
                  <a:gd name="T40" fmla="*/ 6301 w 6930"/>
                  <a:gd name="T41" fmla="*/ 850 h 1385"/>
                  <a:gd name="T42" fmla="*/ 6301 w 6930"/>
                  <a:gd name="T43" fmla="*/ 871 h 1385"/>
                  <a:gd name="T44" fmla="*/ 3005 w 6930"/>
                  <a:gd name="T45" fmla="*/ 762 h 1385"/>
                  <a:gd name="T46" fmla="*/ 3005 w 6930"/>
                  <a:gd name="T47" fmla="*/ 911 h 1385"/>
                  <a:gd name="T48" fmla="*/ 913 w 6930"/>
                  <a:gd name="T49" fmla="*/ 755 h 1385"/>
                  <a:gd name="T50" fmla="*/ 5036 w 6930"/>
                  <a:gd name="T51" fmla="*/ 732 h 1385"/>
                  <a:gd name="T52" fmla="*/ 5036 w 6930"/>
                  <a:gd name="T53" fmla="*/ 904 h 1385"/>
                  <a:gd name="T54" fmla="*/ 3041 w 6930"/>
                  <a:gd name="T55" fmla="*/ 661 h 1385"/>
                  <a:gd name="T56" fmla="*/ 3043 w 6930"/>
                  <a:gd name="T57" fmla="*/ 724 h 1385"/>
                  <a:gd name="T58" fmla="*/ 0 w 6930"/>
                  <a:gd name="T59" fmla="*/ 618 h 1385"/>
                  <a:gd name="T60" fmla="*/ 5157 w 6930"/>
                  <a:gd name="T61" fmla="*/ 611 h 1385"/>
                  <a:gd name="T62" fmla="*/ 5157 w 6930"/>
                  <a:gd name="T63" fmla="*/ 663 h 1385"/>
                  <a:gd name="T64" fmla="*/ 3185 w 6930"/>
                  <a:gd name="T65" fmla="*/ 582 h 1385"/>
                  <a:gd name="T66" fmla="*/ 3187 w 6930"/>
                  <a:gd name="T67" fmla="*/ 582 h 1385"/>
                  <a:gd name="T68" fmla="*/ 208 w 6930"/>
                  <a:gd name="T69" fmla="*/ 549 h 1385"/>
                  <a:gd name="T70" fmla="*/ 6928 w 6930"/>
                  <a:gd name="T71" fmla="*/ 511 h 1385"/>
                  <a:gd name="T72" fmla="*/ 4098 w 6930"/>
                  <a:gd name="T73" fmla="*/ 504 h 1385"/>
                  <a:gd name="T74" fmla="*/ 4086 w 6930"/>
                  <a:gd name="T75" fmla="*/ 518 h 1385"/>
                  <a:gd name="T76" fmla="*/ 3204 w 6930"/>
                  <a:gd name="T77" fmla="*/ 504 h 1385"/>
                  <a:gd name="T78" fmla="*/ 3204 w 6930"/>
                  <a:gd name="T79" fmla="*/ 563 h 1385"/>
                  <a:gd name="T80" fmla="*/ 3939 w 6930"/>
                  <a:gd name="T81" fmla="*/ 455 h 1385"/>
                  <a:gd name="T82" fmla="*/ 3859 w 6930"/>
                  <a:gd name="T83" fmla="*/ 859 h 1385"/>
                  <a:gd name="T84" fmla="*/ 3941 w 6930"/>
                  <a:gd name="T85" fmla="*/ 455 h 1385"/>
                  <a:gd name="T86" fmla="*/ 3232 w 6930"/>
                  <a:gd name="T87" fmla="*/ 473 h 1385"/>
                  <a:gd name="T88" fmla="*/ 3234 w 6930"/>
                  <a:gd name="T89" fmla="*/ 436 h 1385"/>
                  <a:gd name="T90" fmla="*/ 3946 w 6930"/>
                  <a:gd name="T91" fmla="*/ 393 h 1385"/>
                  <a:gd name="T92" fmla="*/ 3946 w 6930"/>
                  <a:gd name="T93" fmla="*/ 447 h 1385"/>
                  <a:gd name="T94" fmla="*/ 1712 w 6930"/>
                  <a:gd name="T95" fmla="*/ 372 h 1385"/>
                  <a:gd name="T96" fmla="*/ 3956 w 6930"/>
                  <a:gd name="T97" fmla="*/ 329 h 1385"/>
                  <a:gd name="T98" fmla="*/ 3956 w 6930"/>
                  <a:gd name="T99" fmla="*/ 383 h 1385"/>
                  <a:gd name="T100" fmla="*/ 4608 w 6930"/>
                  <a:gd name="T101" fmla="*/ 232 h 1385"/>
                  <a:gd name="T102" fmla="*/ 4552 w 6930"/>
                  <a:gd name="T103" fmla="*/ 443 h 1385"/>
                  <a:gd name="T104" fmla="*/ 4755 w 6930"/>
                  <a:gd name="T105" fmla="*/ 2 h 1385"/>
                  <a:gd name="T106" fmla="*/ 4757 w 6930"/>
                  <a:gd name="T107" fmla="*/ 123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30" h="1385">
                    <a:moveTo>
                      <a:pt x="3615" y="1224"/>
                    </a:moveTo>
                    <a:lnTo>
                      <a:pt x="3613" y="1224"/>
                    </a:lnTo>
                    <a:lnTo>
                      <a:pt x="3613" y="1224"/>
                    </a:lnTo>
                    <a:lnTo>
                      <a:pt x="3613" y="1248"/>
                    </a:lnTo>
                    <a:lnTo>
                      <a:pt x="3615" y="1248"/>
                    </a:lnTo>
                    <a:lnTo>
                      <a:pt x="3615" y="1224"/>
                    </a:lnTo>
                    <a:moveTo>
                      <a:pt x="5736" y="1210"/>
                    </a:moveTo>
                    <a:lnTo>
                      <a:pt x="5734" y="1210"/>
                    </a:lnTo>
                    <a:lnTo>
                      <a:pt x="5734" y="1210"/>
                    </a:lnTo>
                    <a:lnTo>
                      <a:pt x="5734" y="1212"/>
                    </a:lnTo>
                    <a:lnTo>
                      <a:pt x="5734" y="1257"/>
                    </a:lnTo>
                    <a:lnTo>
                      <a:pt x="5736" y="1257"/>
                    </a:lnTo>
                    <a:lnTo>
                      <a:pt x="5736" y="1210"/>
                    </a:lnTo>
                    <a:moveTo>
                      <a:pt x="5760" y="1129"/>
                    </a:moveTo>
                    <a:lnTo>
                      <a:pt x="5760" y="1129"/>
                    </a:lnTo>
                    <a:lnTo>
                      <a:pt x="5760" y="1132"/>
                    </a:lnTo>
                    <a:lnTo>
                      <a:pt x="5760" y="1186"/>
                    </a:lnTo>
                    <a:lnTo>
                      <a:pt x="5760" y="1186"/>
                    </a:lnTo>
                    <a:lnTo>
                      <a:pt x="5760" y="1184"/>
                    </a:lnTo>
                    <a:lnTo>
                      <a:pt x="5760" y="1184"/>
                    </a:lnTo>
                    <a:lnTo>
                      <a:pt x="5760" y="1129"/>
                    </a:lnTo>
                    <a:moveTo>
                      <a:pt x="6228" y="1129"/>
                    </a:moveTo>
                    <a:lnTo>
                      <a:pt x="6226" y="1129"/>
                    </a:lnTo>
                    <a:lnTo>
                      <a:pt x="6226" y="1129"/>
                    </a:lnTo>
                    <a:lnTo>
                      <a:pt x="6226" y="1132"/>
                    </a:lnTo>
                    <a:lnTo>
                      <a:pt x="6226" y="1141"/>
                    </a:lnTo>
                    <a:lnTo>
                      <a:pt x="6228" y="1141"/>
                    </a:lnTo>
                    <a:lnTo>
                      <a:pt x="6228" y="1129"/>
                    </a:lnTo>
                    <a:moveTo>
                      <a:pt x="2764" y="1063"/>
                    </a:moveTo>
                    <a:lnTo>
                      <a:pt x="2764" y="1063"/>
                    </a:lnTo>
                    <a:lnTo>
                      <a:pt x="2764" y="1063"/>
                    </a:lnTo>
                    <a:lnTo>
                      <a:pt x="2764" y="1065"/>
                    </a:lnTo>
                    <a:lnTo>
                      <a:pt x="2764" y="1172"/>
                    </a:lnTo>
                    <a:lnTo>
                      <a:pt x="2764" y="1172"/>
                    </a:lnTo>
                    <a:lnTo>
                      <a:pt x="2764" y="1063"/>
                    </a:lnTo>
                    <a:moveTo>
                      <a:pt x="5835" y="1042"/>
                    </a:moveTo>
                    <a:lnTo>
                      <a:pt x="5835" y="1042"/>
                    </a:lnTo>
                    <a:lnTo>
                      <a:pt x="5833" y="1042"/>
                    </a:lnTo>
                    <a:lnTo>
                      <a:pt x="5833" y="1044"/>
                    </a:lnTo>
                    <a:lnTo>
                      <a:pt x="5833" y="1061"/>
                    </a:lnTo>
                    <a:lnTo>
                      <a:pt x="5835" y="1061"/>
                    </a:lnTo>
                    <a:lnTo>
                      <a:pt x="5835" y="1042"/>
                    </a:lnTo>
                    <a:moveTo>
                      <a:pt x="2783" y="1013"/>
                    </a:moveTo>
                    <a:lnTo>
                      <a:pt x="2781" y="1013"/>
                    </a:lnTo>
                    <a:lnTo>
                      <a:pt x="2781" y="1013"/>
                    </a:lnTo>
                    <a:lnTo>
                      <a:pt x="2781" y="1046"/>
                    </a:lnTo>
                    <a:lnTo>
                      <a:pt x="2781" y="1046"/>
                    </a:lnTo>
                    <a:lnTo>
                      <a:pt x="2781" y="1044"/>
                    </a:lnTo>
                    <a:lnTo>
                      <a:pt x="2783" y="1044"/>
                    </a:lnTo>
                    <a:lnTo>
                      <a:pt x="2783" y="1013"/>
                    </a:lnTo>
                    <a:moveTo>
                      <a:pt x="3674" y="994"/>
                    </a:moveTo>
                    <a:lnTo>
                      <a:pt x="3674" y="994"/>
                    </a:lnTo>
                    <a:lnTo>
                      <a:pt x="3674" y="997"/>
                    </a:lnTo>
                    <a:lnTo>
                      <a:pt x="3674" y="1162"/>
                    </a:lnTo>
                    <a:lnTo>
                      <a:pt x="3674" y="1162"/>
                    </a:lnTo>
                    <a:lnTo>
                      <a:pt x="3674" y="1162"/>
                    </a:lnTo>
                    <a:lnTo>
                      <a:pt x="3674" y="1162"/>
                    </a:lnTo>
                    <a:lnTo>
                      <a:pt x="3674" y="994"/>
                    </a:lnTo>
                    <a:moveTo>
                      <a:pt x="5854" y="990"/>
                    </a:moveTo>
                    <a:lnTo>
                      <a:pt x="5852" y="990"/>
                    </a:lnTo>
                    <a:lnTo>
                      <a:pt x="5852" y="992"/>
                    </a:lnTo>
                    <a:lnTo>
                      <a:pt x="5852" y="1025"/>
                    </a:lnTo>
                    <a:lnTo>
                      <a:pt x="5852" y="1025"/>
                    </a:lnTo>
                    <a:lnTo>
                      <a:pt x="5852" y="1023"/>
                    </a:lnTo>
                    <a:lnTo>
                      <a:pt x="5854" y="1023"/>
                    </a:lnTo>
                    <a:lnTo>
                      <a:pt x="5854" y="990"/>
                    </a:lnTo>
                    <a:moveTo>
                      <a:pt x="6245" y="938"/>
                    </a:moveTo>
                    <a:lnTo>
                      <a:pt x="6242" y="938"/>
                    </a:lnTo>
                    <a:lnTo>
                      <a:pt x="6242" y="938"/>
                    </a:lnTo>
                    <a:lnTo>
                      <a:pt x="6242" y="1113"/>
                    </a:lnTo>
                    <a:lnTo>
                      <a:pt x="6245" y="1113"/>
                    </a:lnTo>
                    <a:lnTo>
                      <a:pt x="6245" y="1110"/>
                    </a:lnTo>
                    <a:lnTo>
                      <a:pt x="6245" y="1110"/>
                    </a:lnTo>
                    <a:lnTo>
                      <a:pt x="6245" y="938"/>
                    </a:lnTo>
                    <a:moveTo>
                      <a:pt x="6294" y="878"/>
                    </a:moveTo>
                    <a:lnTo>
                      <a:pt x="6294" y="878"/>
                    </a:lnTo>
                    <a:lnTo>
                      <a:pt x="6292" y="878"/>
                    </a:lnTo>
                    <a:lnTo>
                      <a:pt x="6292" y="881"/>
                    </a:lnTo>
                    <a:lnTo>
                      <a:pt x="6292" y="888"/>
                    </a:lnTo>
                    <a:lnTo>
                      <a:pt x="6292" y="888"/>
                    </a:lnTo>
                    <a:lnTo>
                      <a:pt x="6292" y="885"/>
                    </a:lnTo>
                    <a:lnTo>
                      <a:pt x="6294" y="885"/>
                    </a:lnTo>
                    <a:lnTo>
                      <a:pt x="6294" y="878"/>
                    </a:lnTo>
                    <a:moveTo>
                      <a:pt x="6301" y="850"/>
                    </a:moveTo>
                    <a:lnTo>
                      <a:pt x="6301" y="850"/>
                    </a:lnTo>
                    <a:lnTo>
                      <a:pt x="6301" y="852"/>
                    </a:lnTo>
                    <a:lnTo>
                      <a:pt x="6301" y="871"/>
                    </a:lnTo>
                    <a:lnTo>
                      <a:pt x="6301" y="871"/>
                    </a:lnTo>
                    <a:lnTo>
                      <a:pt x="6301" y="869"/>
                    </a:lnTo>
                    <a:lnTo>
                      <a:pt x="6301" y="869"/>
                    </a:lnTo>
                    <a:lnTo>
                      <a:pt x="6301" y="850"/>
                    </a:lnTo>
                    <a:moveTo>
                      <a:pt x="3005" y="762"/>
                    </a:moveTo>
                    <a:lnTo>
                      <a:pt x="3003" y="762"/>
                    </a:lnTo>
                    <a:lnTo>
                      <a:pt x="3003" y="765"/>
                    </a:lnTo>
                    <a:lnTo>
                      <a:pt x="3003" y="911"/>
                    </a:lnTo>
                    <a:lnTo>
                      <a:pt x="3005" y="911"/>
                    </a:lnTo>
                    <a:lnTo>
                      <a:pt x="3005" y="762"/>
                    </a:lnTo>
                    <a:moveTo>
                      <a:pt x="913" y="753"/>
                    </a:moveTo>
                    <a:lnTo>
                      <a:pt x="913" y="753"/>
                    </a:lnTo>
                    <a:lnTo>
                      <a:pt x="913" y="755"/>
                    </a:lnTo>
                    <a:lnTo>
                      <a:pt x="913" y="760"/>
                    </a:lnTo>
                    <a:lnTo>
                      <a:pt x="913" y="760"/>
                    </a:lnTo>
                    <a:lnTo>
                      <a:pt x="913" y="753"/>
                    </a:lnTo>
                    <a:moveTo>
                      <a:pt x="5036" y="732"/>
                    </a:moveTo>
                    <a:lnTo>
                      <a:pt x="5034" y="732"/>
                    </a:lnTo>
                    <a:lnTo>
                      <a:pt x="5034" y="734"/>
                    </a:lnTo>
                    <a:lnTo>
                      <a:pt x="5034" y="904"/>
                    </a:lnTo>
                    <a:lnTo>
                      <a:pt x="5036" y="904"/>
                    </a:lnTo>
                    <a:lnTo>
                      <a:pt x="5036" y="732"/>
                    </a:lnTo>
                    <a:moveTo>
                      <a:pt x="3043" y="658"/>
                    </a:moveTo>
                    <a:lnTo>
                      <a:pt x="3041" y="658"/>
                    </a:lnTo>
                    <a:lnTo>
                      <a:pt x="3041" y="661"/>
                    </a:lnTo>
                    <a:lnTo>
                      <a:pt x="3041" y="727"/>
                    </a:lnTo>
                    <a:lnTo>
                      <a:pt x="3043" y="727"/>
                    </a:lnTo>
                    <a:lnTo>
                      <a:pt x="3043" y="724"/>
                    </a:lnTo>
                    <a:lnTo>
                      <a:pt x="3043" y="724"/>
                    </a:lnTo>
                    <a:lnTo>
                      <a:pt x="3043" y="658"/>
                    </a:lnTo>
                    <a:moveTo>
                      <a:pt x="2" y="618"/>
                    </a:moveTo>
                    <a:lnTo>
                      <a:pt x="0" y="618"/>
                    </a:lnTo>
                    <a:lnTo>
                      <a:pt x="0" y="618"/>
                    </a:lnTo>
                    <a:lnTo>
                      <a:pt x="0" y="1385"/>
                    </a:lnTo>
                    <a:lnTo>
                      <a:pt x="2" y="1385"/>
                    </a:lnTo>
                    <a:lnTo>
                      <a:pt x="2" y="618"/>
                    </a:lnTo>
                    <a:moveTo>
                      <a:pt x="5157" y="611"/>
                    </a:moveTo>
                    <a:lnTo>
                      <a:pt x="5157" y="611"/>
                    </a:lnTo>
                    <a:lnTo>
                      <a:pt x="5157" y="611"/>
                    </a:lnTo>
                    <a:lnTo>
                      <a:pt x="5157" y="663"/>
                    </a:lnTo>
                    <a:lnTo>
                      <a:pt x="5157" y="663"/>
                    </a:lnTo>
                    <a:lnTo>
                      <a:pt x="5157" y="611"/>
                    </a:lnTo>
                    <a:moveTo>
                      <a:pt x="3187" y="582"/>
                    </a:moveTo>
                    <a:lnTo>
                      <a:pt x="3187" y="582"/>
                    </a:lnTo>
                    <a:lnTo>
                      <a:pt x="3185" y="582"/>
                    </a:lnTo>
                    <a:lnTo>
                      <a:pt x="3185" y="585"/>
                    </a:lnTo>
                    <a:lnTo>
                      <a:pt x="3185" y="589"/>
                    </a:lnTo>
                    <a:lnTo>
                      <a:pt x="3187" y="589"/>
                    </a:lnTo>
                    <a:lnTo>
                      <a:pt x="3187" y="582"/>
                    </a:lnTo>
                    <a:moveTo>
                      <a:pt x="208" y="547"/>
                    </a:moveTo>
                    <a:lnTo>
                      <a:pt x="206" y="547"/>
                    </a:lnTo>
                    <a:lnTo>
                      <a:pt x="206" y="549"/>
                    </a:lnTo>
                    <a:lnTo>
                      <a:pt x="208" y="549"/>
                    </a:lnTo>
                    <a:lnTo>
                      <a:pt x="208" y="547"/>
                    </a:lnTo>
                    <a:moveTo>
                      <a:pt x="6930" y="509"/>
                    </a:moveTo>
                    <a:lnTo>
                      <a:pt x="6928" y="509"/>
                    </a:lnTo>
                    <a:lnTo>
                      <a:pt x="6928" y="511"/>
                    </a:lnTo>
                    <a:lnTo>
                      <a:pt x="6928" y="1025"/>
                    </a:lnTo>
                    <a:lnTo>
                      <a:pt x="6930" y="1025"/>
                    </a:lnTo>
                    <a:lnTo>
                      <a:pt x="6930" y="509"/>
                    </a:lnTo>
                    <a:moveTo>
                      <a:pt x="4098" y="504"/>
                    </a:moveTo>
                    <a:lnTo>
                      <a:pt x="4098" y="504"/>
                    </a:lnTo>
                    <a:lnTo>
                      <a:pt x="4098" y="507"/>
                    </a:lnTo>
                    <a:lnTo>
                      <a:pt x="4086" y="518"/>
                    </a:lnTo>
                    <a:lnTo>
                      <a:pt x="4086" y="518"/>
                    </a:lnTo>
                    <a:lnTo>
                      <a:pt x="4098" y="504"/>
                    </a:lnTo>
                    <a:moveTo>
                      <a:pt x="3204" y="502"/>
                    </a:moveTo>
                    <a:lnTo>
                      <a:pt x="3204" y="502"/>
                    </a:lnTo>
                    <a:lnTo>
                      <a:pt x="3204" y="504"/>
                    </a:lnTo>
                    <a:lnTo>
                      <a:pt x="3204" y="566"/>
                    </a:lnTo>
                    <a:lnTo>
                      <a:pt x="3204" y="566"/>
                    </a:lnTo>
                    <a:lnTo>
                      <a:pt x="3204" y="563"/>
                    </a:lnTo>
                    <a:lnTo>
                      <a:pt x="3204" y="563"/>
                    </a:lnTo>
                    <a:lnTo>
                      <a:pt x="3204" y="502"/>
                    </a:lnTo>
                    <a:moveTo>
                      <a:pt x="3941" y="455"/>
                    </a:moveTo>
                    <a:lnTo>
                      <a:pt x="3939" y="455"/>
                    </a:lnTo>
                    <a:lnTo>
                      <a:pt x="3939" y="455"/>
                    </a:lnTo>
                    <a:lnTo>
                      <a:pt x="3939" y="457"/>
                    </a:lnTo>
                    <a:lnTo>
                      <a:pt x="3939" y="492"/>
                    </a:lnTo>
                    <a:lnTo>
                      <a:pt x="3859" y="644"/>
                    </a:lnTo>
                    <a:lnTo>
                      <a:pt x="3859" y="859"/>
                    </a:lnTo>
                    <a:lnTo>
                      <a:pt x="3859" y="859"/>
                    </a:lnTo>
                    <a:lnTo>
                      <a:pt x="3859" y="642"/>
                    </a:lnTo>
                    <a:lnTo>
                      <a:pt x="3941" y="490"/>
                    </a:lnTo>
                    <a:lnTo>
                      <a:pt x="3941" y="455"/>
                    </a:lnTo>
                    <a:moveTo>
                      <a:pt x="3234" y="436"/>
                    </a:moveTo>
                    <a:lnTo>
                      <a:pt x="3232" y="436"/>
                    </a:lnTo>
                    <a:lnTo>
                      <a:pt x="3232" y="436"/>
                    </a:lnTo>
                    <a:lnTo>
                      <a:pt x="3232" y="473"/>
                    </a:lnTo>
                    <a:lnTo>
                      <a:pt x="3232" y="473"/>
                    </a:lnTo>
                    <a:lnTo>
                      <a:pt x="3232" y="471"/>
                    </a:lnTo>
                    <a:lnTo>
                      <a:pt x="3234" y="471"/>
                    </a:lnTo>
                    <a:lnTo>
                      <a:pt x="3234" y="436"/>
                    </a:lnTo>
                    <a:moveTo>
                      <a:pt x="3946" y="391"/>
                    </a:moveTo>
                    <a:lnTo>
                      <a:pt x="3946" y="391"/>
                    </a:lnTo>
                    <a:lnTo>
                      <a:pt x="3946" y="391"/>
                    </a:lnTo>
                    <a:lnTo>
                      <a:pt x="3946" y="393"/>
                    </a:lnTo>
                    <a:lnTo>
                      <a:pt x="3946" y="450"/>
                    </a:lnTo>
                    <a:lnTo>
                      <a:pt x="3946" y="450"/>
                    </a:lnTo>
                    <a:lnTo>
                      <a:pt x="3946" y="447"/>
                    </a:lnTo>
                    <a:lnTo>
                      <a:pt x="3946" y="447"/>
                    </a:lnTo>
                    <a:lnTo>
                      <a:pt x="3946" y="391"/>
                    </a:lnTo>
                    <a:moveTo>
                      <a:pt x="1714" y="369"/>
                    </a:moveTo>
                    <a:lnTo>
                      <a:pt x="1712" y="369"/>
                    </a:lnTo>
                    <a:lnTo>
                      <a:pt x="1712" y="372"/>
                    </a:lnTo>
                    <a:lnTo>
                      <a:pt x="1712" y="1063"/>
                    </a:lnTo>
                    <a:lnTo>
                      <a:pt x="1714" y="1063"/>
                    </a:lnTo>
                    <a:lnTo>
                      <a:pt x="1714" y="369"/>
                    </a:lnTo>
                    <a:moveTo>
                      <a:pt x="3956" y="329"/>
                    </a:moveTo>
                    <a:lnTo>
                      <a:pt x="3953" y="329"/>
                    </a:lnTo>
                    <a:lnTo>
                      <a:pt x="3953" y="329"/>
                    </a:lnTo>
                    <a:lnTo>
                      <a:pt x="3953" y="383"/>
                    </a:lnTo>
                    <a:lnTo>
                      <a:pt x="3956" y="383"/>
                    </a:lnTo>
                    <a:lnTo>
                      <a:pt x="3956" y="381"/>
                    </a:lnTo>
                    <a:lnTo>
                      <a:pt x="3956" y="381"/>
                    </a:lnTo>
                    <a:lnTo>
                      <a:pt x="3956" y="329"/>
                    </a:lnTo>
                    <a:moveTo>
                      <a:pt x="4608" y="232"/>
                    </a:moveTo>
                    <a:lnTo>
                      <a:pt x="4606" y="232"/>
                    </a:lnTo>
                    <a:lnTo>
                      <a:pt x="4606" y="234"/>
                    </a:lnTo>
                    <a:lnTo>
                      <a:pt x="4549" y="443"/>
                    </a:lnTo>
                    <a:lnTo>
                      <a:pt x="4552" y="443"/>
                    </a:lnTo>
                    <a:lnTo>
                      <a:pt x="4608" y="232"/>
                    </a:lnTo>
                    <a:moveTo>
                      <a:pt x="4757" y="0"/>
                    </a:moveTo>
                    <a:lnTo>
                      <a:pt x="4755" y="0"/>
                    </a:lnTo>
                    <a:lnTo>
                      <a:pt x="4755" y="2"/>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0" name="Freeform 72"/>
              <p:cNvSpPr>
                <a:spLocks noEditPoints="1"/>
              </p:cNvSpPr>
              <p:nvPr/>
            </p:nvSpPr>
            <p:spPr bwMode="auto">
              <a:xfrm>
                <a:off x="75" y="1729"/>
                <a:ext cx="6931" cy="1385"/>
              </a:xfrm>
              <a:custGeom>
                <a:avLst/>
                <a:gdLst>
                  <a:gd name="T0" fmla="*/ 3613 w 6931"/>
                  <a:gd name="T1" fmla="*/ 1248 h 1385"/>
                  <a:gd name="T2" fmla="*/ 5734 w 6931"/>
                  <a:gd name="T3" fmla="*/ 1207 h 1385"/>
                  <a:gd name="T4" fmla="*/ 5737 w 6931"/>
                  <a:gd name="T5" fmla="*/ 1257 h 1385"/>
                  <a:gd name="T6" fmla="*/ 1592 w 6931"/>
                  <a:gd name="T7" fmla="*/ 1132 h 1385"/>
                  <a:gd name="T8" fmla="*/ 5758 w 6931"/>
                  <a:gd name="T9" fmla="*/ 1127 h 1385"/>
                  <a:gd name="T10" fmla="*/ 5760 w 6931"/>
                  <a:gd name="T11" fmla="*/ 1181 h 1385"/>
                  <a:gd name="T12" fmla="*/ 6226 w 6931"/>
                  <a:gd name="T13" fmla="*/ 1127 h 1385"/>
                  <a:gd name="T14" fmla="*/ 6228 w 6931"/>
                  <a:gd name="T15" fmla="*/ 1141 h 1385"/>
                  <a:gd name="T16" fmla="*/ 1369 w 6931"/>
                  <a:gd name="T17" fmla="*/ 1106 h 1385"/>
                  <a:gd name="T18" fmla="*/ 2764 w 6931"/>
                  <a:gd name="T19" fmla="*/ 1061 h 1385"/>
                  <a:gd name="T20" fmla="*/ 2764 w 6931"/>
                  <a:gd name="T21" fmla="*/ 1172 h 1385"/>
                  <a:gd name="T22" fmla="*/ 5833 w 6931"/>
                  <a:gd name="T23" fmla="*/ 1039 h 1385"/>
                  <a:gd name="T24" fmla="*/ 5836 w 6931"/>
                  <a:gd name="T25" fmla="*/ 1039 h 1385"/>
                  <a:gd name="T26" fmla="*/ 2781 w 6931"/>
                  <a:gd name="T27" fmla="*/ 1044 h 1385"/>
                  <a:gd name="T28" fmla="*/ 2783 w 6931"/>
                  <a:gd name="T29" fmla="*/ 1011 h 1385"/>
                  <a:gd name="T30" fmla="*/ 3672 w 6931"/>
                  <a:gd name="T31" fmla="*/ 1162 h 1385"/>
                  <a:gd name="T32" fmla="*/ 3675 w 6931"/>
                  <a:gd name="T33" fmla="*/ 992 h 1385"/>
                  <a:gd name="T34" fmla="*/ 5852 w 6931"/>
                  <a:gd name="T35" fmla="*/ 1023 h 1385"/>
                  <a:gd name="T36" fmla="*/ 5855 w 6931"/>
                  <a:gd name="T37" fmla="*/ 990 h 1385"/>
                  <a:gd name="T38" fmla="*/ 6243 w 6931"/>
                  <a:gd name="T39" fmla="*/ 1110 h 1385"/>
                  <a:gd name="T40" fmla="*/ 6245 w 6931"/>
                  <a:gd name="T41" fmla="*/ 935 h 1385"/>
                  <a:gd name="T42" fmla="*/ 6292 w 6931"/>
                  <a:gd name="T43" fmla="*/ 878 h 1385"/>
                  <a:gd name="T44" fmla="*/ 6295 w 6931"/>
                  <a:gd name="T45" fmla="*/ 885 h 1385"/>
                  <a:gd name="T46" fmla="*/ 6299 w 6931"/>
                  <a:gd name="T47" fmla="*/ 850 h 1385"/>
                  <a:gd name="T48" fmla="*/ 6302 w 6931"/>
                  <a:gd name="T49" fmla="*/ 869 h 1385"/>
                  <a:gd name="T50" fmla="*/ 3003 w 6931"/>
                  <a:gd name="T51" fmla="*/ 762 h 1385"/>
                  <a:gd name="T52" fmla="*/ 913 w 6931"/>
                  <a:gd name="T53" fmla="*/ 753 h 1385"/>
                  <a:gd name="T54" fmla="*/ 913 w 6931"/>
                  <a:gd name="T55" fmla="*/ 760 h 1385"/>
                  <a:gd name="T56" fmla="*/ 5034 w 6931"/>
                  <a:gd name="T57" fmla="*/ 732 h 1385"/>
                  <a:gd name="T58" fmla="*/ 3043 w 6931"/>
                  <a:gd name="T59" fmla="*/ 656 h 1385"/>
                  <a:gd name="T60" fmla="*/ 3041 w 6931"/>
                  <a:gd name="T61" fmla="*/ 724 h 1385"/>
                  <a:gd name="T62" fmla="*/ 0 w 6931"/>
                  <a:gd name="T63" fmla="*/ 616 h 1385"/>
                  <a:gd name="T64" fmla="*/ 0 w 6931"/>
                  <a:gd name="T65" fmla="*/ 1385 h 1385"/>
                  <a:gd name="T66" fmla="*/ 5155 w 6931"/>
                  <a:gd name="T67" fmla="*/ 611 h 1385"/>
                  <a:gd name="T68" fmla="*/ 3188 w 6931"/>
                  <a:gd name="T69" fmla="*/ 580 h 1385"/>
                  <a:gd name="T70" fmla="*/ 3185 w 6931"/>
                  <a:gd name="T71" fmla="*/ 589 h 1385"/>
                  <a:gd name="T72" fmla="*/ 206 w 6931"/>
                  <a:gd name="T73" fmla="*/ 547 h 1385"/>
                  <a:gd name="T74" fmla="*/ 206 w 6931"/>
                  <a:gd name="T75" fmla="*/ 547 h 1385"/>
                  <a:gd name="T76" fmla="*/ 6928 w 6931"/>
                  <a:gd name="T77" fmla="*/ 1025 h 1385"/>
                  <a:gd name="T78" fmla="*/ 4098 w 6931"/>
                  <a:gd name="T79" fmla="*/ 502 h 1385"/>
                  <a:gd name="T80" fmla="*/ 4098 w 6931"/>
                  <a:gd name="T81" fmla="*/ 502 h 1385"/>
                  <a:gd name="T82" fmla="*/ 3202 w 6931"/>
                  <a:gd name="T83" fmla="*/ 502 h 1385"/>
                  <a:gd name="T84" fmla="*/ 3204 w 6931"/>
                  <a:gd name="T85" fmla="*/ 561 h 1385"/>
                  <a:gd name="T86" fmla="*/ 3939 w 6931"/>
                  <a:gd name="T87" fmla="*/ 452 h 1385"/>
                  <a:gd name="T88" fmla="*/ 3857 w 6931"/>
                  <a:gd name="T89" fmla="*/ 859 h 1385"/>
                  <a:gd name="T90" fmla="*/ 3942 w 6931"/>
                  <a:gd name="T91" fmla="*/ 452 h 1385"/>
                  <a:gd name="T92" fmla="*/ 3232 w 6931"/>
                  <a:gd name="T93" fmla="*/ 471 h 1385"/>
                  <a:gd name="T94" fmla="*/ 3232 w 6931"/>
                  <a:gd name="T95" fmla="*/ 433 h 1385"/>
                  <a:gd name="T96" fmla="*/ 3944 w 6931"/>
                  <a:gd name="T97" fmla="*/ 391 h 1385"/>
                  <a:gd name="T98" fmla="*/ 3947 w 6931"/>
                  <a:gd name="T99" fmla="*/ 445 h 1385"/>
                  <a:gd name="T100" fmla="*/ 1712 w 6931"/>
                  <a:gd name="T101" fmla="*/ 369 h 1385"/>
                  <a:gd name="T102" fmla="*/ 3956 w 6931"/>
                  <a:gd name="T103" fmla="*/ 327 h 1385"/>
                  <a:gd name="T104" fmla="*/ 3954 w 6931"/>
                  <a:gd name="T105" fmla="*/ 381 h 1385"/>
                  <a:gd name="T106" fmla="*/ 4609 w 6931"/>
                  <a:gd name="T107" fmla="*/ 230 h 1385"/>
                  <a:gd name="T108" fmla="*/ 4550 w 6931"/>
                  <a:gd name="T109" fmla="*/ 440 h 1385"/>
                  <a:gd name="T110" fmla="*/ 4755 w 6931"/>
                  <a:gd name="T111" fmla="*/ 0 h 1385"/>
                  <a:gd name="T112" fmla="*/ 4758 w 6931"/>
                  <a:gd name="T113" fmla="*/ 12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1" h="1385">
                    <a:moveTo>
                      <a:pt x="3616" y="1222"/>
                    </a:moveTo>
                    <a:lnTo>
                      <a:pt x="3613" y="1222"/>
                    </a:lnTo>
                    <a:lnTo>
                      <a:pt x="3613" y="1224"/>
                    </a:lnTo>
                    <a:lnTo>
                      <a:pt x="3613" y="1248"/>
                    </a:lnTo>
                    <a:lnTo>
                      <a:pt x="3616" y="1248"/>
                    </a:lnTo>
                    <a:lnTo>
                      <a:pt x="3616" y="1222"/>
                    </a:lnTo>
                    <a:close/>
                    <a:moveTo>
                      <a:pt x="5737" y="1207"/>
                    </a:moveTo>
                    <a:lnTo>
                      <a:pt x="5734" y="1207"/>
                    </a:lnTo>
                    <a:lnTo>
                      <a:pt x="5734" y="1207"/>
                    </a:lnTo>
                    <a:lnTo>
                      <a:pt x="5734" y="1210"/>
                    </a:lnTo>
                    <a:lnTo>
                      <a:pt x="5734" y="1257"/>
                    </a:lnTo>
                    <a:lnTo>
                      <a:pt x="5737" y="1257"/>
                    </a:lnTo>
                    <a:lnTo>
                      <a:pt x="5737" y="1207"/>
                    </a:lnTo>
                    <a:close/>
                    <a:moveTo>
                      <a:pt x="1594" y="1132"/>
                    </a:moveTo>
                    <a:lnTo>
                      <a:pt x="1592" y="1132"/>
                    </a:lnTo>
                    <a:lnTo>
                      <a:pt x="1592" y="1132"/>
                    </a:lnTo>
                    <a:lnTo>
                      <a:pt x="1594" y="1132"/>
                    </a:lnTo>
                    <a:lnTo>
                      <a:pt x="1594" y="1132"/>
                    </a:lnTo>
                    <a:close/>
                    <a:moveTo>
                      <a:pt x="5760" y="1127"/>
                    </a:moveTo>
                    <a:lnTo>
                      <a:pt x="5758" y="1127"/>
                    </a:lnTo>
                    <a:lnTo>
                      <a:pt x="5758" y="1129"/>
                    </a:lnTo>
                    <a:lnTo>
                      <a:pt x="5758" y="1184"/>
                    </a:lnTo>
                    <a:lnTo>
                      <a:pt x="5760" y="1184"/>
                    </a:lnTo>
                    <a:lnTo>
                      <a:pt x="5760" y="1181"/>
                    </a:lnTo>
                    <a:lnTo>
                      <a:pt x="5760" y="1181"/>
                    </a:lnTo>
                    <a:lnTo>
                      <a:pt x="5760" y="1127"/>
                    </a:lnTo>
                    <a:close/>
                    <a:moveTo>
                      <a:pt x="6228" y="1127"/>
                    </a:moveTo>
                    <a:lnTo>
                      <a:pt x="6226" y="1127"/>
                    </a:lnTo>
                    <a:lnTo>
                      <a:pt x="6226" y="1127"/>
                    </a:lnTo>
                    <a:lnTo>
                      <a:pt x="6226" y="1129"/>
                    </a:lnTo>
                    <a:lnTo>
                      <a:pt x="6226" y="1141"/>
                    </a:lnTo>
                    <a:lnTo>
                      <a:pt x="6228" y="1141"/>
                    </a:lnTo>
                    <a:lnTo>
                      <a:pt x="6228" y="1127"/>
                    </a:lnTo>
                    <a:close/>
                    <a:moveTo>
                      <a:pt x="1369" y="1082"/>
                    </a:moveTo>
                    <a:lnTo>
                      <a:pt x="1369" y="1082"/>
                    </a:lnTo>
                    <a:lnTo>
                      <a:pt x="1369" y="1106"/>
                    </a:lnTo>
                    <a:lnTo>
                      <a:pt x="1369" y="1106"/>
                    </a:lnTo>
                    <a:lnTo>
                      <a:pt x="1369" y="1082"/>
                    </a:lnTo>
                    <a:close/>
                    <a:moveTo>
                      <a:pt x="2764" y="1061"/>
                    </a:moveTo>
                    <a:lnTo>
                      <a:pt x="2764" y="1061"/>
                    </a:lnTo>
                    <a:lnTo>
                      <a:pt x="2762" y="1061"/>
                    </a:lnTo>
                    <a:lnTo>
                      <a:pt x="2762" y="1063"/>
                    </a:lnTo>
                    <a:lnTo>
                      <a:pt x="2762" y="1172"/>
                    </a:lnTo>
                    <a:lnTo>
                      <a:pt x="2764" y="1172"/>
                    </a:lnTo>
                    <a:lnTo>
                      <a:pt x="2764" y="1061"/>
                    </a:lnTo>
                    <a:close/>
                    <a:moveTo>
                      <a:pt x="5836" y="1039"/>
                    </a:moveTo>
                    <a:lnTo>
                      <a:pt x="5836" y="1039"/>
                    </a:lnTo>
                    <a:lnTo>
                      <a:pt x="5833" y="1039"/>
                    </a:lnTo>
                    <a:lnTo>
                      <a:pt x="5833" y="1042"/>
                    </a:lnTo>
                    <a:lnTo>
                      <a:pt x="5833" y="1061"/>
                    </a:lnTo>
                    <a:lnTo>
                      <a:pt x="5836" y="1061"/>
                    </a:lnTo>
                    <a:lnTo>
                      <a:pt x="5836" y="1039"/>
                    </a:lnTo>
                    <a:close/>
                    <a:moveTo>
                      <a:pt x="2783" y="1011"/>
                    </a:moveTo>
                    <a:lnTo>
                      <a:pt x="2781" y="1011"/>
                    </a:lnTo>
                    <a:lnTo>
                      <a:pt x="2781" y="1013"/>
                    </a:lnTo>
                    <a:lnTo>
                      <a:pt x="2781" y="1044"/>
                    </a:lnTo>
                    <a:lnTo>
                      <a:pt x="2781" y="1044"/>
                    </a:lnTo>
                    <a:lnTo>
                      <a:pt x="2781" y="1042"/>
                    </a:lnTo>
                    <a:lnTo>
                      <a:pt x="2783" y="1042"/>
                    </a:lnTo>
                    <a:lnTo>
                      <a:pt x="2783" y="1011"/>
                    </a:lnTo>
                    <a:close/>
                    <a:moveTo>
                      <a:pt x="3675" y="992"/>
                    </a:moveTo>
                    <a:lnTo>
                      <a:pt x="3672" y="992"/>
                    </a:lnTo>
                    <a:lnTo>
                      <a:pt x="3672" y="994"/>
                    </a:lnTo>
                    <a:lnTo>
                      <a:pt x="3672" y="1162"/>
                    </a:lnTo>
                    <a:lnTo>
                      <a:pt x="3675" y="1162"/>
                    </a:lnTo>
                    <a:lnTo>
                      <a:pt x="3675" y="1160"/>
                    </a:lnTo>
                    <a:lnTo>
                      <a:pt x="3675" y="1160"/>
                    </a:lnTo>
                    <a:lnTo>
                      <a:pt x="3675" y="992"/>
                    </a:lnTo>
                    <a:close/>
                    <a:moveTo>
                      <a:pt x="5855" y="990"/>
                    </a:moveTo>
                    <a:lnTo>
                      <a:pt x="5852" y="990"/>
                    </a:lnTo>
                    <a:lnTo>
                      <a:pt x="5852" y="990"/>
                    </a:lnTo>
                    <a:lnTo>
                      <a:pt x="5852" y="1023"/>
                    </a:lnTo>
                    <a:lnTo>
                      <a:pt x="5852" y="1023"/>
                    </a:lnTo>
                    <a:lnTo>
                      <a:pt x="5852" y="1023"/>
                    </a:lnTo>
                    <a:lnTo>
                      <a:pt x="5855" y="1023"/>
                    </a:lnTo>
                    <a:lnTo>
                      <a:pt x="5855" y="990"/>
                    </a:lnTo>
                    <a:close/>
                    <a:moveTo>
                      <a:pt x="6245" y="935"/>
                    </a:moveTo>
                    <a:lnTo>
                      <a:pt x="6243" y="935"/>
                    </a:lnTo>
                    <a:lnTo>
                      <a:pt x="6243" y="938"/>
                    </a:lnTo>
                    <a:lnTo>
                      <a:pt x="6243" y="1110"/>
                    </a:lnTo>
                    <a:lnTo>
                      <a:pt x="6245" y="1110"/>
                    </a:lnTo>
                    <a:lnTo>
                      <a:pt x="6245" y="1108"/>
                    </a:lnTo>
                    <a:lnTo>
                      <a:pt x="6245" y="1108"/>
                    </a:lnTo>
                    <a:lnTo>
                      <a:pt x="6245" y="935"/>
                    </a:lnTo>
                    <a:close/>
                    <a:moveTo>
                      <a:pt x="6295" y="878"/>
                    </a:moveTo>
                    <a:lnTo>
                      <a:pt x="6292" y="878"/>
                    </a:lnTo>
                    <a:lnTo>
                      <a:pt x="6292" y="878"/>
                    </a:lnTo>
                    <a:lnTo>
                      <a:pt x="6292" y="878"/>
                    </a:lnTo>
                    <a:lnTo>
                      <a:pt x="6292" y="885"/>
                    </a:lnTo>
                    <a:lnTo>
                      <a:pt x="6292" y="885"/>
                    </a:lnTo>
                    <a:lnTo>
                      <a:pt x="6292" y="885"/>
                    </a:lnTo>
                    <a:lnTo>
                      <a:pt x="6295" y="885"/>
                    </a:lnTo>
                    <a:lnTo>
                      <a:pt x="6295" y="878"/>
                    </a:lnTo>
                    <a:close/>
                    <a:moveTo>
                      <a:pt x="6302" y="850"/>
                    </a:moveTo>
                    <a:lnTo>
                      <a:pt x="6299" y="850"/>
                    </a:lnTo>
                    <a:lnTo>
                      <a:pt x="6299" y="850"/>
                    </a:lnTo>
                    <a:lnTo>
                      <a:pt x="6299" y="869"/>
                    </a:lnTo>
                    <a:lnTo>
                      <a:pt x="6302" y="869"/>
                    </a:lnTo>
                    <a:lnTo>
                      <a:pt x="6302" y="869"/>
                    </a:lnTo>
                    <a:lnTo>
                      <a:pt x="6302" y="869"/>
                    </a:lnTo>
                    <a:lnTo>
                      <a:pt x="6302" y="850"/>
                    </a:lnTo>
                    <a:close/>
                    <a:moveTo>
                      <a:pt x="3006" y="762"/>
                    </a:moveTo>
                    <a:lnTo>
                      <a:pt x="3003" y="762"/>
                    </a:lnTo>
                    <a:lnTo>
                      <a:pt x="3003" y="762"/>
                    </a:lnTo>
                    <a:lnTo>
                      <a:pt x="3003" y="911"/>
                    </a:lnTo>
                    <a:lnTo>
                      <a:pt x="3006" y="911"/>
                    </a:lnTo>
                    <a:lnTo>
                      <a:pt x="3006" y="762"/>
                    </a:lnTo>
                    <a:close/>
                    <a:moveTo>
                      <a:pt x="913" y="753"/>
                    </a:moveTo>
                    <a:lnTo>
                      <a:pt x="911" y="753"/>
                    </a:lnTo>
                    <a:lnTo>
                      <a:pt x="911" y="753"/>
                    </a:lnTo>
                    <a:lnTo>
                      <a:pt x="911" y="760"/>
                    </a:lnTo>
                    <a:lnTo>
                      <a:pt x="913" y="760"/>
                    </a:lnTo>
                    <a:lnTo>
                      <a:pt x="913" y="753"/>
                    </a:lnTo>
                    <a:close/>
                    <a:moveTo>
                      <a:pt x="5037" y="732"/>
                    </a:moveTo>
                    <a:lnTo>
                      <a:pt x="5034" y="732"/>
                    </a:lnTo>
                    <a:lnTo>
                      <a:pt x="5034" y="732"/>
                    </a:lnTo>
                    <a:lnTo>
                      <a:pt x="5034" y="904"/>
                    </a:lnTo>
                    <a:lnTo>
                      <a:pt x="5037" y="904"/>
                    </a:lnTo>
                    <a:lnTo>
                      <a:pt x="5037" y="732"/>
                    </a:lnTo>
                    <a:close/>
                    <a:moveTo>
                      <a:pt x="3043" y="656"/>
                    </a:moveTo>
                    <a:lnTo>
                      <a:pt x="3041" y="656"/>
                    </a:lnTo>
                    <a:lnTo>
                      <a:pt x="3041" y="658"/>
                    </a:lnTo>
                    <a:lnTo>
                      <a:pt x="3041" y="724"/>
                    </a:lnTo>
                    <a:lnTo>
                      <a:pt x="3041" y="724"/>
                    </a:lnTo>
                    <a:lnTo>
                      <a:pt x="3041" y="722"/>
                    </a:lnTo>
                    <a:lnTo>
                      <a:pt x="3043" y="722"/>
                    </a:lnTo>
                    <a:lnTo>
                      <a:pt x="3043" y="656"/>
                    </a:lnTo>
                    <a:close/>
                    <a:moveTo>
                      <a:pt x="0" y="616"/>
                    </a:moveTo>
                    <a:lnTo>
                      <a:pt x="0" y="616"/>
                    </a:lnTo>
                    <a:lnTo>
                      <a:pt x="0" y="618"/>
                    </a:lnTo>
                    <a:lnTo>
                      <a:pt x="0" y="1385"/>
                    </a:lnTo>
                    <a:lnTo>
                      <a:pt x="0" y="1385"/>
                    </a:lnTo>
                    <a:lnTo>
                      <a:pt x="0" y="616"/>
                    </a:lnTo>
                    <a:close/>
                    <a:moveTo>
                      <a:pt x="5157" y="608"/>
                    </a:moveTo>
                    <a:lnTo>
                      <a:pt x="5155" y="608"/>
                    </a:lnTo>
                    <a:lnTo>
                      <a:pt x="5155" y="611"/>
                    </a:lnTo>
                    <a:lnTo>
                      <a:pt x="5155" y="663"/>
                    </a:lnTo>
                    <a:lnTo>
                      <a:pt x="5157" y="663"/>
                    </a:lnTo>
                    <a:lnTo>
                      <a:pt x="5157" y="608"/>
                    </a:lnTo>
                    <a:close/>
                    <a:moveTo>
                      <a:pt x="3188" y="580"/>
                    </a:moveTo>
                    <a:lnTo>
                      <a:pt x="3185" y="580"/>
                    </a:lnTo>
                    <a:lnTo>
                      <a:pt x="3185" y="580"/>
                    </a:lnTo>
                    <a:lnTo>
                      <a:pt x="3185" y="582"/>
                    </a:lnTo>
                    <a:lnTo>
                      <a:pt x="3185" y="589"/>
                    </a:lnTo>
                    <a:lnTo>
                      <a:pt x="3188" y="589"/>
                    </a:lnTo>
                    <a:lnTo>
                      <a:pt x="3188" y="580"/>
                    </a:lnTo>
                    <a:close/>
                    <a:moveTo>
                      <a:pt x="206" y="547"/>
                    </a:moveTo>
                    <a:lnTo>
                      <a:pt x="206" y="547"/>
                    </a:lnTo>
                    <a:lnTo>
                      <a:pt x="206" y="547"/>
                    </a:lnTo>
                    <a:lnTo>
                      <a:pt x="206" y="549"/>
                    </a:lnTo>
                    <a:lnTo>
                      <a:pt x="206" y="549"/>
                    </a:lnTo>
                    <a:lnTo>
                      <a:pt x="206" y="547"/>
                    </a:lnTo>
                    <a:close/>
                    <a:moveTo>
                      <a:pt x="6931" y="507"/>
                    </a:moveTo>
                    <a:lnTo>
                      <a:pt x="6928" y="507"/>
                    </a:lnTo>
                    <a:lnTo>
                      <a:pt x="6928" y="509"/>
                    </a:lnTo>
                    <a:lnTo>
                      <a:pt x="6928" y="1025"/>
                    </a:lnTo>
                    <a:lnTo>
                      <a:pt x="6931" y="1025"/>
                    </a:lnTo>
                    <a:lnTo>
                      <a:pt x="6931" y="507"/>
                    </a:lnTo>
                    <a:close/>
                    <a:moveTo>
                      <a:pt x="4098" y="502"/>
                    </a:moveTo>
                    <a:lnTo>
                      <a:pt x="4098" y="502"/>
                    </a:lnTo>
                    <a:lnTo>
                      <a:pt x="4096" y="504"/>
                    </a:lnTo>
                    <a:lnTo>
                      <a:pt x="4084" y="518"/>
                    </a:lnTo>
                    <a:lnTo>
                      <a:pt x="4086" y="521"/>
                    </a:lnTo>
                    <a:lnTo>
                      <a:pt x="4098" y="502"/>
                    </a:lnTo>
                    <a:close/>
                    <a:moveTo>
                      <a:pt x="3204" y="500"/>
                    </a:moveTo>
                    <a:lnTo>
                      <a:pt x="3204" y="500"/>
                    </a:lnTo>
                    <a:lnTo>
                      <a:pt x="3202" y="500"/>
                    </a:lnTo>
                    <a:lnTo>
                      <a:pt x="3202" y="502"/>
                    </a:lnTo>
                    <a:lnTo>
                      <a:pt x="3202" y="563"/>
                    </a:lnTo>
                    <a:lnTo>
                      <a:pt x="3204" y="563"/>
                    </a:lnTo>
                    <a:lnTo>
                      <a:pt x="3204" y="561"/>
                    </a:lnTo>
                    <a:lnTo>
                      <a:pt x="3204" y="561"/>
                    </a:lnTo>
                    <a:lnTo>
                      <a:pt x="3204" y="500"/>
                    </a:lnTo>
                    <a:close/>
                    <a:moveTo>
                      <a:pt x="3942" y="452"/>
                    </a:moveTo>
                    <a:lnTo>
                      <a:pt x="3939" y="452"/>
                    </a:lnTo>
                    <a:lnTo>
                      <a:pt x="3939" y="452"/>
                    </a:lnTo>
                    <a:lnTo>
                      <a:pt x="3939" y="455"/>
                    </a:lnTo>
                    <a:lnTo>
                      <a:pt x="3939" y="490"/>
                    </a:lnTo>
                    <a:lnTo>
                      <a:pt x="3857" y="642"/>
                    </a:lnTo>
                    <a:lnTo>
                      <a:pt x="3857" y="859"/>
                    </a:lnTo>
                    <a:lnTo>
                      <a:pt x="3859" y="859"/>
                    </a:lnTo>
                    <a:lnTo>
                      <a:pt x="3859" y="639"/>
                    </a:lnTo>
                    <a:lnTo>
                      <a:pt x="3942" y="488"/>
                    </a:lnTo>
                    <a:lnTo>
                      <a:pt x="3942" y="452"/>
                    </a:lnTo>
                    <a:close/>
                    <a:moveTo>
                      <a:pt x="3232" y="433"/>
                    </a:moveTo>
                    <a:lnTo>
                      <a:pt x="3232" y="433"/>
                    </a:lnTo>
                    <a:lnTo>
                      <a:pt x="3232" y="436"/>
                    </a:lnTo>
                    <a:lnTo>
                      <a:pt x="3232" y="471"/>
                    </a:lnTo>
                    <a:lnTo>
                      <a:pt x="3232" y="471"/>
                    </a:lnTo>
                    <a:lnTo>
                      <a:pt x="3232" y="471"/>
                    </a:lnTo>
                    <a:lnTo>
                      <a:pt x="3232" y="471"/>
                    </a:lnTo>
                    <a:lnTo>
                      <a:pt x="3232" y="433"/>
                    </a:lnTo>
                    <a:close/>
                    <a:moveTo>
                      <a:pt x="3947" y="391"/>
                    </a:moveTo>
                    <a:lnTo>
                      <a:pt x="3947" y="391"/>
                    </a:lnTo>
                    <a:lnTo>
                      <a:pt x="3944" y="391"/>
                    </a:lnTo>
                    <a:lnTo>
                      <a:pt x="3944" y="391"/>
                    </a:lnTo>
                    <a:lnTo>
                      <a:pt x="3944" y="447"/>
                    </a:lnTo>
                    <a:lnTo>
                      <a:pt x="3947" y="447"/>
                    </a:lnTo>
                    <a:lnTo>
                      <a:pt x="3947" y="445"/>
                    </a:lnTo>
                    <a:lnTo>
                      <a:pt x="3947" y="445"/>
                    </a:lnTo>
                    <a:lnTo>
                      <a:pt x="3947" y="391"/>
                    </a:lnTo>
                    <a:close/>
                    <a:moveTo>
                      <a:pt x="1714" y="367"/>
                    </a:moveTo>
                    <a:lnTo>
                      <a:pt x="1712" y="367"/>
                    </a:lnTo>
                    <a:lnTo>
                      <a:pt x="1712" y="369"/>
                    </a:lnTo>
                    <a:lnTo>
                      <a:pt x="1712" y="1063"/>
                    </a:lnTo>
                    <a:lnTo>
                      <a:pt x="1714" y="1063"/>
                    </a:lnTo>
                    <a:lnTo>
                      <a:pt x="1714" y="367"/>
                    </a:lnTo>
                    <a:close/>
                    <a:moveTo>
                      <a:pt x="3956" y="327"/>
                    </a:moveTo>
                    <a:lnTo>
                      <a:pt x="3954" y="327"/>
                    </a:lnTo>
                    <a:lnTo>
                      <a:pt x="3954" y="329"/>
                    </a:lnTo>
                    <a:lnTo>
                      <a:pt x="3954" y="381"/>
                    </a:lnTo>
                    <a:lnTo>
                      <a:pt x="3954" y="381"/>
                    </a:lnTo>
                    <a:lnTo>
                      <a:pt x="3954" y="381"/>
                    </a:lnTo>
                    <a:lnTo>
                      <a:pt x="3956" y="381"/>
                    </a:lnTo>
                    <a:lnTo>
                      <a:pt x="3956" y="327"/>
                    </a:lnTo>
                    <a:close/>
                    <a:moveTo>
                      <a:pt x="4609" y="230"/>
                    </a:moveTo>
                    <a:lnTo>
                      <a:pt x="4606" y="230"/>
                    </a:lnTo>
                    <a:lnTo>
                      <a:pt x="4606" y="232"/>
                    </a:lnTo>
                    <a:lnTo>
                      <a:pt x="4550" y="443"/>
                    </a:lnTo>
                    <a:lnTo>
                      <a:pt x="4550" y="440"/>
                    </a:lnTo>
                    <a:lnTo>
                      <a:pt x="4609" y="230"/>
                    </a:lnTo>
                    <a:close/>
                    <a:moveTo>
                      <a:pt x="4758" y="0"/>
                    </a:moveTo>
                    <a:lnTo>
                      <a:pt x="4755" y="0"/>
                    </a:lnTo>
                    <a:lnTo>
                      <a:pt x="4755" y="0"/>
                    </a:lnTo>
                    <a:lnTo>
                      <a:pt x="4755" y="123"/>
                    </a:lnTo>
                    <a:lnTo>
                      <a:pt x="4758" y="123"/>
                    </a:lnTo>
                    <a:lnTo>
                      <a:pt x="4758" y="121"/>
                    </a:lnTo>
                    <a:lnTo>
                      <a:pt x="4758" y="121"/>
                    </a:lnTo>
                    <a:lnTo>
                      <a:pt x="475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1" name="Freeform 73"/>
              <p:cNvSpPr>
                <a:spLocks noEditPoints="1"/>
              </p:cNvSpPr>
              <p:nvPr/>
            </p:nvSpPr>
            <p:spPr bwMode="auto">
              <a:xfrm>
                <a:off x="75" y="1729"/>
                <a:ext cx="6931" cy="1385"/>
              </a:xfrm>
              <a:custGeom>
                <a:avLst/>
                <a:gdLst>
                  <a:gd name="T0" fmla="*/ 3613 w 6931"/>
                  <a:gd name="T1" fmla="*/ 1248 h 1385"/>
                  <a:gd name="T2" fmla="*/ 5734 w 6931"/>
                  <a:gd name="T3" fmla="*/ 1207 h 1385"/>
                  <a:gd name="T4" fmla="*/ 5737 w 6931"/>
                  <a:gd name="T5" fmla="*/ 1257 h 1385"/>
                  <a:gd name="T6" fmla="*/ 1592 w 6931"/>
                  <a:gd name="T7" fmla="*/ 1132 h 1385"/>
                  <a:gd name="T8" fmla="*/ 5758 w 6931"/>
                  <a:gd name="T9" fmla="*/ 1127 h 1385"/>
                  <a:gd name="T10" fmla="*/ 5760 w 6931"/>
                  <a:gd name="T11" fmla="*/ 1181 h 1385"/>
                  <a:gd name="T12" fmla="*/ 6226 w 6931"/>
                  <a:gd name="T13" fmla="*/ 1127 h 1385"/>
                  <a:gd name="T14" fmla="*/ 6228 w 6931"/>
                  <a:gd name="T15" fmla="*/ 1141 h 1385"/>
                  <a:gd name="T16" fmla="*/ 1369 w 6931"/>
                  <a:gd name="T17" fmla="*/ 1106 h 1385"/>
                  <a:gd name="T18" fmla="*/ 2764 w 6931"/>
                  <a:gd name="T19" fmla="*/ 1061 h 1385"/>
                  <a:gd name="T20" fmla="*/ 2764 w 6931"/>
                  <a:gd name="T21" fmla="*/ 1172 h 1385"/>
                  <a:gd name="T22" fmla="*/ 5833 w 6931"/>
                  <a:gd name="T23" fmla="*/ 1039 h 1385"/>
                  <a:gd name="T24" fmla="*/ 5836 w 6931"/>
                  <a:gd name="T25" fmla="*/ 1039 h 1385"/>
                  <a:gd name="T26" fmla="*/ 2781 w 6931"/>
                  <a:gd name="T27" fmla="*/ 1044 h 1385"/>
                  <a:gd name="T28" fmla="*/ 2783 w 6931"/>
                  <a:gd name="T29" fmla="*/ 1011 h 1385"/>
                  <a:gd name="T30" fmla="*/ 3672 w 6931"/>
                  <a:gd name="T31" fmla="*/ 1162 h 1385"/>
                  <a:gd name="T32" fmla="*/ 3675 w 6931"/>
                  <a:gd name="T33" fmla="*/ 992 h 1385"/>
                  <a:gd name="T34" fmla="*/ 5852 w 6931"/>
                  <a:gd name="T35" fmla="*/ 1023 h 1385"/>
                  <a:gd name="T36" fmla="*/ 5855 w 6931"/>
                  <a:gd name="T37" fmla="*/ 990 h 1385"/>
                  <a:gd name="T38" fmla="*/ 6243 w 6931"/>
                  <a:gd name="T39" fmla="*/ 1110 h 1385"/>
                  <a:gd name="T40" fmla="*/ 6245 w 6931"/>
                  <a:gd name="T41" fmla="*/ 935 h 1385"/>
                  <a:gd name="T42" fmla="*/ 6292 w 6931"/>
                  <a:gd name="T43" fmla="*/ 878 h 1385"/>
                  <a:gd name="T44" fmla="*/ 6295 w 6931"/>
                  <a:gd name="T45" fmla="*/ 885 h 1385"/>
                  <a:gd name="T46" fmla="*/ 6299 w 6931"/>
                  <a:gd name="T47" fmla="*/ 850 h 1385"/>
                  <a:gd name="T48" fmla="*/ 6302 w 6931"/>
                  <a:gd name="T49" fmla="*/ 869 h 1385"/>
                  <a:gd name="T50" fmla="*/ 3003 w 6931"/>
                  <a:gd name="T51" fmla="*/ 762 h 1385"/>
                  <a:gd name="T52" fmla="*/ 913 w 6931"/>
                  <a:gd name="T53" fmla="*/ 753 h 1385"/>
                  <a:gd name="T54" fmla="*/ 913 w 6931"/>
                  <a:gd name="T55" fmla="*/ 760 h 1385"/>
                  <a:gd name="T56" fmla="*/ 5034 w 6931"/>
                  <a:gd name="T57" fmla="*/ 732 h 1385"/>
                  <a:gd name="T58" fmla="*/ 3043 w 6931"/>
                  <a:gd name="T59" fmla="*/ 656 h 1385"/>
                  <a:gd name="T60" fmla="*/ 3041 w 6931"/>
                  <a:gd name="T61" fmla="*/ 724 h 1385"/>
                  <a:gd name="T62" fmla="*/ 0 w 6931"/>
                  <a:gd name="T63" fmla="*/ 616 h 1385"/>
                  <a:gd name="T64" fmla="*/ 0 w 6931"/>
                  <a:gd name="T65" fmla="*/ 1385 h 1385"/>
                  <a:gd name="T66" fmla="*/ 5155 w 6931"/>
                  <a:gd name="T67" fmla="*/ 611 h 1385"/>
                  <a:gd name="T68" fmla="*/ 3188 w 6931"/>
                  <a:gd name="T69" fmla="*/ 580 h 1385"/>
                  <a:gd name="T70" fmla="*/ 3185 w 6931"/>
                  <a:gd name="T71" fmla="*/ 589 h 1385"/>
                  <a:gd name="T72" fmla="*/ 206 w 6931"/>
                  <a:gd name="T73" fmla="*/ 547 h 1385"/>
                  <a:gd name="T74" fmla="*/ 206 w 6931"/>
                  <a:gd name="T75" fmla="*/ 547 h 1385"/>
                  <a:gd name="T76" fmla="*/ 6928 w 6931"/>
                  <a:gd name="T77" fmla="*/ 1025 h 1385"/>
                  <a:gd name="T78" fmla="*/ 4098 w 6931"/>
                  <a:gd name="T79" fmla="*/ 502 h 1385"/>
                  <a:gd name="T80" fmla="*/ 4098 w 6931"/>
                  <a:gd name="T81" fmla="*/ 502 h 1385"/>
                  <a:gd name="T82" fmla="*/ 3202 w 6931"/>
                  <a:gd name="T83" fmla="*/ 502 h 1385"/>
                  <a:gd name="T84" fmla="*/ 3204 w 6931"/>
                  <a:gd name="T85" fmla="*/ 561 h 1385"/>
                  <a:gd name="T86" fmla="*/ 3939 w 6931"/>
                  <a:gd name="T87" fmla="*/ 452 h 1385"/>
                  <a:gd name="T88" fmla="*/ 3857 w 6931"/>
                  <a:gd name="T89" fmla="*/ 859 h 1385"/>
                  <a:gd name="T90" fmla="*/ 3942 w 6931"/>
                  <a:gd name="T91" fmla="*/ 452 h 1385"/>
                  <a:gd name="T92" fmla="*/ 3232 w 6931"/>
                  <a:gd name="T93" fmla="*/ 471 h 1385"/>
                  <a:gd name="T94" fmla="*/ 3232 w 6931"/>
                  <a:gd name="T95" fmla="*/ 433 h 1385"/>
                  <a:gd name="T96" fmla="*/ 3944 w 6931"/>
                  <a:gd name="T97" fmla="*/ 391 h 1385"/>
                  <a:gd name="T98" fmla="*/ 3947 w 6931"/>
                  <a:gd name="T99" fmla="*/ 445 h 1385"/>
                  <a:gd name="T100" fmla="*/ 1712 w 6931"/>
                  <a:gd name="T101" fmla="*/ 369 h 1385"/>
                  <a:gd name="T102" fmla="*/ 3956 w 6931"/>
                  <a:gd name="T103" fmla="*/ 327 h 1385"/>
                  <a:gd name="T104" fmla="*/ 3954 w 6931"/>
                  <a:gd name="T105" fmla="*/ 381 h 1385"/>
                  <a:gd name="T106" fmla="*/ 4609 w 6931"/>
                  <a:gd name="T107" fmla="*/ 230 h 1385"/>
                  <a:gd name="T108" fmla="*/ 4550 w 6931"/>
                  <a:gd name="T109" fmla="*/ 440 h 1385"/>
                  <a:gd name="T110" fmla="*/ 4755 w 6931"/>
                  <a:gd name="T111" fmla="*/ 0 h 1385"/>
                  <a:gd name="T112" fmla="*/ 4758 w 6931"/>
                  <a:gd name="T113" fmla="*/ 121 h 1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31" h="1385">
                    <a:moveTo>
                      <a:pt x="3616" y="1222"/>
                    </a:moveTo>
                    <a:lnTo>
                      <a:pt x="3613" y="1222"/>
                    </a:lnTo>
                    <a:lnTo>
                      <a:pt x="3613" y="1224"/>
                    </a:lnTo>
                    <a:lnTo>
                      <a:pt x="3613" y="1248"/>
                    </a:lnTo>
                    <a:lnTo>
                      <a:pt x="3616" y="1248"/>
                    </a:lnTo>
                    <a:lnTo>
                      <a:pt x="3616" y="1222"/>
                    </a:lnTo>
                    <a:moveTo>
                      <a:pt x="5737" y="1207"/>
                    </a:moveTo>
                    <a:lnTo>
                      <a:pt x="5734" y="1207"/>
                    </a:lnTo>
                    <a:lnTo>
                      <a:pt x="5734" y="1207"/>
                    </a:lnTo>
                    <a:lnTo>
                      <a:pt x="5734" y="1210"/>
                    </a:lnTo>
                    <a:lnTo>
                      <a:pt x="5734" y="1257"/>
                    </a:lnTo>
                    <a:lnTo>
                      <a:pt x="5737" y="1257"/>
                    </a:lnTo>
                    <a:lnTo>
                      <a:pt x="5737" y="1207"/>
                    </a:lnTo>
                    <a:moveTo>
                      <a:pt x="1594" y="1132"/>
                    </a:moveTo>
                    <a:lnTo>
                      <a:pt x="1592" y="1132"/>
                    </a:lnTo>
                    <a:lnTo>
                      <a:pt x="1592" y="1132"/>
                    </a:lnTo>
                    <a:lnTo>
                      <a:pt x="1594" y="1132"/>
                    </a:lnTo>
                    <a:lnTo>
                      <a:pt x="1594" y="1132"/>
                    </a:lnTo>
                    <a:moveTo>
                      <a:pt x="5760" y="1127"/>
                    </a:moveTo>
                    <a:lnTo>
                      <a:pt x="5758" y="1127"/>
                    </a:lnTo>
                    <a:lnTo>
                      <a:pt x="5758" y="1129"/>
                    </a:lnTo>
                    <a:lnTo>
                      <a:pt x="5758" y="1184"/>
                    </a:lnTo>
                    <a:lnTo>
                      <a:pt x="5760" y="1184"/>
                    </a:lnTo>
                    <a:lnTo>
                      <a:pt x="5760" y="1181"/>
                    </a:lnTo>
                    <a:lnTo>
                      <a:pt x="5760" y="1181"/>
                    </a:lnTo>
                    <a:lnTo>
                      <a:pt x="5760" y="1127"/>
                    </a:lnTo>
                    <a:moveTo>
                      <a:pt x="6228" y="1127"/>
                    </a:moveTo>
                    <a:lnTo>
                      <a:pt x="6226" y="1127"/>
                    </a:lnTo>
                    <a:lnTo>
                      <a:pt x="6226" y="1127"/>
                    </a:lnTo>
                    <a:lnTo>
                      <a:pt x="6226" y="1129"/>
                    </a:lnTo>
                    <a:lnTo>
                      <a:pt x="6226" y="1141"/>
                    </a:lnTo>
                    <a:lnTo>
                      <a:pt x="6228" y="1141"/>
                    </a:lnTo>
                    <a:lnTo>
                      <a:pt x="6228" y="1127"/>
                    </a:lnTo>
                    <a:moveTo>
                      <a:pt x="1369" y="1082"/>
                    </a:moveTo>
                    <a:lnTo>
                      <a:pt x="1369" y="1082"/>
                    </a:lnTo>
                    <a:lnTo>
                      <a:pt x="1369" y="1106"/>
                    </a:lnTo>
                    <a:lnTo>
                      <a:pt x="1369" y="1106"/>
                    </a:lnTo>
                    <a:lnTo>
                      <a:pt x="1369" y="1082"/>
                    </a:lnTo>
                    <a:moveTo>
                      <a:pt x="2764" y="1061"/>
                    </a:moveTo>
                    <a:lnTo>
                      <a:pt x="2764" y="1061"/>
                    </a:lnTo>
                    <a:lnTo>
                      <a:pt x="2762" y="1061"/>
                    </a:lnTo>
                    <a:lnTo>
                      <a:pt x="2762" y="1063"/>
                    </a:lnTo>
                    <a:lnTo>
                      <a:pt x="2762" y="1172"/>
                    </a:lnTo>
                    <a:lnTo>
                      <a:pt x="2764" y="1172"/>
                    </a:lnTo>
                    <a:lnTo>
                      <a:pt x="2764" y="1061"/>
                    </a:lnTo>
                    <a:moveTo>
                      <a:pt x="5836" y="1039"/>
                    </a:moveTo>
                    <a:lnTo>
                      <a:pt x="5836" y="1039"/>
                    </a:lnTo>
                    <a:lnTo>
                      <a:pt x="5833" y="1039"/>
                    </a:lnTo>
                    <a:lnTo>
                      <a:pt x="5833" y="1042"/>
                    </a:lnTo>
                    <a:lnTo>
                      <a:pt x="5833" y="1061"/>
                    </a:lnTo>
                    <a:lnTo>
                      <a:pt x="5836" y="1061"/>
                    </a:lnTo>
                    <a:lnTo>
                      <a:pt x="5836" y="1039"/>
                    </a:lnTo>
                    <a:moveTo>
                      <a:pt x="2783" y="1011"/>
                    </a:moveTo>
                    <a:lnTo>
                      <a:pt x="2781" y="1011"/>
                    </a:lnTo>
                    <a:lnTo>
                      <a:pt x="2781" y="1013"/>
                    </a:lnTo>
                    <a:lnTo>
                      <a:pt x="2781" y="1044"/>
                    </a:lnTo>
                    <a:lnTo>
                      <a:pt x="2781" y="1044"/>
                    </a:lnTo>
                    <a:lnTo>
                      <a:pt x="2781" y="1042"/>
                    </a:lnTo>
                    <a:lnTo>
                      <a:pt x="2783" y="1042"/>
                    </a:lnTo>
                    <a:lnTo>
                      <a:pt x="2783" y="1011"/>
                    </a:lnTo>
                    <a:moveTo>
                      <a:pt x="3675" y="992"/>
                    </a:moveTo>
                    <a:lnTo>
                      <a:pt x="3672" y="992"/>
                    </a:lnTo>
                    <a:lnTo>
                      <a:pt x="3672" y="994"/>
                    </a:lnTo>
                    <a:lnTo>
                      <a:pt x="3672" y="1162"/>
                    </a:lnTo>
                    <a:lnTo>
                      <a:pt x="3675" y="1162"/>
                    </a:lnTo>
                    <a:lnTo>
                      <a:pt x="3675" y="1160"/>
                    </a:lnTo>
                    <a:lnTo>
                      <a:pt x="3675" y="1160"/>
                    </a:lnTo>
                    <a:lnTo>
                      <a:pt x="3675" y="992"/>
                    </a:lnTo>
                    <a:moveTo>
                      <a:pt x="5855" y="990"/>
                    </a:moveTo>
                    <a:lnTo>
                      <a:pt x="5852" y="990"/>
                    </a:lnTo>
                    <a:lnTo>
                      <a:pt x="5852" y="990"/>
                    </a:lnTo>
                    <a:lnTo>
                      <a:pt x="5852" y="1023"/>
                    </a:lnTo>
                    <a:lnTo>
                      <a:pt x="5852" y="1023"/>
                    </a:lnTo>
                    <a:lnTo>
                      <a:pt x="5852" y="1023"/>
                    </a:lnTo>
                    <a:lnTo>
                      <a:pt x="5855" y="1023"/>
                    </a:lnTo>
                    <a:lnTo>
                      <a:pt x="5855" y="990"/>
                    </a:lnTo>
                    <a:moveTo>
                      <a:pt x="6245" y="935"/>
                    </a:moveTo>
                    <a:lnTo>
                      <a:pt x="6243" y="935"/>
                    </a:lnTo>
                    <a:lnTo>
                      <a:pt x="6243" y="938"/>
                    </a:lnTo>
                    <a:lnTo>
                      <a:pt x="6243" y="1110"/>
                    </a:lnTo>
                    <a:lnTo>
                      <a:pt x="6245" y="1110"/>
                    </a:lnTo>
                    <a:lnTo>
                      <a:pt x="6245" y="1108"/>
                    </a:lnTo>
                    <a:lnTo>
                      <a:pt x="6245" y="1108"/>
                    </a:lnTo>
                    <a:lnTo>
                      <a:pt x="6245" y="935"/>
                    </a:lnTo>
                    <a:moveTo>
                      <a:pt x="6295" y="878"/>
                    </a:moveTo>
                    <a:lnTo>
                      <a:pt x="6292" y="878"/>
                    </a:lnTo>
                    <a:lnTo>
                      <a:pt x="6292" y="878"/>
                    </a:lnTo>
                    <a:lnTo>
                      <a:pt x="6292" y="878"/>
                    </a:lnTo>
                    <a:lnTo>
                      <a:pt x="6292" y="885"/>
                    </a:lnTo>
                    <a:lnTo>
                      <a:pt x="6292" y="885"/>
                    </a:lnTo>
                    <a:lnTo>
                      <a:pt x="6292" y="885"/>
                    </a:lnTo>
                    <a:lnTo>
                      <a:pt x="6295" y="885"/>
                    </a:lnTo>
                    <a:lnTo>
                      <a:pt x="6295" y="878"/>
                    </a:lnTo>
                    <a:moveTo>
                      <a:pt x="6302" y="850"/>
                    </a:moveTo>
                    <a:lnTo>
                      <a:pt x="6299" y="850"/>
                    </a:lnTo>
                    <a:lnTo>
                      <a:pt x="6299" y="850"/>
                    </a:lnTo>
                    <a:lnTo>
                      <a:pt x="6299" y="869"/>
                    </a:lnTo>
                    <a:lnTo>
                      <a:pt x="6302" y="869"/>
                    </a:lnTo>
                    <a:lnTo>
                      <a:pt x="6302" y="869"/>
                    </a:lnTo>
                    <a:lnTo>
                      <a:pt x="6302" y="869"/>
                    </a:lnTo>
                    <a:lnTo>
                      <a:pt x="6302" y="850"/>
                    </a:lnTo>
                    <a:moveTo>
                      <a:pt x="3006" y="762"/>
                    </a:moveTo>
                    <a:lnTo>
                      <a:pt x="3003" y="762"/>
                    </a:lnTo>
                    <a:lnTo>
                      <a:pt x="3003" y="762"/>
                    </a:lnTo>
                    <a:lnTo>
                      <a:pt x="3003" y="911"/>
                    </a:lnTo>
                    <a:lnTo>
                      <a:pt x="3006" y="911"/>
                    </a:lnTo>
                    <a:lnTo>
                      <a:pt x="3006" y="762"/>
                    </a:lnTo>
                    <a:moveTo>
                      <a:pt x="913" y="753"/>
                    </a:moveTo>
                    <a:lnTo>
                      <a:pt x="911" y="753"/>
                    </a:lnTo>
                    <a:lnTo>
                      <a:pt x="911" y="753"/>
                    </a:lnTo>
                    <a:lnTo>
                      <a:pt x="911" y="760"/>
                    </a:lnTo>
                    <a:lnTo>
                      <a:pt x="913" y="760"/>
                    </a:lnTo>
                    <a:lnTo>
                      <a:pt x="913" y="753"/>
                    </a:lnTo>
                    <a:moveTo>
                      <a:pt x="5037" y="732"/>
                    </a:moveTo>
                    <a:lnTo>
                      <a:pt x="5034" y="732"/>
                    </a:lnTo>
                    <a:lnTo>
                      <a:pt x="5034" y="732"/>
                    </a:lnTo>
                    <a:lnTo>
                      <a:pt x="5034" y="904"/>
                    </a:lnTo>
                    <a:lnTo>
                      <a:pt x="5037" y="904"/>
                    </a:lnTo>
                    <a:lnTo>
                      <a:pt x="5037" y="732"/>
                    </a:lnTo>
                    <a:moveTo>
                      <a:pt x="3043" y="656"/>
                    </a:moveTo>
                    <a:lnTo>
                      <a:pt x="3041" y="656"/>
                    </a:lnTo>
                    <a:lnTo>
                      <a:pt x="3041" y="658"/>
                    </a:lnTo>
                    <a:lnTo>
                      <a:pt x="3041" y="724"/>
                    </a:lnTo>
                    <a:lnTo>
                      <a:pt x="3041" y="724"/>
                    </a:lnTo>
                    <a:lnTo>
                      <a:pt x="3041" y="722"/>
                    </a:lnTo>
                    <a:lnTo>
                      <a:pt x="3043" y="722"/>
                    </a:lnTo>
                    <a:lnTo>
                      <a:pt x="3043" y="656"/>
                    </a:lnTo>
                    <a:moveTo>
                      <a:pt x="0" y="616"/>
                    </a:moveTo>
                    <a:lnTo>
                      <a:pt x="0" y="616"/>
                    </a:lnTo>
                    <a:lnTo>
                      <a:pt x="0" y="618"/>
                    </a:lnTo>
                    <a:lnTo>
                      <a:pt x="0" y="1385"/>
                    </a:lnTo>
                    <a:lnTo>
                      <a:pt x="0" y="1385"/>
                    </a:lnTo>
                    <a:lnTo>
                      <a:pt x="0" y="616"/>
                    </a:lnTo>
                    <a:moveTo>
                      <a:pt x="5157" y="608"/>
                    </a:moveTo>
                    <a:lnTo>
                      <a:pt x="5155" y="608"/>
                    </a:lnTo>
                    <a:lnTo>
                      <a:pt x="5155" y="611"/>
                    </a:lnTo>
                    <a:lnTo>
                      <a:pt x="5155" y="663"/>
                    </a:lnTo>
                    <a:lnTo>
                      <a:pt x="5157" y="663"/>
                    </a:lnTo>
                    <a:lnTo>
                      <a:pt x="5157" y="608"/>
                    </a:lnTo>
                    <a:moveTo>
                      <a:pt x="3188" y="580"/>
                    </a:moveTo>
                    <a:lnTo>
                      <a:pt x="3185" y="580"/>
                    </a:lnTo>
                    <a:lnTo>
                      <a:pt x="3185" y="580"/>
                    </a:lnTo>
                    <a:lnTo>
                      <a:pt x="3185" y="582"/>
                    </a:lnTo>
                    <a:lnTo>
                      <a:pt x="3185" y="589"/>
                    </a:lnTo>
                    <a:lnTo>
                      <a:pt x="3188" y="589"/>
                    </a:lnTo>
                    <a:lnTo>
                      <a:pt x="3188" y="580"/>
                    </a:lnTo>
                    <a:moveTo>
                      <a:pt x="206" y="547"/>
                    </a:moveTo>
                    <a:lnTo>
                      <a:pt x="206" y="547"/>
                    </a:lnTo>
                    <a:lnTo>
                      <a:pt x="206" y="547"/>
                    </a:lnTo>
                    <a:lnTo>
                      <a:pt x="206" y="549"/>
                    </a:lnTo>
                    <a:lnTo>
                      <a:pt x="206" y="549"/>
                    </a:lnTo>
                    <a:lnTo>
                      <a:pt x="206" y="547"/>
                    </a:lnTo>
                    <a:moveTo>
                      <a:pt x="6931" y="507"/>
                    </a:moveTo>
                    <a:lnTo>
                      <a:pt x="6928" y="507"/>
                    </a:lnTo>
                    <a:lnTo>
                      <a:pt x="6928" y="509"/>
                    </a:lnTo>
                    <a:lnTo>
                      <a:pt x="6928" y="1025"/>
                    </a:lnTo>
                    <a:lnTo>
                      <a:pt x="6931" y="1025"/>
                    </a:lnTo>
                    <a:lnTo>
                      <a:pt x="6931" y="507"/>
                    </a:lnTo>
                    <a:moveTo>
                      <a:pt x="4098" y="502"/>
                    </a:moveTo>
                    <a:lnTo>
                      <a:pt x="4098" y="502"/>
                    </a:lnTo>
                    <a:lnTo>
                      <a:pt x="4096" y="504"/>
                    </a:lnTo>
                    <a:lnTo>
                      <a:pt x="4084" y="518"/>
                    </a:lnTo>
                    <a:lnTo>
                      <a:pt x="4086" y="521"/>
                    </a:lnTo>
                    <a:lnTo>
                      <a:pt x="4098" y="502"/>
                    </a:lnTo>
                    <a:moveTo>
                      <a:pt x="3204" y="500"/>
                    </a:moveTo>
                    <a:lnTo>
                      <a:pt x="3204" y="500"/>
                    </a:lnTo>
                    <a:lnTo>
                      <a:pt x="3202" y="500"/>
                    </a:lnTo>
                    <a:lnTo>
                      <a:pt x="3202" y="502"/>
                    </a:lnTo>
                    <a:lnTo>
                      <a:pt x="3202" y="563"/>
                    </a:lnTo>
                    <a:lnTo>
                      <a:pt x="3204" y="563"/>
                    </a:lnTo>
                    <a:lnTo>
                      <a:pt x="3204" y="561"/>
                    </a:lnTo>
                    <a:lnTo>
                      <a:pt x="3204" y="561"/>
                    </a:lnTo>
                    <a:lnTo>
                      <a:pt x="3204" y="500"/>
                    </a:lnTo>
                    <a:moveTo>
                      <a:pt x="3942" y="452"/>
                    </a:moveTo>
                    <a:lnTo>
                      <a:pt x="3939" y="452"/>
                    </a:lnTo>
                    <a:lnTo>
                      <a:pt x="3939" y="452"/>
                    </a:lnTo>
                    <a:lnTo>
                      <a:pt x="3939" y="455"/>
                    </a:lnTo>
                    <a:lnTo>
                      <a:pt x="3939" y="490"/>
                    </a:lnTo>
                    <a:lnTo>
                      <a:pt x="3857" y="642"/>
                    </a:lnTo>
                    <a:lnTo>
                      <a:pt x="3857" y="859"/>
                    </a:lnTo>
                    <a:lnTo>
                      <a:pt x="3859" y="859"/>
                    </a:lnTo>
                    <a:lnTo>
                      <a:pt x="3859" y="639"/>
                    </a:lnTo>
                    <a:lnTo>
                      <a:pt x="3942" y="488"/>
                    </a:lnTo>
                    <a:lnTo>
                      <a:pt x="3942" y="452"/>
                    </a:lnTo>
                    <a:moveTo>
                      <a:pt x="3232" y="433"/>
                    </a:moveTo>
                    <a:lnTo>
                      <a:pt x="3232" y="433"/>
                    </a:lnTo>
                    <a:lnTo>
                      <a:pt x="3232" y="436"/>
                    </a:lnTo>
                    <a:lnTo>
                      <a:pt x="3232" y="471"/>
                    </a:lnTo>
                    <a:lnTo>
                      <a:pt x="3232" y="471"/>
                    </a:lnTo>
                    <a:lnTo>
                      <a:pt x="3232" y="471"/>
                    </a:lnTo>
                    <a:lnTo>
                      <a:pt x="3232" y="471"/>
                    </a:lnTo>
                    <a:lnTo>
                      <a:pt x="3232" y="433"/>
                    </a:lnTo>
                    <a:moveTo>
                      <a:pt x="3947" y="391"/>
                    </a:moveTo>
                    <a:lnTo>
                      <a:pt x="3947" y="391"/>
                    </a:lnTo>
                    <a:lnTo>
                      <a:pt x="3944" y="391"/>
                    </a:lnTo>
                    <a:lnTo>
                      <a:pt x="3944" y="391"/>
                    </a:lnTo>
                    <a:lnTo>
                      <a:pt x="3944" y="447"/>
                    </a:lnTo>
                    <a:lnTo>
                      <a:pt x="3947" y="447"/>
                    </a:lnTo>
                    <a:lnTo>
                      <a:pt x="3947" y="445"/>
                    </a:lnTo>
                    <a:lnTo>
                      <a:pt x="3947" y="445"/>
                    </a:lnTo>
                    <a:lnTo>
                      <a:pt x="3947" y="391"/>
                    </a:lnTo>
                    <a:moveTo>
                      <a:pt x="1714" y="367"/>
                    </a:moveTo>
                    <a:lnTo>
                      <a:pt x="1712" y="367"/>
                    </a:lnTo>
                    <a:lnTo>
                      <a:pt x="1712" y="369"/>
                    </a:lnTo>
                    <a:lnTo>
                      <a:pt x="1712" y="1063"/>
                    </a:lnTo>
                    <a:lnTo>
                      <a:pt x="1714" y="1063"/>
                    </a:lnTo>
                    <a:lnTo>
                      <a:pt x="1714" y="367"/>
                    </a:lnTo>
                    <a:moveTo>
                      <a:pt x="3956" y="327"/>
                    </a:moveTo>
                    <a:lnTo>
                      <a:pt x="3954" y="327"/>
                    </a:lnTo>
                    <a:lnTo>
                      <a:pt x="3954" y="329"/>
                    </a:lnTo>
                    <a:lnTo>
                      <a:pt x="3954" y="381"/>
                    </a:lnTo>
                    <a:lnTo>
                      <a:pt x="3954" y="381"/>
                    </a:lnTo>
                    <a:lnTo>
                      <a:pt x="3954" y="381"/>
                    </a:lnTo>
                    <a:lnTo>
                      <a:pt x="3956" y="381"/>
                    </a:lnTo>
                    <a:lnTo>
                      <a:pt x="3956" y="327"/>
                    </a:lnTo>
                    <a:moveTo>
                      <a:pt x="4609" y="230"/>
                    </a:moveTo>
                    <a:lnTo>
                      <a:pt x="4606" y="230"/>
                    </a:lnTo>
                    <a:lnTo>
                      <a:pt x="4606" y="232"/>
                    </a:lnTo>
                    <a:lnTo>
                      <a:pt x="4550" y="443"/>
                    </a:lnTo>
                    <a:lnTo>
                      <a:pt x="4550" y="440"/>
                    </a:lnTo>
                    <a:lnTo>
                      <a:pt x="4609" y="230"/>
                    </a:lnTo>
                    <a:moveTo>
                      <a:pt x="4758" y="0"/>
                    </a:moveTo>
                    <a:lnTo>
                      <a:pt x="4755" y="0"/>
                    </a:lnTo>
                    <a:lnTo>
                      <a:pt x="4755" y="0"/>
                    </a:lnTo>
                    <a:lnTo>
                      <a:pt x="4755" y="123"/>
                    </a:lnTo>
                    <a:lnTo>
                      <a:pt x="4758" y="123"/>
                    </a:lnTo>
                    <a:lnTo>
                      <a:pt x="4758" y="121"/>
                    </a:lnTo>
                    <a:lnTo>
                      <a:pt x="4758" y="121"/>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2" name="Freeform 74"/>
              <p:cNvSpPr>
                <a:spLocks noEditPoints="1"/>
              </p:cNvSpPr>
              <p:nvPr/>
            </p:nvSpPr>
            <p:spPr bwMode="auto">
              <a:xfrm>
                <a:off x="75" y="1727"/>
                <a:ext cx="6933" cy="1387"/>
              </a:xfrm>
              <a:custGeom>
                <a:avLst/>
                <a:gdLst>
                  <a:gd name="T0" fmla="*/ 3616 w 6933"/>
                  <a:gd name="T1" fmla="*/ 1250 h 1387"/>
                  <a:gd name="T2" fmla="*/ 5737 w 6933"/>
                  <a:gd name="T3" fmla="*/ 1207 h 1387"/>
                  <a:gd name="T4" fmla="*/ 5737 w 6933"/>
                  <a:gd name="T5" fmla="*/ 1259 h 1387"/>
                  <a:gd name="T6" fmla="*/ 1594 w 6933"/>
                  <a:gd name="T7" fmla="*/ 1134 h 1387"/>
                  <a:gd name="T8" fmla="*/ 1596 w 6933"/>
                  <a:gd name="T9" fmla="*/ 1131 h 1387"/>
                  <a:gd name="T10" fmla="*/ 5760 w 6933"/>
                  <a:gd name="T11" fmla="*/ 1129 h 1387"/>
                  <a:gd name="T12" fmla="*/ 5763 w 6933"/>
                  <a:gd name="T13" fmla="*/ 1181 h 1387"/>
                  <a:gd name="T14" fmla="*/ 6228 w 6933"/>
                  <a:gd name="T15" fmla="*/ 1127 h 1387"/>
                  <a:gd name="T16" fmla="*/ 6228 w 6933"/>
                  <a:gd name="T17" fmla="*/ 1127 h 1387"/>
                  <a:gd name="T18" fmla="*/ 1369 w 6933"/>
                  <a:gd name="T19" fmla="*/ 1108 h 1387"/>
                  <a:gd name="T20" fmla="*/ 1369 w 6933"/>
                  <a:gd name="T21" fmla="*/ 1082 h 1387"/>
                  <a:gd name="T22" fmla="*/ 2764 w 6933"/>
                  <a:gd name="T23" fmla="*/ 1063 h 1387"/>
                  <a:gd name="T24" fmla="*/ 5838 w 6933"/>
                  <a:gd name="T25" fmla="*/ 1041 h 1387"/>
                  <a:gd name="T26" fmla="*/ 5836 w 6933"/>
                  <a:gd name="T27" fmla="*/ 1063 h 1387"/>
                  <a:gd name="T28" fmla="*/ 2783 w 6933"/>
                  <a:gd name="T29" fmla="*/ 1011 h 1387"/>
                  <a:gd name="T30" fmla="*/ 2783 w 6933"/>
                  <a:gd name="T31" fmla="*/ 1044 h 1387"/>
                  <a:gd name="T32" fmla="*/ 3675 w 6933"/>
                  <a:gd name="T33" fmla="*/ 992 h 1387"/>
                  <a:gd name="T34" fmla="*/ 3677 w 6933"/>
                  <a:gd name="T35" fmla="*/ 1160 h 1387"/>
                  <a:gd name="T36" fmla="*/ 5855 w 6933"/>
                  <a:gd name="T37" fmla="*/ 989 h 1387"/>
                  <a:gd name="T38" fmla="*/ 5855 w 6933"/>
                  <a:gd name="T39" fmla="*/ 1022 h 1387"/>
                  <a:gd name="T40" fmla="*/ 6245 w 6933"/>
                  <a:gd name="T41" fmla="*/ 935 h 1387"/>
                  <a:gd name="T42" fmla="*/ 6245 w 6933"/>
                  <a:gd name="T43" fmla="*/ 1108 h 1387"/>
                  <a:gd name="T44" fmla="*/ 3750 w 6933"/>
                  <a:gd name="T45" fmla="*/ 928 h 1387"/>
                  <a:gd name="T46" fmla="*/ 6297 w 6933"/>
                  <a:gd name="T47" fmla="*/ 878 h 1387"/>
                  <a:gd name="T48" fmla="*/ 6295 w 6933"/>
                  <a:gd name="T49" fmla="*/ 887 h 1387"/>
                  <a:gd name="T50" fmla="*/ 6297 w 6933"/>
                  <a:gd name="T51" fmla="*/ 878 h 1387"/>
                  <a:gd name="T52" fmla="*/ 6302 w 6933"/>
                  <a:gd name="T53" fmla="*/ 871 h 1387"/>
                  <a:gd name="T54" fmla="*/ 6304 w 6933"/>
                  <a:gd name="T55" fmla="*/ 850 h 1387"/>
                  <a:gd name="T56" fmla="*/ 3006 w 6933"/>
                  <a:gd name="T57" fmla="*/ 913 h 1387"/>
                  <a:gd name="T58" fmla="*/ 913 w 6933"/>
                  <a:gd name="T59" fmla="*/ 752 h 1387"/>
                  <a:gd name="T60" fmla="*/ 915 w 6933"/>
                  <a:gd name="T61" fmla="*/ 752 h 1387"/>
                  <a:gd name="T62" fmla="*/ 5037 w 6933"/>
                  <a:gd name="T63" fmla="*/ 906 h 1387"/>
                  <a:gd name="T64" fmla="*/ 3043 w 6933"/>
                  <a:gd name="T65" fmla="*/ 655 h 1387"/>
                  <a:gd name="T66" fmla="*/ 3043 w 6933"/>
                  <a:gd name="T67" fmla="*/ 722 h 1387"/>
                  <a:gd name="T68" fmla="*/ 0 w 6933"/>
                  <a:gd name="T69" fmla="*/ 615 h 1387"/>
                  <a:gd name="T70" fmla="*/ 3 w 6933"/>
                  <a:gd name="T71" fmla="*/ 615 h 1387"/>
                  <a:gd name="T72" fmla="*/ 5157 w 6933"/>
                  <a:gd name="T73" fmla="*/ 665 h 1387"/>
                  <a:gd name="T74" fmla="*/ 3188 w 6933"/>
                  <a:gd name="T75" fmla="*/ 582 h 1387"/>
                  <a:gd name="T76" fmla="*/ 3190 w 6933"/>
                  <a:gd name="T77" fmla="*/ 591 h 1387"/>
                  <a:gd name="T78" fmla="*/ 206 w 6933"/>
                  <a:gd name="T79" fmla="*/ 549 h 1387"/>
                  <a:gd name="T80" fmla="*/ 6933 w 6933"/>
                  <a:gd name="T81" fmla="*/ 509 h 1387"/>
                  <a:gd name="T82" fmla="*/ 6933 w 6933"/>
                  <a:gd name="T83" fmla="*/ 1027 h 1387"/>
                  <a:gd name="T84" fmla="*/ 4098 w 6933"/>
                  <a:gd name="T85" fmla="*/ 504 h 1387"/>
                  <a:gd name="T86" fmla="*/ 3206 w 6933"/>
                  <a:gd name="T87" fmla="*/ 499 h 1387"/>
                  <a:gd name="T88" fmla="*/ 3204 w 6933"/>
                  <a:gd name="T89" fmla="*/ 563 h 1387"/>
                  <a:gd name="T90" fmla="*/ 3206 w 6933"/>
                  <a:gd name="T91" fmla="*/ 499 h 1387"/>
                  <a:gd name="T92" fmla="*/ 3942 w 6933"/>
                  <a:gd name="T93" fmla="*/ 454 h 1387"/>
                  <a:gd name="T94" fmla="*/ 3861 w 6933"/>
                  <a:gd name="T95" fmla="*/ 861 h 1387"/>
                  <a:gd name="T96" fmla="*/ 3235 w 6933"/>
                  <a:gd name="T97" fmla="*/ 433 h 1387"/>
                  <a:gd name="T98" fmla="*/ 3235 w 6933"/>
                  <a:gd name="T99" fmla="*/ 473 h 1387"/>
                  <a:gd name="T100" fmla="*/ 3949 w 6933"/>
                  <a:gd name="T101" fmla="*/ 390 h 1387"/>
                  <a:gd name="T102" fmla="*/ 3947 w 6933"/>
                  <a:gd name="T103" fmla="*/ 447 h 1387"/>
                  <a:gd name="T104" fmla="*/ 3949 w 6933"/>
                  <a:gd name="T105" fmla="*/ 390 h 1387"/>
                  <a:gd name="T106" fmla="*/ 1714 w 6933"/>
                  <a:gd name="T107" fmla="*/ 1065 h 1387"/>
                  <a:gd name="T108" fmla="*/ 3956 w 6933"/>
                  <a:gd name="T109" fmla="*/ 326 h 1387"/>
                  <a:gd name="T110" fmla="*/ 3956 w 6933"/>
                  <a:gd name="T111" fmla="*/ 381 h 1387"/>
                  <a:gd name="T112" fmla="*/ 4609 w 6933"/>
                  <a:gd name="T113" fmla="*/ 232 h 1387"/>
                  <a:gd name="T114" fmla="*/ 4609 w 6933"/>
                  <a:gd name="T115" fmla="*/ 232 h 1387"/>
                  <a:gd name="T116" fmla="*/ 4758 w 6933"/>
                  <a:gd name="T117" fmla="*/ 123 h 1387"/>
                  <a:gd name="T118" fmla="*/ 4760 w 6933"/>
                  <a:gd name="T119" fmla="*/ 0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87">
                    <a:moveTo>
                      <a:pt x="3618" y="1221"/>
                    </a:moveTo>
                    <a:lnTo>
                      <a:pt x="3616" y="1221"/>
                    </a:lnTo>
                    <a:lnTo>
                      <a:pt x="3616" y="1224"/>
                    </a:lnTo>
                    <a:lnTo>
                      <a:pt x="3616" y="1250"/>
                    </a:lnTo>
                    <a:lnTo>
                      <a:pt x="3618" y="1250"/>
                    </a:lnTo>
                    <a:lnTo>
                      <a:pt x="3618" y="1221"/>
                    </a:lnTo>
                    <a:close/>
                    <a:moveTo>
                      <a:pt x="5737" y="1207"/>
                    </a:moveTo>
                    <a:lnTo>
                      <a:pt x="5737" y="1207"/>
                    </a:lnTo>
                    <a:lnTo>
                      <a:pt x="5737" y="1207"/>
                    </a:lnTo>
                    <a:lnTo>
                      <a:pt x="5737" y="1209"/>
                    </a:lnTo>
                    <a:lnTo>
                      <a:pt x="5737" y="1259"/>
                    </a:lnTo>
                    <a:lnTo>
                      <a:pt x="5737" y="1259"/>
                    </a:lnTo>
                    <a:lnTo>
                      <a:pt x="5737" y="1207"/>
                    </a:lnTo>
                    <a:close/>
                    <a:moveTo>
                      <a:pt x="1596" y="1131"/>
                    </a:moveTo>
                    <a:lnTo>
                      <a:pt x="1594" y="1131"/>
                    </a:lnTo>
                    <a:lnTo>
                      <a:pt x="1594" y="1134"/>
                    </a:lnTo>
                    <a:lnTo>
                      <a:pt x="1594" y="1134"/>
                    </a:lnTo>
                    <a:lnTo>
                      <a:pt x="1594" y="1134"/>
                    </a:lnTo>
                    <a:lnTo>
                      <a:pt x="1594" y="1131"/>
                    </a:lnTo>
                    <a:lnTo>
                      <a:pt x="1596" y="1131"/>
                    </a:lnTo>
                    <a:lnTo>
                      <a:pt x="1596" y="1131"/>
                    </a:lnTo>
                    <a:close/>
                    <a:moveTo>
                      <a:pt x="5763" y="1127"/>
                    </a:moveTo>
                    <a:lnTo>
                      <a:pt x="5760" y="1127"/>
                    </a:lnTo>
                    <a:lnTo>
                      <a:pt x="5760" y="1129"/>
                    </a:lnTo>
                    <a:lnTo>
                      <a:pt x="5760" y="1183"/>
                    </a:lnTo>
                    <a:lnTo>
                      <a:pt x="5763" y="1183"/>
                    </a:lnTo>
                    <a:lnTo>
                      <a:pt x="5763" y="1181"/>
                    </a:lnTo>
                    <a:lnTo>
                      <a:pt x="5763" y="1181"/>
                    </a:lnTo>
                    <a:lnTo>
                      <a:pt x="5763" y="1127"/>
                    </a:lnTo>
                    <a:close/>
                    <a:moveTo>
                      <a:pt x="6228" y="1127"/>
                    </a:moveTo>
                    <a:lnTo>
                      <a:pt x="6228" y="1127"/>
                    </a:lnTo>
                    <a:lnTo>
                      <a:pt x="6228" y="1127"/>
                    </a:lnTo>
                    <a:lnTo>
                      <a:pt x="6228" y="1129"/>
                    </a:lnTo>
                    <a:lnTo>
                      <a:pt x="6228" y="1143"/>
                    </a:lnTo>
                    <a:lnTo>
                      <a:pt x="6228" y="1143"/>
                    </a:lnTo>
                    <a:lnTo>
                      <a:pt x="6228" y="1127"/>
                    </a:lnTo>
                    <a:close/>
                    <a:moveTo>
                      <a:pt x="1369" y="1082"/>
                    </a:moveTo>
                    <a:lnTo>
                      <a:pt x="1369" y="1082"/>
                    </a:lnTo>
                    <a:lnTo>
                      <a:pt x="1369" y="1084"/>
                    </a:lnTo>
                    <a:lnTo>
                      <a:pt x="1369" y="1108"/>
                    </a:lnTo>
                    <a:lnTo>
                      <a:pt x="1369" y="1108"/>
                    </a:lnTo>
                    <a:lnTo>
                      <a:pt x="1369" y="1105"/>
                    </a:lnTo>
                    <a:lnTo>
                      <a:pt x="1369" y="1105"/>
                    </a:lnTo>
                    <a:lnTo>
                      <a:pt x="1369" y="1082"/>
                    </a:lnTo>
                    <a:close/>
                    <a:moveTo>
                      <a:pt x="2767" y="1063"/>
                    </a:moveTo>
                    <a:lnTo>
                      <a:pt x="2764" y="1063"/>
                    </a:lnTo>
                    <a:lnTo>
                      <a:pt x="2764" y="1063"/>
                    </a:lnTo>
                    <a:lnTo>
                      <a:pt x="2764" y="1063"/>
                    </a:lnTo>
                    <a:lnTo>
                      <a:pt x="2764" y="1174"/>
                    </a:lnTo>
                    <a:lnTo>
                      <a:pt x="2767" y="1174"/>
                    </a:lnTo>
                    <a:lnTo>
                      <a:pt x="2767" y="1063"/>
                    </a:lnTo>
                    <a:close/>
                    <a:moveTo>
                      <a:pt x="5838" y="1041"/>
                    </a:moveTo>
                    <a:lnTo>
                      <a:pt x="5838" y="1041"/>
                    </a:lnTo>
                    <a:lnTo>
                      <a:pt x="5836" y="1041"/>
                    </a:lnTo>
                    <a:lnTo>
                      <a:pt x="5836" y="1041"/>
                    </a:lnTo>
                    <a:lnTo>
                      <a:pt x="5836" y="1063"/>
                    </a:lnTo>
                    <a:lnTo>
                      <a:pt x="5838" y="1063"/>
                    </a:lnTo>
                    <a:lnTo>
                      <a:pt x="5838" y="1041"/>
                    </a:lnTo>
                    <a:close/>
                    <a:moveTo>
                      <a:pt x="2783" y="1011"/>
                    </a:moveTo>
                    <a:lnTo>
                      <a:pt x="2783" y="1011"/>
                    </a:lnTo>
                    <a:lnTo>
                      <a:pt x="2783" y="1013"/>
                    </a:lnTo>
                    <a:lnTo>
                      <a:pt x="2783" y="1044"/>
                    </a:lnTo>
                    <a:lnTo>
                      <a:pt x="2783" y="1044"/>
                    </a:lnTo>
                    <a:lnTo>
                      <a:pt x="2783" y="1044"/>
                    </a:lnTo>
                    <a:lnTo>
                      <a:pt x="2783" y="1044"/>
                    </a:lnTo>
                    <a:lnTo>
                      <a:pt x="2783" y="1011"/>
                    </a:lnTo>
                    <a:close/>
                    <a:moveTo>
                      <a:pt x="3677" y="992"/>
                    </a:moveTo>
                    <a:lnTo>
                      <a:pt x="3675" y="992"/>
                    </a:lnTo>
                    <a:lnTo>
                      <a:pt x="3675" y="994"/>
                    </a:lnTo>
                    <a:lnTo>
                      <a:pt x="3675" y="1162"/>
                    </a:lnTo>
                    <a:lnTo>
                      <a:pt x="3677" y="1162"/>
                    </a:lnTo>
                    <a:lnTo>
                      <a:pt x="3677" y="1160"/>
                    </a:lnTo>
                    <a:lnTo>
                      <a:pt x="3677" y="1160"/>
                    </a:lnTo>
                    <a:lnTo>
                      <a:pt x="3677" y="992"/>
                    </a:lnTo>
                    <a:close/>
                    <a:moveTo>
                      <a:pt x="5855" y="989"/>
                    </a:moveTo>
                    <a:lnTo>
                      <a:pt x="5855" y="989"/>
                    </a:lnTo>
                    <a:lnTo>
                      <a:pt x="5855" y="992"/>
                    </a:lnTo>
                    <a:lnTo>
                      <a:pt x="5855" y="1025"/>
                    </a:lnTo>
                    <a:lnTo>
                      <a:pt x="5855" y="1025"/>
                    </a:lnTo>
                    <a:lnTo>
                      <a:pt x="5855" y="1022"/>
                    </a:lnTo>
                    <a:lnTo>
                      <a:pt x="5855" y="1022"/>
                    </a:lnTo>
                    <a:lnTo>
                      <a:pt x="5855" y="989"/>
                    </a:lnTo>
                    <a:close/>
                    <a:moveTo>
                      <a:pt x="6247" y="935"/>
                    </a:moveTo>
                    <a:lnTo>
                      <a:pt x="6245" y="935"/>
                    </a:lnTo>
                    <a:lnTo>
                      <a:pt x="6245" y="937"/>
                    </a:lnTo>
                    <a:lnTo>
                      <a:pt x="6245" y="1110"/>
                    </a:lnTo>
                    <a:lnTo>
                      <a:pt x="6245" y="1110"/>
                    </a:lnTo>
                    <a:lnTo>
                      <a:pt x="6245" y="1108"/>
                    </a:lnTo>
                    <a:lnTo>
                      <a:pt x="6247" y="1108"/>
                    </a:lnTo>
                    <a:lnTo>
                      <a:pt x="6247" y="935"/>
                    </a:lnTo>
                    <a:close/>
                    <a:moveTo>
                      <a:pt x="3753" y="928"/>
                    </a:moveTo>
                    <a:lnTo>
                      <a:pt x="3750" y="928"/>
                    </a:lnTo>
                    <a:lnTo>
                      <a:pt x="3750" y="928"/>
                    </a:lnTo>
                    <a:lnTo>
                      <a:pt x="3753" y="928"/>
                    </a:lnTo>
                    <a:lnTo>
                      <a:pt x="3753" y="928"/>
                    </a:lnTo>
                    <a:close/>
                    <a:moveTo>
                      <a:pt x="6297" y="878"/>
                    </a:moveTo>
                    <a:lnTo>
                      <a:pt x="6295" y="878"/>
                    </a:lnTo>
                    <a:lnTo>
                      <a:pt x="6295" y="878"/>
                    </a:lnTo>
                    <a:lnTo>
                      <a:pt x="6295" y="880"/>
                    </a:lnTo>
                    <a:lnTo>
                      <a:pt x="6295" y="887"/>
                    </a:lnTo>
                    <a:lnTo>
                      <a:pt x="6295" y="887"/>
                    </a:lnTo>
                    <a:lnTo>
                      <a:pt x="6295" y="885"/>
                    </a:lnTo>
                    <a:lnTo>
                      <a:pt x="6297" y="885"/>
                    </a:lnTo>
                    <a:lnTo>
                      <a:pt x="6297" y="878"/>
                    </a:lnTo>
                    <a:close/>
                    <a:moveTo>
                      <a:pt x="6304" y="850"/>
                    </a:moveTo>
                    <a:lnTo>
                      <a:pt x="6302" y="850"/>
                    </a:lnTo>
                    <a:lnTo>
                      <a:pt x="6302" y="852"/>
                    </a:lnTo>
                    <a:lnTo>
                      <a:pt x="6302" y="871"/>
                    </a:lnTo>
                    <a:lnTo>
                      <a:pt x="6304" y="871"/>
                    </a:lnTo>
                    <a:lnTo>
                      <a:pt x="6304" y="868"/>
                    </a:lnTo>
                    <a:lnTo>
                      <a:pt x="6304" y="868"/>
                    </a:lnTo>
                    <a:lnTo>
                      <a:pt x="6304" y="850"/>
                    </a:lnTo>
                    <a:close/>
                    <a:moveTo>
                      <a:pt x="3008" y="762"/>
                    </a:moveTo>
                    <a:lnTo>
                      <a:pt x="3006" y="762"/>
                    </a:lnTo>
                    <a:lnTo>
                      <a:pt x="3006" y="764"/>
                    </a:lnTo>
                    <a:lnTo>
                      <a:pt x="3006" y="913"/>
                    </a:lnTo>
                    <a:lnTo>
                      <a:pt x="3008" y="913"/>
                    </a:lnTo>
                    <a:lnTo>
                      <a:pt x="3008" y="762"/>
                    </a:lnTo>
                    <a:close/>
                    <a:moveTo>
                      <a:pt x="915" y="752"/>
                    </a:moveTo>
                    <a:lnTo>
                      <a:pt x="913" y="752"/>
                    </a:lnTo>
                    <a:lnTo>
                      <a:pt x="913" y="755"/>
                    </a:lnTo>
                    <a:lnTo>
                      <a:pt x="913" y="762"/>
                    </a:lnTo>
                    <a:lnTo>
                      <a:pt x="915" y="762"/>
                    </a:lnTo>
                    <a:lnTo>
                      <a:pt x="915" y="752"/>
                    </a:lnTo>
                    <a:close/>
                    <a:moveTo>
                      <a:pt x="5039" y="731"/>
                    </a:moveTo>
                    <a:lnTo>
                      <a:pt x="5037" y="731"/>
                    </a:lnTo>
                    <a:lnTo>
                      <a:pt x="5037" y="734"/>
                    </a:lnTo>
                    <a:lnTo>
                      <a:pt x="5037" y="906"/>
                    </a:lnTo>
                    <a:lnTo>
                      <a:pt x="5039" y="906"/>
                    </a:lnTo>
                    <a:lnTo>
                      <a:pt x="5039" y="731"/>
                    </a:lnTo>
                    <a:close/>
                    <a:moveTo>
                      <a:pt x="3046" y="655"/>
                    </a:moveTo>
                    <a:lnTo>
                      <a:pt x="3043" y="655"/>
                    </a:lnTo>
                    <a:lnTo>
                      <a:pt x="3043" y="658"/>
                    </a:lnTo>
                    <a:lnTo>
                      <a:pt x="3043" y="724"/>
                    </a:lnTo>
                    <a:lnTo>
                      <a:pt x="3043" y="724"/>
                    </a:lnTo>
                    <a:lnTo>
                      <a:pt x="3043" y="722"/>
                    </a:lnTo>
                    <a:lnTo>
                      <a:pt x="3046" y="722"/>
                    </a:lnTo>
                    <a:lnTo>
                      <a:pt x="3046" y="655"/>
                    </a:lnTo>
                    <a:close/>
                    <a:moveTo>
                      <a:pt x="3" y="615"/>
                    </a:moveTo>
                    <a:lnTo>
                      <a:pt x="0" y="615"/>
                    </a:lnTo>
                    <a:lnTo>
                      <a:pt x="0" y="618"/>
                    </a:lnTo>
                    <a:lnTo>
                      <a:pt x="0" y="1387"/>
                    </a:lnTo>
                    <a:lnTo>
                      <a:pt x="3" y="1387"/>
                    </a:lnTo>
                    <a:lnTo>
                      <a:pt x="3" y="615"/>
                    </a:lnTo>
                    <a:close/>
                    <a:moveTo>
                      <a:pt x="5160" y="608"/>
                    </a:moveTo>
                    <a:lnTo>
                      <a:pt x="5157" y="608"/>
                    </a:lnTo>
                    <a:lnTo>
                      <a:pt x="5157" y="610"/>
                    </a:lnTo>
                    <a:lnTo>
                      <a:pt x="5157" y="665"/>
                    </a:lnTo>
                    <a:lnTo>
                      <a:pt x="5160" y="665"/>
                    </a:lnTo>
                    <a:lnTo>
                      <a:pt x="5160" y="608"/>
                    </a:lnTo>
                    <a:close/>
                    <a:moveTo>
                      <a:pt x="3190" y="582"/>
                    </a:moveTo>
                    <a:lnTo>
                      <a:pt x="3188" y="582"/>
                    </a:lnTo>
                    <a:lnTo>
                      <a:pt x="3188" y="582"/>
                    </a:lnTo>
                    <a:lnTo>
                      <a:pt x="3188" y="582"/>
                    </a:lnTo>
                    <a:lnTo>
                      <a:pt x="3188" y="591"/>
                    </a:lnTo>
                    <a:lnTo>
                      <a:pt x="3190" y="591"/>
                    </a:lnTo>
                    <a:lnTo>
                      <a:pt x="3190" y="582"/>
                    </a:lnTo>
                    <a:close/>
                    <a:moveTo>
                      <a:pt x="208" y="546"/>
                    </a:moveTo>
                    <a:lnTo>
                      <a:pt x="206" y="546"/>
                    </a:lnTo>
                    <a:lnTo>
                      <a:pt x="206" y="549"/>
                    </a:lnTo>
                    <a:lnTo>
                      <a:pt x="206" y="551"/>
                    </a:lnTo>
                    <a:lnTo>
                      <a:pt x="208" y="551"/>
                    </a:lnTo>
                    <a:lnTo>
                      <a:pt x="208" y="546"/>
                    </a:lnTo>
                    <a:close/>
                    <a:moveTo>
                      <a:pt x="6933" y="509"/>
                    </a:moveTo>
                    <a:lnTo>
                      <a:pt x="6931" y="509"/>
                    </a:lnTo>
                    <a:lnTo>
                      <a:pt x="6931" y="509"/>
                    </a:lnTo>
                    <a:lnTo>
                      <a:pt x="6931" y="1027"/>
                    </a:lnTo>
                    <a:lnTo>
                      <a:pt x="6933" y="1027"/>
                    </a:lnTo>
                    <a:lnTo>
                      <a:pt x="6933" y="509"/>
                    </a:lnTo>
                    <a:close/>
                    <a:moveTo>
                      <a:pt x="4100" y="502"/>
                    </a:moveTo>
                    <a:lnTo>
                      <a:pt x="4100" y="502"/>
                    </a:lnTo>
                    <a:lnTo>
                      <a:pt x="4098" y="504"/>
                    </a:lnTo>
                    <a:lnTo>
                      <a:pt x="4086" y="523"/>
                    </a:lnTo>
                    <a:lnTo>
                      <a:pt x="4086" y="523"/>
                    </a:lnTo>
                    <a:lnTo>
                      <a:pt x="4100" y="502"/>
                    </a:lnTo>
                    <a:close/>
                    <a:moveTo>
                      <a:pt x="3206" y="499"/>
                    </a:moveTo>
                    <a:lnTo>
                      <a:pt x="3206" y="499"/>
                    </a:lnTo>
                    <a:lnTo>
                      <a:pt x="3204" y="499"/>
                    </a:lnTo>
                    <a:lnTo>
                      <a:pt x="3204" y="502"/>
                    </a:lnTo>
                    <a:lnTo>
                      <a:pt x="3204" y="563"/>
                    </a:lnTo>
                    <a:lnTo>
                      <a:pt x="3206" y="563"/>
                    </a:lnTo>
                    <a:lnTo>
                      <a:pt x="3206" y="563"/>
                    </a:lnTo>
                    <a:lnTo>
                      <a:pt x="3206" y="563"/>
                    </a:lnTo>
                    <a:lnTo>
                      <a:pt x="3206" y="499"/>
                    </a:lnTo>
                    <a:close/>
                    <a:moveTo>
                      <a:pt x="3944" y="454"/>
                    </a:moveTo>
                    <a:lnTo>
                      <a:pt x="3942" y="454"/>
                    </a:lnTo>
                    <a:lnTo>
                      <a:pt x="3942" y="454"/>
                    </a:lnTo>
                    <a:lnTo>
                      <a:pt x="3942" y="454"/>
                    </a:lnTo>
                    <a:lnTo>
                      <a:pt x="3942" y="490"/>
                    </a:lnTo>
                    <a:lnTo>
                      <a:pt x="3859" y="641"/>
                    </a:lnTo>
                    <a:lnTo>
                      <a:pt x="3859" y="861"/>
                    </a:lnTo>
                    <a:lnTo>
                      <a:pt x="3861" y="861"/>
                    </a:lnTo>
                    <a:lnTo>
                      <a:pt x="3861" y="641"/>
                    </a:lnTo>
                    <a:lnTo>
                      <a:pt x="3944" y="487"/>
                    </a:lnTo>
                    <a:lnTo>
                      <a:pt x="3944" y="454"/>
                    </a:lnTo>
                    <a:close/>
                    <a:moveTo>
                      <a:pt x="3235" y="433"/>
                    </a:moveTo>
                    <a:lnTo>
                      <a:pt x="3232" y="433"/>
                    </a:lnTo>
                    <a:lnTo>
                      <a:pt x="3232" y="435"/>
                    </a:lnTo>
                    <a:lnTo>
                      <a:pt x="3232" y="473"/>
                    </a:lnTo>
                    <a:lnTo>
                      <a:pt x="3235" y="473"/>
                    </a:lnTo>
                    <a:lnTo>
                      <a:pt x="3235" y="471"/>
                    </a:lnTo>
                    <a:lnTo>
                      <a:pt x="3235" y="471"/>
                    </a:lnTo>
                    <a:lnTo>
                      <a:pt x="3235" y="433"/>
                    </a:lnTo>
                    <a:close/>
                    <a:moveTo>
                      <a:pt x="3949" y="390"/>
                    </a:moveTo>
                    <a:lnTo>
                      <a:pt x="3947" y="390"/>
                    </a:lnTo>
                    <a:lnTo>
                      <a:pt x="3947" y="390"/>
                    </a:lnTo>
                    <a:lnTo>
                      <a:pt x="3947" y="393"/>
                    </a:lnTo>
                    <a:lnTo>
                      <a:pt x="3947" y="447"/>
                    </a:lnTo>
                    <a:lnTo>
                      <a:pt x="3949" y="447"/>
                    </a:lnTo>
                    <a:lnTo>
                      <a:pt x="3949" y="445"/>
                    </a:lnTo>
                    <a:lnTo>
                      <a:pt x="3949" y="445"/>
                    </a:lnTo>
                    <a:lnTo>
                      <a:pt x="3949" y="390"/>
                    </a:lnTo>
                    <a:close/>
                    <a:moveTo>
                      <a:pt x="1717" y="367"/>
                    </a:moveTo>
                    <a:lnTo>
                      <a:pt x="1714" y="367"/>
                    </a:lnTo>
                    <a:lnTo>
                      <a:pt x="1714" y="369"/>
                    </a:lnTo>
                    <a:lnTo>
                      <a:pt x="1714" y="1065"/>
                    </a:lnTo>
                    <a:lnTo>
                      <a:pt x="1717" y="1065"/>
                    </a:lnTo>
                    <a:lnTo>
                      <a:pt x="1717" y="367"/>
                    </a:lnTo>
                    <a:close/>
                    <a:moveTo>
                      <a:pt x="3956" y="326"/>
                    </a:moveTo>
                    <a:lnTo>
                      <a:pt x="3956" y="326"/>
                    </a:lnTo>
                    <a:lnTo>
                      <a:pt x="3956" y="329"/>
                    </a:lnTo>
                    <a:lnTo>
                      <a:pt x="3956" y="383"/>
                    </a:lnTo>
                    <a:lnTo>
                      <a:pt x="3956" y="383"/>
                    </a:lnTo>
                    <a:lnTo>
                      <a:pt x="3956" y="381"/>
                    </a:lnTo>
                    <a:lnTo>
                      <a:pt x="3956" y="381"/>
                    </a:lnTo>
                    <a:lnTo>
                      <a:pt x="3956" y="326"/>
                    </a:lnTo>
                    <a:close/>
                    <a:moveTo>
                      <a:pt x="4609" y="232"/>
                    </a:moveTo>
                    <a:lnTo>
                      <a:pt x="4609" y="232"/>
                    </a:lnTo>
                    <a:lnTo>
                      <a:pt x="4609" y="232"/>
                    </a:lnTo>
                    <a:lnTo>
                      <a:pt x="4550" y="442"/>
                    </a:lnTo>
                    <a:lnTo>
                      <a:pt x="4552" y="442"/>
                    </a:lnTo>
                    <a:lnTo>
                      <a:pt x="4609" y="232"/>
                    </a:lnTo>
                    <a:close/>
                    <a:moveTo>
                      <a:pt x="4760" y="0"/>
                    </a:moveTo>
                    <a:lnTo>
                      <a:pt x="4758" y="0"/>
                    </a:lnTo>
                    <a:lnTo>
                      <a:pt x="4758" y="2"/>
                    </a:lnTo>
                    <a:lnTo>
                      <a:pt x="4758" y="123"/>
                    </a:lnTo>
                    <a:lnTo>
                      <a:pt x="4758" y="123"/>
                    </a:lnTo>
                    <a:lnTo>
                      <a:pt x="4758" y="120"/>
                    </a:lnTo>
                    <a:lnTo>
                      <a:pt x="4760" y="120"/>
                    </a:lnTo>
                    <a:lnTo>
                      <a:pt x="4760" y="0"/>
                    </a:ln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3" name="Freeform 75"/>
              <p:cNvSpPr>
                <a:spLocks noEditPoints="1"/>
              </p:cNvSpPr>
              <p:nvPr/>
            </p:nvSpPr>
            <p:spPr bwMode="auto">
              <a:xfrm>
                <a:off x="75" y="1727"/>
                <a:ext cx="6933" cy="1387"/>
              </a:xfrm>
              <a:custGeom>
                <a:avLst/>
                <a:gdLst>
                  <a:gd name="T0" fmla="*/ 3616 w 6933"/>
                  <a:gd name="T1" fmla="*/ 1250 h 1387"/>
                  <a:gd name="T2" fmla="*/ 5737 w 6933"/>
                  <a:gd name="T3" fmla="*/ 1207 h 1387"/>
                  <a:gd name="T4" fmla="*/ 5737 w 6933"/>
                  <a:gd name="T5" fmla="*/ 1259 h 1387"/>
                  <a:gd name="T6" fmla="*/ 1594 w 6933"/>
                  <a:gd name="T7" fmla="*/ 1134 h 1387"/>
                  <a:gd name="T8" fmla="*/ 1596 w 6933"/>
                  <a:gd name="T9" fmla="*/ 1131 h 1387"/>
                  <a:gd name="T10" fmla="*/ 5760 w 6933"/>
                  <a:gd name="T11" fmla="*/ 1129 h 1387"/>
                  <a:gd name="T12" fmla="*/ 5763 w 6933"/>
                  <a:gd name="T13" fmla="*/ 1181 h 1387"/>
                  <a:gd name="T14" fmla="*/ 6228 w 6933"/>
                  <a:gd name="T15" fmla="*/ 1127 h 1387"/>
                  <a:gd name="T16" fmla="*/ 6228 w 6933"/>
                  <a:gd name="T17" fmla="*/ 1127 h 1387"/>
                  <a:gd name="T18" fmla="*/ 1369 w 6933"/>
                  <a:gd name="T19" fmla="*/ 1108 h 1387"/>
                  <a:gd name="T20" fmla="*/ 1369 w 6933"/>
                  <a:gd name="T21" fmla="*/ 1082 h 1387"/>
                  <a:gd name="T22" fmla="*/ 2764 w 6933"/>
                  <a:gd name="T23" fmla="*/ 1063 h 1387"/>
                  <a:gd name="T24" fmla="*/ 5838 w 6933"/>
                  <a:gd name="T25" fmla="*/ 1041 h 1387"/>
                  <a:gd name="T26" fmla="*/ 5836 w 6933"/>
                  <a:gd name="T27" fmla="*/ 1063 h 1387"/>
                  <a:gd name="T28" fmla="*/ 2783 w 6933"/>
                  <a:gd name="T29" fmla="*/ 1011 h 1387"/>
                  <a:gd name="T30" fmla="*/ 2783 w 6933"/>
                  <a:gd name="T31" fmla="*/ 1044 h 1387"/>
                  <a:gd name="T32" fmla="*/ 3675 w 6933"/>
                  <a:gd name="T33" fmla="*/ 992 h 1387"/>
                  <a:gd name="T34" fmla="*/ 3677 w 6933"/>
                  <a:gd name="T35" fmla="*/ 1160 h 1387"/>
                  <a:gd name="T36" fmla="*/ 5855 w 6933"/>
                  <a:gd name="T37" fmla="*/ 989 h 1387"/>
                  <a:gd name="T38" fmla="*/ 5855 w 6933"/>
                  <a:gd name="T39" fmla="*/ 1022 h 1387"/>
                  <a:gd name="T40" fmla="*/ 6245 w 6933"/>
                  <a:gd name="T41" fmla="*/ 935 h 1387"/>
                  <a:gd name="T42" fmla="*/ 6245 w 6933"/>
                  <a:gd name="T43" fmla="*/ 1108 h 1387"/>
                  <a:gd name="T44" fmla="*/ 3750 w 6933"/>
                  <a:gd name="T45" fmla="*/ 928 h 1387"/>
                  <a:gd name="T46" fmla="*/ 6297 w 6933"/>
                  <a:gd name="T47" fmla="*/ 878 h 1387"/>
                  <a:gd name="T48" fmla="*/ 6295 w 6933"/>
                  <a:gd name="T49" fmla="*/ 887 h 1387"/>
                  <a:gd name="T50" fmla="*/ 6297 w 6933"/>
                  <a:gd name="T51" fmla="*/ 878 h 1387"/>
                  <a:gd name="T52" fmla="*/ 6302 w 6933"/>
                  <a:gd name="T53" fmla="*/ 871 h 1387"/>
                  <a:gd name="T54" fmla="*/ 6304 w 6933"/>
                  <a:gd name="T55" fmla="*/ 850 h 1387"/>
                  <a:gd name="T56" fmla="*/ 3006 w 6933"/>
                  <a:gd name="T57" fmla="*/ 913 h 1387"/>
                  <a:gd name="T58" fmla="*/ 913 w 6933"/>
                  <a:gd name="T59" fmla="*/ 752 h 1387"/>
                  <a:gd name="T60" fmla="*/ 915 w 6933"/>
                  <a:gd name="T61" fmla="*/ 752 h 1387"/>
                  <a:gd name="T62" fmla="*/ 5037 w 6933"/>
                  <a:gd name="T63" fmla="*/ 906 h 1387"/>
                  <a:gd name="T64" fmla="*/ 3043 w 6933"/>
                  <a:gd name="T65" fmla="*/ 655 h 1387"/>
                  <a:gd name="T66" fmla="*/ 3043 w 6933"/>
                  <a:gd name="T67" fmla="*/ 722 h 1387"/>
                  <a:gd name="T68" fmla="*/ 0 w 6933"/>
                  <a:gd name="T69" fmla="*/ 615 h 1387"/>
                  <a:gd name="T70" fmla="*/ 3 w 6933"/>
                  <a:gd name="T71" fmla="*/ 615 h 1387"/>
                  <a:gd name="T72" fmla="*/ 5157 w 6933"/>
                  <a:gd name="T73" fmla="*/ 665 h 1387"/>
                  <a:gd name="T74" fmla="*/ 3188 w 6933"/>
                  <a:gd name="T75" fmla="*/ 582 h 1387"/>
                  <a:gd name="T76" fmla="*/ 3190 w 6933"/>
                  <a:gd name="T77" fmla="*/ 591 h 1387"/>
                  <a:gd name="T78" fmla="*/ 206 w 6933"/>
                  <a:gd name="T79" fmla="*/ 549 h 1387"/>
                  <a:gd name="T80" fmla="*/ 6933 w 6933"/>
                  <a:gd name="T81" fmla="*/ 509 h 1387"/>
                  <a:gd name="T82" fmla="*/ 6933 w 6933"/>
                  <a:gd name="T83" fmla="*/ 1027 h 1387"/>
                  <a:gd name="T84" fmla="*/ 4098 w 6933"/>
                  <a:gd name="T85" fmla="*/ 504 h 1387"/>
                  <a:gd name="T86" fmla="*/ 3206 w 6933"/>
                  <a:gd name="T87" fmla="*/ 499 h 1387"/>
                  <a:gd name="T88" fmla="*/ 3204 w 6933"/>
                  <a:gd name="T89" fmla="*/ 563 h 1387"/>
                  <a:gd name="T90" fmla="*/ 3206 w 6933"/>
                  <a:gd name="T91" fmla="*/ 499 h 1387"/>
                  <a:gd name="T92" fmla="*/ 3942 w 6933"/>
                  <a:gd name="T93" fmla="*/ 454 h 1387"/>
                  <a:gd name="T94" fmla="*/ 3861 w 6933"/>
                  <a:gd name="T95" fmla="*/ 861 h 1387"/>
                  <a:gd name="T96" fmla="*/ 3235 w 6933"/>
                  <a:gd name="T97" fmla="*/ 433 h 1387"/>
                  <a:gd name="T98" fmla="*/ 3235 w 6933"/>
                  <a:gd name="T99" fmla="*/ 473 h 1387"/>
                  <a:gd name="T100" fmla="*/ 3949 w 6933"/>
                  <a:gd name="T101" fmla="*/ 390 h 1387"/>
                  <a:gd name="T102" fmla="*/ 3947 w 6933"/>
                  <a:gd name="T103" fmla="*/ 447 h 1387"/>
                  <a:gd name="T104" fmla="*/ 3949 w 6933"/>
                  <a:gd name="T105" fmla="*/ 390 h 1387"/>
                  <a:gd name="T106" fmla="*/ 1714 w 6933"/>
                  <a:gd name="T107" fmla="*/ 1065 h 1387"/>
                  <a:gd name="T108" fmla="*/ 3956 w 6933"/>
                  <a:gd name="T109" fmla="*/ 326 h 1387"/>
                  <a:gd name="T110" fmla="*/ 3956 w 6933"/>
                  <a:gd name="T111" fmla="*/ 381 h 1387"/>
                  <a:gd name="T112" fmla="*/ 4609 w 6933"/>
                  <a:gd name="T113" fmla="*/ 232 h 1387"/>
                  <a:gd name="T114" fmla="*/ 4609 w 6933"/>
                  <a:gd name="T115" fmla="*/ 232 h 1387"/>
                  <a:gd name="T116" fmla="*/ 4758 w 6933"/>
                  <a:gd name="T117" fmla="*/ 123 h 1387"/>
                  <a:gd name="T118" fmla="*/ 4760 w 6933"/>
                  <a:gd name="T119" fmla="*/ 0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3" h="1387">
                    <a:moveTo>
                      <a:pt x="3618" y="1221"/>
                    </a:moveTo>
                    <a:lnTo>
                      <a:pt x="3616" y="1221"/>
                    </a:lnTo>
                    <a:lnTo>
                      <a:pt x="3616" y="1224"/>
                    </a:lnTo>
                    <a:lnTo>
                      <a:pt x="3616" y="1250"/>
                    </a:lnTo>
                    <a:lnTo>
                      <a:pt x="3618" y="1250"/>
                    </a:lnTo>
                    <a:lnTo>
                      <a:pt x="3618" y="1221"/>
                    </a:lnTo>
                    <a:moveTo>
                      <a:pt x="5737" y="1207"/>
                    </a:moveTo>
                    <a:lnTo>
                      <a:pt x="5737" y="1207"/>
                    </a:lnTo>
                    <a:lnTo>
                      <a:pt x="5737" y="1207"/>
                    </a:lnTo>
                    <a:lnTo>
                      <a:pt x="5737" y="1209"/>
                    </a:lnTo>
                    <a:lnTo>
                      <a:pt x="5737" y="1259"/>
                    </a:lnTo>
                    <a:lnTo>
                      <a:pt x="5737" y="1259"/>
                    </a:lnTo>
                    <a:lnTo>
                      <a:pt x="5737" y="1207"/>
                    </a:lnTo>
                    <a:moveTo>
                      <a:pt x="1596" y="1131"/>
                    </a:moveTo>
                    <a:lnTo>
                      <a:pt x="1594" y="1131"/>
                    </a:lnTo>
                    <a:lnTo>
                      <a:pt x="1594" y="1134"/>
                    </a:lnTo>
                    <a:lnTo>
                      <a:pt x="1594" y="1134"/>
                    </a:lnTo>
                    <a:lnTo>
                      <a:pt x="1594" y="1134"/>
                    </a:lnTo>
                    <a:lnTo>
                      <a:pt x="1594" y="1131"/>
                    </a:lnTo>
                    <a:lnTo>
                      <a:pt x="1596" y="1131"/>
                    </a:lnTo>
                    <a:lnTo>
                      <a:pt x="1596" y="1131"/>
                    </a:lnTo>
                    <a:moveTo>
                      <a:pt x="5763" y="1127"/>
                    </a:moveTo>
                    <a:lnTo>
                      <a:pt x="5760" y="1127"/>
                    </a:lnTo>
                    <a:lnTo>
                      <a:pt x="5760" y="1129"/>
                    </a:lnTo>
                    <a:lnTo>
                      <a:pt x="5760" y="1183"/>
                    </a:lnTo>
                    <a:lnTo>
                      <a:pt x="5763" y="1183"/>
                    </a:lnTo>
                    <a:lnTo>
                      <a:pt x="5763" y="1181"/>
                    </a:lnTo>
                    <a:lnTo>
                      <a:pt x="5763" y="1181"/>
                    </a:lnTo>
                    <a:lnTo>
                      <a:pt x="5763" y="1127"/>
                    </a:lnTo>
                    <a:moveTo>
                      <a:pt x="6228" y="1127"/>
                    </a:moveTo>
                    <a:lnTo>
                      <a:pt x="6228" y="1127"/>
                    </a:lnTo>
                    <a:lnTo>
                      <a:pt x="6228" y="1127"/>
                    </a:lnTo>
                    <a:lnTo>
                      <a:pt x="6228" y="1129"/>
                    </a:lnTo>
                    <a:lnTo>
                      <a:pt x="6228" y="1143"/>
                    </a:lnTo>
                    <a:lnTo>
                      <a:pt x="6228" y="1143"/>
                    </a:lnTo>
                    <a:lnTo>
                      <a:pt x="6228" y="1127"/>
                    </a:lnTo>
                    <a:moveTo>
                      <a:pt x="1369" y="1082"/>
                    </a:moveTo>
                    <a:lnTo>
                      <a:pt x="1369" y="1082"/>
                    </a:lnTo>
                    <a:lnTo>
                      <a:pt x="1369" y="1084"/>
                    </a:lnTo>
                    <a:lnTo>
                      <a:pt x="1369" y="1108"/>
                    </a:lnTo>
                    <a:lnTo>
                      <a:pt x="1369" y="1108"/>
                    </a:lnTo>
                    <a:lnTo>
                      <a:pt x="1369" y="1105"/>
                    </a:lnTo>
                    <a:lnTo>
                      <a:pt x="1369" y="1105"/>
                    </a:lnTo>
                    <a:lnTo>
                      <a:pt x="1369" y="1082"/>
                    </a:lnTo>
                    <a:moveTo>
                      <a:pt x="2767" y="1063"/>
                    </a:moveTo>
                    <a:lnTo>
                      <a:pt x="2764" y="1063"/>
                    </a:lnTo>
                    <a:lnTo>
                      <a:pt x="2764" y="1063"/>
                    </a:lnTo>
                    <a:lnTo>
                      <a:pt x="2764" y="1063"/>
                    </a:lnTo>
                    <a:lnTo>
                      <a:pt x="2764" y="1174"/>
                    </a:lnTo>
                    <a:lnTo>
                      <a:pt x="2767" y="1174"/>
                    </a:lnTo>
                    <a:lnTo>
                      <a:pt x="2767" y="1063"/>
                    </a:lnTo>
                    <a:moveTo>
                      <a:pt x="5838" y="1041"/>
                    </a:moveTo>
                    <a:lnTo>
                      <a:pt x="5838" y="1041"/>
                    </a:lnTo>
                    <a:lnTo>
                      <a:pt x="5836" y="1041"/>
                    </a:lnTo>
                    <a:lnTo>
                      <a:pt x="5836" y="1041"/>
                    </a:lnTo>
                    <a:lnTo>
                      <a:pt x="5836" y="1063"/>
                    </a:lnTo>
                    <a:lnTo>
                      <a:pt x="5838" y="1063"/>
                    </a:lnTo>
                    <a:lnTo>
                      <a:pt x="5838" y="1041"/>
                    </a:lnTo>
                    <a:moveTo>
                      <a:pt x="2783" y="1011"/>
                    </a:moveTo>
                    <a:lnTo>
                      <a:pt x="2783" y="1011"/>
                    </a:lnTo>
                    <a:lnTo>
                      <a:pt x="2783" y="1013"/>
                    </a:lnTo>
                    <a:lnTo>
                      <a:pt x="2783" y="1044"/>
                    </a:lnTo>
                    <a:lnTo>
                      <a:pt x="2783" y="1044"/>
                    </a:lnTo>
                    <a:lnTo>
                      <a:pt x="2783" y="1044"/>
                    </a:lnTo>
                    <a:lnTo>
                      <a:pt x="2783" y="1044"/>
                    </a:lnTo>
                    <a:lnTo>
                      <a:pt x="2783" y="1011"/>
                    </a:lnTo>
                    <a:moveTo>
                      <a:pt x="3677" y="992"/>
                    </a:moveTo>
                    <a:lnTo>
                      <a:pt x="3675" y="992"/>
                    </a:lnTo>
                    <a:lnTo>
                      <a:pt x="3675" y="994"/>
                    </a:lnTo>
                    <a:lnTo>
                      <a:pt x="3675" y="1162"/>
                    </a:lnTo>
                    <a:lnTo>
                      <a:pt x="3677" y="1162"/>
                    </a:lnTo>
                    <a:lnTo>
                      <a:pt x="3677" y="1160"/>
                    </a:lnTo>
                    <a:lnTo>
                      <a:pt x="3677" y="1160"/>
                    </a:lnTo>
                    <a:lnTo>
                      <a:pt x="3677" y="992"/>
                    </a:lnTo>
                    <a:moveTo>
                      <a:pt x="5855" y="989"/>
                    </a:moveTo>
                    <a:lnTo>
                      <a:pt x="5855" y="989"/>
                    </a:lnTo>
                    <a:lnTo>
                      <a:pt x="5855" y="992"/>
                    </a:lnTo>
                    <a:lnTo>
                      <a:pt x="5855" y="1025"/>
                    </a:lnTo>
                    <a:lnTo>
                      <a:pt x="5855" y="1025"/>
                    </a:lnTo>
                    <a:lnTo>
                      <a:pt x="5855" y="1022"/>
                    </a:lnTo>
                    <a:lnTo>
                      <a:pt x="5855" y="1022"/>
                    </a:lnTo>
                    <a:lnTo>
                      <a:pt x="5855" y="989"/>
                    </a:lnTo>
                    <a:moveTo>
                      <a:pt x="6247" y="935"/>
                    </a:moveTo>
                    <a:lnTo>
                      <a:pt x="6245" y="935"/>
                    </a:lnTo>
                    <a:lnTo>
                      <a:pt x="6245" y="937"/>
                    </a:lnTo>
                    <a:lnTo>
                      <a:pt x="6245" y="1110"/>
                    </a:lnTo>
                    <a:lnTo>
                      <a:pt x="6245" y="1110"/>
                    </a:lnTo>
                    <a:lnTo>
                      <a:pt x="6245" y="1108"/>
                    </a:lnTo>
                    <a:lnTo>
                      <a:pt x="6247" y="1108"/>
                    </a:lnTo>
                    <a:lnTo>
                      <a:pt x="6247" y="935"/>
                    </a:lnTo>
                    <a:moveTo>
                      <a:pt x="3753" y="928"/>
                    </a:moveTo>
                    <a:lnTo>
                      <a:pt x="3750" y="928"/>
                    </a:lnTo>
                    <a:lnTo>
                      <a:pt x="3750" y="928"/>
                    </a:lnTo>
                    <a:lnTo>
                      <a:pt x="3753" y="928"/>
                    </a:lnTo>
                    <a:lnTo>
                      <a:pt x="3753" y="928"/>
                    </a:lnTo>
                    <a:moveTo>
                      <a:pt x="6297" y="878"/>
                    </a:moveTo>
                    <a:lnTo>
                      <a:pt x="6295" y="878"/>
                    </a:lnTo>
                    <a:lnTo>
                      <a:pt x="6295" y="878"/>
                    </a:lnTo>
                    <a:lnTo>
                      <a:pt x="6295" y="880"/>
                    </a:lnTo>
                    <a:lnTo>
                      <a:pt x="6295" y="887"/>
                    </a:lnTo>
                    <a:lnTo>
                      <a:pt x="6295" y="887"/>
                    </a:lnTo>
                    <a:lnTo>
                      <a:pt x="6295" y="885"/>
                    </a:lnTo>
                    <a:lnTo>
                      <a:pt x="6297" y="885"/>
                    </a:lnTo>
                    <a:lnTo>
                      <a:pt x="6297" y="878"/>
                    </a:lnTo>
                    <a:moveTo>
                      <a:pt x="6304" y="850"/>
                    </a:moveTo>
                    <a:lnTo>
                      <a:pt x="6302" y="850"/>
                    </a:lnTo>
                    <a:lnTo>
                      <a:pt x="6302" y="852"/>
                    </a:lnTo>
                    <a:lnTo>
                      <a:pt x="6302" y="871"/>
                    </a:lnTo>
                    <a:lnTo>
                      <a:pt x="6304" y="871"/>
                    </a:lnTo>
                    <a:lnTo>
                      <a:pt x="6304" y="868"/>
                    </a:lnTo>
                    <a:lnTo>
                      <a:pt x="6304" y="868"/>
                    </a:lnTo>
                    <a:lnTo>
                      <a:pt x="6304" y="850"/>
                    </a:lnTo>
                    <a:moveTo>
                      <a:pt x="3008" y="762"/>
                    </a:moveTo>
                    <a:lnTo>
                      <a:pt x="3006" y="762"/>
                    </a:lnTo>
                    <a:lnTo>
                      <a:pt x="3006" y="764"/>
                    </a:lnTo>
                    <a:lnTo>
                      <a:pt x="3006" y="913"/>
                    </a:lnTo>
                    <a:lnTo>
                      <a:pt x="3008" y="913"/>
                    </a:lnTo>
                    <a:lnTo>
                      <a:pt x="3008" y="762"/>
                    </a:lnTo>
                    <a:moveTo>
                      <a:pt x="915" y="752"/>
                    </a:moveTo>
                    <a:lnTo>
                      <a:pt x="913" y="752"/>
                    </a:lnTo>
                    <a:lnTo>
                      <a:pt x="913" y="755"/>
                    </a:lnTo>
                    <a:lnTo>
                      <a:pt x="913" y="762"/>
                    </a:lnTo>
                    <a:lnTo>
                      <a:pt x="915" y="762"/>
                    </a:lnTo>
                    <a:lnTo>
                      <a:pt x="915" y="752"/>
                    </a:lnTo>
                    <a:moveTo>
                      <a:pt x="5039" y="731"/>
                    </a:moveTo>
                    <a:lnTo>
                      <a:pt x="5037" y="731"/>
                    </a:lnTo>
                    <a:lnTo>
                      <a:pt x="5037" y="734"/>
                    </a:lnTo>
                    <a:lnTo>
                      <a:pt x="5037" y="906"/>
                    </a:lnTo>
                    <a:lnTo>
                      <a:pt x="5039" y="906"/>
                    </a:lnTo>
                    <a:lnTo>
                      <a:pt x="5039" y="731"/>
                    </a:lnTo>
                    <a:moveTo>
                      <a:pt x="3046" y="655"/>
                    </a:moveTo>
                    <a:lnTo>
                      <a:pt x="3043" y="655"/>
                    </a:lnTo>
                    <a:lnTo>
                      <a:pt x="3043" y="658"/>
                    </a:lnTo>
                    <a:lnTo>
                      <a:pt x="3043" y="724"/>
                    </a:lnTo>
                    <a:lnTo>
                      <a:pt x="3043" y="724"/>
                    </a:lnTo>
                    <a:lnTo>
                      <a:pt x="3043" y="722"/>
                    </a:lnTo>
                    <a:lnTo>
                      <a:pt x="3046" y="722"/>
                    </a:lnTo>
                    <a:lnTo>
                      <a:pt x="3046" y="655"/>
                    </a:lnTo>
                    <a:moveTo>
                      <a:pt x="3" y="615"/>
                    </a:moveTo>
                    <a:lnTo>
                      <a:pt x="0" y="615"/>
                    </a:lnTo>
                    <a:lnTo>
                      <a:pt x="0" y="618"/>
                    </a:lnTo>
                    <a:lnTo>
                      <a:pt x="0" y="1387"/>
                    </a:lnTo>
                    <a:lnTo>
                      <a:pt x="3" y="1387"/>
                    </a:lnTo>
                    <a:lnTo>
                      <a:pt x="3" y="615"/>
                    </a:lnTo>
                    <a:moveTo>
                      <a:pt x="5160" y="608"/>
                    </a:moveTo>
                    <a:lnTo>
                      <a:pt x="5157" y="608"/>
                    </a:lnTo>
                    <a:lnTo>
                      <a:pt x="5157" y="610"/>
                    </a:lnTo>
                    <a:lnTo>
                      <a:pt x="5157" y="665"/>
                    </a:lnTo>
                    <a:lnTo>
                      <a:pt x="5160" y="665"/>
                    </a:lnTo>
                    <a:lnTo>
                      <a:pt x="5160" y="608"/>
                    </a:lnTo>
                    <a:moveTo>
                      <a:pt x="3190" y="582"/>
                    </a:moveTo>
                    <a:lnTo>
                      <a:pt x="3188" y="582"/>
                    </a:lnTo>
                    <a:lnTo>
                      <a:pt x="3188" y="582"/>
                    </a:lnTo>
                    <a:lnTo>
                      <a:pt x="3188" y="582"/>
                    </a:lnTo>
                    <a:lnTo>
                      <a:pt x="3188" y="591"/>
                    </a:lnTo>
                    <a:lnTo>
                      <a:pt x="3190" y="591"/>
                    </a:lnTo>
                    <a:lnTo>
                      <a:pt x="3190" y="582"/>
                    </a:lnTo>
                    <a:moveTo>
                      <a:pt x="208" y="546"/>
                    </a:moveTo>
                    <a:lnTo>
                      <a:pt x="206" y="546"/>
                    </a:lnTo>
                    <a:lnTo>
                      <a:pt x="206" y="549"/>
                    </a:lnTo>
                    <a:lnTo>
                      <a:pt x="206" y="551"/>
                    </a:lnTo>
                    <a:lnTo>
                      <a:pt x="208" y="551"/>
                    </a:lnTo>
                    <a:lnTo>
                      <a:pt x="208" y="546"/>
                    </a:lnTo>
                    <a:moveTo>
                      <a:pt x="6933" y="509"/>
                    </a:moveTo>
                    <a:lnTo>
                      <a:pt x="6931" y="509"/>
                    </a:lnTo>
                    <a:lnTo>
                      <a:pt x="6931" y="509"/>
                    </a:lnTo>
                    <a:lnTo>
                      <a:pt x="6931" y="1027"/>
                    </a:lnTo>
                    <a:lnTo>
                      <a:pt x="6933" y="1027"/>
                    </a:lnTo>
                    <a:lnTo>
                      <a:pt x="6933" y="509"/>
                    </a:lnTo>
                    <a:moveTo>
                      <a:pt x="4100" y="502"/>
                    </a:moveTo>
                    <a:lnTo>
                      <a:pt x="4100" y="502"/>
                    </a:lnTo>
                    <a:lnTo>
                      <a:pt x="4098" y="504"/>
                    </a:lnTo>
                    <a:lnTo>
                      <a:pt x="4086" y="523"/>
                    </a:lnTo>
                    <a:lnTo>
                      <a:pt x="4086" y="523"/>
                    </a:lnTo>
                    <a:lnTo>
                      <a:pt x="4100" y="502"/>
                    </a:lnTo>
                    <a:moveTo>
                      <a:pt x="3206" y="499"/>
                    </a:moveTo>
                    <a:lnTo>
                      <a:pt x="3206" y="499"/>
                    </a:lnTo>
                    <a:lnTo>
                      <a:pt x="3204" y="499"/>
                    </a:lnTo>
                    <a:lnTo>
                      <a:pt x="3204" y="502"/>
                    </a:lnTo>
                    <a:lnTo>
                      <a:pt x="3204" y="563"/>
                    </a:lnTo>
                    <a:lnTo>
                      <a:pt x="3206" y="563"/>
                    </a:lnTo>
                    <a:lnTo>
                      <a:pt x="3206" y="563"/>
                    </a:lnTo>
                    <a:lnTo>
                      <a:pt x="3206" y="563"/>
                    </a:lnTo>
                    <a:lnTo>
                      <a:pt x="3206" y="499"/>
                    </a:lnTo>
                    <a:moveTo>
                      <a:pt x="3944" y="454"/>
                    </a:moveTo>
                    <a:lnTo>
                      <a:pt x="3942" y="454"/>
                    </a:lnTo>
                    <a:lnTo>
                      <a:pt x="3942" y="454"/>
                    </a:lnTo>
                    <a:lnTo>
                      <a:pt x="3942" y="454"/>
                    </a:lnTo>
                    <a:lnTo>
                      <a:pt x="3942" y="490"/>
                    </a:lnTo>
                    <a:lnTo>
                      <a:pt x="3859" y="641"/>
                    </a:lnTo>
                    <a:lnTo>
                      <a:pt x="3859" y="861"/>
                    </a:lnTo>
                    <a:lnTo>
                      <a:pt x="3861" y="861"/>
                    </a:lnTo>
                    <a:lnTo>
                      <a:pt x="3861" y="641"/>
                    </a:lnTo>
                    <a:lnTo>
                      <a:pt x="3944" y="487"/>
                    </a:lnTo>
                    <a:lnTo>
                      <a:pt x="3944" y="454"/>
                    </a:lnTo>
                    <a:moveTo>
                      <a:pt x="3235" y="433"/>
                    </a:moveTo>
                    <a:lnTo>
                      <a:pt x="3232" y="433"/>
                    </a:lnTo>
                    <a:lnTo>
                      <a:pt x="3232" y="435"/>
                    </a:lnTo>
                    <a:lnTo>
                      <a:pt x="3232" y="473"/>
                    </a:lnTo>
                    <a:lnTo>
                      <a:pt x="3235" y="473"/>
                    </a:lnTo>
                    <a:lnTo>
                      <a:pt x="3235" y="471"/>
                    </a:lnTo>
                    <a:lnTo>
                      <a:pt x="3235" y="471"/>
                    </a:lnTo>
                    <a:lnTo>
                      <a:pt x="3235" y="433"/>
                    </a:lnTo>
                    <a:moveTo>
                      <a:pt x="3949" y="390"/>
                    </a:moveTo>
                    <a:lnTo>
                      <a:pt x="3947" y="390"/>
                    </a:lnTo>
                    <a:lnTo>
                      <a:pt x="3947" y="390"/>
                    </a:lnTo>
                    <a:lnTo>
                      <a:pt x="3947" y="393"/>
                    </a:lnTo>
                    <a:lnTo>
                      <a:pt x="3947" y="447"/>
                    </a:lnTo>
                    <a:lnTo>
                      <a:pt x="3949" y="447"/>
                    </a:lnTo>
                    <a:lnTo>
                      <a:pt x="3949" y="445"/>
                    </a:lnTo>
                    <a:lnTo>
                      <a:pt x="3949" y="445"/>
                    </a:lnTo>
                    <a:lnTo>
                      <a:pt x="3949" y="390"/>
                    </a:lnTo>
                    <a:moveTo>
                      <a:pt x="1717" y="367"/>
                    </a:moveTo>
                    <a:lnTo>
                      <a:pt x="1714" y="367"/>
                    </a:lnTo>
                    <a:lnTo>
                      <a:pt x="1714" y="369"/>
                    </a:lnTo>
                    <a:lnTo>
                      <a:pt x="1714" y="1065"/>
                    </a:lnTo>
                    <a:lnTo>
                      <a:pt x="1717" y="1065"/>
                    </a:lnTo>
                    <a:lnTo>
                      <a:pt x="1717" y="367"/>
                    </a:lnTo>
                    <a:moveTo>
                      <a:pt x="3956" y="326"/>
                    </a:moveTo>
                    <a:lnTo>
                      <a:pt x="3956" y="326"/>
                    </a:lnTo>
                    <a:lnTo>
                      <a:pt x="3956" y="329"/>
                    </a:lnTo>
                    <a:lnTo>
                      <a:pt x="3956" y="383"/>
                    </a:lnTo>
                    <a:lnTo>
                      <a:pt x="3956" y="383"/>
                    </a:lnTo>
                    <a:lnTo>
                      <a:pt x="3956" y="381"/>
                    </a:lnTo>
                    <a:lnTo>
                      <a:pt x="3956" y="381"/>
                    </a:lnTo>
                    <a:lnTo>
                      <a:pt x="3956" y="326"/>
                    </a:lnTo>
                    <a:moveTo>
                      <a:pt x="4609" y="232"/>
                    </a:moveTo>
                    <a:lnTo>
                      <a:pt x="4609" y="232"/>
                    </a:lnTo>
                    <a:lnTo>
                      <a:pt x="4609" y="232"/>
                    </a:lnTo>
                    <a:lnTo>
                      <a:pt x="4550" y="442"/>
                    </a:lnTo>
                    <a:lnTo>
                      <a:pt x="4552" y="442"/>
                    </a:lnTo>
                    <a:lnTo>
                      <a:pt x="4609" y="232"/>
                    </a:lnTo>
                    <a:moveTo>
                      <a:pt x="4760" y="0"/>
                    </a:moveTo>
                    <a:lnTo>
                      <a:pt x="4758" y="0"/>
                    </a:lnTo>
                    <a:lnTo>
                      <a:pt x="4758" y="2"/>
                    </a:lnTo>
                    <a:lnTo>
                      <a:pt x="4758" y="123"/>
                    </a:lnTo>
                    <a:lnTo>
                      <a:pt x="4758" y="123"/>
                    </a:lnTo>
                    <a:lnTo>
                      <a:pt x="4758" y="120"/>
                    </a:lnTo>
                    <a:lnTo>
                      <a:pt x="4760" y="120"/>
                    </a:lnTo>
                    <a:lnTo>
                      <a:pt x="47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4" name="Freeform 76"/>
              <p:cNvSpPr>
                <a:spLocks noEditPoints="1"/>
              </p:cNvSpPr>
              <p:nvPr/>
            </p:nvSpPr>
            <p:spPr bwMode="auto">
              <a:xfrm>
                <a:off x="78" y="1724"/>
                <a:ext cx="6930" cy="1390"/>
              </a:xfrm>
              <a:custGeom>
                <a:avLst/>
                <a:gdLst>
                  <a:gd name="T0" fmla="*/ 3615 w 6930"/>
                  <a:gd name="T1" fmla="*/ 1253 h 1390"/>
                  <a:gd name="T2" fmla="*/ 5736 w 6930"/>
                  <a:gd name="T3" fmla="*/ 1208 h 1390"/>
                  <a:gd name="T4" fmla="*/ 5736 w 6930"/>
                  <a:gd name="T5" fmla="*/ 1262 h 1390"/>
                  <a:gd name="T6" fmla="*/ 1593 w 6930"/>
                  <a:gd name="T7" fmla="*/ 1134 h 1390"/>
                  <a:gd name="T8" fmla="*/ 1593 w 6930"/>
                  <a:gd name="T9" fmla="*/ 1132 h 1390"/>
                  <a:gd name="T10" fmla="*/ 5760 w 6930"/>
                  <a:gd name="T11" fmla="*/ 1130 h 1390"/>
                  <a:gd name="T12" fmla="*/ 5762 w 6930"/>
                  <a:gd name="T13" fmla="*/ 1184 h 1390"/>
                  <a:gd name="T14" fmla="*/ 6225 w 6930"/>
                  <a:gd name="T15" fmla="*/ 1127 h 1390"/>
                  <a:gd name="T16" fmla="*/ 6228 w 6930"/>
                  <a:gd name="T17" fmla="*/ 1127 h 1390"/>
                  <a:gd name="T18" fmla="*/ 1366 w 6930"/>
                  <a:gd name="T19" fmla="*/ 1108 h 1390"/>
                  <a:gd name="T20" fmla="*/ 1369 w 6930"/>
                  <a:gd name="T21" fmla="*/ 1085 h 1390"/>
                  <a:gd name="T22" fmla="*/ 2764 w 6930"/>
                  <a:gd name="T23" fmla="*/ 1066 h 1390"/>
                  <a:gd name="T24" fmla="*/ 5835 w 6930"/>
                  <a:gd name="T25" fmla="*/ 1042 h 1390"/>
                  <a:gd name="T26" fmla="*/ 5835 w 6930"/>
                  <a:gd name="T27" fmla="*/ 1066 h 1390"/>
                  <a:gd name="T28" fmla="*/ 2780 w 6930"/>
                  <a:gd name="T29" fmla="*/ 1014 h 1390"/>
                  <a:gd name="T30" fmla="*/ 2783 w 6930"/>
                  <a:gd name="T31" fmla="*/ 1044 h 1390"/>
                  <a:gd name="T32" fmla="*/ 3674 w 6930"/>
                  <a:gd name="T33" fmla="*/ 995 h 1390"/>
                  <a:gd name="T34" fmla="*/ 3676 w 6930"/>
                  <a:gd name="T35" fmla="*/ 1160 h 1390"/>
                  <a:gd name="T36" fmla="*/ 5852 w 6930"/>
                  <a:gd name="T37" fmla="*/ 990 h 1390"/>
                  <a:gd name="T38" fmla="*/ 5854 w 6930"/>
                  <a:gd name="T39" fmla="*/ 1023 h 1390"/>
                  <a:gd name="T40" fmla="*/ 6244 w 6930"/>
                  <a:gd name="T41" fmla="*/ 935 h 1390"/>
                  <a:gd name="T42" fmla="*/ 6244 w 6930"/>
                  <a:gd name="T43" fmla="*/ 1111 h 1390"/>
                  <a:gd name="T44" fmla="*/ 3750 w 6930"/>
                  <a:gd name="T45" fmla="*/ 928 h 1390"/>
                  <a:gd name="T46" fmla="*/ 3750 w 6930"/>
                  <a:gd name="T47" fmla="*/ 928 h 1390"/>
                  <a:gd name="T48" fmla="*/ 6294 w 6930"/>
                  <a:gd name="T49" fmla="*/ 881 h 1390"/>
                  <a:gd name="T50" fmla="*/ 6294 w 6930"/>
                  <a:gd name="T51" fmla="*/ 886 h 1390"/>
                  <a:gd name="T52" fmla="*/ 6301 w 6930"/>
                  <a:gd name="T53" fmla="*/ 853 h 1390"/>
                  <a:gd name="T54" fmla="*/ 6303 w 6930"/>
                  <a:gd name="T55" fmla="*/ 869 h 1390"/>
                  <a:gd name="T56" fmla="*/ 3005 w 6930"/>
                  <a:gd name="T57" fmla="*/ 765 h 1390"/>
                  <a:gd name="T58" fmla="*/ 915 w 6930"/>
                  <a:gd name="T59" fmla="*/ 753 h 1390"/>
                  <a:gd name="T60" fmla="*/ 915 w 6930"/>
                  <a:gd name="T61" fmla="*/ 765 h 1390"/>
                  <a:gd name="T62" fmla="*/ 5036 w 6930"/>
                  <a:gd name="T63" fmla="*/ 734 h 1390"/>
                  <a:gd name="T64" fmla="*/ 3045 w 6930"/>
                  <a:gd name="T65" fmla="*/ 656 h 1390"/>
                  <a:gd name="T66" fmla="*/ 3043 w 6930"/>
                  <a:gd name="T67" fmla="*/ 725 h 1390"/>
                  <a:gd name="T68" fmla="*/ 2 w 6930"/>
                  <a:gd name="T69" fmla="*/ 616 h 1390"/>
                  <a:gd name="T70" fmla="*/ 2 w 6930"/>
                  <a:gd name="T71" fmla="*/ 1390 h 1390"/>
                  <a:gd name="T72" fmla="*/ 5157 w 6930"/>
                  <a:gd name="T73" fmla="*/ 611 h 1390"/>
                  <a:gd name="T74" fmla="*/ 3187 w 6930"/>
                  <a:gd name="T75" fmla="*/ 583 h 1390"/>
                  <a:gd name="T76" fmla="*/ 3187 w 6930"/>
                  <a:gd name="T77" fmla="*/ 594 h 1390"/>
                  <a:gd name="T78" fmla="*/ 205 w 6930"/>
                  <a:gd name="T79" fmla="*/ 547 h 1390"/>
                  <a:gd name="T80" fmla="*/ 208 w 6930"/>
                  <a:gd name="T81" fmla="*/ 547 h 1390"/>
                  <a:gd name="T82" fmla="*/ 6930 w 6930"/>
                  <a:gd name="T83" fmla="*/ 1030 h 1390"/>
                  <a:gd name="T84" fmla="*/ 4097 w 6930"/>
                  <a:gd name="T85" fmla="*/ 502 h 1390"/>
                  <a:gd name="T86" fmla="*/ 4100 w 6930"/>
                  <a:gd name="T87" fmla="*/ 502 h 1390"/>
                  <a:gd name="T88" fmla="*/ 3203 w 6930"/>
                  <a:gd name="T89" fmla="*/ 502 h 1390"/>
                  <a:gd name="T90" fmla="*/ 3206 w 6930"/>
                  <a:gd name="T91" fmla="*/ 564 h 1390"/>
                  <a:gd name="T92" fmla="*/ 3941 w 6930"/>
                  <a:gd name="T93" fmla="*/ 455 h 1390"/>
                  <a:gd name="T94" fmla="*/ 3858 w 6930"/>
                  <a:gd name="T95" fmla="*/ 864 h 1390"/>
                  <a:gd name="T96" fmla="*/ 3941 w 6930"/>
                  <a:gd name="T97" fmla="*/ 455 h 1390"/>
                  <a:gd name="T98" fmla="*/ 3232 w 6930"/>
                  <a:gd name="T99" fmla="*/ 474 h 1390"/>
                  <a:gd name="T100" fmla="*/ 3234 w 6930"/>
                  <a:gd name="T101" fmla="*/ 433 h 1390"/>
                  <a:gd name="T102" fmla="*/ 3946 w 6930"/>
                  <a:gd name="T103" fmla="*/ 393 h 1390"/>
                  <a:gd name="T104" fmla="*/ 3948 w 6930"/>
                  <a:gd name="T105" fmla="*/ 448 h 1390"/>
                  <a:gd name="T106" fmla="*/ 1714 w 6930"/>
                  <a:gd name="T107" fmla="*/ 370 h 1390"/>
                  <a:gd name="T108" fmla="*/ 3955 w 6930"/>
                  <a:gd name="T109" fmla="*/ 327 h 1390"/>
                  <a:gd name="T110" fmla="*/ 3955 w 6930"/>
                  <a:gd name="T111" fmla="*/ 384 h 1390"/>
                  <a:gd name="T112" fmla="*/ 4608 w 6930"/>
                  <a:gd name="T113" fmla="*/ 232 h 1390"/>
                  <a:gd name="T114" fmla="*/ 4551 w 6930"/>
                  <a:gd name="T115" fmla="*/ 445 h 1390"/>
                  <a:gd name="T116" fmla="*/ 4757 w 6930"/>
                  <a:gd name="T117" fmla="*/ 3 h 1390"/>
                  <a:gd name="T118" fmla="*/ 4757 w 6930"/>
                  <a:gd name="T119" fmla="*/ 123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0">
                    <a:moveTo>
                      <a:pt x="3617" y="1222"/>
                    </a:moveTo>
                    <a:lnTo>
                      <a:pt x="3615" y="1222"/>
                    </a:lnTo>
                    <a:lnTo>
                      <a:pt x="3615" y="1224"/>
                    </a:lnTo>
                    <a:lnTo>
                      <a:pt x="3615" y="1253"/>
                    </a:lnTo>
                    <a:lnTo>
                      <a:pt x="3617" y="1253"/>
                    </a:lnTo>
                    <a:lnTo>
                      <a:pt x="3617" y="1222"/>
                    </a:lnTo>
                    <a:close/>
                    <a:moveTo>
                      <a:pt x="5736" y="1208"/>
                    </a:moveTo>
                    <a:lnTo>
                      <a:pt x="5736" y="1208"/>
                    </a:lnTo>
                    <a:lnTo>
                      <a:pt x="5734" y="1208"/>
                    </a:lnTo>
                    <a:lnTo>
                      <a:pt x="5734" y="1210"/>
                    </a:lnTo>
                    <a:lnTo>
                      <a:pt x="5734" y="1262"/>
                    </a:lnTo>
                    <a:lnTo>
                      <a:pt x="5736" y="1262"/>
                    </a:lnTo>
                    <a:lnTo>
                      <a:pt x="5736" y="1208"/>
                    </a:lnTo>
                    <a:close/>
                    <a:moveTo>
                      <a:pt x="1593" y="1132"/>
                    </a:moveTo>
                    <a:lnTo>
                      <a:pt x="1593" y="1132"/>
                    </a:lnTo>
                    <a:lnTo>
                      <a:pt x="1593" y="1134"/>
                    </a:lnTo>
                    <a:lnTo>
                      <a:pt x="1593" y="1134"/>
                    </a:lnTo>
                    <a:lnTo>
                      <a:pt x="1593" y="1134"/>
                    </a:lnTo>
                    <a:lnTo>
                      <a:pt x="1593" y="1132"/>
                    </a:lnTo>
                    <a:lnTo>
                      <a:pt x="1593" y="1132"/>
                    </a:lnTo>
                    <a:lnTo>
                      <a:pt x="1593" y="1132"/>
                    </a:lnTo>
                    <a:close/>
                    <a:moveTo>
                      <a:pt x="5762" y="1127"/>
                    </a:moveTo>
                    <a:lnTo>
                      <a:pt x="5760" y="1127"/>
                    </a:lnTo>
                    <a:lnTo>
                      <a:pt x="5760" y="1130"/>
                    </a:lnTo>
                    <a:lnTo>
                      <a:pt x="5760" y="1184"/>
                    </a:lnTo>
                    <a:lnTo>
                      <a:pt x="5760" y="1184"/>
                    </a:lnTo>
                    <a:lnTo>
                      <a:pt x="5760" y="1184"/>
                    </a:lnTo>
                    <a:lnTo>
                      <a:pt x="5762" y="1184"/>
                    </a:lnTo>
                    <a:lnTo>
                      <a:pt x="5762" y="1127"/>
                    </a:lnTo>
                    <a:close/>
                    <a:moveTo>
                      <a:pt x="6228" y="1127"/>
                    </a:moveTo>
                    <a:lnTo>
                      <a:pt x="6228" y="1127"/>
                    </a:lnTo>
                    <a:lnTo>
                      <a:pt x="6225" y="1127"/>
                    </a:lnTo>
                    <a:lnTo>
                      <a:pt x="6225" y="1130"/>
                    </a:lnTo>
                    <a:lnTo>
                      <a:pt x="6225" y="1146"/>
                    </a:lnTo>
                    <a:lnTo>
                      <a:pt x="6228" y="1146"/>
                    </a:lnTo>
                    <a:lnTo>
                      <a:pt x="6228" y="1127"/>
                    </a:lnTo>
                    <a:close/>
                    <a:moveTo>
                      <a:pt x="1369" y="1085"/>
                    </a:moveTo>
                    <a:lnTo>
                      <a:pt x="1366" y="1085"/>
                    </a:lnTo>
                    <a:lnTo>
                      <a:pt x="1366" y="1085"/>
                    </a:lnTo>
                    <a:lnTo>
                      <a:pt x="1366" y="1108"/>
                    </a:lnTo>
                    <a:lnTo>
                      <a:pt x="1369" y="1108"/>
                    </a:lnTo>
                    <a:lnTo>
                      <a:pt x="1369" y="1108"/>
                    </a:lnTo>
                    <a:lnTo>
                      <a:pt x="1369" y="1108"/>
                    </a:lnTo>
                    <a:lnTo>
                      <a:pt x="1369" y="1085"/>
                    </a:lnTo>
                    <a:close/>
                    <a:moveTo>
                      <a:pt x="2766" y="1063"/>
                    </a:moveTo>
                    <a:lnTo>
                      <a:pt x="2764" y="1063"/>
                    </a:lnTo>
                    <a:lnTo>
                      <a:pt x="2764" y="1063"/>
                    </a:lnTo>
                    <a:lnTo>
                      <a:pt x="2764" y="1066"/>
                    </a:lnTo>
                    <a:lnTo>
                      <a:pt x="2764" y="1177"/>
                    </a:lnTo>
                    <a:lnTo>
                      <a:pt x="2766" y="1177"/>
                    </a:lnTo>
                    <a:lnTo>
                      <a:pt x="2766" y="1063"/>
                    </a:lnTo>
                    <a:close/>
                    <a:moveTo>
                      <a:pt x="5835" y="1042"/>
                    </a:moveTo>
                    <a:lnTo>
                      <a:pt x="5835" y="1042"/>
                    </a:lnTo>
                    <a:lnTo>
                      <a:pt x="5835" y="1042"/>
                    </a:lnTo>
                    <a:lnTo>
                      <a:pt x="5835" y="1044"/>
                    </a:lnTo>
                    <a:lnTo>
                      <a:pt x="5835" y="1066"/>
                    </a:lnTo>
                    <a:lnTo>
                      <a:pt x="5835" y="1066"/>
                    </a:lnTo>
                    <a:lnTo>
                      <a:pt x="5835" y="1042"/>
                    </a:lnTo>
                    <a:close/>
                    <a:moveTo>
                      <a:pt x="2783" y="1011"/>
                    </a:moveTo>
                    <a:lnTo>
                      <a:pt x="2780" y="1014"/>
                    </a:lnTo>
                    <a:lnTo>
                      <a:pt x="2780" y="1014"/>
                    </a:lnTo>
                    <a:lnTo>
                      <a:pt x="2780" y="1047"/>
                    </a:lnTo>
                    <a:lnTo>
                      <a:pt x="2783" y="1047"/>
                    </a:lnTo>
                    <a:lnTo>
                      <a:pt x="2783" y="1044"/>
                    </a:lnTo>
                    <a:lnTo>
                      <a:pt x="2783" y="1044"/>
                    </a:lnTo>
                    <a:lnTo>
                      <a:pt x="2783" y="1011"/>
                    </a:lnTo>
                    <a:close/>
                    <a:moveTo>
                      <a:pt x="3676" y="995"/>
                    </a:moveTo>
                    <a:lnTo>
                      <a:pt x="3674" y="995"/>
                    </a:lnTo>
                    <a:lnTo>
                      <a:pt x="3674" y="995"/>
                    </a:lnTo>
                    <a:lnTo>
                      <a:pt x="3674" y="1163"/>
                    </a:lnTo>
                    <a:lnTo>
                      <a:pt x="3676" y="1163"/>
                    </a:lnTo>
                    <a:lnTo>
                      <a:pt x="3676" y="1160"/>
                    </a:lnTo>
                    <a:lnTo>
                      <a:pt x="3676" y="1160"/>
                    </a:lnTo>
                    <a:lnTo>
                      <a:pt x="3676" y="995"/>
                    </a:lnTo>
                    <a:close/>
                    <a:moveTo>
                      <a:pt x="5854" y="990"/>
                    </a:moveTo>
                    <a:lnTo>
                      <a:pt x="5852" y="990"/>
                    </a:lnTo>
                    <a:lnTo>
                      <a:pt x="5852" y="992"/>
                    </a:lnTo>
                    <a:lnTo>
                      <a:pt x="5852" y="1025"/>
                    </a:lnTo>
                    <a:lnTo>
                      <a:pt x="5854" y="1025"/>
                    </a:lnTo>
                    <a:lnTo>
                      <a:pt x="5854" y="1023"/>
                    </a:lnTo>
                    <a:lnTo>
                      <a:pt x="5854" y="1023"/>
                    </a:lnTo>
                    <a:lnTo>
                      <a:pt x="5854" y="990"/>
                    </a:lnTo>
                    <a:close/>
                    <a:moveTo>
                      <a:pt x="6244" y="935"/>
                    </a:moveTo>
                    <a:lnTo>
                      <a:pt x="6244" y="935"/>
                    </a:lnTo>
                    <a:lnTo>
                      <a:pt x="6244" y="938"/>
                    </a:lnTo>
                    <a:lnTo>
                      <a:pt x="6244" y="1111"/>
                    </a:lnTo>
                    <a:lnTo>
                      <a:pt x="6244" y="1111"/>
                    </a:lnTo>
                    <a:lnTo>
                      <a:pt x="6244" y="1111"/>
                    </a:lnTo>
                    <a:lnTo>
                      <a:pt x="6244" y="1111"/>
                    </a:lnTo>
                    <a:lnTo>
                      <a:pt x="6244" y="935"/>
                    </a:lnTo>
                    <a:close/>
                    <a:moveTo>
                      <a:pt x="3750" y="928"/>
                    </a:moveTo>
                    <a:lnTo>
                      <a:pt x="3750" y="928"/>
                    </a:lnTo>
                    <a:lnTo>
                      <a:pt x="3750" y="931"/>
                    </a:lnTo>
                    <a:lnTo>
                      <a:pt x="3750" y="931"/>
                    </a:lnTo>
                    <a:lnTo>
                      <a:pt x="3750" y="931"/>
                    </a:lnTo>
                    <a:lnTo>
                      <a:pt x="3750" y="928"/>
                    </a:lnTo>
                    <a:close/>
                    <a:moveTo>
                      <a:pt x="6294" y="879"/>
                    </a:moveTo>
                    <a:lnTo>
                      <a:pt x="6294" y="879"/>
                    </a:lnTo>
                    <a:lnTo>
                      <a:pt x="6294" y="879"/>
                    </a:lnTo>
                    <a:lnTo>
                      <a:pt x="6294" y="881"/>
                    </a:lnTo>
                    <a:lnTo>
                      <a:pt x="6294" y="888"/>
                    </a:lnTo>
                    <a:lnTo>
                      <a:pt x="6294" y="888"/>
                    </a:lnTo>
                    <a:lnTo>
                      <a:pt x="6294" y="886"/>
                    </a:lnTo>
                    <a:lnTo>
                      <a:pt x="6294" y="886"/>
                    </a:lnTo>
                    <a:lnTo>
                      <a:pt x="6294" y="879"/>
                    </a:lnTo>
                    <a:close/>
                    <a:moveTo>
                      <a:pt x="6303" y="850"/>
                    </a:moveTo>
                    <a:lnTo>
                      <a:pt x="6301" y="850"/>
                    </a:lnTo>
                    <a:lnTo>
                      <a:pt x="6301" y="853"/>
                    </a:lnTo>
                    <a:lnTo>
                      <a:pt x="6301" y="871"/>
                    </a:lnTo>
                    <a:lnTo>
                      <a:pt x="6303" y="871"/>
                    </a:lnTo>
                    <a:lnTo>
                      <a:pt x="6303" y="869"/>
                    </a:lnTo>
                    <a:lnTo>
                      <a:pt x="6303" y="869"/>
                    </a:lnTo>
                    <a:lnTo>
                      <a:pt x="6303" y="850"/>
                    </a:lnTo>
                    <a:close/>
                    <a:moveTo>
                      <a:pt x="3005" y="763"/>
                    </a:moveTo>
                    <a:lnTo>
                      <a:pt x="3005" y="763"/>
                    </a:lnTo>
                    <a:lnTo>
                      <a:pt x="3005" y="765"/>
                    </a:lnTo>
                    <a:lnTo>
                      <a:pt x="3005" y="916"/>
                    </a:lnTo>
                    <a:lnTo>
                      <a:pt x="3005" y="916"/>
                    </a:lnTo>
                    <a:lnTo>
                      <a:pt x="3005" y="763"/>
                    </a:lnTo>
                    <a:close/>
                    <a:moveTo>
                      <a:pt x="915" y="753"/>
                    </a:moveTo>
                    <a:lnTo>
                      <a:pt x="912" y="753"/>
                    </a:lnTo>
                    <a:lnTo>
                      <a:pt x="912" y="755"/>
                    </a:lnTo>
                    <a:lnTo>
                      <a:pt x="912" y="765"/>
                    </a:lnTo>
                    <a:lnTo>
                      <a:pt x="915" y="765"/>
                    </a:lnTo>
                    <a:lnTo>
                      <a:pt x="915" y="753"/>
                    </a:lnTo>
                    <a:close/>
                    <a:moveTo>
                      <a:pt x="5038" y="732"/>
                    </a:moveTo>
                    <a:lnTo>
                      <a:pt x="5036" y="732"/>
                    </a:lnTo>
                    <a:lnTo>
                      <a:pt x="5036" y="734"/>
                    </a:lnTo>
                    <a:lnTo>
                      <a:pt x="5036" y="909"/>
                    </a:lnTo>
                    <a:lnTo>
                      <a:pt x="5038" y="909"/>
                    </a:lnTo>
                    <a:lnTo>
                      <a:pt x="5038" y="732"/>
                    </a:lnTo>
                    <a:close/>
                    <a:moveTo>
                      <a:pt x="3045" y="656"/>
                    </a:moveTo>
                    <a:lnTo>
                      <a:pt x="3043" y="656"/>
                    </a:lnTo>
                    <a:lnTo>
                      <a:pt x="3043" y="658"/>
                    </a:lnTo>
                    <a:lnTo>
                      <a:pt x="3043" y="725"/>
                    </a:lnTo>
                    <a:lnTo>
                      <a:pt x="3043" y="725"/>
                    </a:lnTo>
                    <a:lnTo>
                      <a:pt x="3043" y="725"/>
                    </a:lnTo>
                    <a:lnTo>
                      <a:pt x="3045" y="725"/>
                    </a:lnTo>
                    <a:lnTo>
                      <a:pt x="3045" y="656"/>
                    </a:lnTo>
                    <a:close/>
                    <a:moveTo>
                      <a:pt x="2" y="616"/>
                    </a:moveTo>
                    <a:lnTo>
                      <a:pt x="0" y="616"/>
                    </a:lnTo>
                    <a:lnTo>
                      <a:pt x="0" y="618"/>
                    </a:lnTo>
                    <a:lnTo>
                      <a:pt x="0" y="1390"/>
                    </a:lnTo>
                    <a:lnTo>
                      <a:pt x="2" y="1390"/>
                    </a:lnTo>
                    <a:lnTo>
                      <a:pt x="2" y="616"/>
                    </a:lnTo>
                    <a:close/>
                    <a:moveTo>
                      <a:pt x="5159" y="609"/>
                    </a:moveTo>
                    <a:lnTo>
                      <a:pt x="5157" y="609"/>
                    </a:lnTo>
                    <a:lnTo>
                      <a:pt x="5157" y="611"/>
                    </a:lnTo>
                    <a:lnTo>
                      <a:pt x="5157" y="668"/>
                    </a:lnTo>
                    <a:lnTo>
                      <a:pt x="5159" y="668"/>
                    </a:lnTo>
                    <a:lnTo>
                      <a:pt x="5159" y="609"/>
                    </a:lnTo>
                    <a:close/>
                    <a:moveTo>
                      <a:pt x="3187" y="583"/>
                    </a:moveTo>
                    <a:lnTo>
                      <a:pt x="3187" y="583"/>
                    </a:lnTo>
                    <a:lnTo>
                      <a:pt x="3187" y="583"/>
                    </a:lnTo>
                    <a:lnTo>
                      <a:pt x="3187" y="585"/>
                    </a:lnTo>
                    <a:lnTo>
                      <a:pt x="3187" y="594"/>
                    </a:lnTo>
                    <a:lnTo>
                      <a:pt x="3187" y="594"/>
                    </a:lnTo>
                    <a:lnTo>
                      <a:pt x="3187" y="583"/>
                    </a:lnTo>
                    <a:close/>
                    <a:moveTo>
                      <a:pt x="208" y="547"/>
                    </a:moveTo>
                    <a:lnTo>
                      <a:pt x="205" y="547"/>
                    </a:lnTo>
                    <a:lnTo>
                      <a:pt x="205" y="549"/>
                    </a:lnTo>
                    <a:lnTo>
                      <a:pt x="205" y="554"/>
                    </a:lnTo>
                    <a:lnTo>
                      <a:pt x="208" y="554"/>
                    </a:lnTo>
                    <a:lnTo>
                      <a:pt x="208" y="547"/>
                    </a:lnTo>
                    <a:close/>
                    <a:moveTo>
                      <a:pt x="6930" y="509"/>
                    </a:moveTo>
                    <a:lnTo>
                      <a:pt x="6930" y="509"/>
                    </a:lnTo>
                    <a:lnTo>
                      <a:pt x="6930" y="512"/>
                    </a:lnTo>
                    <a:lnTo>
                      <a:pt x="6930" y="1030"/>
                    </a:lnTo>
                    <a:lnTo>
                      <a:pt x="6930" y="1030"/>
                    </a:lnTo>
                    <a:lnTo>
                      <a:pt x="6930" y="509"/>
                    </a:lnTo>
                    <a:close/>
                    <a:moveTo>
                      <a:pt x="4100" y="502"/>
                    </a:moveTo>
                    <a:lnTo>
                      <a:pt x="4097" y="502"/>
                    </a:lnTo>
                    <a:lnTo>
                      <a:pt x="4097" y="505"/>
                    </a:lnTo>
                    <a:lnTo>
                      <a:pt x="4083" y="526"/>
                    </a:lnTo>
                    <a:lnTo>
                      <a:pt x="4083" y="526"/>
                    </a:lnTo>
                    <a:lnTo>
                      <a:pt x="4100" y="502"/>
                    </a:lnTo>
                    <a:close/>
                    <a:moveTo>
                      <a:pt x="3206" y="502"/>
                    </a:moveTo>
                    <a:lnTo>
                      <a:pt x="3203" y="502"/>
                    </a:lnTo>
                    <a:lnTo>
                      <a:pt x="3203" y="502"/>
                    </a:lnTo>
                    <a:lnTo>
                      <a:pt x="3203" y="502"/>
                    </a:lnTo>
                    <a:lnTo>
                      <a:pt x="3203" y="566"/>
                    </a:lnTo>
                    <a:lnTo>
                      <a:pt x="3206" y="566"/>
                    </a:lnTo>
                    <a:lnTo>
                      <a:pt x="3206" y="564"/>
                    </a:lnTo>
                    <a:lnTo>
                      <a:pt x="3206" y="564"/>
                    </a:lnTo>
                    <a:lnTo>
                      <a:pt x="3206" y="502"/>
                    </a:lnTo>
                    <a:close/>
                    <a:moveTo>
                      <a:pt x="3941" y="455"/>
                    </a:moveTo>
                    <a:lnTo>
                      <a:pt x="3941" y="455"/>
                    </a:lnTo>
                    <a:lnTo>
                      <a:pt x="3941" y="455"/>
                    </a:lnTo>
                    <a:lnTo>
                      <a:pt x="3941" y="457"/>
                    </a:lnTo>
                    <a:lnTo>
                      <a:pt x="3941" y="490"/>
                    </a:lnTo>
                    <a:lnTo>
                      <a:pt x="3858" y="644"/>
                    </a:lnTo>
                    <a:lnTo>
                      <a:pt x="3858" y="864"/>
                    </a:lnTo>
                    <a:lnTo>
                      <a:pt x="3861" y="864"/>
                    </a:lnTo>
                    <a:lnTo>
                      <a:pt x="3861" y="642"/>
                    </a:lnTo>
                    <a:lnTo>
                      <a:pt x="3941" y="490"/>
                    </a:lnTo>
                    <a:lnTo>
                      <a:pt x="3941" y="455"/>
                    </a:lnTo>
                    <a:close/>
                    <a:moveTo>
                      <a:pt x="3234" y="433"/>
                    </a:moveTo>
                    <a:lnTo>
                      <a:pt x="3232" y="433"/>
                    </a:lnTo>
                    <a:lnTo>
                      <a:pt x="3232" y="436"/>
                    </a:lnTo>
                    <a:lnTo>
                      <a:pt x="3232" y="474"/>
                    </a:lnTo>
                    <a:lnTo>
                      <a:pt x="3234" y="474"/>
                    </a:lnTo>
                    <a:lnTo>
                      <a:pt x="3234" y="471"/>
                    </a:lnTo>
                    <a:lnTo>
                      <a:pt x="3234" y="471"/>
                    </a:lnTo>
                    <a:lnTo>
                      <a:pt x="3234" y="433"/>
                    </a:lnTo>
                    <a:close/>
                    <a:moveTo>
                      <a:pt x="3948" y="391"/>
                    </a:moveTo>
                    <a:lnTo>
                      <a:pt x="3946" y="391"/>
                    </a:lnTo>
                    <a:lnTo>
                      <a:pt x="3946" y="391"/>
                    </a:lnTo>
                    <a:lnTo>
                      <a:pt x="3946" y="393"/>
                    </a:lnTo>
                    <a:lnTo>
                      <a:pt x="3946" y="448"/>
                    </a:lnTo>
                    <a:lnTo>
                      <a:pt x="3948" y="448"/>
                    </a:lnTo>
                    <a:lnTo>
                      <a:pt x="3948" y="448"/>
                    </a:lnTo>
                    <a:lnTo>
                      <a:pt x="3948" y="448"/>
                    </a:lnTo>
                    <a:lnTo>
                      <a:pt x="3948" y="391"/>
                    </a:lnTo>
                    <a:close/>
                    <a:moveTo>
                      <a:pt x="1716" y="370"/>
                    </a:moveTo>
                    <a:lnTo>
                      <a:pt x="1714" y="370"/>
                    </a:lnTo>
                    <a:lnTo>
                      <a:pt x="1714" y="370"/>
                    </a:lnTo>
                    <a:lnTo>
                      <a:pt x="1714" y="1068"/>
                    </a:lnTo>
                    <a:lnTo>
                      <a:pt x="1716" y="1068"/>
                    </a:lnTo>
                    <a:lnTo>
                      <a:pt x="1716" y="370"/>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6" y="235"/>
                    </a:lnTo>
                    <a:lnTo>
                      <a:pt x="4549" y="445"/>
                    </a:lnTo>
                    <a:lnTo>
                      <a:pt x="4551" y="445"/>
                    </a:lnTo>
                    <a:lnTo>
                      <a:pt x="4608" y="232"/>
                    </a:lnTo>
                    <a:close/>
                    <a:moveTo>
                      <a:pt x="4757" y="0"/>
                    </a:moveTo>
                    <a:lnTo>
                      <a:pt x="4757" y="0"/>
                    </a:lnTo>
                    <a:lnTo>
                      <a:pt x="4757" y="3"/>
                    </a:lnTo>
                    <a:lnTo>
                      <a:pt x="4757" y="123"/>
                    </a:lnTo>
                    <a:lnTo>
                      <a:pt x="4757" y="123"/>
                    </a:lnTo>
                    <a:lnTo>
                      <a:pt x="4757" y="123"/>
                    </a:lnTo>
                    <a:lnTo>
                      <a:pt x="4757" y="123"/>
                    </a:lnTo>
                    <a:lnTo>
                      <a:pt x="4757" y="0"/>
                    </a:lnTo>
                    <a:close/>
                  </a:path>
                </a:pathLst>
              </a:custGeom>
              <a:solidFill>
                <a:srgbClr val="E7E7E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5" name="Freeform 77"/>
              <p:cNvSpPr>
                <a:spLocks noEditPoints="1"/>
              </p:cNvSpPr>
              <p:nvPr/>
            </p:nvSpPr>
            <p:spPr bwMode="auto">
              <a:xfrm>
                <a:off x="78" y="1724"/>
                <a:ext cx="6930" cy="1390"/>
              </a:xfrm>
              <a:custGeom>
                <a:avLst/>
                <a:gdLst>
                  <a:gd name="T0" fmla="*/ 3615 w 6930"/>
                  <a:gd name="T1" fmla="*/ 1253 h 1390"/>
                  <a:gd name="T2" fmla="*/ 5736 w 6930"/>
                  <a:gd name="T3" fmla="*/ 1208 h 1390"/>
                  <a:gd name="T4" fmla="*/ 5736 w 6930"/>
                  <a:gd name="T5" fmla="*/ 1262 h 1390"/>
                  <a:gd name="T6" fmla="*/ 1593 w 6930"/>
                  <a:gd name="T7" fmla="*/ 1134 h 1390"/>
                  <a:gd name="T8" fmla="*/ 1593 w 6930"/>
                  <a:gd name="T9" fmla="*/ 1132 h 1390"/>
                  <a:gd name="T10" fmla="*/ 5760 w 6930"/>
                  <a:gd name="T11" fmla="*/ 1130 h 1390"/>
                  <a:gd name="T12" fmla="*/ 5762 w 6930"/>
                  <a:gd name="T13" fmla="*/ 1184 h 1390"/>
                  <a:gd name="T14" fmla="*/ 6225 w 6930"/>
                  <a:gd name="T15" fmla="*/ 1127 h 1390"/>
                  <a:gd name="T16" fmla="*/ 6228 w 6930"/>
                  <a:gd name="T17" fmla="*/ 1127 h 1390"/>
                  <a:gd name="T18" fmla="*/ 1366 w 6930"/>
                  <a:gd name="T19" fmla="*/ 1108 h 1390"/>
                  <a:gd name="T20" fmla="*/ 1369 w 6930"/>
                  <a:gd name="T21" fmla="*/ 1085 h 1390"/>
                  <a:gd name="T22" fmla="*/ 2764 w 6930"/>
                  <a:gd name="T23" fmla="*/ 1066 h 1390"/>
                  <a:gd name="T24" fmla="*/ 5835 w 6930"/>
                  <a:gd name="T25" fmla="*/ 1042 h 1390"/>
                  <a:gd name="T26" fmla="*/ 5835 w 6930"/>
                  <a:gd name="T27" fmla="*/ 1066 h 1390"/>
                  <a:gd name="T28" fmla="*/ 2780 w 6930"/>
                  <a:gd name="T29" fmla="*/ 1014 h 1390"/>
                  <a:gd name="T30" fmla="*/ 2783 w 6930"/>
                  <a:gd name="T31" fmla="*/ 1044 h 1390"/>
                  <a:gd name="T32" fmla="*/ 3674 w 6930"/>
                  <a:gd name="T33" fmla="*/ 995 h 1390"/>
                  <a:gd name="T34" fmla="*/ 3676 w 6930"/>
                  <a:gd name="T35" fmla="*/ 1160 h 1390"/>
                  <a:gd name="T36" fmla="*/ 5852 w 6930"/>
                  <a:gd name="T37" fmla="*/ 990 h 1390"/>
                  <a:gd name="T38" fmla="*/ 5854 w 6930"/>
                  <a:gd name="T39" fmla="*/ 1023 h 1390"/>
                  <a:gd name="T40" fmla="*/ 6244 w 6930"/>
                  <a:gd name="T41" fmla="*/ 935 h 1390"/>
                  <a:gd name="T42" fmla="*/ 6244 w 6930"/>
                  <a:gd name="T43" fmla="*/ 1111 h 1390"/>
                  <a:gd name="T44" fmla="*/ 3750 w 6930"/>
                  <a:gd name="T45" fmla="*/ 928 h 1390"/>
                  <a:gd name="T46" fmla="*/ 3750 w 6930"/>
                  <a:gd name="T47" fmla="*/ 928 h 1390"/>
                  <a:gd name="T48" fmla="*/ 6294 w 6930"/>
                  <a:gd name="T49" fmla="*/ 881 h 1390"/>
                  <a:gd name="T50" fmla="*/ 6294 w 6930"/>
                  <a:gd name="T51" fmla="*/ 886 h 1390"/>
                  <a:gd name="T52" fmla="*/ 6301 w 6930"/>
                  <a:gd name="T53" fmla="*/ 853 h 1390"/>
                  <a:gd name="T54" fmla="*/ 6303 w 6930"/>
                  <a:gd name="T55" fmla="*/ 869 h 1390"/>
                  <a:gd name="T56" fmla="*/ 3005 w 6930"/>
                  <a:gd name="T57" fmla="*/ 765 h 1390"/>
                  <a:gd name="T58" fmla="*/ 915 w 6930"/>
                  <a:gd name="T59" fmla="*/ 753 h 1390"/>
                  <a:gd name="T60" fmla="*/ 915 w 6930"/>
                  <a:gd name="T61" fmla="*/ 765 h 1390"/>
                  <a:gd name="T62" fmla="*/ 5036 w 6930"/>
                  <a:gd name="T63" fmla="*/ 734 h 1390"/>
                  <a:gd name="T64" fmla="*/ 3045 w 6930"/>
                  <a:gd name="T65" fmla="*/ 656 h 1390"/>
                  <a:gd name="T66" fmla="*/ 3043 w 6930"/>
                  <a:gd name="T67" fmla="*/ 725 h 1390"/>
                  <a:gd name="T68" fmla="*/ 2 w 6930"/>
                  <a:gd name="T69" fmla="*/ 616 h 1390"/>
                  <a:gd name="T70" fmla="*/ 2 w 6930"/>
                  <a:gd name="T71" fmla="*/ 1390 h 1390"/>
                  <a:gd name="T72" fmla="*/ 5157 w 6930"/>
                  <a:gd name="T73" fmla="*/ 611 h 1390"/>
                  <a:gd name="T74" fmla="*/ 3187 w 6930"/>
                  <a:gd name="T75" fmla="*/ 583 h 1390"/>
                  <a:gd name="T76" fmla="*/ 3187 w 6930"/>
                  <a:gd name="T77" fmla="*/ 594 h 1390"/>
                  <a:gd name="T78" fmla="*/ 205 w 6930"/>
                  <a:gd name="T79" fmla="*/ 547 h 1390"/>
                  <a:gd name="T80" fmla="*/ 208 w 6930"/>
                  <a:gd name="T81" fmla="*/ 547 h 1390"/>
                  <a:gd name="T82" fmla="*/ 6930 w 6930"/>
                  <a:gd name="T83" fmla="*/ 1030 h 1390"/>
                  <a:gd name="T84" fmla="*/ 4097 w 6930"/>
                  <a:gd name="T85" fmla="*/ 502 h 1390"/>
                  <a:gd name="T86" fmla="*/ 4100 w 6930"/>
                  <a:gd name="T87" fmla="*/ 502 h 1390"/>
                  <a:gd name="T88" fmla="*/ 3203 w 6930"/>
                  <a:gd name="T89" fmla="*/ 502 h 1390"/>
                  <a:gd name="T90" fmla="*/ 3206 w 6930"/>
                  <a:gd name="T91" fmla="*/ 564 h 1390"/>
                  <a:gd name="T92" fmla="*/ 3941 w 6930"/>
                  <a:gd name="T93" fmla="*/ 455 h 1390"/>
                  <a:gd name="T94" fmla="*/ 3858 w 6930"/>
                  <a:gd name="T95" fmla="*/ 864 h 1390"/>
                  <a:gd name="T96" fmla="*/ 3941 w 6930"/>
                  <a:gd name="T97" fmla="*/ 455 h 1390"/>
                  <a:gd name="T98" fmla="*/ 3232 w 6930"/>
                  <a:gd name="T99" fmla="*/ 474 h 1390"/>
                  <a:gd name="T100" fmla="*/ 3234 w 6930"/>
                  <a:gd name="T101" fmla="*/ 433 h 1390"/>
                  <a:gd name="T102" fmla="*/ 3946 w 6930"/>
                  <a:gd name="T103" fmla="*/ 393 h 1390"/>
                  <a:gd name="T104" fmla="*/ 3948 w 6930"/>
                  <a:gd name="T105" fmla="*/ 448 h 1390"/>
                  <a:gd name="T106" fmla="*/ 1714 w 6930"/>
                  <a:gd name="T107" fmla="*/ 370 h 1390"/>
                  <a:gd name="T108" fmla="*/ 3955 w 6930"/>
                  <a:gd name="T109" fmla="*/ 327 h 1390"/>
                  <a:gd name="T110" fmla="*/ 3955 w 6930"/>
                  <a:gd name="T111" fmla="*/ 384 h 1390"/>
                  <a:gd name="T112" fmla="*/ 4608 w 6930"/>
                  <a:gd name="T113" fmla="*/ 232 h 1390"/>
                  <a:gd name="T114" fmla="*/ 4551 w 6930"/>
                  <a:gd name="T115" fmla="*/ 445 h 1390"/>
                  <a:gd name="T116" fmla="*/ 4757 w 6930"/>
                  <a:gd name="T117" fmla="*/ 3 h 1390"/>
                  <a:gd name="T118" fmla="*/ 4757 w 6930"/>
                  <a:gd name="T119" fmla="*/ 123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0">
                    <a:moveTo>
                      <a:pt x="3617" y="1222"/>
                    </a:moveTo>
                    <a:lnTo>
                      <a:pt x="3615" y="1222"/>
                    </a:lnTo>
                    <a:lnTo>
                      <a:pt x="3615" y="1224"/>
                    </a:lnTo>
                    <a:lnTo>
                      <a:pt x="3615" y="1253"/>
                    </a:lnTo>
                    <a:lnTo>
                      <a:pt x="3617" y="1253"/>
                    </a:lnTo>
                    <a:lnTo>
                      <a:pt x="3617" y="1222"/>
                    </a:lnTo>
                    <a:moveTo>
                      <a:pt x="5736" y="1208"/>
                    </a:moveTo>
                    <a:lnTo>
                      <a:pt x="5736" y="1208"/>
                    </a:lnTo>
                    <a:lnTo>
                      <a:pt x="5734" y="1208"/>
                    </a:lnTo>
                    <a:lnTo>
                      <a:pt x="5734" y="1210"/>
                    </a:lnTo>
                    <a:lnTo>
                      <a:pt x="5734" y="1262"/>
                    </a:lnTo>
                    <a:lnTo>
                      <a:pt x="5736" y="1262"/>
                    </a:lnTo>
                    <a:lnTo>
                      <a:pt x="5736" y="1208"/>
                    </a:lnTo>
                    <a:moveTo>
                      <a:pt x="1593" y="1132"/>
                    </a:moveTo>
                    <a:lnTo>
                      <a:pt x="1593" y="1132"/>
                    </a:lnTo>
                    <a:lnTo>
                      <a:pt x="1593" y="1134"/>
                    </a:lnTo>
                    <a:lnTo>
                      <a:pt x="1593" y="1134"/>
                    </a:lnTo>
                    <a:lnTo>
                      <a:pt x="1593" y="1134"/>
                    </a:lnTo>
                    <a:lnTo>
                      <a:pt x="1593" y="1132"/>
                    </a:lnTo>
                    <a:lnTo>
                      <a:pt x="1593" y="1132"/>
                    </a:lnTo>
                    <a:lnTo>
                      <a:pt x="1593" y="1132"/>
                    </a:lnTo>
                    <a:moveTo>
                      <a:pt x="5762" y="1127"/>
                    </a:moveTo>
                    <a:lnTo>
                      <a:pt x="5760" y="1127"/>
                    </a:lnTo>
                    <a:lnTo>
                      <a:pt x="5760" y="1130"/>
                    </a:lnTo>
                    <a:lnTo>
                      <a:pt x="5760" y="1184"/>
                    </a:lnTo>
                    <a:lnTo>
                      <a:pt x="5760" y="1184"/>
                    </a:lnTo>
                    <a:lnTo>
                      <a:pt x="5760" y="1184"/>
                    </a:lnTo>
                    <a:lnTo>
                      <a:pt x="5762" y="1184"/>
                    </a:lnTo>
                    <a:lnTo>
                      <a:pt x="5762" y="1127"/>
                    </a:lnTo>
                    <a:moveTo>
                      <a:pt x="6228" y="1127"/>
                    </a:moveTo>
                    <a:lnTo>
                      <a:pt x="6228" y="1127"/>
                    </a:lnTo>
                    <a:lnTo>
                      <a:pt x="6225" y="1127"/>
                    </a:lnTo>
                    <a:lnTo>
                      <a:pt x="6225" y="1130"/>
                    </a:lnTo>
                    <a:lnTo>
                      <a:pt x="6225" y="1146"/>
                    </a:lnTo>
                    <a:lnTo>
                      <a:pt x="6228" y="1146"/>
                    </a:lnTo>
                    <a:lnTo>
                      <a:pt x="6228" y="1127"/>
                    </a:lnTo>
                    <a:moveTo>
                      <a:pt x="1369" y="1085"/>
                    </a:moveTo>
                    <a:lnTo>
                      <a:pt x="1366" y="1085"/>
                    </a:lnTo>
                    <a:lnTo>
                      <a:pt x="1366" y="1085"/>
                    </a:lnTo>
                    <a:lnTo>
                      <a:pt x="1366" y="1108"/>
                    </a:lnTo>
                    <a:lnTo>
                      <a:pt x="1369" y="1108"/>
                    </a:lnTo>
                    <a:lnTo>
                      <a:pt x="1369" y="1108"/>
                    </a:lnTo>
                    <a:lnTo>
                      <a:pt x="1369" y="1108"/>
                    </a:lnTo>
                    <a:lnTo>
                      <a:pt x="1369" y="1085"/>
                    </a:lnTo>
                    <a:moveTo>
                      <a:pt x="2766" y="1063"/>
                    </a:moveTo>
                    <a:lnTo>
                      <a:pt x="2764" y="1063"/>
                    </a:lnTo>
                    <a:lnTo>
                      <a:pt x="2764" y="1063"/>
                    </a:lnTo>
                    <a:lnTo>
                      <a:pt x="2764" y="1066"/>
                    </a:lnTo>
                    <a:lnTo>
                      <a:pt x="2764" y="1177"/>
                    </a:lnTo>
                    <a:lnTo>
                      <a:pt x="2766" y="1177"/>
                    </a:lnTo>
                    <a:lnTo>
                      <a:pt x="2766" y="1063"/>
                    </a:lnTo>
                    <a:moveTo>
                      <a:pt x="5835" y="1042"/>
                    </a:moveTo>
                    <a:lnTo>
                      <a:pt x="5835" y="1042"/>
                    </a:lnTo>
                    <a:lnTo>
                      <a:pt x="5835" y="1042"/>
                    </a:lnTo>
                    <a:lnTo>
                      <a:pt x="5835" y="1044"/>
                    </a:lnTo>
                    <a:lnTo>
                      <a:pt x="5835" y="1066"/>
                    </a:lnTo>
                    <a:lnTo>
                      <a:pt x="5835" y="1066"/>
                    </a:lnTo>
                    <a:lnTo>
                      <a:pt x="5835" y="1042"/>
                    </a:lnTo>
                    <a:moveTo>
                      <a:pt x="2783" y="1011"/>
                    </a:moveTo>
                    <a:lnTo>
                      <a:pt x="2780" y="1014"/>
                    </a:lnTo>
                    <a:lnTo>
                      <a:pt x="2780" y="1014"/>
                    </a:lnTo>
                    <a:lnTo>
                      <a:pt x="2780" y="1047"/>
                    </a:lnTo>
                    <a:lnTo>
                      <a:pt x="2783" y="1047"/>
                    </a:lnTo>
                    <a:lnTo>
                      <a:pt x="2783" y="1044"/>
                    </a:lnTo>
                    <a:lnTo>
                      <a:pt x="2783" y="1044"/>
                    </a:lnTo>
                    <a:lnTo>
                      <a:pt x="2783" y="1011"/>
                    </a:lnTo>
                    <a:moveTo>
                      <a:pt x="3676" y="995"/>
                    </a:moveTo>
                    <a:lnTo>
                      <a:pt x="3674" y="995"/>
                    </a:lnTo>
                    <a:lnTo>
                      <a:pt x="3674" y="995"/>
                    </a:lnTo>
                    <a:lnTo>
                      <a:pt x="3674" y="1163"/>
                    </a:lnTo>
                    <a:lnTo>
                      <a:pt x="3676" y="1163"/>
                    </a:lnTo>
                    <a:lnTo>
                      <a:pt x="3676" y="1160"/>
                    </a:lnTo>
                    <a:lnTo>
                      <a:pt x="3676" y="1160"/>
                    </a:lnTo>
                    <a:lnTo>
                      <a:pt x="3676" y="995"/>
                    </a:lnTo>
                    <a:moveTo>
                      <a:pt x="5854" y="990"/>
                    </a:moveTo>
                    <a:lnTo>
                      <a:pt x="5852" y="990"/>
                    </a:lnTo>
                    <a:lnTo>
                      <a:pt x="5852" y="992"/>
                    </a:lnTo>
                    <a:lnTo>
                      <a:pt x="5852" y="1025"/>
                    </a:lnTo>
                    <a:lnTo>
                      <a:pt x="5854" y="1025"/>
                    </a:lnTo>
                    <a:lnTo>
                      <a:pt x="5854" y="1023"/>
                    </a:lnTo>
                    <a:lnTo>
                      <a:pt x="5854" y="1023"/>
                    </a:lnTo>
                    <a:lnTo>
                      <a:pt x="5854" y="990"/>
                    </a:lnTo>
                    <a:moveTo>
                      <a:pt x="6244" y="935"/>
                    </a:moveTo>
                    <a:lnTo>
                      <a:pt x="6244" y="935"/>
                    </a:lnTo>
                    <a:lnTo>
                      <a:pt x="6244" y="938"/>
                    </a:lnTo>
                    <a:lnTo>
                      <a:pt x="6244" y="1111"/>
                    </a:lnTo>
                    <a:lnTo>
                      <a:pt x="6244" y="1111"/>
                    </a:lnTo>
                    <a:lnTo>
                      <a:pt x="6244" y="1111"/>
                    </a:lnTo>
                    <a:lnTo>
                      <a:pt x="6244" y="1111"/>
                    </a:lnTo>
                    <a:lnTo>
                      <a:pt x="6244" y="935"/>
                    </a:lnTo>
                    <a:moveTo>
                      <a:pt x="3750" y="928"/>
                    </a:moveTo>
                    <a:lnTo>
                      <a:pt x="3750" y="928"/>
                    </a:lnTo>
                    <a:lnTo>
                      <a:pt x="3750" y="931"/>
                    </a:lnTo>
                    <a:lnTo>
                      <a:pt x="3750" y="931"/>
                    </a:lnTo>
                    <a:lnTo>
                      <a:pt x="3750" y="931"/>
                    </a:lnTo>
                    <a:lnTo>
                      <a:pt x="3750" y="928"/>
                    </a:lnTo>
                    <a:moveTo>
                      <a:pt x="6294" y="879"/>
                    </a:moveTo>
                    <a:lnTo>
                      <a:pt x="6294" y="879"/>
                    </a:lnTo>
                    <a:lnTo>
                      <a:pt x="6294" y="879"/>
                    </a:lnTo>
                    <a:lnTo>
                      <a:pt x="6294" y="881"/>
                    </a:lnTo>
                    <a:lnTo>
                      <a:pt x="6294" y="888"/>
                    </a:lnTo>
                    <a:lnTo>
                      <a:pt x="6294" y="888"/>
                    </a:lnTo>
                    <a:lnTo>
                      <a:pt x="6294" y="886"/>
                    </a:lnTo>
                    <a:lnTo>
                      <a:pt x="6294" y="886"/>
                    </a:lnTo>
                    <a:lnTo>
                      <a:pt x="6294" y="879"/>
                    </a:lnTo>
                    <a:moveTo>
                      <a:pt x="6303" y="850"/>
                    </a:moveTo>
                    <a:lnTo>
                      <a:pt x="6301" y="850"/>
                    </a:lnTo>
                    <a:lnTo>
                      <a:pt x="6301" y="853"/>
                    </a:lnTo>
                    <a:lnTo>
                      <a:pt x="6301" y="871"/>
                    </a:lnTo>
                    <a:lnTo>
                      <a:pt x="6303" y="871"/>
                    </a:lnTo>
                    <a:lnTo>
                      <a:pt x="6303" y="869"/>
                    </a:lnTo>
                    <a:lnTo>
                      <a:pt x="6303" y="869"/>
                    </a:lnTo>
                    <a:lnTo>
                      <a:pt x="6303" y="850"/>
                    </a:lnTo>
                    <a:moveTo>
                      <a:pt x="3005" y="763"/>
                    </a:moveTo>
                    <a:lnTo>
                      <a:pt x="3005" y="763"/>
                    </a:lnTo>
                    <a:lnTo>
                      <a:pt x="3005" y="765"/>
                    </a:lnTo>
                    <a:lnTo>
                      <a:pt x="3005" y="916"/>
                    </a:lnTo>
                    <a:lnTo>
                      <a:pt x="3005" y="916"/>
                    </a:lnTo>
                    <a:lnTo>
                      <a:pt x="3005" y="763"/>
                    </a:lnTo>
                    <a:moveTo>
                      <a:pt x="915" y="753"/>
                    </a:moveTo>
                    <a:lnTo>
                      <a:pt x="912" y="753"/>
                    </a:lnTo>
                    <a:lnTo>
                      <a:pt x="912" y="755"/>
                    </a:lnTo>
                    <a:lnTo>
                      <a:pt x="912" y="765"/>
                    </a:lnTo>
                    <a:lnTo>
                      <a:pt x="915" y="765"/>
                    </a:lnTo>
                    <a:lnTo>
                      <a:pt x="915" y="753"/>
                    </a:lnTo>
                    <a:moveTo>
                      <a:pt x="5038" y="732"/>
                    </a:moveTo>
                    <a:lnTo>
                      <a:pt x="5036" y="732"/>
                    </a:lnTo>
                    <a:lnTo>
                      <a:pt x="5036" y="734"/>
                    </a:lnTo>
                    <a:lnTo>
                      <a:pt x="5036" y="909"/>
                    </a:lnTo>
                    <a:lnTo>
                      <a:pt x="5038" y="909"/>
                    </a:lnTo>
                    <a:lnTo>
                      <a:pt x="5038" y="732"/>
                    </a:lnTo>
                    <a:moveTo>
                      <a:pt x="3045" y="656"/>
                    </a:moveTo>
                    <a:lnTo>
                      <a:pt x="3043" y="656"/>
                    </a:lnTo>
                    <a:lnTo>
                      <a:pt x="3043" y="658"/>
                    </a:lnTo>
                    <a:lnTo>
                      <a:pt x="3043" y="725"/>
                    </a:lnTo>
                    <a:lnTo>
                      <a:pt x="3043" y="725"/>
                    </a:lnTo>
                    <a:lnTo>
                      <a:pt x="3043" y="725"/>
                    </a:lnTo>
                    <a:lnTo>
                      <a:pt x="3045" y="725"/>
                    </a:lnTo>
                    <a:lnTo>
                      <a:pt x="3045" y="656"/>
                    </a:lnTo>
                    <a:moveTo>
                      <a:pt x="2" y="616"/>
                    </a:moveTo>
                    <a:lnTo>
                      <a:pt x="0" y="616"/>
                    </a:lnTo>
                    <a:lnTo>
                      <a:pt x="0" y="618"/>
                    </a:lnTo>
                    <a:lnTo>
                      <a:pt x="0" y="1390"/>
                    </a:lnTo>
                    <a:lnTo>
                      <a:pt x="2" y="1390"/>
                    </a:lnTo>
                    <a:lnTo>
                      <a:pt x="2" y="616"/>
                    </a:lnTo>
                    <a:moveTo>
                      <a:pt x="5159" y="609"/>
                    </a:moveTo>
                    <a:lnTo>
                      <a:pt x="5157" y="609"/>
                    </a:lnTo>
                    <a:lnTo>
                      <a:pt x="5157" y="611"/>
                    </a:lnTo>
                    <a:lnTo>
                      <a:pt x="5157" y="668"/>
                    </a:lnTo>
                    <a:lnTo>
                      <a:pt x="5159" y="668"/>
                    </a:lnTo>
                    <a:lnTo>
                      <a:pt x="5159" y="609"/>
                    </a:lnTo>
                    <a:moveTo>
                      <a:pt x="3187" y="583"/>
                    </a:moveTo>
                    <a:lnTo>
                      <a:pt x="3187" y="583"/>
                    </a:lnTo>
                    <a:lnTo>
                      <a:pt x="3187" y="583"/>
                    </a:lnTo>
                    <a:lnTo>
                      <a:pt x="3187" y="585"/>
                    </a:lnTo>
                    <a:lnTo>
                      <a:pt x="3187" y="594"/>
                    </a:lnTo>
                    <a:lnTo>
                      <a:pt x="3187" y="594"/>
                    </a:lnTo>
                    <a:lnTo>
                      <a:pt x="3187" y="583"/>
                    </a:lnTo>
                    <a:moveTo>
                      <a:pt x="208" y="547"/>
                    </a:moveTo>
                    <a:lnTo>
                      <a:pt x="205" y="547"/>
                    </a:lnTo>
                    <a:lnTo>
                      <a:pt x="205" y="549"/>
                    </a:lnTo>
                    <a:lnTo>
                      <a:pt x="205" y="554"/>
                    </a:lnTo>
                    <a:lnTo>
                      <a:pt x="208" y="554"/>
                    </a:lnTo>
                    <a:lnTo>
                      <a:pt x="208" y="547"/>
                    </a:lnTo>
                    <a:moveTo>
                      <a:pt x="6930" y="509"/>
                    </a:moveTo>
                    <a:lnTo>
                      <a:pt x="6930" y="509"/>
                    </a:lnTo>
                    <a:lnTo>
                      <a:pt x="6930" y="512"/>
                    </a:lnTo>
                    <a:lnTo>
                      <a:pt x="6930" y="1030"/>
                    </a:lnTo>
                    <a:lnTo>
                      <a:pt x="6930" y="1030"/>
                    </a:lnTo>
                    <a:lnTo>
                      <a:pt x="6930" y="509"/>
                    </a:lnTo>
                    <a:moveTo>
                      <a:pt x="4100" y="502"/>
                    </a:moveTo>
                    <a:lnTo>
                      <a:pt x="4097" y="502"/>
                    </a:lnTo>
                    <a:lnTo>
                      <a:pt x="4097" y="505"/>
                    </a:lnTo>
                    <a:lnTo>
                      <a:pt x="4083" y="526"/>
                    </a:lnTo>
                    <a:lnTo>
                      <a:pt x="4083" y="526"/>
                    </a:lnTo>
                    <a:lnTo>
                      <a:pt x="4100" y="502"/>
                    </a:lnTo>
                    <a:moveTo>
                      <a:pt x="3206" y="502"/>
                    </a:moveTo>
                    <a:lnTo>
                      <a:pt x="3203" y="502"/>
                    </a:lnTo>
                    <a:lnTo>
                      <a:pt x="3203" y="502"/>
                    </a:lnTo>
                    <a:lnTo>
                      <a:pt x="3203" y="502"/>
                    </a:lnTo>
                    <a:lnTo>
                      <a:pt x="3203" y="566"/>
                    </a:lnTo>
                    <a:lnTo>
                      <a:pt x="3206" y="566"/>
                    </a:lnTo>
                    <a:lnTo>
                      <a:pt x="3206" y="564"/>
                    </a:lnTo>
                    <a:lnTo>
                      <a:pt x="3206" y="564"/>
                    </a:lnTo>
                    <a:lnTo>
                      <a:pt x="3206" y="502"/>
                    </a:lnTo>
                    <a:moveTo>
                      <a:pt x="3941" y="455"/>
                    </a:moveTo>
                    <a:lnTo>
                      <a:pt x="3941" y="455"/>
                    </a:lnTo>
                    <a:lnTo>
                      <a:pt x="3941" y="455"/>
                    </a:lnTo>
                    <a:lnTo>
                      <a:pt x="3941" y="457"/>
                    </a:lnTo>
                    <a:lnTo>
                      <a:pt x="3941" y="490"/>
                    </a:lnTo>
                    <a:lnTo>
                      <a:pt x="3858" y="644"/>
                    </a:lnTo>
                    <a:lnTo>
                      <a:pt x="3858" y="864"/>
                    </a:lnTo>
                    <a:lnTo>
                      <a:pt x="3861" y="864"/>
                    </a:lnTo>
                    <a:lnTo>
                      <a:pt x="3861" y="642"/>
                    </a:lnTo>
                    <a:lnTo>
                      <a:pt x="3941" y="490"/>
                    </a:lnTo>
                    <a:lnTo>
                      <a:pt x="3941" y="455"/>
                    </a:lnTo>
                    <a:moveTo>
                      <a:pt x="3234" y="433"/>
                    </a:moveTo>
                    <a:lnTo>
                      <a:pt x="3232" y="433"/>
                    </a:lnTo>
                    <a:lnTo>
                      <a:pt x="3232" y="436"/>
                    </a:lnTo>
                    <a:lnTo>
                      <a:pt x="3232" y="474"/>
                    </a:lnTo>
                    <a:lnTo>
                      <a:pt x="3234" y="474"/>
                    </a:lnTo>
                    <a:lnTo>
                      <a:pt x="3234" y="471"/>
                    </a:lnTo>
                    <a:lnTo>
                      <a:pt x="3234" y="471"/>
                    </a:lnTo>
                    <a:lnTo>
                      <a:pt x="3234" y="433"/>
                    </a:lnTo>
                    <a:moveTo>
                      <a:pt x="3948" y="391"/>
                    </a:moveTo>
                    <a:lnTo>
                      <a:pt x="3946" y="391"/>
                    </a:lnTo>
                    <a:lnTo>
                      <a:pt x="3946" y="391"/>
                    </a:lnTo>
                    <a:lnTo>
                      <a:pt x="3946" y="393"/>
                    </a:lnTo>
                    <a:lnTo>
                      <a:pt x="3946" y="448"/>
                    </a:lnTo>
                    <a:lnTo>
                      <a:pt x="3948" y="448"/>
                    </a:lnTo>
                    <a:lnTo>
                      <a:pt x="3948" y="448"/>
                    </a:lnTo>
                    <a:lnTo>
                      <a:pt x="3948" y="448"/>
                    </a:lnTo>
                    <a:lnTo>
                      <a:pt x="3948" y="391"/>
                    </a:lnTo>
                    <a:moveTo>
                      <a:pt x="1716" y="370"/>
                    </a:moveTo>
                    <a:lnTo>
                      <a:pt x="1714" y="370"/>
                    </a:lnTo>
                    <a:lnTo>
                      <a:pt x="1714" y="370"/>
                    </a:lnTo>
                    <a:lnTo>
                      <a:pt x="1714" y="1068"/>
                    </a:lnTo>
                    <a:lnTo>
                      <a:pt x="1716" y="1068"/>
                    </a:lnTo>
                    <a:lnTo>
                      <a:pt x="1716" y="370"/>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6" y="235"/>
                    </a:lnTo>
                    <a:lnTo>
                      <a:pt x="4549" y="445"/>
                    </a:lnTo>
                    <a:lnTo>
                      <a:pt x="4551" y="445"/>
                    </a:lnTo>
                    <a:lnTo>
                      <a:pt x="4608" y="232"/>
                    </a:lnTo>
                    <a:moveTo>
                      <a:pt x="4757" y="0"/>
                    </a:moveTo>
                    <a:lnTo>
                      <a:pt x="4757" y="0"/>
                    </a:lnTo>
                    <a:lnTo>
                      <a:pt x="4757" y="3"/>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6" name="Freeform 78"/>
              <p:cNvSpPr>
                <a:spLocks noEditPoints="1"/>
              </p:cNvSpPr>
              <p:nvPr/>
            </p:nvSpPr>
            <p:spPr bwMode="auto">
              <a:xfrm>
                <a:off x="80" y="1722"/>
                <a:ext cx="6930" cy="1392"/>
              </a:xfrm>
              <a:custGeom>
                <a:avLst/>
                <a:gdLst>
                  <a:gd name="T0" fmla="*/ 3615 w 6930"/>
                  <a:gd name="T1" fmla="*/ 1255 h 1392"/>
                  <a:gd name="T2" fmla="*/ 5736 w 6930"/>
                  <a:gd name="T3" fmla="*/ 1210 h 1392"/>
                  <a:gd name="T4" fmla="*/ 5736 w 6930"/>
                  <a:gd name="T5" fmla="*/ 1264 h 1392"/>
                  <a:gd name="T6" fmla="*/ 1591 w 6930"/>
                  <a:gd name="T7" fmla="*/ 1134 h 1392"/>
                  <a:gd name="T8" fmla="*/ 1594 w 6930"/>
                  <a:gd name="T9" fmla="*/ 1134 h 1392"/>
                  <a:gd name="T10" fmla="*/ 5760 w 6930"/>
                  <a:gd name="T11" fmla="*/ 1129 h 1392"/>
                  <a:gd name="T12" fmla="*/ 5762 w 6930"/>
                  <a:gd name="T13" fmla="*/ 1184 h 1392"/>
                  <a:gd name="T14" fmla="*/ 6226 w 6930"/>
                  <a:gd name="T15" fmla="*/ 1129 h 1392"/>
                  <a:gd name="T16" fmla="*/ 6228 w 6930"/>
                  <a:gd name="T17" fmla="*/ 1129 h 1392"/>
                  <a:gd name="T18" fmla="*/ 1367 w 6930"/>
                  <a:gd name="T19" fmla="*/ 1110 h 1392"/>
                  <a:gd name="T20" fmla="*/ 1369 w 6930"/>
                  <a:gd name="T21" fmla="*/ 1084 h 1392"/>
                  <a:gd name="T22" fmla="*/ 2764 w 6930"/>
                  <a:gd name="T23" fmla="*/ 1065 h 1392"/>
                  <a:gd name="T24" fmla="*/ 5836 w 6930"/>
                  <a:gd name="T25" fmla="*/ 1042 h 1392"/>
                  <a:gd name="T26" fmla="*/ 5833 w 6930"/>
                  <a:gd name="T27" fmla="*/ 1068 h 1392"/>
                  <a:gd name="T28" fmla="*/ 2781 w 6930"/>
                  <a:gd name="T29" fmla="*/ 1013 h 1392"/>
                  <a:gd name="T30" fmla="*/ 2783 w 6930"/>
                  <a:gd name="T31" fmla="*/ 1044 h 1392"/>
                  <a:gd name="T32" fmla="*/ 3674 w 6930"/>
                  <a:gd name="T33" fmla="*/ 994 h 1392"/>
                  <a:gd name="T34" fmla="*/ 3674 w 6930"/>
                  <a:gd name="T35" fmla="*/ 1162 h 1392"/>
                  <a:gd name="T36" fmla="*/ 5852 w 6930"/>
                  <a:gd name="T37" fmla="*/ 989 h 1392"/>
                  <a:gd name="T38" fmla="*/ 5852 w 6930"/>
                  <a:gd name="T39" fmla="*/ 1023 h 1392"/>
                  <a:gd name="T40" fmla="*/ 6242 w 6930"/>
                  <a:gd name="T41" fmla="*/ 935 h 1392"/>
                  <a:gd name="T42" fmla="*/ 6245 w 6930"/>
                  <a:gd name="T43" fmla="*/ 1110 h 1392"/>
                  <a:gd name="T44" fmla="*/ 3748 w 6930"/>
                  <a:gd name="T45" fmla="*/ 928 h 1392"/>
                  <a:gd name="T46" fmla="*/ 3750 w 6930"/>
                  <a:gd name="T47" fmla="*/ 928 h 1392"/>
                  <a:gd name="T48" fmla="*/ 6292 w 6930"/>
                  <a:gd name="T49" fmla="*/ 881 h 1392"/>
                  <a:gd name="T50" fmla="*/ 6294 w 6930"/>
                  <a:gd name="T51" fmla="*/ 885 h 1392"/>
                  <a:gd name="T52" fmla="*/ 6301 w 6930"/>
                  <a:gd name="T53" fmla="*/ 852 h 1392"/>
                  <a:gd name="T54" fmla="*/ 6304 w 6930"/>
                  <a:gd name="T55" fmla="*/ 869 h 1392"/>
                  <a:gd name="T56" fmla="*/ 3003 w 6930"/>
                  <a:gd name="T57" fmla="*/ 765 h 1392"/>
                  <a:gd name="T58" fmla="*/ 915 w 6930"/>
                  <a:gd name="T59" fmla="*/ 753 h 1392"/>
                  <a:gd name="T60" fmla="*/ 915 w 6930"/>
                  <a:gd name="T61" fmla="*/ 767 h 1392"/>
                  <a:gd name="T62" fmla="*/ 5036 w 6930"/>
                  <a:gd name="T63" fmla="*/ 734 h 1392"/>
                  <a:gd name="T64" fmla="*/ 3043 w 6930"/>
                  <a:gd name="T65" fmla="*/ 658 h 1392"/>
                  <a:gd name="T66" fmla="*/ 3043 w 6930"/>
                  <a:gd name="T67" fmla="*/ 727 h 1392"/>
                  <a:gd name="T68" fmla="*/ 2 w 6930"/>
                  <a:gd name="T69" fmla="*/ 618 h 1392"/>
                  <a:gd name="T70" fmla="*/ 2 w 6930"/>
                  <a:gd name="T71" fmla="*/ 1392 h 1392"/>
                  <a:gd name="T72" fmla="*/ 5157 w 6930"/>
                  <a:gd name="T73" fmla="*/ 611 h 1392"/>
                  <a:gd name="T74" fmla="*/ 3187 w 6930"/>
                  <a:gd name="T75" fmla="*/ 582 h 1392"/>
                  <a:gd name="T76" fmla="*/ 3185 w 6930"/>
                  <a:gd name="T77" fmla="*/ 596 h 1392"/>
                  <a:gd name="T78" fmla="*/ 206 w 6930"/>
                  <a:gd name="T79" fmla="*/ 547 h 1392"/>
                  <a:gd name="T80" fmla="*/ 208 w 6930"/>
                  <a:gd name="T81" fmla="*/ 547 h 1392"/>
                  <a:gd name="T82" fmla="*/ 6928 w 6930"/>
                  <a:gd name="T83" fmla="*/ 1032 h 1392"/>
                  <a:gd name="T84" fmla="*/ 4098 w 6930"/>
                  <a:gd name="T85" fmla="*/ 504 h 1392"/>
                  <a:gd name="T86" fmla="*/ 4098 w 6930"/>
                  <a:gd name="T87" fmla="*/ 504 h 1392"/>
                  <a:gd name="T88" fmla="*/ 3204 w 6930"/>
                  <a:gd name="T89" fmla="*/ 504 h 1392"/>
                  <a:gd name="T90" fmla="*/ 3206 w 6930"/>
                  <a:gd name="T91" fmla="*/ 563 h 1392"/>
                  <a:gd name="T92" fmla="*/ 3939 w 6930"/>
                  <a:gd name="T93" fmla="*/ 454 h 1392"/>
                  <a:gd name="T94" fmla="*/ 3859 w 6930"/>
                  <a:gd name="T95" fmla="*/ 866 h 1392"/>
                  <a:gd name="T96" fmla="*/ 3942 w 6930"/>
                  <a:gd name="T97" fmla="*/ 454 h 1392"/>
                  <a:gd name="T98" fmla="*/ 3232 w 6930"/>
                  <a:gd name="T99" fmla="*/ 473 h 1392"/>
                  <a:gd name="T100" fmla="*/ 3235 w 6930"/>
                  <a:gd name="T101" fmla="*/ 433 h 1392"/>
                  <a:gd name="T102" fmla="*/ 3946 w 6930"/>
                  <a:gd name="T103" fmla="*/ 393 h 1392"/>
                  <a:gd name="T104" fmla="*/ 3949 w 6930"/>
                  <a:gd name="T105" fmla="*/ 447 h 1392"/>
                  <a:gd name="T106" fmla="*/ 1714 w 6930"/>
                  <a:gd name="T107" fmla="*/ 372 h 1392"/>
                  <a:gd name="T108" fmla="*/ 3956 w 6930"/>
                  <a:gd name="T109" fmla="*/ 327 h 1392"/>
                  <a:gd name="T110" fmla="*/ 3956 w 6930"/>
                  <a:gd name="T111" fmla="*/ 383 h 1392"/>
                  <a:gd name="T112" fmla="*/ 4608 w 6930"/>
                  <a:gd name="T113" fmla="*/ 232 h 1392"/>
                  <a:gd name="T114" fmla="*/ 4552 w 6930"/>
                  <a:gd name="T115" fmla="*/ 445 h 1392"/>
                  <a:gd name="T116" fmla="*/ 4755 w 6930"/>
                  <a:gd name="T117" fmla="*/ 2 h 1392"/>
                  <a:gd name="T118" fmla="*/ 4757 w 6930"/>
                  <a:gd name="T119" fmla="*/ 123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2">
                    <a:moveTo>
                      <a:pt x="3615" y="1222"/>
                    </a:moveTo>
                    <a:lnTo>
                      <a:pt x="3615" y="1222"/>
                    </a:lnTo>
                    <a:lnTo>
                      <a:pt x="3615" y="1224"/>
                    </a:lnTo>
                    <a:lnTo>
                      <a:pt x="3615" y="1255"/>
                    </a:lnTo>
                    <a:lnTo>
                      <a:pt x="3615" y="1255"/>
                    </a:lnTo>
                    <a:lnTo>
                      <a:pt x="3615" y="1222"/>
                    </a:lnTo>
                    <a:close/>
                    <a:moveTo>
                      <a:pt x="5736" y="1210"/>
                    </a:moveTo>
                    <a:lnTo>
                      <a:pt x="5736" y="1210"/>
                    </a:lnTo>
                    <a:lnTo>
                      <a:pt x="5734" y="1210"/>
                    </a:lnTo>
                    <a:lnTo>
                      <a:pt x="5734" y="1210"/>
                    </a:lnTo>
                    <a:lnTo>
                      <a:pt x="5734" y="1264"/>
                    </a:lnTo>
                    <a:lnTo>
                      <a:pt x="5736" y="1264"/>
                    </a:lnTo>
                    <a:lnTo>
                      <a:pt x="5736" y="1210"/>
                    </a:lnTo>
                    <a:close/>
                    <a:moveTo>
                      <a:pt x="1594" y="1132"/>
                    </a:moveTo>
                    <a:lnTo>
                      <a:pt x="1591" y="1132"/>
                    </a:lnTo>
                    <a:lnTo>
                      <a:pt x="1591" y="1134"/>
                    </a:lnTo>
                    <a:lnTo>
                      <a:pt x="1591" y="1134"/>
                    </a:lnTo>
                    <a:lnTo>
                      <a:pt x="1594" y="1134"/>
                    </a:lnTo>
                    <a:lnTo>
                      <a:pt x="1594" y="1134"/>
                    </a:lnTo>
                    <a:lnTo>
                      <a:pt x="1594" y="1134"/>
                    </a:lnTo>
                    <a:lnTo>
                      <a:pt x="1594" y="1132"/>
                    </a:lnTo>
                    <a:close/>
                    <a:moveTo>
                      <a:pt x="5762" y="1129"/>
                    </a:moveTo>
                    <a:lnTo>
                      <a:pt x="5760" y="1129"/>
                    </a:lnTo>
                    <a:lnTo>
                      <a:pt x="5760" y="1129"/>
                    </a:lnTo>
                    <a:lnTo>
                      <a:pt x="5760" y="1186"/>
                    </a:lnTo>
                    <a:lnTo>
                      <a:pt x="5760" y="1186"/>
                    </a:lnTo>
                    <a:lnTo>
                      <a:pt x="5760" y="1184"/>
                    </a:lnTo>
                    <a:lnTo>
                      <a:pt x="5762" y="1184"/>
                    </a:lnTo>
                    <a:lnTo>
                      <a:pt x="5762" y="1129"/>
                    </a:lnTo>
                    <a:close/>
                    <a:moveTo>
                      <a:pt x="6228" y="1129"/>
                    </a:moveTo>
                    <a:lnTo>
                      <a:pt x="6226" y="1129"/>
                    </a:lnTo>
                    <a:lnTo>
                      <a:pt x="6226" y="1129"/>
                    </a:lnTo>
                    <a:lnTo>
                      <a:pt x="6226" y="1129"/>
                    </a:lnTo>
                    <a:lnTo>
                      <a:pt x="6226" y="1148"/>
                    </a:lnTo>
                    <a:lnTo>
                      <a:pt x="6228" y="1148"/>
                    </a:lnTo>
                    <a:lnTo>
                      <a:pt x="6228" y="1129"/>
                    </a:lnTo>
                    <a:close/>
                    <a:moveTo>
                      <a:pt x="1369" y="1084"/>
                    </a:moveTo>
                    <a:lnTo>
                      <a:pt x="1367" y="1084"/>
                    </a:lnTo>
                    <a:lnTo>
                      <a:pt x="1367" y="1087"/>
                    </a:lnTo>
                    <a:lnTo>
                      <a:pt x="1367" y="1110"/>
                    </a:lnTo>
                    <a:lnTo>
                      <a:pt x="1369" y="1110"/>
                    </a:lnTo>
                    <a:lnTo>
                      <a:pt x="1369" y="1108"/>
                    </a:lnTo>
                    <a:lnTo>
                      <a:pt x="1369" y="1108"/>
                    </a:lnTo>
                    <a:lnTo>
                      <a:pt x="1369" y="1084"/>
                    </a:lnTo>
                    <a:close/>
                    <a:moveTo>
                      <a:pt x="2766" y="1063"/>
                    </a:moveTo>
                    <a:lnTo>
                      <a:pt x="2764" y="1063"/>
                    </a:lnTo>
                    <a:lnTo>
                      <a:pt x="2764" y="1063"/>
                    </a:lnTo>
                    <a:lnTo>
                      <a:pt x="2764" y="1065"/>
                    </a:lnTo>
                    <a:lnTo>
                      <a:pt x="2764" y="1179"/>
                    </a:lnTo>
                    <a:lnTo>
                      <a:pt x="2766" y="1179"/>
                    </a:lnTo>
                    <a:lnTo>
                      <a:pt x="2766" y="1063"/>
                    </a:lnTo>
                    <a:close/>
                    <a:moveTo>
                      <a:pt x="5836" y="1042"/>
                    </a:moveTo>
                    <a:lnTo>
                      <a:pt x="5836" y="1042"/>
                    </a:lnTo>
                    <a:lnTo>
                      <a:pt x="5833" y="1042"/>
                    </a:lnTo>
                    <a:lnTo>
                      <a:pt x="5833" y="1044"/>
                    </a:lnTo>
                    <a:lnTo>
                      <a:pt x="5833" y="1068"/>
                    </a:lnTo>
                    <a:lnTo>
                      <a:pt x="5836" y="1068"/>
                    </a:lnTo>
                    <a:lnTo>
                      <a:pt x="5836" y="1042"/>
                    </a:lnTo>
                    <a:close/>
                    <a:moveTo>
                      <a:pt x="2783" y="1013"/>
                    </a:moveTo>
                    <a:lnTo>
                      <a:pt x="2781" y="1013"/>
                    </a:lnTo>
                    <a:lnTo>
                      <a:pt x="2781" y="1013"/>
                    </a:lnTo>
                    <a:lnTo>
                      <a:pt x="2781" y="1046"/>
                    </a:lnTo>
                    <a:lnTo>
                      <a:pt x="2783" y="1046"/>
                    </a:lnTo>
                    <a:lnTo>
                      <a:pt x="2783" y="1044"/>
                    </a:lnTo>
                    <a:lnTo>
                      <a:pt x="2783" y="1044"/>
                    </a:lnTo>
                    <a:lnTo>
                      <a:pt x="2783" y="1013"/>
                    </a:lnTo>
                    <a:close/>
                    <a:moveTo>
                      <a:pt x="3677" y="994"/>
                    </a:moveTo>
                    <a:lnTo>
                      <a:pt x="3674" y="994"/>
                    </a:lnTo>
                    <a:lnTo>
                      <a:pt x="3674" y="997"/>
                    </a:lnTo>
                    <a:lnTo>
                      <a:pt x="3674" y="1162"/>
                    </a:lnTo>
                    <a:lnTo>
                      <a:pt x="3674" y="1162"/>
                    </a:lnTo>
                    <a:lnTo>
                      <a:pt x="3674" y="1162"/>
                    </a:lnTo>
                    <a:lnTo>
                      <a:pt x="3677" y="1162"/>
                    </a:lnTo>
                    <a:lnTo>
                      <a:pt x="3677" y="994"/>
                    </a:lnTo>
                    <a:close/>
                    <a:moveTo>
                      <a:pt x="5854" y="989"/>
                    </a:moveTo>
                    <a:lnTo>
                      <a:pt x="5852" y="989"/>
                    </a:lnTo>
                    <a:lnTo>
                      <a:pt x="5852" y="992"/>
                    </a:lnTo>
                    <a:lnTo>
                      <a:pt x="5852" y="1025"/>
                    </a:lnTo>
                    <a:lnTo>
                      <a:pt x="5852" y="1025"/>
                    </a:lnTo>
                    <a:lnTo>
                      <a:pt x="5852" y="1023"/>
                    </a:lnTo>
                    <a:lnTo>
                      <a:pt x="5854" y="1023"/>
                    </a:lnTo>
                    <a:lnTo>
                      <a:pt x="5854" y="989"/>
                    </a:lnTo>
                    <a:close/>
                    <a:moveTo>
                      <a:pt x="6245" y="935"/>
                    </a:moveTo>
                    <a:lnTo>
                      <a:pt x="6242" y="935"/>
                    </a:lnTo>
                    <a:lnTo>
                      <a:pt x="6242" y="937"/>
                    </a:lnTo>
                    <a:lnTo>
                      <a:pt x="6242" y="1113"/>
                    </a:lnTo>
                    <a:lnTo>
                      <a:pt x="6245" y="1113"/>
                    </a:lnTo>
                    <a:lnTo>
                      <a:pt x="6245" y="1110"/>
                    </a:lnTo>
                    <a:lnTo>
                      <a:pt x="6245" y="1110"/>
                    </a:lnTo>
                    <a:lnTo>
                      <a:pt x="6245" y="935"/>
                    </a:lnTo>
                    <a:close/>
                    <a:moveTo>
                      <a:pt x="3750" y="928"/>
                    </a:moveTo>
                    <a:lnTo>
                      <a:pt x="3748" y="928"/>
                    </a:lnTo>
                    <a:lnTo>
                      <a:pt x="3748" y="930"/>
                    </a:lnTo>
                    <a:lnTo>
                      <a:pt x="3748" y="933"/>
                    </a:lnTo>
                    <a:lnTo>
                      <a:pt x="3750" y="933"/>
                    </a:lnTo>
                    <a:lnTo>
                      <a:pt x="3750" y="928"/>
                    </a:lnTo>
                    <a:close/>
                    <a:moveTo>
                      <a:pt x="6294" y="878"/>
                    </a:moveTo>
                    <a:lnTo>
                      <a:pt x="6294" y="878"/>
                    </a:lnTo>
                    <a:lnTo>
                      <a:pt x="6292" y="878"/>
                    </a:lnTo>
                    <a:lnTo>
                      <a:pt x="6292" y="881"/>
                    </a:lnTo>
                    <a:lnTo>
                      <a:pt x="6292" y="888"/>
                    </a:lnTo>
                    <a:lnTo>
                      <a:pt x="6294" y="888"/>
                    </a:lnTo>
                    <a:lnTo>
                      <a:pt x="6294" y="885"/>
                    </a:lnTo>
                    <a:lnTo>
                      <a:pt x="6294" y="885"/>
                    </a:lnTo>
                    <a:lnTo>
                      <a:pt x="6294" y="878"/>
                    </a:lnTo>
                    <a:close/>
                    <a:moveTo>
                      <a:pt x="6304" y="850"/>
                    </a:moveTo>
                    <a:lnTo>
                      <a:pt x="6301" y="850"/>
                    </a:lnTo>
                    <a:lnTo>
                      <a:pt x="6301" y="852"/>
                    </a:lnTo>
                    <a:lnTo>
                      <a:pt x="6301" y="871"/>
                    </a:lnTo>
                    <a:lnTo>
                      <a:pt x="6301" y="871"/>
                    </a:lnTo>
                    <a:lnTo>
                      <a:pt x="6301" y="869"/>
                    </a:lnTo>
                    <a:lnTo>
                      <a:pt x="6304" y="869"/>
                    </a:lnTo>
                    <a:lnTo>
                      <a:pt x="6304" y="850"/>
                    </a:lnTo>
                    <a:close/>
                    <a:moveTo>
                      <a:pt x="3005" y="762"/>
                    </a:moveTo>
                    <a:lnTo>
                      <a:pt x="3003" y="762"/>
                    </a:lnTo>
                    <a:lnTo>
                      <a:pt x="3003" y="765"/>
                    </a:lnTo>
                    <a:lnTo>
                      <a:pt x="3003" y="918"/>
                    </a:lnTo>
                    <a:lnTo>
                      <a:pt x="3005" y="918"/>
                    </a:lnTo>
                    <a:lnTo>
                      <a:pt x="3005" y="762"/>
                    </a:lnTo>
                    <a:close/>
                    <a:moveTo>
                      <a:pt x="915" y="753"/>
                    </a:moveTo>
                    <a:lnTo>
                      <a:pt x="913" y="753"/>
                    </a:lnTo>
                    <a:lnTo>
                      <a:pt x="913" y="755"/>
                    </a:lnTo>
                    <a:lnTo>
                      <a:pt x="913" y="767"/>
                    </a:lnTo>
                    <a:lnTo>
                      <a:pt x="915" y="767"/>
                    </a:lnTo>
                    <a:lnTo>
                      <a:pt x="915" y="753"/>
                    </a:lnTo>
                    <a:close/>
                    <a:moveTo>
                      <a:pt x="5036" y="731"/>
                    </a:moveTo>
                    <a:lnTo>
                      <a:pt x="5036" y="731"/>
                    </a:lnTo>
                    <a:lnTo>
                      <a:pt x="5036" y="734"/>
                    </a:lnTo>
                    <a:lnTo>
                      <a:pt x="5036" y="911"/>
                    </a:lnTo>
                    <a:lnTo>
                      <a:pt x="5036" y="911"/>
                    </a:lnTo>
                    <a:lnTo>
                      <a:pt x="5036" y="731"/>
                    </a:lnTo>
                    <a:close/>
                    <a:moveTo>
                      <a:pt x="3043" y="658"/>
                    </a:moveTo>
                    <a:lnTo>
                      <a:pt x="3043" y="658"/>
                    </a:lnTo>
                    <a:lnTo>
                      <a:pt x="3043" y="658"/>
                    </a:lnTo>
                    <a:lnTo>
                      <a:pt x="3043" y="727"/>
                    </a:lnTo>
                    <a:lnTo>
                      <a:pt x="3043" y="727"/>
                    </a:lnTo>
                    <a:lnTo>
                      <a:pt x="3043" y="724"/>
                    </a:lnTo>
                    <a:lnTo>
                      <a:pt x="3043" y="724"/>
                    </a:lnTo>
                    <a:lnTo>
                      <a:pt x="3043" y="658"/>
                    </a:lnTo>
                    <a:close/>
                    <a:moveTo>
                      <a:pt x="2" y="618"/>
                    </a:moveTo>
                    <a:lnTo>
                      <a:pt x="0" y="618"/>
                    </a:lnTo>
                    <a:lnTo>
                      <a:pt x="0" y="618"/>
                    </a:lnTo>
                    <a:lnTo>
                      <a:pt x="0" y="1392"/>
                    </a:lnTo>
                    <a:lnTo>
                      <a:pt x="2" y="1392"/>
                    </a:lnTo>
                    <a:lnTo>
                      <a:pt x="2" y="618"/>
                    </a:lnTo>
                    <a:close/>
                    <a:moveTo>
                      <a:pt x="5159" y="611"/>
                    </a:moveTo>
                    <a:lnTo>
                      <a:pt x="5157" y="611"/>
                    </a:lnTo>
                    <a:lnTo>
                      <a:pt x="5157" y="611"/>
                    </a:lnTo>
                    <a:lnTo>
                      <a:pt x="5157" y="670"/>
                    </a:lnTo>
                    <a:lnTo>
                      <a:pt x="5159" y="670"/>
                    </a:lnTo>
                    <a:lnTo>
                      <a:pt x="5159" y="611"/>
                    </a:lnTo>
                    <a:close/>
                    <a:moveTo>
                      <a:pt x="3187" y="582"/>
                    </a:moveTo>
                    <a:lnTo>
                      <a:pt x="3187" y="582"/>
                    </a:lnTo>
                    <a:lnTo>
                      <a:pt x="3185" y="582"/>
                    </a:lnTo>
                    <a:lnTo>
                      <a:pt x="3185" y="585"/>
                    </a:lnTo>
                    <a:lnTo>
                      <a:pt x="3185" y="596"/>
                    </a:lnTo>
                    <a:lnTo>
                      <a:pt x="3187" y="596"/>
                    </a:lnTo>
                    <a:lnTo>
                      <a:pt x="3187" y="582"/>
                    </a:lnTo>
                    <a:close/>
                    <a:moveTo>
                      <a:pt x="208" y="547"/>
                    </a:moveTo>
                    <a:lnTo>
                      <a:pt x="206" y="547"/>
                    </a:lnTo>
                    <a:lnTo>
                      <a:pt x="206" y="549"/>
                    </a:lnTo>
                    <a:lnTo>
                      <a:pt x="206" y="556"/>
                    </a:lnTo>
                    <a:lnTo>
                      <a:pt x="208" y="556"/>
                    </a:lnTo>
                    <a:lnTo>
                      <a:pt x="208" y="547"/>
                    </a:lnTo>
                    <a:close/>
                    <a:moveTo>
                      <a:pt x="6930" y="509"/>
                    </a:moveTo>
                    <a:lnTo>
                      <a:pt x="6928" y="509"/>
                    </a:lnTo>
                    <a:lnTo>
                      <a:pt x="6928" y="511"/>
                    </a:lnTo>
                    <a:lnTo>
                      <a:pt x="6928" y="1032"/>
                    </a:lnTo>
                    <a:lnTo>
                      <a:pt x="6930" y="1032"/>
                    </a:lnTo>
                    <a:lnTo>
                      <a:pt x="6930" y="509"/>
                    </a:lnTo>
                    <a:close/>
                    <a:moveTo>
                      <a:pt x="4098" y="504"/>
                    </a:moveTo>
                    <a:lnTo>
                      <a:pt x="4098" y="504"/>
                    </a:lnTo>
                    <a:lnTo>
                      <a:pt x="4098" y="504"/>
                    </a:lnTo>
                    <a:lnTo>
                      <a:pt x="4081" y="528"/>
                    </a:lnTo>
                    <a:lnTo>
                      <a:pt x="4081" y="528"/>
                    </a:lnTo>
                    <a:lnTo>
                      <a:pt x="4098" y="504"/>
                    </a:lnTo>
                    <a:close/>
                    <a:moveTo>
                      <a:pt x="3206" y="502"/>
                    </a:moveTo>
                    <a:lnTo>
                      <a:pt x="3204" y="502"/>
                    </a:lnTo>
                    <a:lnTo>
                      <a:pt x="3204" y="502"/>
                    </a:lnTo>
                    <a:lnTo>
                      <a:pt x="3204" y="504"/>
                    </a:lnTo>
                    <a:lnTo>
                      <a:pt x="3204" y="566"/>
                    </a:lnTo>
                    <a:lnTo>
                      <a:pt x="3204" y="566"/>
                    </a:lnTo>
                    <a:lnTo>
                      <a:pt x="3204" y="563"/>
                    </a:lnTo>
                    <a:lnTo>
                      <a:pt x="3206" y="563"/>
                    </a:lnTo>
                    <a:lnTo>
                      <a:pt x="3206" y="502"/>
                    </a:lnTo>
                    <a:close/>
                    <a:moveTo>
                      <a:pt x="3942" y="454"/>
                    </a:moveTo>
                    <a:lnTo>
                      <a:pt x="3939" y="454"/>
                    </a:lnTo>
                    <a:lnTo>
                      <a:pt x="3939" y="454"/>
                    </a:lnTo>
                    <a:lnTo>
                      <a:pt x="3939" y="457"/>
                    </a:lnTo>
                    <a:lnTo>
                      <a:pt x="3939" y="492"/>
                    </a:lnTo>
                    <a:lnTo>
                      <a:pt x="3859" y="644"/>
                    </a:lnTo>
                    <a:lnTo>
                      <a:pt x="3859" y="866"/>
                    </a:lnTo>
                    <a:lnTo>
                      <a:pt x="3859" y="866"/>
                    </a:lnTo>
                    <a:lnTo>
                      <a:pt x="3859" y="641"/>
                    </a:lnTo>
                    <a:lnTo>
                      <a:pt x="3942" y="490"/>
                    </a:lnTo>
                    <a:lnTo>
                      <a:pt x="3942" y="454"/>
                    </a:lnTo>
                    <a:close/>
                    <a:moveTo>
                      <a:pt x="3235" y="433"/>
                    </a:moveTo>
                    <a:lnTo>
                      <a:pt x="3232" y="433"/>
                    </a:lnTo>
                    <a:lnTo>
                      <a:pt x="3232" y="435"/>
                    </a:lnTo>
                    <a:lnTo>
                      <a:pt x="3232" y="473"/>
                    </a:lnTo>
                    <a:lnTo>
                      <a:pt x="3232" y="473"/>
                    </a:lnTo>
                    <a:lnTo>
                      <a:pt x="3232" y="471"/>
                    </a:lnTo>
                    <a:lnTo>
                      <a:pt x="3235" y="471"/>
                    </a:lnTo>
                    <a:lnTo>
                      <a:pt x="3235" y="433"/>
                    </a:lnTo>
                    <a:close/>
                    <a:moveTo>
                      <a:pt x="3949" y="390"/>
                    </a:moveTo>
                    <a:lnTo>
                      <a:pt x="3946" y="390"/>
                    </a:lnTo>
                    <a:lnTo>
                      <a:pt x="3946" y="390"/>
                    </a:lnTo>
                    <a:lnTo>
                      <a:pt x="3946" y="393"/>
                    </a:lnTo>
                    <a:lnTo>
                      <a:pt x="3946" y="450"/>
                    </a:lnTo>
                    <a:lnTo>
                      <a:pt x="3946" y="450"/>
                    </a:lnTo>
                    <a:lnTo>
                      <a:pt x="3946" y="447"/>
                    </a:lnTo>
                    <a:lnTo>
                      <a:pt x="3949" y="447"/>
                    </a:lnTo>
                    <a:lnTo>
                      <a:pt x="3949" y="390"/>
                    </a:lnTo>
                    <a:close/>
                    <a:moveTo>
                      <a:pt x="1714" y="369"/>
                    </a:moveTo>
                    <a:lnTo>
                      <a:pt x="1714" y="369"/>
                    </a:lnTo>
                    <a:lnTo>
                      <a:pt x="1714" y="372"/>
                    </a:lnTo>
                    <a:lnTo>
                      <a:pt x="1714" y="1070"/>
                    </a:lnTo>
                    <a:lnTo>
                      <a:pt x="1714" y="1070"/>
                    </a:lnTo>
                    <a:lnTo>
                      <a:pt x="1714" y="369"/>
                    </a:lnTo>
                    <a:close/>
                    <a:moveTo>
                      <a:pt x="3956" y="327"/>
                    </a:moveTo>
                    <a:lnTo>
                      <a:pt x="3953" y="327"/>
                    </a:lnTo>
                    <a:lnTo>
                      <a:pt x="3953" y="329"/>
                    </a:lnTo>
                    <a:lnTo>
                      <a:pt x="3953" y="383"/>
                    </a:lnTo>
                    <a:lnTo>
                      <a:pt x="3956" y="383"/>
                    </a:lnTo>
                    <a:lnTo>
                      <a:pt x="3956" y="381"/>
                    </a:lnTo>
                    <a:lnTo>
                      <a:pt x="3956" y="381"/>
                    </a:lnTo>
                    <a:lnTo>
                      <a:pt x="3956" y="327"/>
                    </a:lnTo>
                    <a:close/>
                    <a:moveTo>
                      <a:pt x="4608" y="232"/>
                    </a:moveTo>
                    <a:lnTo>
                      <a:pt x="4606" y="232"/>
                    </a:lnTo>
                    <a:lnTo>
                      <a:pt x="4606" y="234"/>
                    </a:lnTo>
                    <a:lnTo>
                      <a:pt x="4549" y="447"/>
                    </a:lnTo>
                    <a:lnTo>
                      <a:pt x="4552" y="445"/>
                    </a:lnTo>
                    <a:lnTo>
                      <a:pt x="4608" y="232"/>
                    </a:lnTo>
                    <a:close/>
                    <a:moveTo>
                      <a:pt x="4757" y="0"/>
                    </a:moveTo>
                    <a:lnTo>
                      <a:pt x="4755" y="0"/>
                    </a:lnTo>
                    <a:lnTo>
                      <a:pt x="4755" y="2"/>
                    </a:lnTo>
                    <a:lnTo>
                      <a:pt x="4755" y="125"/>
                    </a:lnTo>
                    <a:lnTo>
                      <a:pt x="4757" y="125"/>
                    </a:lnTo>
                    <a:lnTo>
                      <a:pt x="4757" y="123"/>
                    </a:lnTo>
                    <a:lnTo>
                      <a:pt x="4757" y="123"/>
                    </a:lnTo>
                    <a:lnTo>
                      <a:pt x="4757" y="0"/>
                    </a:lnTo>
                    <a:close/>
                  </a:path>
                </a:pathLst>
              </a:custGeom>
              <a:solidFill>
                <a:srgbClr val="E6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7" name="Freeform 79"/>
              <p:cNvSpPr>
                <a:spLocks noEditPoints="1"/>
              </p:cNvSpPr>
              <p:nvPr/>
            </p:nvSpPr>
            <p:spPr bwMode="auto">
              <a:xfrm>
                <a:off x="80" y="1722"/>
                <a:ext cx="6930" cy="1392"/>
              </a:xfrm>
              <a:custGeom>
                <a:avLst/>
                <a:gdLst>
                  <a:gd name="T0" fmla="*/ 3615 w 6930"/>
                  <a:gd name="T1" fmla="*/ 1255 h 1392"/>
                  <a:gd name="T2" fmla="*/ 5736 w 6930"/>
                  <a:gd name="T3" fmla="*/ 1210 h 1392"/>
                  <a:gd name="T4" fmla="*/ 5736 w 6930"/>
                  <a:gd name="T5" fmla="*/ 1264 h 1392"/>
                  <a:gd name="T6" fmla="*/ 1591 w 6930"/>
                  <a:gd name="T7" fmla="*/ 1134 h 1392"/>
                  <a:gd name="T8" fmla="*/ 1594 w 6930"/>
                  <a:gd name="T9" fmla="*/ 1134 h 1392"/>
                  <a:gd name="T10" fmla="*/ 5760 w 6930"/>
                  <a:gd name="T11" fmla="*/ 1129 h 1392"/>
                  <a:gd name="T12" fmla="*/ 5762 w 6930"/>
                  <a:gd name="T13" fmla="*/ 1184 h 1392"/>
                  <a:gd name="T14" fmla="*/ 6226 w 6930"/>
                  <a:gd name="T15" fmla="*/ 1129 h 1392"/>
                  <a:gd name="T16" fmla="*/ 6228 w 6930"/>
                  <a:gd name="T17" fmla="*/ 1129 h 1392"/>
                  <a:gd name="T18" fmla="*/ 1367 w 6930"/>
                  <a:gd name="T19" fmla="*/ 1110 h 1392"/>
                  <a:gd name="T20" fmla="*/ 1369 w 6930"/>
                  <a:gd name="T21" fmla="*/ 1084 h 1392"/>
                  <a:gd name="T22" fmla="*/ 2764 w 6930"/>
                  <a:gd name="T23" fmla="*/ 1065 h 1392"/>
                  <a:gd name="T24" fmla="*/ 5836 w 6930"/>
                  <a:gd name="T25" fmla="*/ 1042 h 1392"/>
                  <a:gd name="T26" fmla="*/ 5833 w 6930"/>
                  <a:gd name="T27" fmla="*/ 1068 h 1392"/>
                  <a:gd name="T28" fmla="*/ 2781 w 6930"/>
                  <a:gd name="T29" fmla="*/ 1013 h 1392"/>
                  <a:gd name="T30" fmla="*/ 2783 w 6930"/>
                  <a:gd name="T31" fmla="*/ 1044 h 1392"/>
                  <a:gd name="T32" fmla="*/ 3674 w 6930"/>
                  <a:gd name="T33" fmla="*/ 994 h 1392"/>
                  <a:gd name="T34" fmla="*/ 3674 w 6930"/>
                  <a:gd name="T35" fmla="*/ 1162 h 1392"/>
                  <a:gd name="T36" fmla="*/ 5852 w 6930"/>
                  <a:gd name="T37" fmla="*/ 989 h 1392"/>
                  <a:gd name="T38" fmla="*/ 5852 w 6930"/>
                  <a:gd name="T39" fmla="*/ 1023 h 1392"/>
                  <a:gd name="T40" fmla="*/ 6242 w 6930"/>
                  <a:gd name="T41" fmla="*/ 935 h 1392"/>
                  <a:gd name="T42" fmla="*/ 6245 w 6930"/>
                  <a:gd name="T43" fmla="*/ 1110 h 1392"/>
                  <a:gd name="T44" fmla="*/ 3748 w 6930"/>
                  <a:gd name="T45" fmla="*/ 928 h 1392"/>
                  <a:gd name="T46" fmla="*/ 3750 w 6930"/>
                  <a:gd name="T47" fmla="*/ 928 h 1392"/>
                  <a:gd name="T48" fmla="*/ 6292 w 6930"/>
                  <a:gd name="T49" fmla="*/ 881 h 1392"/>
                  <a:gd name="T50" fmla="*/ 6294 w 6930"/>
                  <a:gd name="T51" fmla="*/ 885 h 1392"/>
                  <a:gd name="T52" fmla="*/ 6301 w 6930"/>
                  <a:gd name="T53" fmla="*/ 852 h 1392"/>
                  <a:gd name="T54" fmla="*/ 6304 w 6930"/>
                  <a:gd name="T55" fmla="*/ 869 h 1392"/>
                  <a:gd name="T56" fmla="*/ 3003 w 6930"/>
                  <a:gd name="T57" fmla="*/ 765 h 1392"/>
                  <a:gd name="T58" fmla="*/ 915 w 6930"/>
                  <a:gd name="T59" fmla="*/ 753 h 1392"/>
                  <a:gd name="T60" fmla="*/ 915 w 6930"/>
                  <a:gd name="T61" fmla="*/ 767 h 1392"/>
                  <a:gd name="T62" fmla="*/ 5036 w 6930"/>
                  <a:gd name="T63" fmla="*/ 734 h 1392"/>
                  <a:gd name="T64" fmla="*/ 3043 w 6930"/>
                  <a:gd name="T65" fmla="*/ 658 h 1392"/>
                  <a:gd name="T66" fmla="*/ 3043 w 6930"/>
                  <a:gd name="T67" fmla="*/ 727 h 1392"/>
                  <a:gd name="T68" fmla="*/ 2 w 6930"/>
                  <a:gd name="T69" fmla="*/ 618 h 1392"/>
                  <a:gd name="T70" fmla="*/ 2 w 6930"/>
                  <a:gd name="T71" fmla="*/ 1392 h 1392"/>
                  <a:gd name="T72" fmla="*/ 5157 w 6930"/>
                  <a:gd name="T73" fmla="*/ 611 h 1392"/>
                  <a:gd name="T74" fmla="*/ 3187 w 6930"/>
                  <a:gd name="T75" fmla="*/ 582 h 1392"/>
                  <a:gd name="T76" fmla="*/ 3185 w 6930"/>
                  <a:gd name="T77" fmla="*/ 596 h 1392"/>
                  <a:gd name="T78" fmla="*/ 206 w 6930"/>
                  <a:gd name="T79" fmla="*/ 547 h 1392"/>
                  <a:gd name="T80" fmla="*/ 208 w 6930"/>
                  <a:gd name="T81" fmla="*/ 547 h 1392"/>
                  <a:gd name="T82" fmla="*/ 6928 w 6930"/>
                  <a:gd name="T83" fmla="*/ 1032 h 1392"/>
                  <a:gd name="T84" fmla="*/ 4098 w 6930"/>
                  <a:gd name="T85" fmla="*/ 504 h 1392"/>
                  <a:gd name="T86" fmla="*/ 4098 w 6930"/>
                  <a:gd name="T87" fmla="*/ 504 h 1392"/>
                  <a:gd name="T88" fmla="*/ 3204 w 6930"/>
                  <a:gd name="T89" fmla="*/ 504 h 1392"/>
                  <a:gd name="T90" fmla="*/ 3206 w 6930"/>
                  <a:gd name="T91" fmla="*/ 563 h 1392"/>
                  <a:gd name="T92" fmla="*/ 3939 w 6930"/>
                  <a:gd name="T93" fmla="*/ 454 h 1392"/>
                  <a:gd name="T94" fmla="*/ 3859 w 6930"/>
                  <a:gd name="T95" fmla="*/ 866 h 1392"/>
                  <a:gd name="T96" fmla="*/ 3942 w 6930"/>
                  <a:gd name="T97" fmla="*/ 454 h 1392"/>
                  <a:gd name="T98" fmla="*/ 3232 w 6930"/>
                  <a:gd name="T99" fmla="*/ 473 h 1392"/>
                  <a:gd name="T100" fmla="*/ 3235 w 6930"/>
                  <a:gd name="T101" fmla="*/ 433 h 1392"/>
                  <a:gd name="T102" fmla="*/ 3946 w 6930"/>
                  <a:gd name="T103" fmla="*/ 393 h 1392"/>
                  <a:gd name="T104" fmla="*/ 3949 w 6930"/>
                  <a:gd name="T105" fmla="*/ 447 h 1392"/>
                  <a:gd name="T106" fmla="*/ 1714 w 6930"/>
                  <a:gd name="T107" fmla="*/ 372 h 1392"/>
                  <a:gd name="T108" fmla="*/ 3956 w 6930"/>
                  <a:gd name="T109" fmla="*/ 327 h 1392"/>
                  <a:gd name="T110" fmla="*/ 3956 w 6930"/>
                  <a:gd name="T111" fmla="*/ 383 h 1392"/>
                  <a:gd name="T112" fmla="*/ 4608 w 6930"/>
                  <a:gd name="T113" fmla="*/ 232 h 1392"/>
                  <a:gd name="T114" fmla="*/ 4552 w 6930"/>
                  <a:gd name="T115" fmla="*/ 445 h 1392"/>
                  <a:gd name="T116" fmla="*/ 4755 w 6930"/>
                  <a:gd name="T117" fmla="*/ 2 h 1392"/>
                  <a:gd name="T118" fmla="*/ 4757 w 6930"/>
                  <a:gd name="T119" fmla="*/ 123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30" h="1392">
                    <a:moveTo>
                      <a:pt x="3615" y="1222"/>
                    </a:moveTo>
                    <a:lnTo>
                      <a:pt x="3615" y="1222"/>
                    </a:lnTo>
                    <a:lnTo>
                      <a:pt x="3615" y="1224"/>
                    </a:lnTo>
                    <a:lnTo>
                      <a:pt x="3615" y="1255"/>
                    </a:lnTo>
                    <a:lnTo>
                      <a:pt x="3615" y="1255"/>
                    </a:lnTo>
                    <a:lnTo>
                      <a:pt x="3615" y="1222"/>
                    </a:lnTo>
                    <a:moveTo>
                      <a:pt x="5736" y="1210"/>
                    </a:moveTo>
                    <a:lnTo>
                      <a:pt x="5736" y="1210"/>
                    </a:lnTo>
                    <a:lnTo>
                      <a:pt x="5734" y="1210"/>
                    </a:lnTo>
                    <a:lnTo>
                      <a:pt x="5734" y="1210"/>
                    </a:lnTo>
                    <a:lnTo>
                      <a:pt x="5734" y="1264"/>
                    </a:lnTo>
                    <a:lnTo>
                      <a:pt x="5736" y="1264"/>
                    </a:lnTo>
                    <a:lnTo>
                      <a:pt x="5736" y="1210"/>
                    </a:lnTo>
                    <a:moveTo>
                      <a:pt x="1594" y="1132"/>
                    </a:moveTo>
                    <a:lnTo>
                      <a:pt x="1591" y="1132"/>
                    </a:lnTo>
                    <a:lnTo>
                      <a:pt x="1591" y="1134"/>
                    </a:lnTo>
                    <a:lnTo>
                      <a:pt x="1591" y="1134"/>
                    </a:lnTo>
                    <a:lnTo>
                      <a:pt x="1594" y="1134"/>
                    </a:lnTo>
                    <a:lnTo>
                      <a:pt x="1594" y="1134"/>
                    </a:lnTo>
                    <a:lnTo>
                      <a:pt x="1594" y="1134"/>
                    </a:lnTo>
                    <a:lnTo>
                      <a:pt x="1594" y="1132"/>
                    </a:lnTo>
                    <a:moveTo>
                      <a:pt x="5762" y="1129"/>
                    </a:moveTo>
                    <a:lnTo>
                      <a:pt x="5760" y="1129"/>
                    </a:lnTo>
                    <a:lnTo>
                      <a:pt x="5760" y="1129"/>
                    </a:lnTo>
                    <a:lnTo>
                      <a:pt x="5760" y="1186"/>
                    </a:lnTo>
                    <a:lnTo>
                      <a:pt x="5760" y="1186"/>
                    </a:lnTo>
                    <a:lnTo>
                      <a:pt x="5760" y="1184"/>
                    </a:lnTo>
                    <a:lnTo>
                      <a:pt x="5762" y="1184"/>
                    </a:lnTo>
                    <a:lnTo>
                      <a:pt x="5762" y="1129"/>
                    </a:lnTo>
                    <a:moveTo>
                      <a:pt x="6228" y="1129"/>
                    </a:moveTo>
                    <a:lnTo>
                      <a:pt x="6226" y="1129"/>
                    </a:lnTo>
                    <a:lnTo>
                      <a:pt x="6226" y="1129"/>
                    </a:lnTo>
                    <a:lnTo>
                      <a:pt x="6226" y="1129"/>
                    </a:lnTo>
                    <a:lnTo>
                      <a:pt x="6226" y="1148"/>
                    </a:lnTo>
                    <a:lnTo>
                      <a:pt x="6228" y="1148"/>
                    </a:lnTo>
                    <a:lnTo>
                      <a:pt x="6228" y="1129"/>
                    </a:lnTo>
                    <a:moveTo>
                      <a:pt x="1369" y="1084"/>
                    </a:moveTo>
                    <a:lnTo>
                      <a:pt x="1367" y="1084"/>
                    </a:lnTo>
                    <a:lnTo>
                      <a:pt x="1367" y="1087"/>
                    </a:lnTo>
                    <a:lnTo>
                      <a:pt x="1367" y="1110"/>
                    </a:lnTo>
                    <a:lnTo>
                      <a:pt x="1369" y="1110"/>
                    </a:lnTo>
                    <a:lnTo>
                      <a:pt x="1369" y="1108"/>
                    </a:lnTo>
                    <a:lnTo>
                      <a:pt x="1369" y="1108"/>
                    </a:lnTo>
                    <a:lnTo>
                      <a:pt x="1369" y="1084"/>
                    </a:lnTo>
                    <a:moveTo>
                      <a:pt x="2766" y="1063"/>
                    </a:moveTo>
                    <a:lnTo>
                      <a:pt x="2764" y="1063"/>
                    </a:lnTo>
                    <a:lnTo>
                      <a:pt x="2764" y="1063"/>
                    </a:lnTo>
                    <a:lnTo>
                      <a:pt x="2764" y="1065"/>
                    </a:lnTo>
                    <a:lnTo>
                      <a:pt x="2764" y="1179"/>
                    </a:lnTo>
                    <a:lnTo>
                      <a:pt x="2766" y="1179"/>
                    </a:lnTo>
                    <a:lnTo>
                      <a:pt x="2766" y="1063"/>
                    </a:lnTo>
                    <a:moveTo>
                      <a:pt x="5836" y="1042"/>
                    </a:moveTo>
                    <a:lnTo>
                      <a:pt x="5836" y="1042"/>
                    </a:lnTo>
                    <a:lnTo>
                      <a:pt x="5833" y="1042"/>
                    </a:lnTo>
                    <a:lnTo>
                      <a:pt x="5833" y="1044"/>
                    </a:lnTo>
                    <a:lnTo>
                      <a:pt x="5833" y="1068"/>
                    </a:lnTo>
                    <a:lnTo>
                      <a:pt x="5836" y="1068"/>
                    </a:lnTo>
                    <a:lnTo>
                      <a:pt x="5836" y="1042"/>
                    </a:lnTo>
                    <a:moveTo>
                      <a:pt x="2783" y="1013"/>
                    </a:moveTo>
                    <a:lnTo>
                      <a:pt x="2781" y="1013"/>
                    </a:lnTo>
                    <a:lnTo>
                      <a:pt x="2781" y="1013"/>
                    </a:lnTo>
                    <a:lnTo>
                      <a:pt x="2781" y="1046"/>
                    </a:lnTo>
                    <a:lnTo>
                      <a:pt x="2783" y="1046"/>
                    </a:lnTo>
                    <a:lnTo>
                      <a:pt x="2783" y="1044"/>
                    </a:lnTo>
                    <a:lnTo>
                      <a:pt x="2783" y="1044"/>
                    </a:lnTo>
                    <a:lnTo>
                      <a:pt x="2783" y="1013"/>
                    </a:lnTo>
                    <a:moveTo>
                      <a:pt x="3677" y="994"/>
                    </a:moveTo>
                    <a:lnTo>
                      <a:pt x="3674" y="994"/>
                    </a:lnTo>
                    <a:lnTo>
                      <a:pt x="3674" y="997"/>
                    </a:lnTo>
                    <a:lnTo>
                      <a:pt x="3674" y="1162"/>
                    </a:lnTo>
                    <a:lnTo>
                      <a:pt x="3674" y="1162"/>
                    </a:lnTo>
                    <a:lnTo>
                      <a:pt x="3674" y="1162"/>
                    </a:lnTo>
                    <a:lnTo>
                      <a:pt x="3677" y="1162"/>
                    </a:lnTo>
                    <a:lnTo>
                      <a:pt x="3677" y="994"/>
                    </a:lnTo>
                    <a:moveTo>
                      <a:pt x="5854" y="989"/>
                    </a:moveTo>
                    <a:lnTo>
                      <a:pt x="5852" y="989"/>
                    </a:lnTo>
                    <a:lnTo>
                      <a:pt x="5852" y="992"/>
                    </a:lnTo>
                    <a:lnTo>
                      <a:pt x="5852" y="1025"/>
                    </a:lnTo>
                    <a:lnTo>
                      <a:pt x="5852" y="1025"/>
                    </a:lnTo>
                    <a:lnTo>
                      <a:pt x="5852" y="1023"/>
                    </a:lnTo>
                    <a:lnTo>
                      <a:pt x="5854" y="1023"/>
                    </a:lnTo>
                    <a:lnTo>
                      <a:pt x="5854" y="989"/>
                    </a:lnTo>
                    <a:moveTo>
                      <a:pt x="6245" y="935"/>
                    </a:moveTo>
                    <a:lnTo>
                      <a:pt x="6242" y="935"/>
                    </a:lnTo>
                    <a:lnTo>
                      <a:pt x="6242" y="937"/>
                    </a:lnTo>
                    <a:lnTo>
                      <a:pt x="6242" y="1113"/>
                    </a:lnTo>
                    <a:lnTo>
                      <a:pt x="6245" y="1113"/>
                    </a:lnTo>
                    <a:lnTo>
                      <a:pt x="6245" y="1110"/>
                    </a:lnTo>
                    <a:lnTo>
                      <a:pt x="6245" y="1110"/>
                    </a:lnTo>
                    <a:lnTo>
                      <a:pt x="6245" y="935"/>
                    </a:lnTo>
                    <a:moveTo>
                      <a:pt x="3750" y="928"/>
                    </a:moveTo>
                    <a:lnTo>
                      <a:pt x="3748" y="928"/>
                    </a:lnTo>
                    <a:lnTo>
                      <a:pt x="3748" y="930"/>
                    </a:lnTo>
                    <a:lnTo>
                      <a:pt x="3748" y="933"/>
                    </a:lnTo>
                    <a:lnTo>
                      <a:pt x="3750" y="933"/>
                    </a:lnTo>
                    <a:lnTo>
                      <a:pt x="3750" y="928"/>
                    </a:lnTo>
                    <a:moveTo>
                      <a:pt x="6294" y="878"/>
                    </a:moveTo>
                    <a:lnTo>
                      <a:pt x="6294" y="878"/>
                    </a:lnTo>
                    <a:lnTo>
                      <a:pt x="6292" y="878"/>
                    </a:lnTo>
                    <a:lnTo>
                      <a:pt x="6292" y="881"/>
                    </a:lnTo>
                    <a:lnTo>
                      <a:pt x="6292" y="888"/>
                    </a:lnTo>
                    <a:lnTo>
                      <a:pt x="6294" y="888"/>
                    </a:lnTo>
                    <a:lnTo>
                      <a:pt x="6294" y="885"/>
                    </a:lnTo>
                    <a:lnTo>
                      <a:pt x="6294" y="885"/>
                    </a:lnTo>
                    <a:lnTo>
                      <a:pt x="6294" y="878"/>
                    </a:lnTo>
                    <a:moveTo>
                      <a:pt x="6304" y="850"/>
                    </a:moveTo>
                    <a:lnTo>
                      <a:pt x="6301" y="850"/>
                    </a:lnTo>
                    <a:lnTo>
                      <a:pt x="6301" y="852"/>
                    </a:lnTo>
                    <a:lnTo>
                      <a:pt x="6301" y="871"/>
                    </a:lnTo>
                    <a:lnTo>
                      <a:pt x="6301" y="871"/>
                    </a:lnTo>
                    <a:lnTo>
                      <a:pt x="6301" y="869"/>
                    </a:lnTo>
                    <a:lnTo>
                      <a:pt x="6304" y="869"/>
                    </a:lnTo>
                    <a:lnTo>
                      <a:pt x="6304" y="850"/>
                    </a:lnTo>
                    <a:moveTo>
                      <a:pt x="3005" y="762"/>
                    </a:moveTo>
                    <a:lnTo>
                      <a:pt x="3003" y="762"/>
                    </a:lnTo>
                    <a:lnTo>
                      <a:pt x="3003" y="765"/>
                    </a:lnTo>
                    <a:lnTo>
                      <a:pt x="3003" y="918"/>
                    </a:lnTo>
                    <a:lnTo>
                      <a:pt x="3005" y="918"/>
                    </a:lnTo>
                    <a:lnTo>
                      <a:pt x="3005" y="762"/>
                    </a:lnTo>
                    <a:moveTo>
                      <a:pt x="915" y="753"/>
                    </a:moveTo>
                    <a:lnTo>
                      <a:pt x="913" y="753"/>
                    </a:lnTo>
                    <a:lnTo>
                      <a:pt x="913" y="755"/>
                    </a:lnTo>
                    <a:lnTo>
                      <a:pt x="913" y="767"/>
                    </a:lnTo>
                    <a:lnTo>
                      <a:pt x="915" y="767"/>
                    </a:lnTo>
                    <a:lnTo>
                      <a:pt x="915" y="753"/>
                    </a:lnTo>
                    <a:moveTo>
                      <a:pt x="5036" y="731"/>
                    </a:moveTo>
                    <a:lnTo>
                      <a:pt x="5036" y="731"/>
                    </a:lnTo>
                    <a:lnTo>
                      <a:pt x="5036" y="734"/>
                    </a:lnTo>
                    <a:lnTo>
                      <a:pt x="5036" y="911"/>
                    </a:lnTo>
                    <a:lnTo>
                      <a:pt x="5036" y="911"/>
                    </a:lnTo>
                    <a:lnTo>
                      <a:pt x="5036" y="731"/>
                    </a:lnTo>
                    <a:moveTo>
                      <a:pt x="3043" y="658"/>
                    </a:moveTo>
                    <a:lnTo>
                      <a:pt x="3043" y="658"/>
                    </a:lnTo>
                    <a:lnTo>
                      <a:pt x="3043" y="658"/>
                    </a:lnTo>
                    <a:lnTo>
                      <a:pt x="3043" y="727"/>
                    </a:lnTo>
                    <a:lnTo>
                      <a:pt x="3043" y="727"/>
                    </a:lnTo>
                    <a:lnTo>
                      <a:pt x="3043" y="724"/>
                    </a:lnTo>
                    <a:lnTo>
                      <a:pt x="3043" y="724"/>
                    </a:lnTo>
                    <a:lnTo>
                      <a:pt x="3043" y="658"/>
                    </a:lnTo>
                    <a:moveTo>
                      <a:pt x="2" y="618"/>
                    </a:moveTo>
                    <a:lnTo>
                      <a:pt x="0" y="618"/>
                    </a:lnTo>
                    <a:lnTo>
                      <a:pt x="0" y="618"/>
                    </a:lnTo>
                    <a:lnTo>
                      <a:pt x="0" y="1392"/>
                    </a:lnTo>
                    <a:lnTo>
                      <a:pt x="2" y="1392"/>
                    </a:lnTo>
                    <a:lnTo>
                      <a:pt x="2" y="618"/>
                    </a:lnTo>
                    <a:moveTo>
                      <a:pt x="5159" y="611"/>
                    </a:moveTo>
                    <a:lnTo>
                      <a:pt x="5157" y="611"/>
                    </a:lnTo>
                    <a:lnTo>
                      <a:pt x="5157" y="611"/>
                    </a:lnTo>
                    <a:lnTo>
                      <a:pt x="5157" y="670"/>
                    </a:lnTo>
                    <a:lnTo>
                      <a:pt x="5159" y="670"/>
                    </a:lnTo>
                    <a:lnTo>
                      <a:pt x="5159" y="611"/>
                    </a:lnTo>
                    <a:moveTo>
                      <a:pt x="3187" y="582"/>
                    </a:moveTo>
                    <a:lnTo>
                      <a:pt x="3187" y="582"/>
                    </a:lnTo>
                    <a:lnTo>
                      <a:pt x="3185" y="582"/>
                    </a:lnTo>
                    <a:lnTo>
                      <a:pt x="3185" y="585"/>
                    </a:lnTo>
                    <a:lnTo>
                      <a:pt x="3185" y="596"/>
                    </a:lnTo>
                    <a:lnTo>
                      <a:pt x="3187" y="596"/>
                    </a:lnTo>
                    <a:lnTo>
                      <a:pt x="3187" y="582"/>
                    </a:lnTo>
                    <a:moveTo>
                      <a:pt x="208" y="547"/>
                    </a:moveTo>
                    <a:lnTo>
                      <a:pt x="206" y="547"/>
                    </a:lnTo>
                    <a:lnTo>
                      <a:pt x="206" y="549"/>
                    </a:lnTo>
                    <a:lnTo>
                      <a:pt x="206" y="556"/>
                    </a:lnTo>
                    <a:lnTo>
                      <a:pt x="208" y="556"/>
                    </a:lnTo>
                    <a:lnTo>
                      <a:pt x="208" y="547"/>
                    </a:lnTo>
                    <a:moveTo>
                      <a:pt x="6930" y="509"/>
                    </a:moveTo>
                    <a:lnTo>
                      <a:pt x="6928" y="509"/>
                    </a:lnTo>
                    <a:lnTo>
                      <a:pt x="6928" y="511"/>
                    </a:lnTo>
                    <a:lnTo>
                      <a:pt x="6928" y="1032"/>
                    </a:lnTo>
                    <a:lnTo>
                      <a:pt x="6930" y="1032"/>
                    </a:lnTo>
                    <a:lnTo>
                      <a:pt x="6930" y="509"/>
                    </a:lnTo>
                    <a:moveTo>
                      <a:pt x="4098" y="504"/>
                    </a:moveTo>
                    <a:lnTo>
                      <a:pt x="4098" y="504"/>
                    </a:lnTo>
                    <a:lnTo>
                      <a:pt x="4098" y="504"/>
                    </a:lnTo>
                    <a:lnTo>
                      <a:pt x="4081" y="528"/>
                    </a:lnTo>
                    <a:lnTo>
                      <a:pt x="4081" y="528"/>
                    </a:lnTo>
                    <a:lnTo>
                      <a:pt x="4098" y="504"/>
                    </a:lnTo>
                    <a:moveTo>
                      <a:pt x="3206" y="502"/>
                    </a:moveTo>
                    <a:lnTo>
                      <a:pt x="3204" y="502"/>
                    </a:lnTo>
                    <a:lnTo>
                      <a:pt x="3204" y="502"/>
                    </a:lnTo>
                    <a:lnTo>
                      <a:pt x="3204" y="504"/>
                    </a:lnTo>
                    <a:lnTo>
                      <a:pt x="3204" y="566"/>
                    </a:lnTo>
                    <a:lnTo>
                      <a:pt x="3204" y="566"/>
                    </a:lnTo>
                    <a:lnTo>
                      <a:pt x="3204" y="563"/>
                    </a:lnTo>
                    <a:lnTo>
                      <a:pt x="3206" y="563"/>
                    </a:lnTo>
                    <a:lnTo>
                      <a:pt x="3206" y="502"/>
                    </a:lnTo>
                    <a:moveTo>
                      <a:pt x="3942" y="454"/>
                    </a:moveTo>
                    <a:lnTo>
                      <a:pt x="3939" y="454"/>
                    </a:lnTo>
                    <a:lnTo>
                      <a:pt x="3939" y="454"/>
                    </a:lnTo>
                    <a:lnTo>
                      <a:pt x="3939" y="457"/>
                    </a:lnTo>
                    <a:lnTo>
                      <a:pt x="3939" y="492"/>
                    </a:lnTo>
                    <a:lnTo>
                      <a:pt x="3859" y="644"/>
                    </a:lnTo>
                    <a:lnTo>
                      <a:pt x="3859" y="866"/>
                    </a:lnTo>
                    <a:lnTo>
                      <a:pt x="3859" y="866"/>
                    </a:lnTo>
                    <a:lnTo>
                      <a:pt x="3859" y="641"/>
                    </a:lnTo>
                    <a:lnTo>
                      <a:pt x="3942" y="490"/>
                    </a:lnTo>
                    <a:lnTo>
                      <a:pt x="3942" y="454"/>
                    </a:lnTo>
                    <a:moveTo>
                      <a:pt x="3235" y="433"/>
                    </a:moveTo>
                    <a:lnTo>
                      <a:pt x="3232" y="433"/>
                    </a:lnTo>
                    <a:lnTo>
                      <a:pt x="3232" y="435"/>
                    </a:lnTo>
                    <a:lnTo>
                      <a:pt x="3232" y="473"/>
                    </a:lnTo>
                    <a:lnTo>
                      <a:pt x="3232" y="473"/>
                    </a:lnTo>
                    <a:lnTo>
                      <a:pt x="3232" y="471"/>
                    </a:lnTo>
                    <a:lnTo>
                      <a:pt x="3235" y="471"/>
                    </a:lnTo>
                    <a:lnTo>
                      <a:pt x="3235" y="433"/>
                    </a:lnTo>
                    <a:moveTo>
                      <a:pt x="3949" y="390"/>
                    </a:moveTo>
                    <a:lnTo>
                      <a:pt x="3946" y="390"/>
                    </a:lnTo>
                    <a:lnTo>
                      <a:pt x="3946" y="390"/>
                    </a:lnTo>
                    <a:lnTo>
                      <a:pt x="3946" y="393"/>
                    </a:lnTo>
                    <a:lnTo>
                      <a:pt x="3946" y="450"/>
                    </a:lnTo>
                    <a:lnTo>
                      <a:pt x="3946" y="450"/>
                    </a:lnTo>
                    <a:lnTo>
                      <a:pt x="3946" y="447"/>
                    </a:lnTo>
                    <a:lnTo>
                      <a:pt x="3949" y="447"/>
                    </a:lnTo>
                    <a:lnTo>
                      <a:pt x="3949" y="390"/>
                    </a:lnTo>
                    <a:moveTo>
                      <a:pt x="1714" y="369"/>
                    </a:moveTo>
                    <a:lnTo>
                      <a:pt x="1714" y="369"/>
                    </a:lnTo>
                    <a:lnTo>
                      <a:pt x="1714" y="372"/>
                    </a:lnTo>
                    <a:lnTo>
                      <a:pt x="1714" y="1070"/>
                    </a:lnTo>
                    <a:lnTo>
                      <a:pt x="1714" y="1070"/>
                    </a:lnTo>
                    <a:lnTo>
                      <a:pt x="1714" y="369"/>
                    </a:lnTo>
                    <a:moveTo>
                      <a:pt x="3956" y="327"/>
                    </a:moveTo>
                    <a:lnTo>
                      <a:pt x="3953" y="327"/>
                    </a:lnTo>
                    <a:lnTo>
                      <a:pt x="3953" y="329"/>
                    </a:lnTo>
                    <a:lnTo>
                      <a:pt x="3953" y="383"/>
                    </a:lnTo>
                    <a:lnTo>
                      <a:pt x="3956" y="383"/>
                    </a:lnTo>
                    <a:lnTo>
                      <a:pt x="3956" y="381"/>
                    </a:lnTo>
                    <a:lnTo>
                      <a:pt x="3956" y="381"/>
                    </a:lnTo>
                    <a:lnTo>
                      <a:pt x="3956" y="327"/>
                    </a:lnTo>
                    <a:moveTo>
                      <a:pt x="4608" y="232"/>
                    </a:moveTo>
                    <a:lnTo>
                      <a:pt x="4606" y="232"/>
                    </a:lnTo>
                    <a:lnTo>
                      <a:pt x="4606" y="234"/>
                    </a:lnTo>
                    <a:lnTo>
                      <a:pt x="4549" y="447"/>
                    </a:lnTo>
                    <a:lnTo>
                      <a:pt x="4552" y="445"/>
                    </a:lnTo>
                    <a:lnTo>
                      <a:pt x="4608" y="232"/>
                    </a:lnTo>
                    <a:moveTo>
                      <a:pt x="4757" y="0"/>
                    </a:moveTo>
                    <a:lnTo>
                      <a:pt x="4755" y="0"/>
                    </a:lnTo>
                    <a:lnTo>
                      <a:pt x="4755" y="2"/>
                    </a:lnTo>
                    <a:lnTo>
                      <a:pt x="4755" y="125"/>
                    </a:lnTo>
                    <a:lnTo>
                      <a:pt x="4757" y="125"/>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8" name="Freeform 80"/>
              <p:cNvSpPr>
                <a:spLocks noEditPoints="1"/>
              </p:cNvSpPr>
              <p:nvPr/>
            </p:nvSpPr>
            <p:spPr bwMode="auto">
              <a:xfrm>
                <a:off x="82" y="1719"/>
                <a:ext cx="6931" cy="1395"/>
              </a:xfrm>
              <a:custGeom>
                <a:avLst/>
                <a:gdLst>
                  <a:gd name="T0" fmla="*/ 3613 w 6931"/>
                  <a:gd name="T1" fmla="*/ 1258 h 1395"/>
                  <a:gd name="T2" fmla="*/ 5734 w 6931"/>
                  <a:gd name="T3" fmla="*/ 1210 h 1395"/>
                  <a:gd name="T4" fmla="*/ 5737 w 6931"/>
                  <a:gd name="T5" fmla="*/ 1267 h 1395"/>
                  <a:gd name="T6" fmla="*/ 1592 w 6931"/>
                  <a:gd name="T7" fmla="*/ 1135 h 1395"/>
                  <a:gd name="T8" fmla="*/ 1594 w 6931"/>
                  <a:gd name="T9" fmla="*/ 1135 h 1395"/>
                  <a:gd name="T10" fmla="*/ 5760 w 6931"/>
                  <a:gd name="T11" fmla="*/ 1132 h 1395"/>
                  <a:gd name="T12" fmla="*/ 5760 w 6931"/>
                  <a:gd name="T13" fmla="*/ 1184 h 1395"/>
                  <a:gd name="T14" fmla="*/ 6226 w 6931"/>
                  <a:gd name="T15" fmla="*/ 1130 h 1395"/>
                  <a:gd name="T16" fmla="*/ 6228 w 6931"/>
                  <a:gd name="T17" fmla="*/ 1130 h 1395"/>
                  <a:gd name="T18" fmla="*/ 1367 w 6931"/>
                  <a:gd name="T19" fmla="*/ 1111 h 1395"/>
                  <a:gd name="T20" fmla="*/ 1369 w 6931"/>
                  <a:gd name="T21" fmla="*/ 1085 h 1395"/>
                  <a:gd name="T22" fmla="*/ 2764 w 6931"/>
                  <a:gd name="T23" fmla="*/ 1066 h 1395"/>
                  <a:gd name="T24" fmla="*/ 5836 w 6931"/>
                  <a:gd name="T25" fmla="*/ 1042 h 1395"/>
                  <a:gd name="T26" fmla="*/ 5834 w 6931"/>
                  <a:gd name="T27" fmla="*/ 1071 h 1395"/>
                  <a:gd name="T28" fmla="*/ 2781 w 6931"/>
                  <a:gd name="T29" fmla="*/ 1014 h 1395"/>
                  <a:gd name="T30" fmla="*/ 2781 w 6931"/>
                  <a:gd name="T31" fmla="*/ 1045 h 1395"/>
                  <a:gd name="T32" fmla="*/ 3675 w 6931"/>
                  <a:gd name="T33" fmla="*/ 995 h 1395"/>
                  <a:gd name="T34" fmla="*/ 3675 w 6931"/>
                  <a:gd name="T35" fmla="*/ 995 h 1395"/>
                  <a:gd name="T36" fmla="*/ 5852 w 6931"/>
                  <a:gd name="T37" fmla="*/ 1026 h 1395"/>
                  <a:gd name="T38" fmla="*/ 5855 w 6931"/>
                  <a:gd name="T39" fmla="*/ 990 h 1395"/>
                  <a:gd name="T40" fmla="*/ 6243 w 6931"/>
                  <a:gd name="T41" fmla="*/ 1113 h 1395"/>
                  <a:gd name="T42" fmla="*/ 6245 w 6931"/>
                  <a:gd name="T43" fmla="*/ 938 h 1395"/>
                  <a:gd name="T44" fmla="*/ 3748 w 6931"/>
                  <a:gd name="T45" fmla="*/ 936 h 1395"/>
                  <a:gd name="T46" fmla="*/ 6292 w 6931"/>
                  <a:gd name="T47" fmla="*/ 879 h 1395"/>
                  <a:gd name="T48" fmla="*/ 6292 w 6931"/>
                  <a:gd name="T49" fmla="*/ 888 h 1395"/>
                  <a:gd name="T50" fmla="*/ 6302 w 6931"/>
                  <a:gd name="T51" fmla="*/ 850 h 1395"/>
                  <a:gd name="T52" fmla="*/ 6302 w 6931"/>
                  <a:gd name="T53" fmla="*/ 872 h 1395"/>
                  <a:gd name="T54" fmla="*/ 3006 w 6931"/>
                  <a:gd name="T55" fmla="*/ 765 h 1395"/>
                  <a:gd name="T56" fmla="*/ 3006 w 6931"/>
                  <a:gd name="T57" fmla="*/ 921 h 1395"/>
                  <a:gd name="T58" fmla="*/ 913 w 6931"/>
                  <a:gd name="T59" fmla="*/ 756 h 1395"/>
                  <a:gd name="T60" fmla="*/ 5037 w 6931"/>
                  <a:gd name="T61" fmla="*/ 734 h 1395"/>
                  <a:gd name="T62" fmla="*/ 5037 w 6931"/>
                  <a:gd name="T63" fmla="*/ 914 h 1395"/>
                  <a:gd name="T64" fmla="*/ 3041 w 6931"/>
                  <a:gd name="T65" fmla="*/ 661 h 1395"/>
                  <a:gd name="T66" fmla="*/ 3043 w 6931"/>
                  <a:gd name="T67" fmla="*/ 725 h 1395"/>
                  <a:gd name="T68" fmla="*/ 0 w 6931"/>
                  <a:gd name="T69" fmla="*/ 621 h 1395"/>
                  <a:gd name="T70" fmla="*/ 5157 w 6931"/>
                  <a:gd name="T71" fmla="*/ 611 h 1395"/>
                  <a:gd name="T72" fmla="*/ 5157 w 6931"/>
                  <a:gd name="T73" fmla="*/ 673 h 1395"/>
                  <a:gd name="T74" fmla="*/ 3185 w 6931"/>
                  <a:gd name="T75" fmla="*/ 583 h 1395"/>
                  <a:gd name="T76" fmla="*/ 3188 w 6931"/>
                  <a:gd name="T77" fmla="*/ 583 h 1395"/>
                  <a:gd name="T78" fmla="*/ 206 w 6931"/>
                  <a:gd name="T79" fmla="*/ 559 h 1395"/>
                  <a:gd name="T80" fmla="*/ 6928 w 6931"/>
                  <a:gd name="T81" fmla="*/ 510 h 1395"/>
                  <a:gd name="T82" fmla="*/ 6931 w 6931"/>
                  <a:gd name="T83" fmla="*/ 510 h 1395"/>
                  <a:gd name="T84" fmla="*/ 4079 w 6931"/>
                  <a:gd name="T85" fmla="*/ 531 h 1395"/>
                  <a:gd name="T86" fmla="*/ 3204 w 6931"/>
                  <a:gd name="T87" fmla="*/ 502 h 1395"/>
                  <a:gd name="T88" fmla="*/ 3204 w 6931"/>
                  <a:gd name="T89" fmla="*/ 566 h 1395"/>
                  <a:gd name="T90" fmla="*/ 3942 w 6931"/>
                  <a:gd name="T91" fmla="*/ 455 h 1395"/>
                  <a:gd name="T92" fmla="*/ 3940 w 6931"/>
                  <a:gd name="T93" fmla="*/ 493 h 1395"/>
                  <a:gd name="T94" fmla="*/ 3859 w 6931"/>
                  <a:gd name="T95" fmla="*/ 642 h 1395"/>
                  <a:gd name="T96" fmla="*/ 3233 w 6931"/>
                  <a:gd name="T97" fmla="*/ 436 h 1395"/>
                  <a:gd name="T98" fmla="*/ 3233 w 6931"/>
                  <a:gd name="T99" fmla="*/ 472 h 1395"/>
                  <a:gd name="T100" fmla="*/ 3947 w 6931"/>
                  <a:gd name="T101" fmla="*/ 391 h 1395"/>
                  <a:gd name="T102" fmla="*/ 3947 w 6931"/>
                  <a:gd name="T103" fmla="*/ 450 h 1395"/>
                  <a:gd name="T104" fmla="*/ 1715 w 6931"/>
                  <a:gd name="T105" fmla="*/ 370 h 1395"/>
                  <a:gd name="T106" fmla="*/ 1715 w 6931"/>
                  <a:gd name="T107" fmla="*/ 1073 h 1395"/>
                  <a:gd name="T108" fmla="*/ 3954 w 6931"/>
                  <a:gd name="T109" fmla="*/ 330 h 1395"/>
                  <a:gd name="T110" fmla="*/ 3956 w 6931"/>
                  <a:gd name="T111" fmla="*/ 384 h 1395"/>
                  <a:gd name="T112" fmla="*/ 4606 w 6931"/>
                  <a:gd name="T113" fmla="*/ 235 h 1395"/>
                  <a:gd name="T114" fmla="*/ 4708 w 6931"/>
                  <a:gd name="T115" fmla="*/ 173 h 1395"/>
                  <a:gd name="T116" fmla="*/ 4708 w 6931"/>
                  <a:gd name="T117" fmla="*/ 173 h 1395"/>
                  <a:gd name="T118" fmla="*/ 4755 w 6931"/>
                  <a:gd name="T119" fmla="*/ 126 h 1395"/>
                  <a:gd name="T120" fmla="*/ 4758 w 6931"/>
                  <a:gd name="T121" fmla="*/ 0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95">
                    <a:moveTo>
                      <a:pt x="3616" y="1225"/>
                    </a:moveTo>
                    <a:lnTo>
                      <a:pt x="3613" y="1225"/>
                    </a:lnTo>
                    <a:lnTo>
                      <a:pt x="3613" y="1225"/>
                    </a:lnTo>
                    <a:lnTo>
                      <a:pt x="3613" y="1258"/>
                    </a:lnTo>
                    <a:lnTo>
                      <a:pt x="3616" y="1258"/>
                    </a:lnTo>
                    <a:lnTo>
                      <a:pt x="3616" y="1225"/>
                    </a:lnTo>
                    <a:close/>
                    <a:moveTo>
                      <a:pt x="5737" y="1210"/>
                    </a:moveTo>
                    <a:lnTo>
                      <a:pt x="5734" y="1210"/>
                    </a:lnTo>
                    <a:lnTo>
                      <a:pt x="5734" y="1210"/>
                    </a:lnTo>
                    <a:lnTo>
                      <a:pt x="5734" y="1213"/>
                    </a:lnTo>
                    <a:lnTo>
                      <a:pt x="5734" y="1267"/>
                    </a:lnTo>
                    <a:lnTo>
                      <a:pt x="5737" y="1267"/>
                    </a:lnTo>
                    <a:lnTo>
                      <a:pt x="5737" y="1210"/>
                    </a:lnTo>
                    <a:close/>
                    <a:moveTo>
                      <a:pt x="1594" y="1132"/>
                    </a:moveTo>
                    <a:lnTo>
                      <a:pt x="1592" y="1132"/>
                    </a:lnTo>
                    <a:lnTo>
                      <a:pt x="1592" y="1135"/>
                    </a:lnTo>
                    <a:lnTo>
                      <a:pt x="1592" y="1137"/>
                    </a:lnTo>
                    <a:lnTo>
                      <a:pt x="1594" y="1137"/>
                    </a:lnTo>
                    <a:lnTo>
                      <a:pt x="1594" y="1135"/>
                    </a:lnTo>
                    <a:lnTo>
                      <a:pt x="1594" y="1135"/>
                    </a:lnTo>
                    <a:lnTo>
                      <a:pt x="1594" y="1132"/>
                    </a:lnTo>
                    <a:close/>
                    <a:moveTo>
                      <a:pt x="5760" y="1130"/>
                    </a:moveTo>
                    <a:lnTo>
                      <a:pt x="5760" y="1130"/>
                    </a:lnTo>
                    <a:lnTo>
                      <a:pt x="5760" y="1132"/>
                    </a:lnTo>
                    <a:lnTo>
                      <a:pt x="5760" y="1187"/>
                    </a:lnTo>
                    <a:lnTo>
                      <a:pt x="5760" y="1187"/>
                    </a:lnTo>
                    <a:lnTo>
                      <a:pt x="5760" y="1184"/>
                    </a:lnTo>
                    <a:lnTo>
                      <a:pt x="5760" y="1184"/>
                    </a:lnTo>
                    <a:lnTo>
                      <a:pt x="5760" y="1130"/>
                    </a:lnTo>
                    <a:close/>
                    <a:moveTo>
                      <a:pt x="6228" y="1130"/>
                    </a:moveTo>
                    <a:lnTo>
                      <a:pt x="6226" y="1130"/>
                    </a:lnTo>
                    <a:lnTo>
                      <a:pt x="6226" y="1130"/>
                    </a:lnTo>
                    <a:lnTo>
                      <a:pt x="6226" y="1132"/>
                    </a:lnTo>
                    <a:lnTo>
                      <a:pt x="6226" y="1151"/>
                    </a:lnTo>
                    <a:lnTo>
                      <a:pt x="6228" y="1151"/>
                    </a:lnTo>
                    <a:lnTo>
                      <a:pt x="6228" y="1130"/>
                    </a:lnTo>
                    <a:close/>
                    <a:moveTo>
                      <a:pt x="1369" y="1085"/>
                    </a:moveTo>
                    <a:lnTo>
                      <a:pt x="1367" y="1085"/>
                    </a:lnTo>
                    <a:lnTo>
                      <a:pt x="1367" y="1087"/>
                    </a:lnTo>
                    <a:lnTo>
                      <a:pt x="1367" y="1111"/>
                    </a:lnTo>
                    <a:lnTo>
                      <a:pt x="1369" y="1111"/>
                    </a:lnTo>
                    <a:lnTo>
                      <a:pt x="1369" y="1109"/>
                    </a:lnTo>
                    <a:lnTo>
                      <a:pt x="1369" y="1109"/>
                    </a:lnTo>
                    <a:lnTo>
                      <a:pt x="1369" y="1085"/>
                    </a:lnTo>
                    <a:close/>
                    <a:moveTo>
                      <a:pt x="2764" y="1064"/>
                    </a:moveTo>
                    <a:lnTo>
                      <a:pt x="2764" y="1064"/>
                    </a:lnTo>
                    <a:lnTo>
                      <a:pt x="2764" y="1064"/>
                    </a:lnTo>
                    <a:lnTo>
                      <a:pt x="2764" y="1066"/>
                    </a:lnTo>
                    <a:lnTo>
                      <a:pt x="2764" y="1182"/>
                    </a:lnTo>
                    <a:lnTo>
                      <a:pt x="2764" y="1182"/>
                    </a:lnTo>
                    <a:lnTo>
                      <a:pt x="2764" y="1064"/>
                    </a:lnTo>
                    <a:close/>
                    <a:moveTo>
                      <a:pt x="5836" y="1042"/>
                    </a:moveTo>
                    <a:lnTo>
                      <a:pt x="5836" y="1042"/>
                    </a:lnTo>
                    <a:lnTo>
                      <a:pt x="5834" y="1042"/>
                    </a:lnTo>
                    <a:lnTo>
                      <a:pt x="5834" y="1045"/>
                    </a:lnTo>
                    <a:lnTo>
                      <a:pt x="5834" y="1071"/>
                    </a:lnTo>
                    <a:lnTo>
                      <a:pt x="5836" y="1071"/>
                    </a:lnTo>
                    <a:lnTo>
                      <a:pt x="5836" y="1042"/>
                    </a:lnTo>
                    <a:close/>
                    <a:moveTo>
                      <a:pt x="2783" y="1014"/>
                    </a:moveTo>
                    <a:lnTo>
                      <a:pt x="2781" y="1014"/>
                    </a:lnTo>
                    <a:lnTo>
                      <a:pt x="2781" y="1016"/>
                    </a:lnTo>
                    <a:lnTo>
                      <a:pt x="2781" y="1047"/>
                    </a:lnTo>
                    <a:lnTo>
                      <a:pt x="2781" y="1047"/>
                    </a:lnTo>
                    <a:lnTo>
                      <a:pt x="2781" y="1045"/>
                    </a:lnTo>
                    <a:lnTo>
                      <a:pt x="2783" y="1045"/>
                    </a:lnTo>
                    <a:lnTo>
                      <a:pt x="2783" y="1014"/>
                    </a:lnTo>
                    <a:close/>
                    <a:moveTo>
                      <a:pt x="3675" y="995"/>
                    </a:moveTo>
                    <a:lnTo>
                      <a:pt x="3675" y="995"/>
                    </a:lnTo>
                    <a:lnTo>
                      <a:pt x="3675" y="997"/>
                    </a:lnTo>
                    <a:lnTo>
                      <a:pt x="3675" y="1165"/>
                    </a:lnTo>
                    <a:lnTo>
                      <a:pt x="3675" y="1165"/>
                    </a:lnTo>
                    <a:lnTo>
                      <a:pt x="3675" y="995"/>
                    </a:lnTo>
                    <a:close/>
                    <a:moveTo>
                      <a:pt x="5855" y="990"/>
                    </a:moveTo>
                    <a:lnTo>
                      <a:pt x="5852" y="990"/>
                    </a:lnTo>
                    <a:lnTo>
                      <a:pt x="5852" y="992"/>
                    </a:lnTo>
                    <a:lnTo>
                      <a:pt x="5852" y="1026"/>
                    </a:lnTo>
                    <a:lnTo>
                      <a:pt x="5852" y="1026"/>
                    </a:lnTo>
                    <a:lnTo>
                      <a:pt x="5852" y="1023"/>
                    </a:lnTo>
                    <a:lnTo>
                      <a:pt x="5855" y="1023"/>
                    </a:lnTo>
                    <a:lnTo>
                      <a:pt x="5855" y="990"/>
                    </a:lnTo>
                    <a:close/>
                    <a:moveTo>
                      <a:pt x="6245" y="938"/>
                    </a:moveTo>
                    <a:lnTo>
                      <a:pt x="6243" y="938"/>
                    </a:lnTo>
                    <a:lnTo>
                      <a:pt x="6243" y="938"/>
                    </a:lnTo>
                    <a:lnTo>
                      <a:pt x="6243" y="1113"/>
                    </a:lnTo>
                    <a:lnTo>
                      <a:pt x="6245" y="1113"/>
                    </a:lnTo>
                    <a:lnTo>
                      <a:pt x="6245" y="1111"/>
                    </a:lnTo>
                    <a:lnTo>
                      <a:pt x="6245" y="1111"/>
                    </a:lnTo>
                    <a:lnTo>
                      <a:pt x="6245" y="938"/>
                    </a:lnTo>
                    <a:close/>
                    <a:moveTo>
                      <a:pt x="3750" y="929"/>
                    </a:moveTo>
                    <a:lnTo>
                      <a:pt x="3748" y="929"/>
                    </a:lnTo>
                    <a:lnTo>
                      <a:pt x="3748" y="931"/>
                    </a:lnTo>
                    <a:lnTo>
                      <a:pt x="3748" y="936"/>
                    </a:lnTo>
                    <a:lnTo>
                      <a:pt x="3750" y="936"/>
                    </a:lnTo>
                    <a:lnTo>
                      <a:pt x="3750" y="929"/>
                    </a:lnTo>
                    <a:close/>
                    <a:moveTo>
                      <a:pt x="6295" y="879"/>
                    </a:moveTo>
                    <a:lnTo>
                      <a:pt x="6292" y="879"/>
                    </a:lnTo>
                    <a:lnTo>
                      <a:pt x="6292" y="879"/>
                    </a:lnTo>
                    <a:lnTo>
                      <a:pt x="6292" y="881"/>
                    </a:lnTo>
                    <a:lnTo>
                      <a:pt x="6292" y="888"/>
                    </a:lnTo>
                    <a:lnTo>
                      <a:pt x="6292" y="888"/>
                    </a:lnTo>
                    <a:lnTo>
                      <a:pt x="6292" y="886"/>
                    </a:lnTo>
                    <a:lnTo>
                      <a:pt x="6295" y="886"/>
                    </a:lnTo>
                    <a:lnTo>
                      <a:pt x="6295" y="879"/>
                    </a:lnTo>
                    <a:close/>
                    <a:moveTo>
                      <a:pt x="6302" y="850"/>
                    </a:moveTo>
                    <a:lnTo>
                      <a:pt x="6302" y="850"/>
                    </a:lnTo>
                    <a:lnTo>
                      <a:pt x="6302" y="853"/>
                    </a:lnTo>
                    <a:lnTo>
                      <a:pt x="6302" y="872"/>
                    </a:lnTo>
                    <a:lnTo>
                      <a:pt x="6302" y="872"/>
                    </a:lnTo>
                    <a:lnTo>
                      <a:pt x="6302" y="872"/>
                    </a:lnTo>
                    <a:lnTo>
                      <a:pt x="6302" y="872"/>
                    </a:lnTo>
                    <a:lnTo>
                      <a:pt x="6302" y="850"/>
                    </a:lnTo>
                    <a:close/>
                    <a:moveTo>
                      <a:pt x="3006" y="765"/>
                    </a:moveTo>
                    <a:lnTo>
                      <a:pt x="3003" y="765"/>
                    </a:lnTo>
                    <a:lnTo>
                      <a:pt x="3003" y="765"/>
                    </a:lnTo>
                    <a:lnTo>
                      <a:pt x="3003" y="921"/>
                    </a:lnTo>
                    <a:lnTo>
                      <a:pt x="3006" y="921"/>
                    </a:lnTo>
                    <a:lnTo>
                      <a:pt x="3006" y="765"/>
                    </a:lnTo>
                    <a:close/>
                    <a:moveTo>
                      <a:pt x="913" y="753"/>
                    </a:moveTo>
                    <a:lnTo>
                      <a:pt x="913" y="753"/>
                    </a:lnTo>
                    <a:lnTo>
                      <a:pt x="913" y="756"/>
                    </a:lnTo>
                    <a:lnTo>
                      <a:pt x="913" y="770"/>
                    </a:lnTo>
                    <a:lnTo>
                      <a:pt x="913" y="770"/>
                    </a:lnTo>
                    <a:lnTo>
                      <a:pt x="913" y="753"/>
                    </a:lnTo>
                    <a:close/>
                    <a:moveTo>
                      <a:pt x="5037" y="734"/>
                    </a:moveTo>
                    <a:lnTo>
                      <a:pt x="5034" y="734"/>
                    </a:lnTo>
                    <a:lnTo>
                      <a:pt x="5034" y="734"/>
                    </a:lnTo>
                    <a:lnTo>
                      <a:pt x="5034" y="914"/>
                    </a:lnTo>
                    <a:lnTo>
                      <a:pt x="5037" y="914"/>
                    </a:lnTo>
                    <a:lnTo>
                      <a:pt x="5037" y="734"/>
                    </a:lnTo>
                    <a:close/>
                    <a:moveTo>
                      <a:pt x="3043" y="659"/>
                    </a:moveTo>
                    <a:lnTo>
                      <a:pt x="3041" y="659"/>
                    </a:lnTo>
                    <a:lnTo>
                      <a:pt x="3041" y="661"/>
                    </a:lnTo>
                    <a:lnTo>
                      <a:pt x="3041" y="727"/>
                    </a:lnTo>
                    <a:lnTo>
                      <a:pt x="3043" y="727"/>
                    </a:lnTo>
                    <a:lnTo>
                      <a:pt x="3043" y="725"/>
                    </a:lnTo>
                    <a:lnTo>
                      <a:pt x="3043" y="725"/>
                    </a:lnTo>
                    <a:lnTo>
                      <a:pt x="3043" y="659"/>
                    </a:lnTo>
                    <a:close/>
                    <a:moveTo>
                      <a:pt x="3" y="618"/>
                    </a:moveTo>
                    <a:lnTo>
                      <a:pt x="0" y="618"/>
                    </a:lnTo>
                    <a:lnTo>
                      <a:pt x="0" y="621"/>
                    </a:lnTo>
                    <a:lnTo>
                      <a:pt x="0" y="1395"/>
                    </a:lnTo>
                    <a:lnTo>
                      <a:pt x="3" y="1395"/>
                    </a:lnTo>
                    <a:lnTo>
                      <a:pt x="3" y="618"/>
                    </a:lnTo>
                    <a:close/>
                    <a:moveTo>
                      <a:pt x="5157" y="611"/>
                    </a:moveTo>
                    <a:lnTo>
                      <a:pt x="5157" y="611"/>
                    </a:lnTo>
                    <a:lnTo>
                      <a:pt x="5157" y="614"/>
                    </a:lnTo>
                    <a:lnTo>
                      <a:pt x="5157" y="673"/>
                    </a:lnTo>
                    <a:lnTo>
                      <a:pt x="5157" y="673"/>
                    </a:lnTo>
                    <a:lnTo>
                      <a:pt x="5157" y="611"/>
                    </a:lnTo>
                    <a:close/>
                    <a:moveTo>
                      <a:pt x="3188" y="583"/>
                    </a:moveTo>
                    <a:lnTo>
                      <a:pt x="3185" y="583"/>
                    </a:lnTo>
                    <a:lnTo>
                      <a:pt x="3185" y="583"/>
                    </a:lnTo>
                    <a:lnTo>
                      <a:pt x="3185" y="585"/>
                    </a:lnTo>
                    <a:lnTo>
                      <a:pt x="3185" y="599"/>
                    </a:lnTo>
                    <a:lnTo>
                      <a:pt x="3188" y="599"/>
                    </a:lnTo>
                    <a:lnTo>
                      <a:pt x="3188" y="583"/>
                    </a:lnTo>
                    <a:close/>
                    <a:moveTo>
                      <a:pt x="208" y="550"/>
                    </a:moveTo>
                    <a:lnTo>
                      <a:pt x="206" y="550"/>
                    </a:lnTo>
                    <a:lnTo>
                      <a:pt x="206" y="550"/>
                    </a:lnTo>
                    <a:lnTo>
                      <a:pt x="206" y="559"/>
                    </a:lnTo>
                    <a:lnTo>
                      <a:pt x="208" y="559"/>
                    </a:lnTo>
                    <a:lnTo>
                      <a:pt x="208" y="550"/>
                    </a:lnTo>
                    <a:close/>
                    <a:moveTo>
                      <a:pt x="6931" y="510"/>
                    </a:moveTo>
                    <a:lnTo>
                      <a:pt x="6928" y="510"/>
                    </a:lnTo>
                    <a:lnTo>
                      <a:pt x="6928" y="512"/>
                    </a:lnTo>
                    <a:lnTo>
                      <a:pt x="6928" y="1035"/>
                    </a:lnTo>
                    <a:lnTo>
                      <a:pt x="6931" y="1035"/>
                    </a:lnTo>
                    <a:lnTo>
                      <a:pt x="6931" y="510"/>
                    </a:lnTo>
                    <a:close/>
                    <a:moveTo>
                      <a:pt x="4098" y="505"/>
                    </a:moveTo>
                    <a:lnTo>
                      <a:pt x="4098" y="505"/>
                    </a:lnTo>
                    <a:lnTo>
                      <a:pt x="4096" y="507"/>
                    </a:lnTo>
                    <a:lnTo>
                      <a:pt x="4079" y="531"/>
                    </a:lnTo>
                    <a:lnTo>
                      <a:pt x="4079" y="531"/>
                    </a:lnTo>
                    <a:lnTo>
                      <a:pt x="4098" y="505"/>
                    </a:lnTo>
                    <a:close/>
                    <a:moveTo>
                      <a:pt x="3204" y="502"/>
                    </a:moveTo>
                    <a:lnTo>
                      <a:pt x="3204" y="502"/>
                    </a:lnTo>
                    <a:lnTo>
                      <a:pt x="3204" y="502"/>
                    </a:lnTo>
                    <a:lnTo>
                      <a:pt x="3204" y="505"/>
                    </a:lnTo>
                    <a:lnTo>
                      <a:pt x="3204" y="566"/>
                    </a:lnTo>
                    <a:lnTo>
                      <a:pt x="3204" y="566"/>
                    </a:lnTo>
                    <a:lnTo>
                      <a:pt x="3204" y="564"/>
                    </a:lnTo>
                    <a:lnTo>
                      <a:pt x="3204" y="564"/>
                    </a:lnTo>
                    <a:lnTo>
                      <a:pt x="3204" y="502"/>
                    </a:lnTo>
                    <a:close/>
                    <a:moveTo>
                      <a:pt x="3942" y="455"/>
                    </a:moveTo>
                    <a:lnTo>
                      <a:pt x="3940" y="455"/>
                    </a:lnTo>
                    <a:lnTo>
                      <a:pt x="3940" y="455"/>
                    </a:lnTo>
                    <a:lnTo>
                      <a:pt x="3940" y="457"/>
                    </a:lnTo>
                    <a:lnTo>
                      <a:pt x="3940" y="493"/>
                    </a:lnTo>
                    <a:lnTo>
                      <a:pt x="3857" y="644"/>
                    </a:lnTo>
                    <a:lnTo>
                      <a:pt x="3857" y="869"/>
                    </a:lnTo>
                    <a:lnTo>
                      <a:pt x="3859" y="869"/>
                    </a:lnTo>
                    <a:lnTo>
                      <a:pt x="3859" y="642"/>
                    </a:lnTo>
                    <a:lnTo>
                      <a:pt x="3942" y="491"/>
                    </a:lnTo>
                    <a:lnTo>
                      <a:pt x="3942" y="455"/>
                    </a:lnTo>
                    <a:close/>
                    <a:moveTo>
                      <a:pt x="3235" y="436"/>
                    </a:moveTo>
                    <a:lnTo>
                      <a:pt x="3233" y="436"/>
                    </a:lnTo>
                    <a:lnTo>
                      <a:pt x="3233" y="436"/>
                    </a:lnTo>
                    <a:lnTo>
                      <a:pt x="3233" y="474"/>
                    </a:lnTo>
                    <a:lnTo>
                      <a:pt x="3233" y="474"/>
                    </a:lnTo>
                    <a:lnTo>
                      <a:pt x="3233" y="472"/>
                    </a:lnTo>
                    <a:lnTo>
                      <a:pt x="3235" y="472"/>
                    </a:lnTo>
                    <a:lnTo>
                      <a:pt x="3235" y="436"/>
                    </a:lnTo>
                    <a:close/>
                    <a:moveTo>
                      <a:pt x="3947" y="391"/>
                    </a:moveTo>
                    <a:lnTo>
                      <a:pt x="3947" y="391"/>
                    </a:lnTo>
                    <a:lnTo>
                      <a:pt x="3947" y="391"/>
                    </a:lnTo>
                    <a:lnTo>
                      <a:pt x="3947" y="393"/>
                    </a:lnTo>
                    <a:lnTo>
                      <a:pt x="3947" y="450"/>
                    </a:lnTo>
                    <a:lnTo>
                      <a:pt x="3947" y="450"/>
                    </a:lnTo>
                    <a:lnTo>
                      <a:pt x="3947" y="448"/>
                    </a:lnTo>
                    <a:lnTo>
                      <a:pt x="3947" y="448"/>
                    </a:lnTo>
                    <a:lnTo>
                      <a:pt x="3947" y="391"/>
                    </a:lnTo>
                    <a:close/>
                    <a:moveTo>
                      <a:pt x="1715" y="370"/>
                    </a:moveTo>
                    <a:lnTo>
                      <a:pt x="1712" y="370"/>
                    </a:lnTo>
                    <a:lnTo>
                      <a:pt x="1712" y="372"/>
                    </a:lnTo>
                    <a:lnTo>
                      <a:pt x="1712" y="1073"/>
                    </a:lnTo>
                    <a:lnTo>
                      <a:pt x="1715" y="1073"/>
                    </a:lnTo>
                    <a:lnTo>
                      <a:pt x="1715" y="370"/>
                    </a:lnTo>
                    <a:close/>
                    <a:moveTo>
                      <a:pt x="3956" y="330"/>
                    </a:moveTo>
                    <a:lnTo>
                      <a:pt x="3954" y="330"/>
                    </a:lnTo>
                    <a:lnTo>
                      <a:pt x="3954" y="330"/>
                    </a:lnTo>
                    <a:lnTo>
                      <a:pt x="3954" y="384"/>
                    </a:lnTo>
                    <a:lnTo>
                      <a:pt x="3954" y="384"/>
                    </a:lnTo>
                    <a:lnTo>
                      <a:pt x="3954" y="384"/>
                    </a:lnTo>
                    <a:lnTo>
                      <a:pt x="3956" y="384"/>
                    </a:lnTo>
                    <a:lnTo>
                      <a:pt x="3956" y="330"/>
                    </a:lnTo>
                    <a:close/>
                    <a:moveTo>
                      <a:pt x="4609" y="233"/>
                    </a:moveTo>
                    <a:lnTo>
                      <a:pt x="4606" y="233"/>
                    </a:lnTo>
                    <a:lnTo>
                      <a:pt x="4606" y="235"/>
                    </a:lnTo>
                    <a:lnTo>
                      <a:pt x="4550" y="448"/>
                    </a:lnTo>
                    <a:lnTo>
                      <a:pt x="4550" y="448"/>
                    </a:lnTo>
                    <a:lnTo>
                      <a:pt x="4609" y="233"/>
                    </a:lnTo>
                    <a:close/>
                    <a:moveTo>
                      <a:pt x="4708" y="173"/>
                    </a:moveTo>
                    <a:lnTo>
                      <a:pt x="4706" y="173"/>
                    </a:lnTo>
                    <a:lnTo>
                      <a:pt x="4706" y="173"/>
                    </a:lnTo>
                    <a:lnTo>
                      <a:pt x="4708" y="173"/>
                    </a:lnTo>
                    <a:lnTo>
                      <a:pt x="4708" y="173"/>
                    </a:lnTo>
                    <a:close/>
                    <a:moveTo>
                      <a:pt x="4758" y="0"/>
                    </a:moveTo>
                    <a:lnTo>
                      <a:pt x="4755" y="0"/>
                    </a:lnTo>
                    <a:lnTo>
                      <a:pt x="4755" y="3"/>
                    </a:lnTo>
                    <a:lnTo>
                      <a:pt x="4755" y="126"/>
                    </a:lnTo>
                    <a:lnTo>
                      <a:pt x="4758" y="126"/>
                    </a:lnTo>
                    <a:lnTo>
                      <a:pt x="4758" y="124"/>
                    </a:lnTo>
                    <a:lnTo>
                      <a:pt x="4758" y="124"/>
                    </a:lnTo>
                    <a:lnTo>
                      <a:pt x="4758" y="0"/>
                    </a:lnTo>
                    <a:close/>
                  </a:path>
                </a:pathLst>
              </a:custGeom>
              <a:solidFill>
                <a:srgbClr val="E4E4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59" name="Freeform 81"/>
              <p:cNvSpPr>
                <a:spLocks noEditPoints="1"/>
              </p:cNvSpPr>
              <p:nvPr/>
            </p:nvSpPr>
            <p:spPr bwMode="auto">
              <a:xfrm>
                <a:off x="82" y="1719"/>
                <a:ext cx="6931" cy="1395"/>
              </a:xfrm>
              <a:custGeom>
                <a:avLst/>
                <a:gdLst>
                  <a:gd name="T0" fmla="*/ 3613 w 6931"/>
                  <a:gd name="T1" fmla="*/ 1258 h 1395"/>
                  <a:gd name="T2" fmla="*/ 5734 w 6931"/>
                  <a:gd name="T3" fmla="*/ 1210 h 1395"/>
                  <a:gd name="T4" fmla="*/ 5737 w 6931"/>
                  <a:gd name="T5" fmla="*/ 1267 h 1395"/>
                  <a:gd name="T6" fmla="*/ 1592 w 6931"/>
                  <a:gd name="T7" fmla="*/ 1135 h 1395"/>
                  <a:gd name="T8" fmla="*/ 1594 w 6931"/>
                  <a:gd name="T9" fmla="*/ 1135 h 1395"/>
                  <a:gd name="T10" fmla="*/ 5760 w 6931"/>
                  <a:gd name="T11" fmla="*/ 1132 h 1395"/>
                  <a:gd name="T12" fmla="*/ 5760 w 6931"/>
                  <a:gd name="T13" fmla="*/ 1184 h 1395"/>
                  <a:gd name="T14" fmla="*/ 6226 w 6931"/>
                  <a:gd name="T15" fmla="*/ 1130 h 1395"/>
                  <a:gd name="T16" fmla="*/ 6228 w 6931"/>
                  <a:gd name="T17" fmla="*/ 1130 h 1395"/>
                  <a:gd name="T18" fmla="*/ 1367 w 6931"/>
                  <a:gd name="T19" fmla="*/ 1111 h 1395"/>
                  <a:gd name="T20" fmla="*/ 1369 w 6931"/>
                  <a:gd name="T21" fmla="*/ 1085 h 1395"/>
                  <a:gd name="T22" fmla="*/ 2764 w 6931"/>
                  <a:gd name="T23" fmla="*/ 1066 h 1395"/>
                  <a:gd name="T24" fmla="*/ 5836 w 6931"/>
                  <a:gd name="T25" fmla="*/ 1042 h 1395"/>
                  <a:gd name="T26" fmla="*/ 5834 w 6931"/>
                  <a:gd name="T27" fmla="*/ 1071 h 1395"/>
                  <a:gd name="T28" fmla="*/ 2781 w 6931"/>
                  <a:gd name="T29" fmla="*/ 1014 h 1395"/>
                  <a:gd name="T30" fmla="*/ 2781 w 6931"/>
                  <a:gd name="T31" fmla="*/ 1045 h 1395"/>
                  <a:gd name="T32" fmla="*/ 3675 w 6931"/>
                  <a:gd name="T33" fmla="*/ 995 h 1395"/>
                  <a:gd name="T34" fmla="*/ 3675 w 6931"/>
                  <a:gd name="T35" fmla="*/ 995 h 1395"/>
                  <a:gd name="T36" fmla="*/ 5852 w 6931"/>
                  <a:gd name="T37" fmla="*/ 1026 h 1395"/>
                  <a:gd name="T38" fmla="*/ 5855 w 6931"/>
                  <a:gd name="T39" fmla="*/ 990 h 1395"/>
                  <a:gd name="T40" fmla="*/ 6243 w 6931"/>
                  <a:gd name="T41" fmla="*/ 1113 h 1395"/>
                  <a:gd name="T42" fmla="*/ 6245 w 6931"/>
                  <a:gd name="T43" fmla="*/ 938 h 1395"/>
                  <a:gd name="T44" fmla="*/ 3748 w 6931"/>
                  <a:gd name="T45" fmla="*/ 936 h 1395"/>
                  <a:gd name="T46" fmla="*/ 6292 w 6931"/>
                  <a:gd name="T47" fmla="*/ 879 h 1395"/>
                  <a:gd name="T48" fmla="*/ 6292 w 6931"/>
                  <a:gd name="T49" fmla="*/ 888 h 1395"/>
                  <a:gd name="T50" fmla="*/ 6302 w 6931"/>
                  <a:gd name="T51" fmla="*/ 850 h 1395"/>
                  <a:gd name="T52" fmla="*/ 6302 w 6931"/>
                  <a:gd name="T53" fmla="*/ 872 h 1395"/>
                  <a:gd name="T54" fmla="*/ 3006 w 6931"/>
                  <a:gd name="T55" fmla="*/ 765 h 1395"/>
                  <a:gd name="T56" fmla="*/ 3006 w 6931"/>
                  <a:gd name="T57" fmla="*/ 921 h 1395"/>
                  <a:gd name="T58" fmla="*/ 913 w 6931"/>
                  <a:gd name="T59" fmla="*/ 756 h 1395"/>
                  <a:gd name="T60" fmla="*/ 5037 w 6931"/>
                  <a:gd name="T61" fmla="*/ 734 h 1395"/>
                  <a:gd name="T62" fmla="*/ 5037 w 6931"/>
                  <a:gd name="T63" fmla="*/ 914 h 1395"/>
                  <a:gd name="T64" fmla="*/ 3041 w 6931"/>
                  <a:gd name="T65" fmla="*/ 661 h 1395"/>
                  <a:gd name="T66" fmla="*/ 3043 w 6931"/>
                  <a:gd name="T67" fmla="*/ 725 h 1395"/>
                  <a:gd name="T68" fmla="*/ 0 w 6931"/>
                  <a:gd name="T69" fmla="*/ 621 h 1395"/>
                  <a:gd name="T70" fmla="*/ 5157 w 6931"/>
                  <a:gd name="T71" fmla="*/ 611 h 1395"/>
                  <a:gd name="T72" fmla="*/ 5157 w 6931"/>
                  <a:gd name="T73" fmla="*/ 673 h 1395"/>
                  <a:gd name="T74" fmla="*/ 3185 w 6931"/>
                  <a:gd name="T75" fmla="*/ 583 h 1395"/>
                  <a:gd name="T76" fmla="*/ 3188 w 6931"/>
                  <a:gd name="T77" fmla="*/ 583 h 1395"/>
                  <a:gd name="T78" fmla="*/ 206 w 6931"/>
                  <a:gd name="T79" fmla="*/ 559 h 1395"/>
                  <a:gd name="T80" fmla="*/ 6928 w 6931"/>
                  <a:gd name="T81" fmla="*/ 510 h 1395"/>
                  <a:gd name="T82" fmla="*/ 6931 w 6931"/>
                  <a:gd name="T83" fmla="*/ 510 h 1395"/>
                  <a:gd name="T84" fmla="*/ 4079 w 6931"/>
                  <a:gd name="T85" fmla="*/ 531 h 1395"/>
                  <a:gd name="T86" fmla="*/ 3204 w 6931"/>
                  <a:gd name="T87" fmla="*/ 502 h 1395"/>
                  <a:gd name="T88" fmla="*/ 3204 w 6931"/>
                  <a:gd name="T89" fmla="*/ 566 h 1395"/>
                  <a:gd name="T90" fmla="*/ 3942 w 6931"/>
                  <a:gd name="T91" fmla="*/ 455 h 1395"/>
                  <a:gd name="T92" fmla="*/ 3940 w 6931"/>
                  <a:gd name="T93" fmla="*/ 493 h 1395"/>
                  <a:gd name="T94" fmla="*/ 3859 w 6931"/>
                  <a:gd name="T95" fmla="*/ 642 h 1395"/>
                  <a:gd name="T96" fmla="*/ 3233 w 6931"/>
                  <a:gd name="T97" fmla="*/ 436 h 1395"/>
                  <a:gd name="T98" fmla="*/ 3233 w 6931"/>
                  <a:gd name="T99" fmla="*/ 472 h 1395"/>
                  <a:gd name="T100" fmla="*/ 3947 w 6931"/>
                  <a:gd name="T101" fmla="*/ 391 h 1395"/>
                  <a:gd name="T102" fmla="*/ 3947 w 6931"/>
                  <a:gd name="T103" fmla="*/ 450 h 1395"/>
                  <a:gd name="T104" fmla="*/ 1715 w 6931"/>
                  <a:gd name="T105" fmla="*/ 370 h 1395"/>
                  <a:gd name="T106" fmla="*/ 1715 w 6931"/>
                  <a:gd name="T107" fmla="*/ 1073 h 1395"/>
                  <a:gd name="T108" fmla="*/ 3954 w 6931"/>
                  <a:gd name="T109" fmla="*/ 330 h 1395"/>
                  <a:gd name="T110" fmla="*/ 3956 w 6931"/>
                  <a:gd name="T111" fmla="*/ 384 h 1395"/>
                  <a:gd name="T112" fmla="*/ 4606 w 6931"/>
                  <a:gd name="T113" fmla="*/ 235 h 1395"/>
                  <a:gd name="T114" fmla="*/ 4708 w 6931"/>
                  <a:gd name="T115" fmla="*/ 173 h 1395"/>
                  <a:gd name="T116" fmla="*/ 4708 w 6931"/>
                  <a:gd name="T117" fmla="*/ 173 h 1395"/>
                  <a:gd name="T118" fmla="*/ 4755 w 6931"/>
                  <a:gd name="T119" fmla="*/ 126 h 1395"/>
                  <a:gd name="T120" fmla="*/ 4758 w 6931"/>
                  <a:gd name="T121" fmla="*/ 0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395">
                    <a:moveTo>
                      <a:pt x="3616" y="1225"/>
                    </a:moveTo>
                    <a:lnTo>
                      <a:pt x="3613" y="1225"/>
                    </a:lnTo>
                    <a:lnTo>
                      <a:pt x="3613" y="1225"/>
                    </a:lnTo>
                    <a:lnTo>
                      <a:pt x="3613" y="1258"/>
                    </a:lnTo>
                    <a:lnTo>
                      <a:pt x="3616" y="1258"/>
                    </a:lnTo>
                    <a:lnTo>
                      <a:pt x="3616" y="1225"/>
                    </a:lnTo>
                    <a:moveTo>
                      <a:pt x="5737" y="1210"/>
                    </a:moveTo>
                    <a:lnTo>
                      <a:pt x="5734" y="1210"/>
                    </a:lnTo>
                    <a:lnTo>
                      <a:pt x="5734" y="1210"/>
                    </a:lnTo>
                    <a:lnTo>
                      <a:pt x="5734" y="1213"/>
                    </a:lnTo>
                    <a:lnTo>
                      <a:pt x="5734" y="1267"/>
                    </a:lnTo>
                    <a:lnTo>
                      <a:pt x="5737" y="1267"/>
                    </a:lnTo>
                    <a:lnTo>
                      <a:pt x="5737" y="1210"/>
                    </a:lnTo>
                    <a:moveTo>
                      <a:pt x="1594" y="1132"/>
                    </a:moveTo>
                    <a:lnTo>
                      <a:pt x="1592" y="1132"/>
                    </a:lnTo>
                    <a:lnTo>
                      <a:pt x="1592" y="1135"/>
                    </a:lnTo>
                    <a:lnTo>
                      <a:pt x="1592" y="1137"/>
                    </a:lnTo>
                    <a:lnTo>
                      <a:pt x="1594" y="1137"/>
                    </a:lnTo>
                    <a:lnTo>
                      <a:pt x="1594" y="1135"/>
                    </a:lnTo>
                    <a:lnTo>
                      <a:pt x="1594" y="1135"/>
                    </a:lnTo>
                    <a:lnTo>
                      <a:pt x="1594" y="1132"/>
                    </a:lnTo>
                    <a:moveTo>
                      <a:pt x="5760" y="1130"/>
                    </a:moveTo>
                    <a:lnTo>
                      <a:pt x="5760" y="1130"/>
                    </a:lnTo>
                    <a:lnTo>
                      <a:pt x="5760" y="1132"/>
                    </a:lnTo>
                    <a:lnTo>
                      <a:pt x="5760" y="1187"/>
                    </a:lnTo>
                    <a:lnTo>
                      <a:pt x="5760" y="1187"/>
                    </a:lnTo>
                    <a:lnTo>
                      <a:pt x="5760" y="1184"/>
                    </a:lnTo>
                    <a:lnTo>
                      <a:pt x="5760" y="1184"/>
                    </a:lnTo>
                    <a:lnTo>
                      <a:pt x="5760" y="1130"/>
                    </a:lnTo>
                    <a:moveTo>
                      <a:pt x="6228" y="1130"/>
                    </a:moveTo>
                    <a:lnTo>
                      <a:pt x="6226" y="1130"/>
                    </a:lnTo>
                    <a:lnTo>
                      <a:pt x="6226" y="1130"/>
                    </a:lnTo>
                    <a:lnTo>
                      <a:pt x="6226" y="1132"/>
                    </a:lnTo>
                    <a:lnTo>
                      <a:pt x="6226" y="1151"/>
                    </a:lnTo>
                    <a:lnTo>
                      <a:pt x="6228" y="1151"/>
                    </a:lnTo>
                    <a:lnTo>
                      <a:pt x="6228" y="1130"/>
                    </a:lnTo>
                    <a:moveTo>
                      <a:pt x="1369" y="1085"/>
                    </a:moveTo>
                    <a:lnTo>
                      <a:pt x="1367" y="1085"/>
                    </a:lnTo>
                    <a:lnTo>
                      <a:pt x="1367" y="1087"/>
                    </a:lnTo>
                    <a:lnTo>
                      <a:pt x="1367" y="1111"/>
                    </a:lnTo>
                    <a:lnTo>
                      <a:pt x="1369" y="1111"/>
                    </a:lnTo>
                    <a:lnTo>
                      <a:pt x="1369" y="1109"/>
                    </a:lnTo>
                    <a:lnTo>
                      <a:pt x="1369" y="1109"/>
                    </a:lnTo>
                    <a:lnTo>
                      <a:pt x="1369" y="1085"/>
                    </a:lnTo>
                    <a:moveTo>
                      <a:pt x="2764" y="1064"/>
                    </a:moveTo>
                    <a:lnTo>
                      <a:pt x="2764" y="1064"/>
                    </a:lnTo>
                    <a:lnTo>
                      <a:pt x="2764" y="1064"/>
                    </a:lnTo>
                    <a:lnTo>
                      <a:pt x="2764" y="1066"/>
                    </a:lnTo>
                    <a:lnTo>
                      <a:pt x="2764" y="1182"/>
                    </a:lnTo>
                    <a:lnTo>
                      <a:pt x="2764" y="1182"/>
                    </a:lnTo>
                    <a:lnTo>
                      <a:pt x="2764" y="1064"/>
                    </a:lnTo>
                    <a:moveTo>
                      <a:pt x="5836" y="1042"/>
                    </a:moveTo>
                    <a:lnTo>
                      <a:pt x="5836" y="1042"/>
                    </a:lnTo>
                    <a:lnTo>
                      <a:pt x="5834" y="1042"/>
                    </a:lnTo>
                    <a:lnTo>
                      <a:pt x="5834" y="1045"/>
                    </a:lnTo>
                    <a:lnTo>
                      <a:pt x="5834" y="1071"/>
                    </a:lnTo>
                    <a:lnTo>
                      <a:pt x="5836" y="1071"/>
                    </a:lnTo>
                    <a:lnTo>
                      <a:pt x="5836" y="1042"/>
                    </a:lnTo>
                    <a:moveTo>
                      <a:pt x="2783" y="1014"/>
                    </a:moveTo>
                    <a:lnTo>
                      <a:pt x="2781" y="1014"/>
                    </a:lnTo>
                    <a:lnTo>
                      <a:pt x="2781" y="1016"/>
                    </a:lnTo>
                    <a:lnTo>
                      <a:pt x="2781" y="1047"/>
                    </a:lnTo>
                    <a:lnTo>
                      <a:pt x="2781" y="1047"/>
                    </a:lnTo>
                    <a:lnTo>
                      <a:pt x="2781" y="1045"/>
                    </a:lnTo>
                    <a:lnTo>
                      <a:pt x="2783" y="1045"/>
                    </a:lnTo>
                    <a:lnTo>
                      <a:pt x="2783" y="1014"/>
                    </a:lnTo>
                    <a:moveTo>
                      <a:pt x="3675" y="995"/>
                    </a:moveTo>
                    <a:lnTo>
                      <a:pt x="3675" y="995"/>
                    </a:lnTo>
                    <a:lnTo>
                      <a:pt x="3675" y="997"/>
                    </a:lnTo>
                    <a:lnTo>
                      <a:pt x="3675" y="1165"/>
                    </a:lnTo>
                    <a:lnTo>
                      <a:pt x="3675" y="1165"/>
                    </a:lnTo>
                    <a:lnTo>
                      <a:pt x="3675" y="995"/>
                    </a:lnTo>
                    <a:moveTo>
                      <a:pt x="5855" y="990"/>
                    </a:moveTo>
                    <a:lnTo>
                      <a:pt x="5852" y="990"/>
                    </a:lnTo>
                    <a:lnTo>
                      <a:pt x="5852" y="992"/>
                    </a:lnTo>
                    <a:lnTo>
                      <a:pt x="5852" y="1026"/>
                    </a:lnTo>
                    <a:lnTo>
                      <a:pt x="5852" y="1026"/>
                    </a:lnTo>
                    <a:lnTo>
                      <a:pt x="5852" y="1023"/>
                    </a:lnTo>
                    <a:lnTo>
                      <a:pt x="5855" y="1023"/>
                    </a:lnTo>
                    <a:lnTo>
                      <a:pt x="5855" y="990"/>
                    </a:lnTo>
                    <a:moveTo>
                      <a:pt x="6245" y="938"/>
                    </a:moveTo>
                    <a:lnTo>
                      <a:pt x="6243" y="938"/>
                    </a:lnTo>
                    <a:lnTo>
                      <a:pt x="6243" y="938"/>
                    </a:lnTo>
                    <a:lnTo>
                      <a:pt x="6243" y="1113"/>
                    </a:lnTo>
                    <a:lnTo>
                      <a:pt x="6245" y="1113"/>
                    </a:lnTo>
                    <a:lnTo>
                      <a:pt x="6245" y="1111"/>
                    </a:lnTo>
                    <a:lnTo>
                      <a:pt x="6245" y="1111"/>
                    </a:lnTo>
                    <a:lnTo>
                      <a:pt x="6245" y="938"/>
                    </a:lnTo>
                    <a:moveTo>
                      <a:pt x="3750" y="929"/>
                    </a:moveTo>
                    <a:lnTo>
                      <a:pt x="3748" y="929"/>
                    </a:lnTo>
                    <a:lnTo>
                      <a:pt x="3748" y="931"/>
                    </a:lnTo>
                    <a:lnTo>
                      <a:pt x="3748" y="936"/>
                    </a:lnTo>
                    <a:lnTo>
                      <a:pt x="3750" y="936"/>
                    </a:lnTo>
                    <a:lnTo>
                      <a:pt x="3750" y="929"/>
                    </a:lnTo>
                    <a:moveTo>
                      <a:pt x="6295" y="879"/>
                    </a:moveTo>
                    <a:lnTo>
                      <a:pt x="6292" y="879"/>
                    </a:lnTo>
                    <a:lnTo>
                      <a:pt x="6292" y="879"/>
                    </a:lnTo>
                    <a:lnTo>
                      <a:pt x="6292" y="881"/>
                    </a:lnTo>
                    <a:lnTo>
                      <a:pt x="6292" y="888"/>
                    </a:lnTo>
                    <a:lnTo>
                      <a:pt x="6292" y="888"/>
                    </a:lnTo>
                    <a:lnTo>
                      <a:pt x="6292" y="886"/>
                    </a:lnTo>
                    <a:lnTo>
                      <a:pt x="6295" y="886"/>
                    </a:lnTo>
                    <a:lnTo>
                      <a:pt x="6295" y="879"/>
                    </a:lnTo>
                    <a:moveTo>
                      <a:pt x="6302" y="850"/>
                    </a:moveTo>
                    <a:lnTo>
                      <a:pt x="6302" y="850"/>
                    </a:lnTo>
                    <a:lnTo>
                      <a:pt x="6302" y="853"/>
                    </a:lnTo>
                    <a:lnTo>
                      <a:pt x="6302" y="872"/>
                    </a:lnTo>
                    <a:lnTo>
                      <a:pt x="6302" y="872"/>
                    </a:lnTo>
                    <a:lnTo>
                      <a:pt x="6302" y="872"/>
                    </a:lnTo>
                    <a:lnTo>
                      <a:pt x="6302" y="872"/>
                    </a:lnTo>
                    <a:lnTo>
                      <a:pt x="6302" y="850"/>
                    </a:lnTo>
                    <a:moveTo>
                      <a:pt x="3006" y="765"/>
                    </a:moveTo>
                    <a:lnTo>
                      <a:pt x="3003" y="765"/>
                    </a:lnTo>
                    <a:lnTo>
                      <a:pt x="3003" y="765"/>
                    </a:lnTo>
                    <a:lnTo>
                      <a:pt x="3003" y="921"/>
                    </a:lnTo>
                    <a:lnTo>
                      <a:pt x="3006" y="921"/>
                    </a:lnTo>
                    <a:lnTo>
                      <a:pt x="3006" y="765"/>
                    </a:lnTo>
                    <a:moveTo>
                      <a:pt x="913" y="753"/>
                    </a:moveTo>
                    <a:lnTo>
                      <a:pt x="913" y="753"/>
                    </a:lnTo>
                    <a:lnTo>
                      <a:pt x="913" y="756"/>
                    </a:lnTo>
                    <a:lnTo>
                      <a:pt x="913" y="770"/>
                    </a:lnTo>
                    <a:lnTo>
                      <a:pt x="913" y="770"/>
                    </a:lnTo>
                    <a:lnTo>
                      <a:pt x="913" y="753"/>
                    </a:lnTo>
                    <a:moveTo>
                      <a:pt x="5037" y="734"/>
                    </a:moveTo>
                    <a:lnTo>
                      <a:pt x="5034" y="734"/>
                    </a:lnTo>
                    <a:lnTo>
                      <a:pt x="5034" y="734"/>
                    </a:lnTo>
                    <a:lnTo>
                      <a:pt x="5034" y="914"/>
                    </a:lnTo>
                    <a:lnTo>
                      <a:pt x="5037" y="914"/>
                    </a:lnTo>
                    <a:lnTo>
                      <a:pt x="5037" y="734"/>
                    </a:lnTo>
                    <a:moveTo>
                      <a:pt x="3043" y="659"/>
                    </a:moveTo>
                    <a:lnTo>
                      <a:pt x="3041" y="659"/>
                    </a:lnTo>
                    <a:lnTo>
                      <a:pt x="3041" y="661"/>
                    </a:lnTo>
                    <a:lnTo>
                      <a:pt x="3041" y="727"/>
                    </a:lnTo>
                    <a:lnTo>
                      <a:pt x="3043" y="727"/>
                    </a:lnTo>
                    <a:lnTo>
                      <a:pt x="3043" y="725"/>
                    </a:lnTo>
                    <a:lnTo>
                      <a:pt x="3043" y="725"/>
                    </a:lnTo>
                    <a:lnTo>
                      <a:pt x="3043" y="659"/>
                    </a:lnTo>
                    <a:moveTo>
                      <a:pt x="3" y="618"/>
                    </a:moveTo>
                    <a:lnTo>
                      <a:pt x="0" y="618"/>
                    </a:lnTo>
                    <a:lnTo>
                      <a:pt x="0" y="621"/>
                    </a:lnTo>
                    <a:lnTo>
                      <a:pt x="0" y="1395"/>
                    </a:lnTo>
                    <a:lnTo>
                      <a:pt x="3" y="1395"/>
                    </a:lnTo>
                    <a:lnTo>
                      <a:pt x="3" y="618"/>
                    </a:lnTo>
                    <a:moveTo>
                      <a:pt x="5157" y="611"/>
                    </a:moveTo>
                    <a:lnTo>
                      <a:pt x="5157" y="611"/>
                    </a:lnTo>
                    <a:lnTo>
                      <a:pt x="5157" y="614"/>
                    </a:lnTo>
                    <a:lnTo>
                      <a:pt x="5157" y="673"/>
                    </a:lnTo>
                    <a:lnTo>
                      <a:pt x="5157" y="673"/>
                    </a:lnTo>
                    <a:lnTo>
                      <a:pt x="5157" y="611"/>
                    </a:lnTo>
                    <a:moveTo>
                      <a:pt x="3188" y="583"/>
                    </a:moveTo>
                    <a:lnTo>
                      <a:pt x="3185" y="583"/>
                    </a:lnTo>
                    <a:lnTo>
                      <a:pt x="3185" y="583"/>
                    </a:lnTo>
                    <a:lnTo>
                      <a:pt x="3185" y="585"/>
                    </a:lnTo>
                    <a:lnTo>
                      <a:pt x="3185" y="599"/>
                    </a:lnTo>
                    <a:lnTo>
                      <a:pt x="3188" y="599"/>
                    </a:lnTo>
                    <a:lnTo>
                      <a:pt x="3188" y="583"/>
                    </a:lnTo>
                    <a:moveTo>
                      <a:pt x="208" y="550"/>
                    </a:moveTo>
                    <a:lnTo>
                      <a:pt x="206" y="550"/>
                    </a:lnTo>
                    <a:lnTo>
                      <a:pt x="206" y="550"/>
                    </a:lnTo>
                    <a:lnTo>
                      <a:pt x="206" y="559"/>
                    </a:lnTo>
                    <a:lnTo>
                      <a:pt x="208" y="559"/>
                    </a:lnTo>
                    <a:lnTo>
                      <a:pt x="208" y="550"/>
                    </a:lnTo>
                    <a:moveTo>
                      <a:pt x="6931" y="510"/>
                    </a:moveTo>
                    <a:lnTo>
                      <a:pt x="6928" y="510"/>
                    </a:lnTo>
                    <a:lnTo>
                      <a:pt x="6928" y="512"/>
                    </a:lnTo>
                    <a:lnTo>
                      <a:pt x="6928" y="1035"/>
                    </a:lnTo>
                    <a:lnTo>
                      <a:pt x="6931" y="1035"/>
                    </a:lnTo>
                    <a:lnTo>
                      <a:pt x="6931" y="510"/>
                    </a:lnTo>
                    <a:moveTo>
                      <a:pt x="4098" y="505"/>
                    </a:moveTo>
                    <a:lnTo>
                      <a:pt x="4098" y="505"/>
                    </a:lnTo>
                    <a:lnTo>
                      <a:pt x="4096" y="507"/>
                    </a:lnTo>
                    <a:lnTo>
                      <a:pt x="4079" y="531"/>
                    </a:lnTo>
                    <a:lnTo>
                      <a:pt x="4079" y="531"/>
                    </a:lnTo>
                    <a:lnTo>
                      <a:pt x="4098" y="505"/>
                    </a:lnTo>
                    <a:moveTo>
                      <a:pt x="3204" y="502"/>
                    </a:moveTo>
                    <a:lnTo>
                      <a:pt x="3204" y="502"/>
                    </a:lnTo>
                    <a:lnTo>
                      <a:pt x="3204" y="502"/>
                    </a:lnTo>
                    <a:lnTo>
                      <a:pt x="3204" y="505"/>
                    </a:lnTo>
                    <a:lnTo>
                      <a:pt x="3204" y="566"/>
                    </a:lnTo>
                    <a:lnTo>
                      <a:pt x="3204" y="566"/>
                    </a:lnTo>
                    <a:lnTo>
                      <a:pt x="3204" y="564"/>
                    </a:lnTo>
                    <a:lnTo>
                      <a:pt x="3204" y="564"/>
                    </a:lnTo>
                    <a:lnTo>
                      <a:pt x="3204" y="502"/>
                    </a:lnTo>
                    <a:moveTo>
                      <a:pt x="3942" y="455"/>
                    </a:moveTo>
                    <a:lnTo>
                      <a:pt x="3940" y="455"/>
                    </a:lnTo>
                    <a:lnTo>
                      <a:pt x="3940" y="455"/>
                    </a:lnTo>
                    <a:lnTo>
                      <a:pt x="3940" y="457"/>
                    </a:lnTo>
                    <a:lnTo>
                      <a:pt x="3940" y="493"/>
                    </a:lnTo>
                    <a:lnTo>
                      <a:pt x="3857" y="644"/>
                    </a:lnTo>
                    <a:lnTo>
                      <a:pt x="3857" y="869"/>
                    </a:lnTo>
                    <a:lnTo>
                      <a:pt x="3859" y="869"/>
                    </a:lnTo>
                    <a:lnTo>
                      <a:pt x="3859" y="642"/>
                    </a:lnTo>
                    <a:lnTo>
                      <a:pt x="3942" y="491"/>
                    </a:lnTo>
                    <a:lnTo>
                      <a:pt x="3942" y="455"/>
                    </a:lnTo>
                    <a:moveTo>
                      <a:pt x="3235" y="436"/>
                    </a:moveTo>
                    <a:lnTo>
                      <a:pt x="3233" y="436"/>
                    </a:lnTo>
                    <a:lnTo>
                      <a:pt x="3233" y="436"/>
                    </a:lnTo>
                    <a:lnTo>
                      <a:pt x="3233" y="474"/>
                    </a:lnTo>
                    <a:lnTo>
                      <a:pt x="3233" y="474"/>
                    </a:lnTo>
                    <a:lnTo>
                      <a:pt x="3233" y="472"/>
                    </a:lnTo>
                    <a:lnTo>
                      <a:pt x="3235" y="472"/>
                    </a:lnTo>
                    <a:lnTo>
                      <a:pt x="3235" y="436"/>
                    </a:lnTo>
                    <a:moveTo>
                      <a:pt x="3947" y="391"/>
                    </a:moveTo>
                    <a:lnTo>
                      <a:pt x="3947" y="391"/>
                    </a:lnTo>
                    <a:lnTo>
                      <a:pt x="3947" y="391"/>
                    </a:lnTo>
                    <a:lnTo>
                      <a:pt x="3947" y="393"/>
                    </a:lnTo>
                    <a:lnTo>
                      <a:pt x="3947" y="450"/>
                    </a:lnTo>
                    <a:lnTo>
                      <a:pt x="3947" y="450"/>
                    </a:lnTo>
                    <a:lnTo>
                      <a:pt x="3947" y="448"/>
                    </a:lnTo>
                    <a:lnTo>
                      <a:pt x="3947" y="448"/>
                    </a:lnTo>
                    <a:lnTo>
                      <a:pt x="3947" y="391"/>
                    </a:lnTo>
                    <a:moveTo>
                      <a:pt x="1715" y="370"/>
                    </a:moveTo>
                    <a:lnTo>
                      <a:pt x="1712" y="370"/>
                    </a:lnTo>
                    <a:lnTo>
                      <a:pt x="1712" y="372"/>
                    </a:lnTo>
                    <a:lnTo>
                      <a:pt x="1712" y="1073"/>
                    </a:lnTo>
                    <a:lnTo>
                      <a:pt x="1715" y="1073"/>
                    </a:lnTo>
                    <a:lnTo>
                      <a:pt x="1715" y="370"/>
                    </a:lnTo>
                    <a:moveTo>
                      <a:pt x="3956" y="330"/>
                    </a:moveTo>
                    <a:lnTo>
                      <a:pt x="3954" y="330"/>
                    </a:lnTo>
                    <a:lnTo>
                      <a:pt x="3954" y="330"/>
                    </a:lnTo>
                    <a:lnTo>
                      <a:pt x="3954" y="384"/>
                    </a:lnTo>
                    <a:lnTo>
                      <a:pt x="3954" y="384"/>
                    </a:lnTo>
                    <a:lnTo>
                      <a:pt x="3954" y="384"/>
                    </a:lnTo>
                    <a:lnTo>
                      <a:pt x="3956" y="384"/>
                    </a:lnTo>
                    <a:lnTo>
                      <a:pt x="3956" y="330"/>
                    </a:lnTo>
                    <a:moveTo>
                      <a:pt x="4609" y="233"/>
                    </a:moveTo>
                    <a:lnTo>
                      <a:pt x="4606" y="233"/>
                    </a:lnTo>
                    <a:lnTo>
                      <a:pt x="4606" y="235"/>
                    </a:lnTo>
                    <a:lnTo>
                      <a:pt x="4550" y="448"/>
                    </a:lnTo>
                    <a:lnTo>
                      <a:pt x="4550" y="448"/>
                    </a:lnTo>
                    <a:lnTo>
                      <a:pt x="4609" y="233"/>
                    </a:lnTo>
                    <a:moveTo>
                      <a:pt x="4708" y="173"/>
                    </a:moveTo>
                    <a:lnTo>
                      <a:pt x="4706" y="173"/>
                    </a:lnTo>
                    <a:lnTo>
                      <a:pt x="4706" y="173"/>
                    </a:lnTo>
                    <a:lnTo>
                      <a:pt x="4708" y="173"/>
                    </a:lnTo>
                    <a:lnTo>
                      <a:pt x="4708" y="173"/>
                    </a:lnTo>
                    <a:moveTo>
                      <a:pt x="4758" y="0"/>
                    </a:moveTo>
                    <a:lnTo>
                      <a:pt x="4755" y="0"/>
                    </a:lnTo>
                    <a:lnTo>
                      <a:pt x="4755" y="3"/>
                    </a:lnTo>
                    <a:lnTo>
                      <a:pt x="4755" y="126"/>
                    </a:lnTo>
                    <a:lnTo>
                      <a:pt x="4758" y="126"/>
                    </a:lnTo>
                    <a:lnTo>
                      <a:pt x="4758" y="124"/>
                    </a:lnTo>
                    <a:lnTo>
                      <a:pt x="4758" y="124"/>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0" name="Freeform 82"/>
              <p:cNvSpPr>
                <a:spLocks noEditPoints="1"/>
              </p:cNvSpPr>
              <p:nvPr/>
            </p:nvSpPr>
            <p:spPr bwMode="auto">
              <a:xfrm>
                <a:off x="85" y="1719"/>
                <a:ext cx="6930" cy="1395"/>
              </a:xfrm>
              <a:custGeom>
                <a:avLst/>
                <a:gdLst>
                  <a:gd name="T0" fmla="*/ 3613 w 6930"/>
                  <a:gd name="T1" fmla="*/ 1258 h 1395"/>
                  <a:gd name="T2" fmla="*/ 5734 w 6930"/>
                  <a:gd name="T3" fmla="*/ 1208 h 1395"/>
                  <a:gd name="T4" fmla="*/ 5736 w 6930"/>
                  <a:gd name="T5" fmla="*/ 1267 h 1395"/>
                  <a:gd name="T6" fmla="*/ 1591 w 6930"/>
                  <a:gd name="T7" fmla="*/ 1132 h 1395"/>
                  <a:gd name="T8" fmla="*/ 1593 w 6930"/>
                  <a:gd name="T9" fmla="*/ 1132 h 1395"/>
                  <a:gd name="T10" fmla="*/ 5757 w 6930"/>
                  <a:gd name="T11" fmla="*/ 1130 h 1395"/>
                  <a:gd name="T12" fmla="*/ 5760 w 6930"/>
                  <a:gd name="T13" fmla="*/ 1182 h 1395"/>
                  <a:gd name="T14" fmla="*/ 6225 w 6930"/>
                  <a:gd name="T15" fmla="*/ 1127 h 1395"/>
                  <a:gd name="T16" fmla="*/ 6225 w 6930"/>
                  <a:gd name="T17" fmla="*/ 1127 h 1395"/>
                  <a:gd name="T18" fmla="*/ 1366 w 6930"/>
                  <a:gd name="T19" fmla="*/ 1109 h 1395"/>
                  <a:gd name="T20" fmla="*/ 1369 w 6930"/>
                  <a:gd name="T21" fmla="*/ 1082 h 1395"/>
                  <a:gd name="T22" fmla="*/ 2761 w 6930"/>
                  <a:gd name="T23" fmla="*/ 1064 h 1395"/>
                  <a:gd name="T24" fmla="*/ 5835 w 6930"/>
                  <a:gd name="T25" fmla="*/ 1040 h 1395"/>
                  <a:gd name="T26" fmla="*/ 5833 w 6930"/>
                  <a:gd name="T27" fmla="*/ 1071 h 1395"/>
                  <a:gd name="T28" fmla="*/ 2780 w 6930"/>
                  <a:gd name="T29" fmla="*/ 1011 h 1395"/>
                  <a:gd name="T30" fmla="*/ 2780 w 6930"/>
                  <a:gd name="T31" fmla="*/ 1045 h 1395"/>
                  <a:gd name="T32" fmla="*/ 3672 w 6930"/>
                  <a:gd name="T33" fmla="*/ 992 h 1395"/>
                  <a:gd name="T34" fmla="*/ 3674 w 6930"/>
                  <a:gd name="T35" fmla="*/ 992 h 1395"/>
                  <a:gd name="T36" fmla="*/ 5852 w 6930"/>
                  <a:gd name="T37" fmla="*/ 1023 h 1395"/>
                  <a:gd name="T38" fmla="*/ 5854 w 6930"/>
                  <a:gd name="T39" fmla="*/ 990 h 1395"/>
                  <a:gd name="T40" fmla="*/ 6242 w 6930"/>
                  <a:gd name="T41" fmla="*/ 1111 h 1395"/>
                  <a:gd name="T42" fmla="*/ 6244 w 6930"/>
                  <a:gd name="T43" fmla="*/ 936 h 1395"/>
                  <a:gd name="T44" fmla="*/ 3747 w 6930"/>
                  <a:gd name="T45" fmla="*/ 936 h 1395"/>
                  <a:gd name="T46" fmla="*/ 6292 w 6930"/>
                  <a:gd name="T47" fmla="*/ 879 h 1395"/>
                  <a:gd name="T48" fmla="*/ 6292 w 6930"/>
                  <a:gd name="T49" fmla="*/ 886 h 1395"/>
                  <a:gd name="T50" fmla="*/ 6301 w 6930"/>
                  <a:gd name="T51" fmla="*/ 850 h 1395"/>
                  <a:gd name="T52" fmla="*/ 6301 w 6930"/>
                  <a:gd name="T53" fmla="*/ 872 h 1395"/>
                  <a:gd name="T54" fmla="*/ 3005 w 6930"/>
                  <a:gd name="T55" fmla="*/ 763 h 1395"/>
                  <a:gd name="T56" fmla="*/ 3003 w 6930"/>
                  <a:gd name="T57" fmla="*/ 921 h 1395"/>
                  <a:gd name="T58" fmla="*/ 910 w 6930"/>
                  <a:gd name="T59" fmla="*/ 753 h 1395"/>
                  <a:gd name="T60" fmla="*/ 912 w 6930"/>
                  <a:gd name="T61" fmla="*/ 753 h 1395"/>
                  <a:gd name="T62" fmla="*/ 5034 w 6930"/>
                  <a:gd name="T63" fmla="*/ 914 h 1395"/>
                  <a:gd name="T64" fmla="*/ 3040 w 6930"/>
                  <a:gd name="T65" fmla="*/ 656 h 1395"/>
                  <a:gd name="T66" fmla="*/ 3040 w 6930"/>
                  <a:gd name="T67" fmla="*/ 723 h 1395"/>
                  <a:gd name="T68" fmla="*/ 0 w 6930"/>
                  <a:gd name="T69" fmla="*/ 616 h 1395"/>
                  <a:gd name="T70" fmla="*/ 0 w 6930"/>
                  <a:gd name="T71" fmla="*/ 616 h 1395"/>
                  <a:gd name="T72" fmla="*/ 5154 w 6930"/>
                  <a:gd name="T73" fmla="*/ 673 h 1395"/>
                  <a:gd name="T74" fmla="*/ 3185 w 6930"/>
                  <a:gd name="T75" fmla="*/ 581 h 1395"/>
                  <a:gd name="T76" fmla="*/ 3187 w 6930"/>
                  <a:gd name="T77" fmla="*/ 599 h 1395"/>
                  <a:gd name="T78" fmla="*/ 205 w 6930"/>
                  <a:gd name="T79" fmla="*/ 550 h 1395"/>
                  <a:gd name="T80" fmla="*/ 6930 w 6930"/>
                  <a:gd name="T81" fmla="*/ 510 h 1395"/>
                  <a:gd name="T82" fmla="*/ 6930 w 6930"/>
                  <a:gd name="T83" fmla="*/ 1035 h 1395"/>
                  <a:gd name="T84" fmla="*/ 4095 w 6930"/>
                  <a:gd name="T85" fmla="*/ 505 h 1395"/>
                  <a:gd name="T86" fmla="*/ 3204 w 6930"/>
                  <a:gd name="T87" fmla="*/ 500 h 1395"/>
                  <a:gd name="T88" fmla="*/ 3201 w 6930"/>
                  <a:gd name="T89" fmla="*/ 564 h 1395"/>
                  <a:gd name="T90" fmla="*/ 3204 w 6930"/>
                  <a:gd name="T91" fmla="*/ 500 h 1395"/>
                  <a:gd name="T92" fmla="*/ 3939 w 6930"/>
                  <a:gd name="T93" fmla="*/ 455 h 1395"/>
                  <a:gd name="T94" fmla="*/ 3859 w 6930"/>
                  <a:gd name="T95" fmla="*/ 869 h 1395"/>
                  <a:gd name="T96" fmla="*/ 3232 w 6930"/>
                  <a:gd name="T97" fmla="*/ 434 h 1395"/>
                  <a:gd name="T98" fmla="*/ 3232 w 6930"/>
                  <a:gd name="T99" fmla="*/ 472 h 1395"/>
                  <a:gd name="T100" fmla="*/ 3946 w 6930"/>
                  <a:gd name="T101" fmla="*/ 391 h 1395"/>
                  <a:gd name="T102" fmla="*/ 3944 w 6930"/>
                  <a:gd name="T103" fmla="*/ 448 h 1395"/>
                  <a:gd name="T104" fmla="*/ 3946 w 6930"/>
                  <a:gd name="T105" fmla="*/ 391 h 1395"/>
                  <a:gd name="T106" fmla="*/ 1712 w 6930"/>
                  <a:gd name="T107" fmla="*/ 1073 h 1395"/>
                  <a:gd name="T108" fmla="*/ 3953 w 6930"/>
                  <a:gd name="T109" fmla="*/ 327 h 1395"/>
                  <a:gd name="T110" fmla="*/ 3953 w 6930"/>
                  <a:gd name="T111" fmla="*/ 382 h 1395"/>
                  <a:gd name="T112" fmla="*/ 4606 w 6930"/>
                  <a:gd name="T113" fmla="*/ 233 h 1395"/>
                  <a:gd name="T114" fmla="*/ 4608 w 6930"/>
                  <a:gd name="T115" fmla="*/ 233 h 1395"/>
                  <a:gd name="T116" fmla="*/ 4705 w 6930"/>
                  <a:gd name="T117" fmla="*/ 173 h 1395"/>
                  <a:gd name="T118" fmla="*/ 4755 w 6930"/>
                  <a:gd name="T119" fmla="*/ 0 h 1395"/>
                  <a:gd name="T120" fmla="*/ 4755 w 6930"/>
                  <a:gd name="T121" fmla="*/ 121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5">
                    <a:moveTo>
                      <a:pt x="3615" y="1222"/>
                    </a:moveTo>
                    <a:lnTo>
                      <a:pt x="3613" y="1222"/>
                    </a:lnTo>
                    <a:lnTo>
                      <a:pt x="3613" y="1225"/>
                    </a:lnTo>
                    <a:lnTo>
                      <a:pt x="3613" y="1258"/>
                    </a:lnTo>
                    <a:lnTo>
                      <a:pt x="3615" y="1258"/>
                    </a:lnTo>
                    <a:lnTo>
                      <a:pt x="3615" y="1222"/>
                    </a:lnTo>
                    <a:close/>
                    <a:moveTo>
                      <a:pt x="5736" y="1208"/>
                    </a:moveTo>
                    <a:lnTo>
                      <a:pt x="5734" y="1208"/>
                    </a:lnTo>
                    <a:lnTo>
                      <a:pt x="5734" y="1208"/>
                    </a:lnTo>
                    <a:lnTo>
                      <a:pt x="5734" y="1210"/>
                    </a:lnTo>
                    <a:lnTo>
                      <a:pt x="5734" y="1267"/>
                    </a:lnTo>
                    <a:lnTo>
                      <a:pt x="5736" y="1267"/>
                    </a:lnTo>
                    <a:lnTo>
                      <a:pt x="5736" y="1208"/>
                    </a:lnTo>
                    <a:close/>
                    <a:moveTo>
                      <a:pt x="1593" y="1132"/>
                    </a:moveTo>
                    <a:lnTo>
                      <a:pt x="1591" y="1132"/>
                    </a:lnTo>
                    <a:lnTo>
                      <a:pt x="1591" y="1132"/>
                    </a:lnTo>
                    <a:lnTo>
                      <a:pt x="1591" y="1135"/>
                    </a:lnTo>
                    <a:lnTo>
                      <a:pt x="1591" y="1135"/>
                    </a:lnTo>
                    <a:lnTo>
                      <a:pt x="1591" y="1132"/>
                    </a:lnTo>
                    <a:lnTo>
                      <a:pt x="1593" y="1132"/>
                    </a:lnTo>
                    <a:lnTo>
                      <a:pt x="1593" y="1132"/>
                    </a:lnTo>
                    <a:close/>
                    <a:moveTo>
                      <a:pt x="5760" y="1127"/>
                    </a:moveTo>
                    <a:lnTo>
                      <a:pt x="5757" y="1127"/>
                    </a:lnTo>
                    <a:lnTo>
                      <a:pt x="5757" y="1130"/>
                    </a:lnTo>
                    <a:lnTo>
                      <a:pt x="5757" y="1184"/>
                    </a:lnTo>
                    <a:lnTo>
                      <a:pt x="5760" y="1184"/>
                    </a:lnTo>
                    <a:lnTo>
                      <a:pt x="5760" y="1182"/>
                    </a:lnTo>
                    <a:lnTo>
                      <a:pt x="5760" y="1182"/>
                    </a:lnTo>
                    <a:lnTo>
                      <a:pt x="5760" y="1127"/>
                    </a:lnTo>
                    <a:close/>
                    <a:moveTo>
                      <a:pt x="6225" y="1127"/>
                    </a:moveTo>
                    <a:lnTo>
                      <a:pt x="6225" y="1127"/>
                    </a:lnTo>
                    <a:lnTo>
                      <a:pt x="6225" y="1127"/>
                    </a:lnTo>
                    <a:lnTo>
                      <a:pt x="6225" y="1130"/>
                    </a:lnTo>
                    <a:lnTo>
                      <a:pt x="6225" y="1151"/>
                    </a:lnTo>
                    <a:lnTo>
                      <a:pt x="6225" y="1151"/>
                    </a:lnTo>
                    <a:lnTo>
                      <a:pt x="6225" y="1127"/>
                    </a:lnTo>
                    <a:close/>
                    <a:moveTo>
                      <a:pt x="1369" y="1082"/>
                    </a:moveTo>
                    <a:lnTo>
                      <a:pt x="1366" y="1082"/>
                    </a:lnTo>
                    <a:lnTo>
                      <a:pt x="1366" y="1085"/>
                    </a:lnTo>
                    <a:lnTo>
                      <a:pt x="1366" y="1109"/>
                    </a:lnTo>
                    <a:lnTo>
                      <a:pt x="1366" y="1109"/>
                    </a:lnTo>
                    <a:lnTo>
                      <a:pt x="1366" y="1106"/>
                    </a:lnTo>
                    <a:lnTo>
                      <a:pt x="1369" y="1106"/>
                    </a:lnTo>
                    <a:lnTo>
                      <a:pt x="1369" y="1082"/>
                    </a:lnTo>
                    <a:close/>
                    <a:moveTo>
                      <a:pt x="2764" y="1061"/>
                    </a:moveTo>
                    <a:lnTo>
                      <a:pt x="2764" y="1061"/>
                    </a:lnTo>
                    <a:lnTo>
                      <a:pt x="2761" y="1061"/>
                    </a:lnTo>
                    <a:lnTo>
                      <a:pt x="2761" y="1064"/>
                    </a:lnTo>
                    <a:lnTo>
                      <a:pt x="2761" y="1182"/>
                    </a:lnTo>
                    <a:lnTo>
                      <a:pt x="2764" y="1182"/>
                    </a:lnTo>
                    <a:lnTo>
                      <a:pt x="2764" y="1061"/>
                    </a:lnTo>
                    <a:close/>
                    <a:moveTo>
                      <a:pt x="5835" y="1040"/>
                    </a:moveTo>
                    <a:lnTo>
                      <a:pt x="5835" y="1040"/>
                    </a:lnTo>
                    <a:lnTo>
                      <a:pt x="5833" y="1040"/>
                    </a:lnTo>
                    <a:lnTo>
                      <a:pt x="5833" y="1042"/>
                    </a:lnTo>
                    <a:lnTo>
                      <a:pt x="5833" y="1071"/>
                    </a:lnTo>
                    <a:lnTo>
                      <a:pt x="5835" y="1071"/>
                    </a:lnTo>
                    <a:lnTo>
                      <a:pt x="5835" y="1040"/>
                    </a:lnTo>
                    <a:close/>
                    <a:moveTo>
                      <a:pt x="2780" y="1011"/>
                    </a:moveTo>
                    <a:lnTo>
                      <a:pt x="2780" y="1011"/>
                    </a:lnTo>
                    <a:lnTo>
                      <a:pt x="2780" y="1014"/>
                    </a:lnTo>
                    <a:lnTo>
                      <a:pt x="2780" y="1045"/>
                    </a:lnTo>
                    <a:lnTo>
                      <a:pt x="2780" y="1045"/>
                    </a:lnTo>
                    <a:lnTo>
                      <a:pt x="2780" y="1045"/>
                    </a:lnTo>
                    <a:lnTo>
                      <a:pt x="2780" y="1045"/>
                    </a:lnTo>
                    <a:lnTo>
                      <a:pt x="2780" y="1011"/>
                    </a:lnTo>
                    <a:close/>
                    <a:moveTo>
                      <a:pt x="3674" y="992"/>
                    </a:moveTo>
                    <a:lnTo>
                      <a:pt x="3672" y="992"/>
                    </a:lnTo>
                    <a:lnTo>
                      <a:pt x="3672" y="995"/>
                    </a:lnTo>
                    <a:lnTo>
                      <a:pt x="3672" y="1165"/>
                    </a:lnTo>
                    <a:lnTo>
                      <a:pt x="3674" y="1165"/>
                    </a:lnTo>
                    <a:lnTo>
                      <a:pt x="3674" y="992"/>
                    </a:lnTo>
                    <a:close/>
                    <a:moveTo>
                      <a:pt x="5854" y="990"/>
                    </a:moveTo>
                    <a:lnTo>
                      <a:pt x="5852" y="990"/>
                    </a:lnTo>
                    <a:lnTo>
                      <a:pt x="5852" y="990"/>
                    </a:lnTo>
                    <a:lnTo>
                      <a:pt x="5852" y="1023"/>
                    </a:lnTo>
                    <a:lnTo>
                      <a:pt x="5852" y="1023"/>
                    </a:lnTo>
                    <a:lnTo>
                      <a:pt x="5852" y="1023"/>
                    </a:lnTo>
                    <a:lnTo>
                      <a:pt x="5854" y="1023"/>
                    </a:lnTo>
                    <a:lnTo>
                      <a:pt x="5854" y="990"/>
                    </a:lnTo>
                    <a:close/>
                    <a:moveTo>
                      <a:pt x="6244" y="936"/>
                    </a:moveTo>
                    <a:lnTo>
                      <a:pt x="6242" y="936"/>
                    </a:lnTo>
                    <a:lnTo>
                      <a:pt x="6242" y="938"/>
                    </a:lnTo>
                    <a:lnTo>
                      <a:pt x="6242" y="1111"/>
                    </a:lnTo>
                    <a:lnTo>
                      <a:pt x="6244" y="1111"/>
                    </a:lnTo>
                    <a:lnTo>
                      <a:pt x="6244" y="1109"/>
                    </a:lnTo>
                    <a:lnTo>
                      <a:pt x="6244" y="1109"/>
                    </a:lnTo>
                    <a:lnTo>
                      <a:pt x="6244" y="936"/>
                    </a:lnTo>
                    <a:close/>
                    <a:moveTo>
                      <a:pt x="3750" y="929"/>
                    </a:moveTo>
                    <a:lnTo>
                      <a:pt x="3747" y="929"/>
                    </a:lnTo>
                    <a:lnTo>
                      <a:pt x="3747" y="929"/>
                    </a:lnTo>
                    <a:lnTo>
                      <a:pt x="3747" y="936"/>
                    </a:lnTo>
                    <a:lnTo>
                      <a:pt x="3750" y="936"/>
                    </a:lnTo>
                    <a:lnTo>
                      <a:pt x="3750" y="929"/>
                    </a:lnTo>
                    <a:close/>
                    <a:moveTo>
                      <a:pt x="6294" y="879"/>
                    </a:moveTo>
                    <a:lnTo>
                      <a:pt x="6292" y="879"/>
                    </a:lnTo>
                    <a:lnTo>
                      <a:pt x="6292" y="879"/>
                    </a:lnTo>
                    <a:lnTo>
                      <a:pt x="6292" y="879"/>
                    </a:lnTo>
                    <a:lnTo>
                      <a:pt x="6292" y="886"/>
                    </a:lnTo>
                    <a:lnTo>
                      <a:pt x="6292" y="886"/>
                    </a:lnTo>
                    <a:lnTo>
                      <a:pt x="6292" y="886"/>
                    </a:lnTo>
                    <a:lnTo>
                      <a:pt x="6294" y="886"/>
                    </a:lnTo>
                    <a:lnTo>
                      <a:pt x="6294" y="879"/>
                    </a:lnTo>
                    <a:close/>
                    <a:moveTo>
                      <a:pt x="6301" y="850"/>
                    </a:moveTo>
                    <a:lnTo>
                      <a:pt x="6299" y="850"/>
                    </a:lnTo>
                    <a:lnTo>
                      <a:pt x="6299" y="850"/>
                    </a:lnTo>
                    <a:lnTo>
                      <a:pt x="6299" y="872"/>
                    </a:lnTo>
                    <a:lnTo>
                      <a:pt x="6301" y="872"/>
                    </a:lnTo>
                    <a:lnTo>
                      <a:pt x="6301" y="869"/>
                    </a:lnTo>
                    <a:lnTo>
                      <a:pt x="6301" y="869"/>
                    </a:lnTo>
                    <a:lnTo>
                      <a:pt x="6301" y="850"/>
                    </a:lnTo>
                    <a:close/>
                    <a:moveTo>
                      <a:pt x="3005" y="763"/>
                    </a:moveTo>
                    <a:lnTo>
                      <a:pt x="3003" y="763"/>
                    </a:lnTo>
                    <a:lnTo>
                      <a:pt x="3003" y="763"/>
                    </a:lnTo>
                    <a:lnTo>
                      <a:pt x="3003" y="765"/>
                    </a:lnTo>
                    <a:lnTo>
                      <a:pt x="3003" y="921"/>
                    </a:lnTo>
                    <a:lnTo>
                      <a:pt x="3005" y="921"/>
                    </a:lnTo>
                    <a:lnTo>
                      <a:pt x="3005" y="763"/>
                    </a:lnTo>
                    <a:close/>
                    <a:moveTo>
                      <a:pt x="912" y="753"/>
                    </a:moveTo>
                    <a:lnTo>
                      <a:pt x="910" y="753"/>
                    </a:lnTo>
                    <a:lnTo>
                      <a:pt x="910" y="753"/>
                    </a:lnTo>
                    <a:lnTo>
                      <a:pt x="910" y="770"/>
                    </a:lnTo>
                    <a:lnTo>
                      <a:pt x="912" y="770"/>
                    </a:lnTo>
                    <a:lnTo>
                      <a:pt x="912" y="753"/>
                    </a:lnTo>
                    <a:close/>
                    <a:moveTo>
                      <a:pt x="5036" y="732"/>
                    </a:moveTo>
                    <a:lnTo>
                      <a:pt x="5034" y="732"/>
                    </a:lnTo>
                    <a:lnTo>
                      <a:pt x="5034" y="734"/>
                    </a:lnTo>
                    <a:lnTo>
                      <a:pt x="5034" y="914"/>
                    </a:lnTo>
                    <a:lnTo>
                      <a:pt x="5036" y="914"/>
                    </a:lnTo>
                    <a:lnTo>
                      <a:pt x="5036" y="732"/>
                    </a:lnTo>
                    <a:close/>
                    <a:moveTo>
                      <a:pt x="3043" y="656"/>
                    </a:moveTo>
                    <a:lnTo>
                      <a:pt x="3040" y="656"/>
                    </a:lnTo>
                    <a:lnTo>
                      <a:pt x="3040" y="659"/>
                    </a:lnTo>
                    <a:lnTo>
                      <a:pt x="3040" y="725"/>
                    </a:lnTo>
                    <a:lnTo>
                      <a:pt x="3040" y="725"/>
                    </a:lnTo>
                    <a:lnTo>
                      <a:pt x="3040" y="723"/>
                    </a:lnTo>
                    <a:lnTo>
                      <a:pt x="3043" y="723"/>
                    </a:lnTo>
                    <a:lnTo>
                      <a:pt x="3043" y="656"/>
                    </a:lnTo>
                    <a:close/>
                    <a:moveTo>
                      <a:pt x="0" y="616"/>
                    </a:moveTo>
                    <a:lnTo>
                      <a:pt x="0" y="616"/>
                    </a:lnTo>
                    <a:lnTo>
                      <a:pt x="0" y="618"/>
                    </a:lnTo>
                    <a:lnTo>
                      <a:pt x="0" y="1395"/>
                    </a:lnTo>
                    <a:lnTo>
                      <a:pt x="0" y="1395"/>
                    </a:lnTo>
                    <a:lnTo>
                      <a:pt x="0" y="616"/>
                    </a:lnTo>
                    <a:close/>
                    <a:moveTo>
                      <a:pt x="5157" y="609"/>
                    </a:moveTo>
                    <a:lnTo>
                      <a:pt x="5154" y="609"/>
                    </a:lnTo>
                    <a:lnTo>
                      <a:pt x="5154" y="611"/>
                    </a:lnTo>
                    <a:lnTo>
                      <a:pt x="5154" y="673"/>
                    </a:lnTo>
                    <a:lnTo>
                      <a:pt x="5157" y="673"/>
                    </a:lnTo>
                    <a:lnTo>
                      <a:pt x="5157" y="609"/>
                    </a:lnTo>
                    <a:close/>
                    <a:moveTo>
                      <a:pt x="3187" y="581"/>
                    </a:moveTo>
                    <a:lnTo>
                      <a:pt x="3185" y="581"/>
                    </a:lnTo>
                    <a:lnTo>
                      <a:pt x="3185" y="581"/>
                    </a:lnTo>
                    <a:lnTo>
                      <a:pt x="3185" y="583"/>
                    </a:lnTo>
                    <a:lnTo>
                      <a:pt x="3185" y="599"/>
                    </a:lnTo>
                    <a:lnTo>
                      <a:pt x="3187" y="599"/>
                    </a:lnTo>
                    <a:lnTo>
                      <a:pt x="3187" y="581"/>
                    </a:lnTo>
                    <a:close/>
                    <a:moveTo>
                      <a:pt x="205" y="547"/>
                    </a:moveTo>
                    <a:lnTo>
                      <a:pt x="205" y="547"/>
                    </a:lnTo>
                    <a:lnTo>
                      <a:pt x="205" y="550"/>
                    </a:lnTo>
                    <a:lnTo>
                      <a:pt x="205" y="559"/>
                    </a:lnTo>
                    <a:lnTo>
                      <a:pt x="205" y="559"/>
                    </a:lnTo>
                    <a:lnTo>
                      <a:pt x="205" y="547"/>
                    </a:lnTo>
                    <a:close/>
                    <a:moveTo>
                      <a:pt x="6930" y="510"/>
                    </a:moveTo>
                    <a:lnTo>
                      <a:pt x="6928" y="510"/>
                    </a:lnTo>
                    <a:lnTo>
                      <a:pt x="6928" y="510"/>
                    </a:lnTo>
                    <a:lnTo>
                      <a:pt x="6928" y="1035"/>
                    </a:lnTo>
                    <a:lnTo>
                      <a:pt x="6930" y="1035"/>
                    </a:lnTo>
                    <a:lnTo>
                      <a:pt x="6930" y="510"/>
                    </a:lnTo>
                    <a:close/>
                    <a:moveTo>
                      <a:pt x="4097" y="502"/>
                    </a:moveTo>
                    <a:lnTo>
                      <a:pt x="4097" y="502"/>
                    </a:lnTo>
                    <a:lnTo>
                      <a:pt x="4095" y="505"/>
                    </a:lnTo>
                    <a:lnTo>
                      <a:pt x="4076" y="531"/>
                    </a:lnTo>
                    <a:lnTo>
                      <a:pt x="4076" y="531"/>
                    </a:lnTo>
                    <a:lnTo>
                      <a:pt x="4097" y="502"/>
                    </a:lnTo>
                    <a:close/>
                    <a:moveTo>
                      <a:pt x="3204" y="500"/>
                    </a:moveTo>
                    <a:lnTo>
                      <a:pt x="3204" y="500"/>
                    </a:lnTo>
                    <a:lnTo>
                      <a:pt x="3201" y="500"/>
                    </a:lnTo>
                    <a:lnTo>
                      <a:pt x="3201" y="502"/>
                    </a:lnTo>
                    <a:lnTo>
                      <a:pt x="3201" y="564"/>
                    </a:lnTo>
                    <a:lnTo>
                      <a:pt x="3204" y="564"/>
                    </a:lnTo>
                    <a:lnTo>
                      <a:pt x="3204" y="564"/>
                    </a:lnTo>
                    <a:lnTo>
                      <a:pt x="3204" y="564"/>
                    </a:lnTo>
                    <a:lnTo>
                      <a:pt x="3204" y="500"/>
                    </a:lnTo>
                    <a:close/>
                    <a:moveTo>
                      <a:pt x="3941" y="453"/>
                    </a:moveTo>
                    <a:lnTo>
                      <a:pt x="3939" y="453"/>
                    </a:lnTo>
                    <a:lnTo>
                      <a:pt x="3939" y="453"/>
                    </a:lnTo>
                    <a:lnTo>
                      <a:pt x="3939" y="455"/>
                    </a:lnTo>
                    <a:lnTo>
                      <a:pt x="3939" y="491"/>
                    </a:lnTo>
                    <a:lnTo>
                      <a:pt x="3856" y="642"/>
                    </a:lnTo>
                    <a:lnTo>
                      <a:pt x="3856" y="869"/>
                    </a:lnTo>
                    <a:lnTo>
                      <a:pt x="3859" y="869"/>
                    </a:lnTo>
                    <a:lnTo>
                      <a:pt x="3859" y="642"/>
                    </a:lnTo>
                    <a:lnTo>
                      <a:pt x="3941" y="488"/>
                    </a:lnTo>
                    <a:lnTo>
                      <a:pt x="3941" y="453"/>
                    </a:lnTo>
                    <a:close/>
                    <a:moveTo>
                      <a:pt x="3232" y="434"/>
                    </a:moveTo>
                    <a:lnTo>
                      <a:pt x="3232" y="434"/>
                    </a:lnTo>
                    <a:lnTo>
                      <a:pt x="3232" y="436"/>
                    </a:lnTo>
                    <a:lnTo>
                      <a:pt x="3232" y="472"/>
                    </a:lnTo>
                    <a:lnTo>
                      <a:pt x="3232" y="472"/>
                    </a:lnTo>
                    <a:lnTo>
                      <a:pt x="3232" y="472"/>
                    </a:lnTo>
                    <a:lnTo>
                      <a:pt x="3232" y="472"/>
                    </a:lnTo>
                    <a:lnTo>
                      <a:pt x="3232" y="434"/>
                    </a:lnTo>
                    <a:close/>
                    <a:moveTo>
                      <a:pt x="3946" y="391"/>
                    </a:moveTo>
                    <a:lnTo>
                      <a:pt x="3946" y="391"/>
                    </a:lnTo>
                    <a:lnTo>
                      <a:pt x="3944" y="391"/>
                    </a:lnTo>
                    <a:lnTo>
                      <a:pt x="3944" y="391"/>
                    </a:lnTo>
                    <a:lnTo>
                      <a:pt x="3944" y="448"/>
                    </a:lnTo>
                    <a:lnTo>
                      <a:pt x="3946" y="448"/>
                    </a:lnTo>
                    <a:lnTo>
                      <a:pt x="3946" y="446"/>
                    </a:lnTo>
                    <a:lnTo>
                      <a:pt x="3946" y="446"/>
                    </a:lnTo>
                    <a:lnTo>
                      <a:pt x="3946" y="391"/>
                    </a:lnTo>
                    <a:close/>
                    <a:moveTo>
                      <a:pt x="1714" y="367"/>
                    </a:moveTo>
                    <a:lnTo>
                      <a:pt x="1712" y="367"/>
                    </a:lnTo>
                    <a:lnTo>
                      <a:pt x="1712" y="370"/>
                    </a:lnTo>
                    <a:lnTo>
                      <a:pt x="1712" y="1073"/>
                    </a:lnTo>
                    <a:lnTo>
                      <a:pt x="1714" y="1073"/>
                    </a:lnTo>
                    <a:lnTo>
                      <a:pt x="1714" y="367"/>
                    </a:lnTo>
                    <a:close/>
                    <a:moveTo>
                      <a:pt x="3953" y="327"/>
                    </a:moveTo>
                    <a:lnTo>
                      <a:pt x="3953" y="327"/>
                    </a:lnTo>
                    <a:lnTo>
                      <a:pt x="3953" y="330"/>
                    </a:lnTo>
                    <a:lnTo>
                      <a:pt x="3953" y="384"/>
                    </a:lnTo>
                    <a:lnTo>
                      <a:pt x="3953" y="384"/>
                    </a:lnTo>
                    <a:lnTo>
                      <a:pt x="3953" y="382"/>
                    </a:lnTo>
                    <a:lnTo>
                      <a:pt x="3953" y="382"/>
                    </a:lnTo>
                    <a:lnTo>
                      <a:pt x="3953" y="327"/>
                    </a:lnTo>
                    <a:close/>
                    <a:moveTo>
                      <a:pt x="4608" y="233"/>
                    </a:moveTo>
                    <a:lnTo>
                      <a:pt x="4606" y="233"/>
                    </a:lnTo>
                    <a:lnTo>
                      <a:pt x="4606" y="233"/>
                    </a:lnTo>
                    <a:lnTo>
                      <a:pt x="4547" y="448"/>
                    </a:lnTo>
                    <a:lnTo>
                      <a:pt x="4549" y="446"/>
                    </a:lnTo>
                    <a:lnTo>
                      <a:pt x="4608" y="233"/>
                    </a:lnTo>
                    <a:close/>
                    <a:moveTo>
                      <a:pt x="4707" y="171"/>
                    </a:moveTo>
                    <a:lnTo>
                      <a:pt x="4705" y="171"/>
                    </a:lnTo>
                    <a:lnTo>
                      <a:pt x="4705" y="173"/>
                    </a:lnTo>
                    <a:lnTo>
                      <a:pt x="4705" y="173"/>
                    </a:lnTo>
                    <a:lnTo>
                      <a:pt x="4707" y="173"/>
                    </a:lnTo>
                    <a:lnTo>
                      <a:pt x="4707" y="171"/>
                    </a:lnTo>
                    <a:close/>
                    <a:moveTo>
                      <a:pt x="4757" y="0"/>
                    </a:moveTo>
                    <a:lnTo>
                      <a:pt x="4755" y="0"/>
                    </a:lnTo>
                    <a:lnTo>
                      <a:pt x="4755" y="0"/>
                    </a:lnTo>
                    <a:lnTo>
                      <a:pt x="4755" y="124"/>
                    </a:lnTo>
                    <a:lnTo>
                      <a:pt x="4755" y="124"/>
                    </a:lnTo>
                    <a:lnTo>
                      <a:pt x="4755" y="121"/>
                    </a:lnTo>
                    <a:lnTo>
                      <a:pt x="4757" y="121"/>
                    </a:lnTo>
                    <a:lnTo>
                      <a:pt x="4757" y="0"/>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1" name="Freeform 83"/>
              <p:cNvSpPr>
                <a:spLocks noEditPoints="1"/>
              </p:cNvSpPr>
              <p:nvPr/>
            </p:nvSpPr>
            <p:spPr bwMode="auto">
              <a:xfrm>
                <a:off x="85" y="1719"/>
                <a:ext cx="6930" cy="1395"/>
              </a:xfrm>
              <a:custGeom>
                <a:avLst/>
                <a:gdLst>
                  <a:gd name="T0" fmla="*/ 3613 w 6930"/>
                  <a:gd name="T1" fmla="*/ 1258 h 1395"/>
                  <a:gd name="T2" fmla="*/ 5734 w 6930"/>
                  <a:gd name="T3" fmla="*/ 1208 h 1395"/>
                  <a:gd name="T4" fmla="*/ 5736 w 6930"/>
                  <a:gd name="T5" fmla="*/ 1267 h 1395"/>
                  <a:gd name="T6" fmla="*/ 1591 w 6930"/>
                  <a:gd name="T7" fmla="*/ 1132 h 1395"/>
                  <a:gd name="T8" fmla="*/ 1593 w 6930"/>
                  <a:gd name="T9" fmla="*/ 1132 h 1395"/>
                  <a:gd name="T10" fmla="*/ 5757 w 6930"/>
                  <a:gd name="T11" fmla="*/ 1130 h 1395"/>
                  <a:gd name="T12" fmla="*/ 5760 w 6930"/>
                  <a:gd name="T13" fmla="*/ 1182 h 1395"/>
                  <a:gd name="T14" fmla="*/ 6225 w 6930"/>
                  <a:gd name="T15" fmla="*/ 1127 h 1395"/>
                  <a:gd name="T16" fmla="*/ 6225 w 6930"/>
                  <a:gd name="T17" fmla="*/ 1127 h 1395"/>
                  <a:gd name="T18" fmla="*/ 1366 w 6930"/>
                  <a:gd name="T19" fmla="*/ 1109 h 1395"/>
                  <a:gd name="T20" fmla="*/ 1369 w 6930"/>
                  <a:gd name="T21" fmla="*/ 1082 h 1395"/>
                  <a:gd name="T22" fmla="*/ 2761 w 6930"/>
                  <a:gd name="T23" fmla="*/ 1064 h 1395"/>
                  <a:gd name="T24" fmla="*/ 5835 w 6930"/>
                  <a:gd name="T25" fmla="*/ 1040 h 1395"/>
                  <a:gd name="T26" fmla="*/ 5833 w 6930"/>
                  <a:gd name="T27" fmla="*/ 1071 h 1395"/>
                  <a:gd name="T28" fmla="*/ 2780 w 6930"/>
                  <a:gd name="T29" fmla="*/ 1011 h 1395"/>
                  <a:gd name="T30" fmla="*/ 2780 w 6930"/>
                  <a:gd name="T31" fmla="*/ 1045 h 1395"/>
                  <a:gd name="T32" fmla="*/ 3672 w 6930"/>
                  <a:gd name="T33" fmla="*/ 992 h 1395"/>
                  <a:gd name="T34" fmla="*/ 3674 w 6930"/>
                  <a:gd name="T35" fmla="*/ 992 h 1395"/>
                  <a:gd name="T36" fmla="*/ 5852 w 6930"/>
                  <a:gd name="T37" fmla="*/ 1023 h 1395"/>
                  <a:gd name="T38" fmla="*/ 5854 w 6930"/>
                  <a:gd name="T39" fmla="*/ 990 h 1395"/>
                  <a:gd name="T40" fmla="*/ 6242 w 6930"/>
                  <a:gd name="T41" fmla="*/ 1111 h 1395"/>
                  <a:gd name="T42" fmla="*/ 6244 w 6930"/>
                  <a:gd name="T43" fmla="*/ 936 h 1395"/>
                  <a:gd name="T44" fmla="*/ 3747 w 6930"/>
                  <a:gd name="T45" fmla="*/ 936 h 1395"/>
                  <a:gd name="T46" fmla="*/ 6292 w 6930"/>
                  <a:gd name="T47" fmla="*/ 879 h 1395"/>
                  <a:gd name="T48" fmla="*/ 6292 w 6930"/>
                  <a:gd name="T49" fmla="*/ 886 h 1395"/>
                  <a:gd name="T50" fmla="*/ 6301 w 6930"/>
                  <a:gd name="T51" fmla="*/ 850 h 1395"/>
                  <a:gd name="T52" fmla="*/ 6301 w 6930"/>
                  <a:gd name="T53" fmla="*/ 872 h 1395"/>
                  <a:gd name="T54" fmla="*/ 3005 w 6930"/>
                  <a:gd name="T55" fmla="*/ 763 h 1395"/>
                  <a:gd name="T56" fmla="*/ 3003 w 6930"/>
                  <a:gd name="T57" fmla="*/ 921 h 1395"/>
                  <a:gd name="T58" fmla="*/ 910 w 6930"/>
                  <a:gd name="T59" fmla="*/ 753 h 1395"/>
                  <a:gd name="T60" fmla="*/ 912 w 6930"/>
                  <a:gd name="T61" fmla="*/ 753 h 1395"/>
                  <a:gd name="T62" fmla="*/ 5034 w 6930"/>
                  <a:gd name="T63" fmla="*/ 914 h 1395"/>
                  <a:gd name="T64" fmla="*/ 3040 w 6930"/>
                  <a:gd name="T65" fmla="*/ 656 h 1395"/>
                  <a:gd name="T66" fmla="*/ 3040 w 6930"/>
                  <a:gd name="T67" fmla="*/ 723 h 1395"/>
                  <a:gd name="T68" fmla="*/ 0 w 6930"/>
                  <a:gd name="T69" fmla="*/ 616 h 1395"/>
                  <a:gd name="T70" fmla="*/ 0 w 6930"/>
                  <a:gd name="T71" fmla="*/ 616 h 1395"/>
                  <a:gd name="T72" fmla="*/ 5154 w 6930"/>
                  <a:gd name="T73" fmla="*/ 673 h 1395"/>
                  <a:gd name="T74" fmla="*/ 3185 w 6930"/>
                  <a:gd name="T75" fmla="*/ 581 h 1395"/>
                  <a:gd name="T76" fmla="*/ 3187 w 6930"/>
                  <a:gd name="T77" fmla="*/ 599 h 1395"/>
                  <a:gd name="T78" fmla="*/ 205 w 6930"/>
                  <a:gd name="T79" fmla="*/ 550 h 1395"/>
                  <a:gd name="T80" fmla="*/ 6930 w 6930"/>
                  <a:gd name="T81" fmla="*/ 510 h 1395"/>
                  <a:gd name="T82" fmla="*/ 6930 w 6930"/>
                  <a:gd name="T83" fmla="*/ 1035 h 1395"/>
                  <a:gd name="T84" fmla="*/ 4095 w 6930"/>
                  <a:gd name="T85" fmla="*/ 505 h 1395"/>
                  <a:gd name="T86" fmla="*/ 3204 w 6930"/>
                  <a:gd name="T87" fmla="*/ 500 h 1395"/>
                  <a:gd name="T88" fmla="*/ 3201 w 6930"/>
                  <a:gd name="T89" fmla="*/ 564 h 1395"/>
                  <a:gd name="T90" fmla="*/ 3204 w 6930"/>
                  <a:gd name="T91" fmla="*/ 500 h 1395"/>
                  <a:gd name="T92" fmla="*/ 3939 w 6930"/>
                  <a:gd name="T93" fmla="*/ 455 h 1395"/>
                  <a:gd name="T94" fmla="*/ 3859 w 6930"/>
                  <a:gd name="T95" fmla="*/ 869 h 1395"/>
                  <a:gd name="T96" fmla="*/ 3232 w 6930"/>
                  <a:gd name="T97" fmla="*/ 434 h 1395"/>
                  <a:gd name="T98" fmla="*/ 3232 w 6930"/>
                  <a:gd name="T99" fmla="*/ 472 h 1395"/>
                  <a:gd name="T100" fmla="*/ 3946 w 6930"/>
                  <a:gd name="T101" fmla="*/ 391 h 1395"/>
                  <a:gd name="T102" fmla="*/ 3944 w 6930"/>
                  <a:gd name="T103" fmla="*/ 448 h 1395"/>
                  <a:gd name="T104" fmla="*/ 3946 w 6930"/>
                  <a:gd name="T105" fmla="*/ 391 h 1395"/>
                  <a:gd name="T106" fmla="*/ 1712 w 6930"/>
                  <a:gd name="T107" fmla="*/ 1073 h 1395"/>
                  <a:gd name="T108" fmla="*/ 3953 w 6930"/>
                  <a:gd name="T109" fmla="*/ 327 h 1395"/>
                  <a:gd name="T110" fmla="*/ 3953 w 6930"/>
                  <a:gd name="T111" fmla="*/ 382 h 1395"/>
                  <a:gd name="T112" fmla="*/ 4606 w 6930"/>
                  <a:gd name="T113" fmla="*/ 233 h 1395"/>
                  <a:gd name="T114" fmla="*/ 4608 w 6930"/>
                  <a:gd name="T115" fmla="*/ 233 h 1395"/>
                  <a:gd name="T116" fmla="*/ 4705 w 6930"/>
                  <a:gd name="T117" fmla="*/ 173 h 1395"/>
                  <a:gd name="T118" fmla="*/ 4755 w 6930"/>
                  <a:gd name="T119" fmla="*/ 0 h 1395"/>
                  <a:gd name="T120" fmla="*/ 4755 w 6930"/>
                  <a:gd name="T121" fmla="*/ 121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5">
                    <a:moveTo>
                      <a:pt x="3615" y="1222"/>
                    </a:moveTo>
                    <a:lnTo>
                      <a:pt x="3613" y="1222"/>
                    </a:lnTo>
                    <a:lnTo>
                      <a:pt x="3613" y="1225"/>
                    </a:lnTo>
                    <a:lnTo>
                      <a:pt x="3613" y="1258"/>
                    </a:lnTo>
                    <a:lnTo>
                      <a:pt x="3615" y="1258"/>
                    </a:lnTo>
                    <a:lnTo>
                      <a:pt x="3615" y="1222"/>
                    </a:lnTo>
                    <a:moveTo>
                      <a:pt x="5736" y="1208"/>
                    </a:moveTo>
                    <a:lnTo>
                      <a:pt x="5734" y="1208"/>
                    </a:lnTo>
                    <a:lnTo>
                      <a:pt x="5734" y="1208"/>
                    </a:lnTo>
                    <a:lnTo>
                      <a:pt x="5734" y="1210"/>
                    </a:lnTo>
                    <a:lnTo>
                      <a:pt x="5734" y="1267"/>
                    </a:lnTo>
                    <a:lnTo>
                      <a:pt x="5736" y="1267"/>
                    </a:lnTo>
                    <a:lnTo>
                      <a:pt x="5736" y="1208"/>
                    </a:lnTo>
                    <a:moveTo>
                      <a:pt x="1593" y="1132"/>
                    </a:moveTo>
                    <a:lnTo>
                      <a:pt x="1591" y="1132"/>
                    </a:lnTo>
                    <a:lnTo>
                      <a:pt x="1591" y="1132"/>
                    </a:lnTo>
                    <a:lnTo>
                      <a:pt x="1591" y="1135"/>
                    </a:lnTo>
                    <a:lnTo>
                      <a:pt x="1591" y="1135"/>
                    </a:lnTo>
                    <a:lnTo>
                      <a:pt x="1591" y="1132"/>
                    </a:lnTo>
                    <a:lnTo>
                      <a:pt x="1593" y="1132"/>
                    </a:lnTo>
                    <a:lnTo>
                      <a:pt x="1593" y="1132"/>
                    </a:lnTo>
                    <a:moveTo>
                      <a:pt x="5760" y="1127"/>
                    </a:moveTo>
                    <a:lnTo>
                      <a:pt x="5757" y="1127"/>
                    </a:lnTo>
                    <a:lnTo>
                      <a:pt x="5757" y="1130"/>
                    </a:lnTo>
                    <a:lnTo>
                      <a:pt x="5757" y="1184"/>
                    </a:lnTo>
                    <a:lnTo>
                      <a:pt x="5760" y="1184"/>
                    </a:lnTo>
                    <a:lnTo>
                      <a:pt x="5760" y="1182"/>
                    </a:lnTo>
                    <a:lnTo>
                      <a:pt x="5760" y="1182"/>
                    </a:lnTo>
                    <a:lnTo>
                      <a:pt x="5760" y="1127"/>
                    </a:lnTo>
                    <a:moveTo>
                      <a:pt x="6225" y="1127"/>
                    </a:moveTo>
                    <a:lnTo>
                      <a:pt x="6225" y="1127"/>
                    </a:lnTo>
                    <a:lnTo>
                      <a:pt x="6225" y="1127"/>
                    </a:lnTo>
                    <a:lnTo>
                      <a:pt x="6225" y="1130"/>
                    </a:lnTo>
                    <a:lnTo>
                      <a:pt x="6225" y="1151"/>
                    </a:lnTo>
                    <a:lnTo>
                      <a:pt x="6225" y="1151"/>
                    </a:lnTo>
                    <a:lnTo>
                      <a:pt x="6225" y="1127"/>
                    </a:lnTo>
                    <a:moveTo>
                      <a:pt x="1369" y="1082"/>
                    </a:moveTo>
                    <a:lnTo>
                      <a:pt x="1366" y="1082"/>
                    </a:lnTo>
                    <a:lnTo>
                      <a:pt x="1366" y="1085"/>
                    </a:lnTo>
                    <a:lnTo>
                      <a:pt x="1366" y="1109"/>
                    </a:lnTo>
                    <a:lnTo>
                      <a:pt x="1366" y="1109"/>
                    </a:lnTo>
                    <a:lnTo>
                      <a:pt x="1366" y="1106"/>
                    </a:lnTo>
                    <a:lnTo>
                      <a:pt x="1369" y="1106"/>
                    </a:lnTo>
                    <a:lnTo>
                      <a:pt x="1369" y="1082"/>
                    </a:lnTo>
                    <a:moveTo>
                      <a:pt x="2764" y="1061"/>
                    </a:moveTo>
                    <a:lnTo>
                      <a:pt x="2764" y="1061"/>
                    </a:lnTo>
                    <a:lnTo>
                      <a:pt x="2761" y="1061"/>
                    </a:lnTo>
                    <a:lnTo>
                      <a:pt x="2761" y="1064"/>
                    </a:lnTo>
                    <a:lnTo>
                      <a:pt x="2761" y="1182"/>
                    </a:lnTo>
                    <a:lnTo>
                      <a:pt x="2764" y="1182"/>
                    </a:lnTo>
                    <a:lnTo>
                      <a:pt x="2764" y="1061"/>
                    </a:lnTo>
                    <a:moveTo>
                      <a:pt x="5835" y="1040"/>
                    </a:moveTo>
                    <a:lnTo>
                      <a:pt x="5835" y="1040"/>
                    </a:lnTo>
                    <a:lnTo>
                      <a:pt x="5833" y="1040"/>
                    </a:lnTo>
                    <a:lnTo>
                      <a:pt x="5833" y="1042"/>
                    </a:lnTo>
                    <a:lnTo>
                      <a:pt x="5833" y="1071"/>
                    </a:lnTo>
                    <a:lnTo>
                      <a:pt x="5835" y="1071"/>
                    </a:lnTo>
                    <a:lnTo>
                      <a:pt x="5835" y="1040"/>
                    </a:lnTo>
                    <a:moveTo>
                      <a:pt x="2780" y="1011"/>
                    </a:moveTo>
                    <a:lnTo>
                      <a:pt x="2780" y="1011"/>
                    </a:lnTo>
                    <a:lnTo>
                      <a:pt x="2780" y="1014"/>
                    </a:lnTo>
                    <a:lnTo>
                      <a:pt x="2780" y="1045"/>
                    </a:lnTo>
                    <a:lnTo>
                      <a:pt x="2780" y="1045"/>
                    </a:lnTo>
                    <a:lnTo>
                      <a:pt x="2780" y="1045"/>
                    </a:lnTo>
                    <a:lnTo>
                      <a:pt x="2780" y="1045"/>
                    </a:lnTo>
                    <a:lnTo>
                      <a:pt x="2780" y="1011"/>
                    </a:lnTo>
                    <a:moveTo>
                      <a:pt x="3674" y="992"/>
                    </a:moveTo>
                    <a:lnTo>
                      <a:pt x="3672" y="992"/>
                    </a:lnTo>
                    <a:lnTo>
                      <a:pt x="3672" y="995"/>
                    </a:lnTo>
                    <a:lnTo>
                      <a:pt x="3672" y="1165"/>
                    </a:lnTo>
                    <a:lnTo>
                      <a:pt x="3674" y="1165"/>
                    </a:lnTo>
                    <a:lnTo>
                      <a:pt x="3674" y="992"/>
                    </a:lnTo>
                    <a:moveTo>
                      <a:pt x="5854" y="990"/>
                    </a:moveTo>
                    <a:lnTo>
                      <a:pt x="5852" y="990"/>
                    </a:lnTo>
                    <a:lnTo>
                      <a:pt x="5852" y="990"/>
                    </a:lnTo>
                    <a:lnTo>
                      <a:pt x="5852" y="1023"/>
                    </a:lnTo>
                    <a:lnTo>
                      <a:pt x="5852" y="1023"/>
                    </a:lnTo>
                    <a:lnTo>
                      <a:pt x="5852" y="1023"/>
                    </a:lnTo>
                    <a:lnTo>
                      <a:pt x="5854" y="1023"/>
                    </a:lnTo>
                    <a:lnTo>
                      <a:pt x="5854" y="990"/>
                    </a:lnTo>
                    <a:moveTo>
                      <a:pt x="6244" y="936"/>
                    </a:moveTo>
                    <a:lnTo>
                      <a:pt x="6242" y="936"/>
                    </a:lnTo>
                    <a:lnTo>
                      <a:pt x="6242" y="938"/>
                    </a:lnTo>
                    <a:lnTo>
                      <a:pt x="6242" y="1111"/>
                    </a:lnTo>
                    <a:lnTo>
                      <a:pt x="6244" y="1111"/>
                    </a:lnTo>
                    <a:lnTo>
                      <a:pt x="6244" y="1109"/>
                    </a:lnTo>
                    <a:lnTo>
                      <a:pt x="6244" y="1109"/>
                    </a:lnTo>
                    <a:lnTo>
                      <a:pt x="6244" y="936"/>
                    </a:lnTo>
                    <a:moveTo>
                      <a:pt x="3750" y="929"/>
                    </a:moveTo>
                    <a:lnTo>
                      <a:pt x="3747" y="929"/>
                    </a:lnTo>
                    <a:lnTo>
                      <a:pt x="3747" y="929"/>
                    </a:lnTo>
                    <a:lnTo>
                      <a:pt x="3747" y="936"/>
                    </a:lnTo>
                    <a:lnTo>
                      <a:pt x="3750" y="936"/>
                    </a:lnTo>
                    <a:lnTo>
                      <a:pt x="3750" y="929"/>
                    </a:lnTo>
                    <a:moveTo>
                      <a:pt x="6294" y="879"/>
                    </a:moveTo>
                    <a:lnTo>
                      <a:pt x="6292" y="879"/>
                    </a:lnTo>
                    <a:lnTo>
                      <a:pt x="6292" y="879"/>
                    </a:lnTo>
                    <a:lnTo>
                      <a:pt x="6292" y="879"/>
                    </a:lnTo>
                    <a:lnTo>
                      <a:pt x="6292" y="886"/>
                    </a:lnTo>
                    <a:lnTo>
                      <a:pt x="6292" y="886"/>
                    </a:lnTo>
                    <a:lnTo>
                      <a:pt x="6292" y="886"/>
                    </a:lnTo>
                    <a:lnTo>
                      <a:pt x="6294" y="886"/>
                    </a:lnTo>
                    <a:lnTo>
                      <a:pt x="6294" y="879"/>
                    </a:lnTo>
                    <a:moveTo>
                      <a:pt x="6301" y="850"/>
                    </a:moveTo>
                    <a:lnTo>
                      <a:pt x="6299" y="850"/>
                    </a:lnTo>
                    <a:lnTo>
                      <a:pt x="6299" y="850"/>
                    </a:lnTo>
                    <a:lnTo>
                      <a:pt x="6299" y="872"/>
                    </a:lnTo>
                    <a:lnTo>
                      <a:pt x="6301" y="872"/>
                    </a:lnTo>
                    <a:lnTo>
                      <a:pt x="6301" y="869"/>
                    </a:lnTo>
                    <a:lnTo>
                      <a:pt x="6301" y="869"/>
                    </a:lnTo>
                    <a:lnTo>
                      <a:pt x="6301" y="850"/>
                    </a:lnTo>
                    <a:moveTo>
                      <a:pt x="3005" y="763"/>
                    </a:moveTo>
                    <a:lnTo>
                      <a:pt x="3003" y="763"/>
                    </a:lnTo>
                    <a:lnTo>
                      <a:pt x="3003" y="763"/>
                    </a:lnTo>
                    <a:lnTo>
                      <a:pt x="3003" y="765"/>
                    </a:lnTo>
                    <a:lnTo>
                      <a:pt x="3003" y="921"/>
                    </a:lnTo>
                    <a:lnTo>
                      <a:pt x="3005" y="921"/>
                    </a:lnTo>
                    <a:lnTo>
                      <a:pt x="3005" y="763"/>
                    </a:lnTo>
                    <a:moveTo>
                      <a:pt x="912" y="753"/>
                    </a:moveTo>
                    <a:lnTo>
                      <a:pt x="910" y="753"/>
                    </a:lnTo>
                    <a:lnTo>
                      <a:pt x="910" y="753"/>
                    </a:lnTo>
                    <a:lnTo>
                      <a:pt x="910" y="770"/>
                    </a:lnTo>
                    <a:lnTo>
                      <a:pt x="912" y="770"/>
                    </a:lnTo>
                    <a:lnTo>
                      <a:pt x="912" y="753"/>
                    </a:lnTo>
                    <a:moveTo>
                      <a:pt x="5036" y="732"/>
                    </a:moveTo>
                    <a:lnTo>
                      <a:pt x="5034" y="732"/>
                    </a:lnTo>
                    <a:lnTo>
                      <a:pt x="5034" y="734"/>
                    </a:lnTo>
                    <a:lnTo>
                      <a:pt x="5034" y="914"/>
                    </a:lnTo>
                    <a:lnTo>
                      <a:pt x="5036" y="914"/>
                    </a:lnTo>
                    <a:lnTo>
                      <a:pt x="5036" y="732"/>
                    </a:lnTo>
                    <a:moveTo>
                      <a:pt x="3043" y="656"/>
                    </a:moveTo>
                    <a:lnTo>
                      <a:pt x="3040" y="656"/>
                    </a:lnTo>
                    <a:lnTo>
                      <a:pt x="3040" y="659"/>
                    </a:lnTo>
                    <a:lnTo>
                      <a:pt x="3040" y="725"/>
                    </a:lnTo>
                    <a:lnTo>
                      <a:pt x="3040" y="725"/>
                    </a:lnTo>
                    <a:lnTo>
                      <a:pt x="3040" y="723"/>
                    </a:lnTo>
                    <a:lnTo>
                      <a:pt x="3043" y="723"/>
                    </a:lnTo>
                    <a:lnTo>
                      <a:pt x="3043" y="656"/>
                    </a:lnTo>
                    <a:moveTo>
                      <a:pt x="0" y="616"/>
                    </a:moveTo>
                    <a:lnTo>
                      <a:pt x="0" y="616"/>
                    </a:lnTo>
                    <a:lnTo>
                      <a:pt x="0" y="618"/>
                    </a:lnTo>
                    <a:lnTo>
                      <a:pt x="0" y="1395"/>
                    </a:lnTo>
                    <a:lnTo>
                      <a:pt x="0" y="1395"/>
                    </a:lnTo>
                    <a:lnTo>
                      <a:pt x="0" y="616"/>
                    </a:lnTo>
                    <a:moveTo>
                      <a:pt x="5157" y="609"/>
                    </a:moveTo>
                    <a:lnTo>
                      <a:pt x="5154" y="609"/>
                    </a:lnTo>
                    <a:lnTo>
                      <a:pt x="5154" y="611"/>
                    </a:lnTo>
                    <a:lnTo>
                      <a:pt x="5154" y="673"/>
                    </a:lnTo>
                    <a:lnTo>
                      <a:pt x="5157" y="673"/>
                    </a:lnTo>
                    <a:lnTo>
                      <a:pt x="5157" y="609"/>
                    </a:lnTo>
                    <a:moveTo>
                      <a:pt x="3187" y="581"/>
                    </a:moveTo>
                    <a:lnTo>
                      <a:pt x="3185" y="581"/>
                    </a:lnTo>
                    <a:lnTo>
                      <a:pt x="3185" y="581"/>
                    </a:lnTo>
                    <a:lnTo>
                      <a:pt x="3185" y="583"/>
                    </a:lnTo>
                    <a:lnTo>
                      <a:pt x="3185" y="599"/>
                    </a:lnTo>
                    <a:lnTo>
                      <a:pt x="3187" y="599"/>
                    </a:lnTo>
                    <a:lnTo>
                      <a:pt x="3187" y="581"/>
                    </a:lnTo>
                    <a:moveTo>
                      <a:pt x="205" y="547"/>
                    </a:moveTo>
                    <a:lnTo>
                      <a:pt x="205" y="547"/>
                    </a:lnTo>
                    <a:lnTo>
                      <a:pt x="205" y="550"/>
                    </a:lnTo>
                    <a:lnTo>
                      <a:pt x="205" y="559"/>
                    </a:lnTo>
                    <a:lnTo>
                      <a:pt x="205" y="559"/>
                    </a:lnTo>
                    <a:lnTo>
                      <a:pt x="205" y="547"/>
                    </a:lnTo>
                    <a:moveTo>
                      <a:pt x="6930" y="510"/>
                    </a:moveTo>
                    <a:lnTo>
                      <a:pt x="6928" y="510"/>
                    </a:lnTo>
                    <a:lnTo>
                      <a:pt x="6928" y="510"/>
                    </a:lnTo>
                    <a:lnTo>
                      <a:pt x="6928" y="1035"/>
                    </a:lnTo>
                    <a:lnTo>
                      <a:pt x="6930" y="1035"/>
                    </a:lnTo>
                    <a:lnTo>
                      <a:pt x="6930" y="510"/>
                    </a:lnTo>
                    <a:moveTo>
                      <a:pt x="4097" y="502"/>
                    </a:moveTo>
                    <a:lnTo>
                      <a:pt x="4097" y="502"/>
                    </a:lnTo>
                    <a:lnTo>
                      <a:pt x="4095" y="505"/>
                    </a:lnTo>
                    <a:lnTo>
                      <a:pt x="4076" y="531"/>
                    </a:lnTo>
                    <a:lnTo>
                      <a:pt x="4076" y="531"/>
                    </a:lnTo>
                    <a:lnTo>
                      <a:pt x="4097" y="502"/>
                    </a:lnTo>
                    <a:moveTo>
                      <a:pt x="3204" y="500"/>
                    </a:moveTo>
                    <a:lnTo>
                      <a:pt x="3204" y="500"/>
                    </a:lnTo>
                    <a:lnTo>
                      <a:pt x="3201" y="500"/>
                    </a:lnTo>
                    <a:lnTo>
                      <a:pt x="3201" y="502"/>
                    </a:lnTo>
                    <a:lnTo>
                      <a:pt x="3201" y="564"/>
                    </a:lnTo>
                    <a:lnTo>
                      <a:pt x="3204" y="564"/>
                    </a:lnTo>
                    <a:lnTo>
                      <a:pt x="3204" y="564"/>
                    </a:lnTo>
                    <a:lnTo>
                      <a:pt x="3204" y="564"/>
                    </a:lnTo>
                    <a:lnTo>
                      <a:pt x="3204" y="500"/>
                    </a:lnTo>
                    <a:moveTo>
                      <a:pt x="3941" y="453"/>
                    </a:moveTo>
                    <a:lnTo>
                      <a:pt x="3939" y="453"/>
                    </a:lnTo>
                    <a:lnTo>
                      <a:pt x="3939" y="453"/>
                    </a:lnTo>
                    <a:lnTo>
                      <a:pt x="3939" y="455"/>
                    </a:lnTo>
                    <a:lnTo>
                      <a:pt x="3939" y="491"/>
                    </a:lnTo>
                    <a:lnTo>
                      <a:pt x="3856" y="642"/>
                    </a:lnTo>
                    <a:lnTo>
                      <a:pt x="3856" y="869"/>
                    </a:lnTo>
                    <a:lnTo>
                      <a:pt x="3859" y="869"/>
                    </a:lnTo>
                    <a:lnTo>
                      <a:pt x="3859" y="642"/>
                    </a:lnTo>
                    <a:lnTo>
                      <a:pt x="3941" y="488"/>
                    </a:lnTo>
                    <a:lnTo>
                      <a:pt x="3941" y="453"/>
                    </a:lnTo>
                    <a:moveTo>
                      <a:pt x="3232" y="434"/>
                    </a:moveTo>
                    <a:lnTo>
                      <a:pt x="3232" y="434"/>
                    </a:lnTo>
                    <a:lnTo>
                      <a:pt x="3232" y="436"/>
                    </a:lnTo>
                    <a:lnTo>
                      <a:pt x="3232" y="472"/>
                    </a:lnTo>
                    <a:lnTo>
                      <a:pt x="3232" y="472"/>
                    </a:lnTo>
                    <a:lnTo>
                      <a:pt x="3232" y="472"/>
                    </a:lnTo>
                    <a:lnTo>
                      <a:pt x="3232" y="472"/>
                    </a:lnTo>
                    <a:lnTo>
                      <a:pt x="3232" y="434"/>
                    </a:lnTo>
                    <a:moveTo>
                      <a:pt x="3946" y="391"/>
                    </a:moveTo>
                    <a:lnTo>
                      <a:pt x="3946" y="391"/>
                    </a:lnTo>
                    <a:lnTo>
                      <a:pt x="3944" y="391"/>
                    </a:lnTo>
                    <a:lnTo>
                      <a:pt x="3944" y="391"/>
                    </a:lnTo>
                    <a:lnTo>
                      <a:pt x="3944" y="448"/>
                    </a:lnTo>
                    <a:lnTo>
                      <a:pt x="3946" y="448"/>
                    </a:lnTo>
                    <a:lnTo>
                      <a:pt x="3946" y="446"/>
                    </a:lnTo>
                    <a:lnTo>
                      <a:pt x="3946" y="446"/>
                    </a:lnTo>
                    <a:lnTo>
                      <a:pt x="3946" y="391"/>
                    </a:lnTo>
                    <a:moveTo>
                      <a:pt x="1714" y="367"/>
                    </a:moveTo>
                    <a:lnTo>
                      <a:pt x="1712" y="367"/>
                    </a:lnTo>
                    <a:lnTo>
                      <a:pt x="1712" y="370"/>
                    </a:lnTo>
                    <a:lnTo>
                      <a:pt x="1712" y="1073"/>
                    </a:lnTo>
                    <a:lnTo>
                      <a:pt x="1714" y="1073"/>
                    </a:lnTo>
                    <a:lnTo>
                      <a:pt x="1714" y="367"/>
                    </a:lnTo>
                    <a:moveTo>
                      <a:pt x="3953" y="327"/>
                    </a:moveTo>
                    <a:lnTo>
                      <a:pt x="3953" y="327"/>
                    </a:lnTo>
                    <a:lnTo>
                      <a:pt x="3953" y="330"/>
                    </a:lnTo>
                    <a:lnTo>
                      <a:pt x="3953" y="384"/>
                    </a:lnTo>
                    <a:lnTo>
                      <a:pt x="3953" y="384"/>
                    </a:lnTo>
                    <a:lnTo>
                      <a:pt x="3953" y="382"/>
                    </a:lnTo>
                    <a:lnTo>
                      <a:pt x="3953" y="382"/>
                    </a:lnTo>
                    <a:lnTo>
                      <a:pt x="3953" y="327"/>
                    </a:lnTo>
                    <a:moveTo>
                      <a:pt x="4608" y="233"/>
                    </a:moveTo>
                    <a:lnTo>
                      <a:pt x="4606" y="233"/>
                    </a:lnTo>
                    <a:lnTo>
                      <a:pt x="4606" y="233"/>
                    </a:lnTo>
                    <a:lnTo>
                      <a:pt x="4547" y="448"/>
                    </a:lnTo>
                    <a:lnTo>
                      <a:pt x="4549" y="446"/>
                    </a:lnTo>
                    <a:lnTo>
                      <a:pt x="4608" y="233"/>
                    </a:lnTo>
                    <a:moveTo>
                      <a:pt x="4707" y="171"/>
                    </a:moveTo>
                    <a:lnTo>
                      <a:pt x="4705" y="171"/>
                    </a:lnTo>
                    <a:lnTo>
                      <a:pt x="4705" y="173"/>
                    </a:lnTo>
                    <a:lnTo>
                      <a:pt x="4705" y="173"/>
                    </a:lnTo>
                    <a:lnTo>
                      <a:pt x="4707" y="173"/>
                    </a:lnTo>
                    <a:lnTo>
                      <a:pt x="4707" y="171"/>
                    </a:lnTo>
                    <a:moveTo>
                      <a:pt x="4757" y="0"/>
                    </a:moveTo>
                    <a:lnTo>
                      <a:pt x="4755" y="0"/>
                    </a:lnTo>
                    <a:lnTo>
                      <a:pt x="4755" y="0"/>
                    </a:lnTo>
                    <a:lnTo>
                      <a:pt x="4755" y="124"/>
                    </a:lnTo>
                    <a:lnTo>
                      <a:pt x="4755" y="124"/>
                    </a:lnTo>
                    <a:lnTo>
                      <a:pt x="4755" y="121"/>
                    </a:lnTo>
                    <a:lnTo>
                      <a:pt x="4757" y="121"/>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2" name="Freeform 84"/>
              <p:cNvSpPr>
                <a:spLocks noEditPoints="1"/>
              </p:cNvSpPr>
              <p:nvPr/>
            </p:nvSpPr>
            <p:spPr bwMode="auto">
              <a:xfrm>
                <a:off x="85" y="1717"/>
                <a:ext cx="6932" cy="1397"/>
              </a:xfrm>
              <a:custGeom>
                <a:avLst/>
                <a:gdLst>
                  <a:gd name="T0" fmla="*/ 3615 w 6932"/>
                  <a:gd name="T1" fmla="*/ 1260 h 1397"/>
                  <a:gd name="T2" fmla="*/ 5736 w 6932"/>
                  <a:gd name="T3" fmla="*/ 1208 h 1397"/>
                  <a:gd name="T4" fmla="*/ 5736 w 6932"/>
                  <a:gd name="T5" fmla="*/ 1269 h 1397"/>
                  <a:gd name="T6" fmla="*/ 1593 w 6932"/>
                  <a:gd name="T7" fmla="*/ 1134 h 1397"/>
                  <a:gd name="T8" fmla="*/ 1593 w 6932"/>
                  <a:gd name="T9" fmla="*/ 1132 h 1397"/>
                  <a:gd name="T10" fmla="*/ 5760 w 6932"/>
                  <a:gd name="T11" fmla="*/ 1129 h 1397"/>
                  <a:gd name="T12" fmla="*/ 5762 w 6932"/>
                  <a:gd name="T13" fmla="*/ 1182 h 1397"/>
                  <a:gd name="T14" fmla="*/ 6225 w 6932"/>
                  <a:gd name="T15" fmla="*/ 1127 h 1397"/>
                  <a:gd name="T16" fmla="*/ 6228 w 6932"/>
                  <a:gd name="T17" fmla="*/ 1127 h 1397"/>
                  <a:gd name="T18" fmla="*/ 1369 w 6932"/>
                  <a:gd name="T19" fmla="*/ 1108 h 1397"/>
                  <a:gd name="T20" fmla="*/ 1369 w 6932"/>
                  <a:gd name="T21" fmla="*/ 1084 h 1397"/>
                  <a:gd name="T22" fmla="*/ 2764 w 6932"/>
                  <a:gd name="T23" fmla="*/ 1063 h 1397"/>
                  <a:gd name="T24" fmla="*/ 5838 w 6932"/>
                  <a:gd name="T25" fmla="*/ 1042 h 1397"/>
                  <a:gd name="T26" fmla="*/ 5835 w 6932"/>
                  <a:gd name="T27" fmla="*/ 1073 h 1397"/>
                  <a:gd name="T28" fmla="*/ 2780 w 6932"/>
                  <a:gd name="T29" fmla="*/ 1013 h 1397"/>
                  <a:gd name="T30" fmla="*/ 2783 w 6932"/>
                  <a:gd name="T31" fmla="*/ 1044 h 1397"/>
                  <a:gd name="T32" fmla="*/ 3674 w 6932"/>
                  <a:gd name="T33" fmla="*/ 992 h 1397"/>
                  <a:gd name="T34" fmla="*/ 3676 w 6932"/>
                  <a:gd name="T35" fmla="*/ 992 h 1397"/>
                  <a:gd name="T36" fmla="*/ 5854 w 6932"/>
                  <a:gd name="T37" fmla="*/ 1025 h 1397"/>
                  <a:gd name="T38" fmla="*/ 5854 w 6932"/>
                  <a:gd name="T39" fmla="*/ 990 h 1397"/>
                  <a:gd name="T40" fmla="*/ 6244 w 6932"/>
                  <a:gd name="T41" fmla="*/ 1111 h 1397"/>
                  <a:gd name="T42" fmla="*/ 6247 w 6932"/>
                  <a:gd name="T43" fmla="*/ 935 h 1397"/>
                  <a:gd name="T44" fmla="*/ 3750 w 6932"/>
                  <a:gd name="T45" fmla="*/ 938 h 1397"/>
                  <a:gd name="T46" fmla="*/ 6294 w 6932"/>
                  <a:gd name="T47" fmla="*/ 878 h 1397"/>
                  <a:gd name="T48" fmla="*/ 6294 w 6932"/>
                  <a:gd name="T49" fmla="*/ 888 h 1397"/>
                  <a:gd name="T50" fmla="*/ 6303 w 6932"/>
                  <a:gd name="T51" fmla="*/ 850 h 1397"/>
                  <a:gd name="T52" fmla="*/ 6303 w 6932"/>
                  <a:gd name="T53" fmla="*/ 871 h 1397"/>
                  <a:gd name="T54" fmla="*/ 3005 w 6932"/>
                  <a:gd name="T55" fmla="*/ 762 h 1397"/>
                  <a:gd name="T56" fmla="*/ 3005 w 6932"/>
                  <a:gd name="T57" fmla="*/ 923 h 1397"/>
                  <a:gd name="T58" fmla="*/ 912 w 6932"/>
                  <a:gd name="T59" fmla="*/ 753 h 1397"/>
                  <a:gd name="T60" fmla="*/ 915 w 6932"/>
                  <a:gd name="T61" fmla="*/ 753 h 1397"/>
                  <a:gd name="T62" fmla="*/ 5036 w 6932"/>
                  <a:gd name="T63" fmla="*/ 916 h 1397"/>
                  <a:gd name="T64" fmla="*/ 3043 w 6932"/>
                  <a:gd name="T65" fmla="*/ 656 h 1397"/>
                  <a:gd name="T66" fmla="*/ 3043 w 6932"/>
                  <a:gd name="T67" fmla="*/ 722 h 1397"/>
                  <a:gd name="T68" fmla="*/ 0 w 6932"/>
                  <a:gd name="T69" fmla="*/ 616 h 1397"/>
                  <a:gd name="T70" fmla="*/ 2 w 6932"/>
                  <a:gd name="T71" fmla="*/ 616 h 1397"/>
                  <a:gd name="T72" fmla="*/ 5157 w 6932"/>
                  <a:gd name="T73" fmla="*/ 675 h 1397"/>
                  <a:gd name="T74" fmla="*/ 3187 w 6932"/>
                  <a:gd name="T75" fmla="*/ 583 h 1397"/>
                  <a:gd name="T76" fmla="*/ 3189 w 6932"/>
                  <a:gd name="T77" fmla="*/ 601 h 1397"/>
                  <a:gd name="T78" fmla="*/ 205 w 6932"/>
                  <a:gd name="T79" fmla="*/ 549 h 1397"/>
                  <a:gd name="T80" fmla="*/ 6932 w 6932"/>
                  <a:gd name="T81" fmla="*/ 509 h 1397"/>
                  <a:gd name="T82" fmla="*/ 6932 w 6932"/>
                  <a:gd name="T83" fmla="*/ 1037 h 1397"/>
                  <a:gd name="T84" fmla="*/ 4097 w 6932"/>
                  <a:gd name="T85" fmla="*/ 504 h 1397"/>
                  <a:gd name="T86" fmla="*/ 3206 w 6932"/>
                  <a:gd name="T87" fmla="*/ 500 h 1397"/>
                  <a:gd name="T88" fmla="*/ 3204 w 6932"/>
                  <a:gd name="T89" fmla="*/ 566 h 1397"/>
                  <a:gd name="T90" fmla="*/ 3206 w 6932"/>
                  <a:gd name="T91" fmla="*/ 500 h 1397"/>
                  <a:gd name="T92" fmla="*/ 3941 w 6932"/>
                  <a:gd name="T93" fmla="*/ 455 h 1397"/>
                  <a:gd name="T94" fmla="*/ 3861 w 6932"/>
                  <a:gd name="T95" fmla="*/ 871 h 1397"/>
                  <a:gd name="T96" fmla="*/ 3234 w 6932"/>
                  <a:gd name="T97" fmla="*/ 433 h 1397"/>
                  <a:gd name="T98" fmla="*/ 3234 w 6932"/>
                  <a:gd name="T99" fmla="*/ 474 h 1397"/>
                  <a:gd name="T100" fmla="*/ 3948 w 6932"/>
                  <a:gd name="T101" fmla="*/ 391 h 1397"/>
                  <a:gd name="T102" fmla="*/ 3946 w 6932"/>
                  <a:gd name="T103" fmla="*/ 448 h 1397"/>
                  <a:gd name="T104" fmla="*/ 3948 w 6932"/>
                  <a:gd name="T105" fmla="*/ 391 h 1397"/>
                  <a:gd name="T106" fmla="*/ 1714 w 6932"/>
                  <a:gd name="T107" fmla="*/ 1075 h 1397"/>
                  <a:gd name="T108" fmla="*/ 3953 w 6932"/>
                  <a:gd name="T109" fmla="*/ 327 h 1397"/>
                  <a:gd name="T110" fmla="*/ 3955 w 6932"/>
                  <a:gd name="T111" fmla="*/ 381 h 1397"/>
                  <a:gd name="T112" fmla="*/ 4608 w 6932"/>
                  <a:gd name="T113" fmla="*/ 232 h 1397"/>
                  <a:gd name="T114" fmla="*/ 4608 w 6932"/>
                  <a:gd name="T115" fmla="*/ 232 h 1397"/>
                  <a:gd name="T116" fmla="*/ 4707 w 6932"/>
                  <a:gd name="T117" fmla="*/ 175 h 1397"/>
                  <a:gd name="T118" fmla="*/ 4757 w 6932"/>
                  <a:gd name="T119" fmla="*/ 0 h 1397"/>
                  <a:gd name="T120" fmla="*/ 4757 w 6932"/>
                  <a:gd name="T121" fmla="*/ 121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97">
                    <a:moveTo>
                      <a:pt x="3617" y="1222"/>
                    </a:moveTo>
                    <a:lnTo>
                      <a:pt x="3615" y="1222"/>
                    </a:lnTo>
                    <a:lnTo>
                      <a:pt x="3615" y="1224"/>
                    </a:lnTo>
                    <a:lnTo>
                      <a:pt x="3615" y="1260"/>
                    </a:lnTo>
                    <a:lnTo>
                      <a:pt x="3617" y="1260"/>
                    </a:lnTo>
                    <a:lnTo>
                      <a:pt x="3617" y="1222"/>
                    </a:lnTo>
                    <a:close/>
                    <a:moveTo>
                      <a:pt x="5736" y="1208"/>
                    </a:moveTo>
                    <a:lnTo>
                      <a:pt x="5736" y="1208"/>
                    </a:lnTo>
                    <a:lnTo>
                      <a:pt x="5736" y="1208"/>
                    </a:lnTo>
                    <a:lnTo>
                      <a:pt x="5736" y="1210"/>
                    </a:lnTo>
                    <a:lnTo>
                      <a:pt x="5736" y="1269"/>
                    </a:lnTo>
                    <a:lnTo>
                      <a:pt x="5736" y="1269"/>
                    </a:lnTo>
                    <a:lnTo>
                      <a:pt x="5736" y="1208"/>
                    </a:lnTo>
                    <a:close/>
                    <a:moveTo>
                      <a:pt x="1593" y="1132"/>
                    </a:moveTo>
                    <a:lnTo>
                      <a:pt x="1593" y="1132"/>
                    </a:lnTo>
                    <a:lnTo>
                      <a:pt x="1593" y="1134"/>
                    </a:lnTo>
                    <a:lnTo>
                      <a:pt x="1593" y="1134"/>
                    </a:lnTo>
                    <a:lnTo>
                      <a:pt x="1593" y="1134"/>
                    </a:lnTo>
                    <a:lnTo>
                      <a:pt x="1593" y="1132"/>
                    </a:lnTo>
                    <a:lnTo>
                      <a:pt x="1593" y="1132"/>
                    </a:lnTo>
                    <a:lnTo>
                      <a:pt x="1593" y="1132"/>
                    </a:lnTo>
                    <a:close/>
                    <a:moveTo>
                      <a:pt x="5762" y="1127"/>
                    </a:moveTo>
                    <a:lnTo>
                      <a:pt x="5760" y="1127"/>
                    </a:lnTo>
                    <a:lnTo>
                      <a:pt x="5760" y="1129"/>
                    </a:lnTo>
                    <a:lnTo>
                      <a:pt x="5760" y="1184"/>
                    </a:lnTo>
                    <a:lnTo>
                      <a:pt x="5762" y="1184"/>
                    </a:lnTo>
                    <a:lnTo>
                      <a:pt x="5762" y="1182"/>
                    </a:lnTo>
                    <a:lnTo>
                      <a:pt x="5762" y="1182"/>
                    </a:lnTo>
                    <a:lnTo>
                      <a:pt x="5762" y="1127"/>
                    </a:lnTo>
                    <a:close/>
                    <a:moveTo>
                      <a:pt x="6228" y="1127"/>
                    </a:moveTo>
                    <a:lnTo>
                      <a:pt x="6228" y="1127"/>
                    </a:lnTo>
                    <a:lnTo>
                      <a:pt x="6225" y="1127"/>
                    </a:lnTo>
                    <a:lnTo>
                      <a:pt x="6225" y="1129"/>
                    </a:lnTo>
                    <a:lnTo>
                      <a:pt x="6225" y="1153"/>
                    </a:lnTo>
                    <a:lnTo>
                      <a:pt x="6228" y="1153"/>
                    </a:lnTo>
                    <a:lnTo>
                      <a:pt x="6228" y="1127"/>
                    </a:lnTo>
                    <a:close/>
                    <a:moveTo>
                      <a:pt x="1369" y="1084"/>
                    </a:moveTo>
                    <a:lnTo>
                      <a:pt x="1369" y="1084"/>
                    </a:lnTo>
                    <a:lnTo>
                      <a:pt x="1369" y="1084"/>
                    </a:lnTo>
                    <a:lnTo>
                      <a:pt x="1369" y="1108"/>
                    </a:lnTo>
                    <a:lnTo>
                      <a:pt x="1369" y="1108"/>
                    </a:lnTo>
                    <a:lnTo>
                      <a:pt x="1369" y="1106"/>
                    </a:lnTo>
                    <a:lnTo>
                      <a:pt x="1369" y="1106"/>
                    </a:lnTo>
                    <a:lnTo>
                      <a:pt x="1369" y="1084"/>
                    </a:lnTo>
                    <a:close/>
                    <a:moveTo>
                      <a:pt x="2766" y="1063"/>
                    </a:moveTo>
                    <a:lnTo>
                      <a:pt x="2764" y="1063"/>
                    </a:lnTo>
                    <a:lnTo>
                      <a:pt x="2764" y="1063"/>
                    </a:lnTo>
                    <a:lnTo>
                      <a:pt x="2764" y="1063"/>
                    </a:lnTo>
                    <a:lnTo>
                      <a:pt x="2764" y="1184"/>
                    </a:lnTo>
                    <a:lnTo>
                      <a:pt x="2766" y="1184"/>
                    </a:lnTo>
                    <a:lnTo>
                      <a:pt x="2766" y="1063"/>
                    </a:lnTo>
                    <a:close/>
                    <a:moveTo>
                      <a:pt x="5838" y="1042"/>
                    </a:moveTo>
                    <a:lnTo>
                      <a:pt x="5835" y="1042"/>
                    </a:lnTo>
                    <a:lnTo>
                      <a:pt x="5835" y="1042"/>
                    </a:lnTo>
                    <a:lnTo>
                      <a:pt x="5835" y="1042"/>
                    </a:lnTo>
                    <a:lnTo>
                      <a:pt x="5835" y="1073"/>
                    </a:lnTo>
                    <a:lnTo>
                      <a:pt x="5838" y="1073"/>
                    </a:lnTo>
                    <a:lnTo>
                      <a:pt x="5838" y="1042"/>
                    </a:lnTo>
                    <a:close/>
                    <a:moveTo>
                      <a:pt x="2783" y="1011"/>
                    </a:moveTo>
                    <a:lnTo>
                      <a:pt x="2780" y="1013"/>
                    </a:lnTo>
                    <a:lnTo>
                      <a:pt x="2780" y="1013"/>
                    </a:lnTo>
                    <a:lnTo>
                      <a:pt x="2780" y="1047"/>
                    </a:lnTo>
                    <a:lnTo>
                      <a:pt x="2783" y="1047"/>
                    </a:lnTo>
                    <a:lnTo>
                      <a:pt x="2783" y="1044"/>
                    </a:lnTo>
                    <a:lnTo>
                      <a:pt x="2783" y="1044"/>
                    </a:lnTo>
                    <a:lnTo>
                      <a:pt x="2783" y="1011"/>
                    </a:lnTo>
                    <a:close/>
                    <a:moveTo>
                      <a:pt x="3676" y="992"/>
                    </a:moveTo>
                    <a:lnTo>
                      <a:pt x="3674" y="992"/>
                    </a:lnTo>
                    <a:lnTo>
                      <a:pt x="3674" y="994"/>
                    </a:lnTo>
                    <a:lnTo>
                      <a:pt x="3674" y="1167"/>
                    </a:lnTo>
                    <a:lnTo>
                      <a:pt x="3676" y="1167"/>
                    </a:lnTo>
                    <a:lnTo>
                      <a:pt x="3676" y="992"/>
                    </a:lnTo>
                    <a:close/>
                    <a:moveTo>
                      <a:pt x="5854" y="990"/>
                    </a:moveTo>
                    <a:lnTo>
                      <a:pt x="5854" y="990"/>
                    </a:lnTo>
                    <a:lnTo>
                      <a:pt x="5854" y="992"/>
                    </a:lnTo>
                    <a:lnTo>
                      <a:pt x="5854" y="1025"/>
                    </a:lnTo>
                    <a:lnTo>
                      <a:pt x="5854" y="1025"/>
                    </a:lnTo>
                    <a:lnTo>
                      <a:pt x="5854" y="1023"/>
                    </a:lnTo>
                    <a:lnTo>
                      <a:pt x="5854" y="1023"/>
                    </a:lnTo>
                    <a:lnTo>
                      <a:pt x="5854" y="990"/>
                    </a:lnTo>
                    <a:close/>
                    <a:moveTo>
                      <a:pt x="6247" y="935"/>
                    </a:moveTo>
                    <a:lnTo>
                      <a:pt x="6244" y="935"/>
                    </a:lnTo>
                    <a:lnTo>
                      <a:pt x="6244" y="938"/>
                    </a:lnTo>
                    <a:lnTo>
                      <a:pt x="6244" y="1111"/>
                    </a:lnTo>
                    <a:lnTo>
                      <a:pt x="6244" y="1111"/>
                    </a:lnTo>
                    <a:lnTo>
                      <a:pt x="6244" y="1108"/>
                    </a:lnTo>
                    <a:lnTo>
                      <a:pt x="6247" y="1108"/>
                    </a:lnTo>
                    <a:lnTo>
                      <a:pt x="6247" y="935"/>
                    </a:lnTo>
                    <a:close/>
                    <a:moveTo>
                      <a:pt x="3752" y="928"/>
                    </a:moveTo>
                    <a:lnTo>
                      <a:pt x="3750" y="928"/>
                    </a:lnTo>
                    <a:lnTo>
                      <a:pt x="3750" y="931"/>
                    </a:lnTo>
                    <a:lnTo>
                      <a:pt x="3750" y="938"/>
                    </a:lnTo>
                    <a:lnTo>
                      <a:pt x="3752" y="938"/>
                    </a:lnTo>
                    <a:lnTo>
                      <a:pt x="3752" y="928"/>
                    </a:lnTo>
                    <a:close/>
                    <a:moveTo>
                      <a:pt x="6296" y="878"/>
                    </a:moveTo>
                    <a:lnTo>
                      <a:pt x="6294" y="878"/>
                    </a:lnTo>
                    <a:lnTo>
                      <a:pt x="6294" y="878"/>
                    </a:lnTo>
                    <a:lnTo>
                      <a:pt x="6294" y="881"/>
                    </a:lnTo>
                    <a:lnTo>
                      <a:pt x="6294" y="888"/>
                    </a:lnTo>
                    <a:lnTo>
                      <a:pt x="6294" y="888"/>
                    </a:lnTo>
                    <a:lnTo>
                      <a:pt x="6294" y="886"/>
                    </a:lnTo>
                    <a:lnTo>
                      <a:pt x="6296" y="886"/>
                    </a:lnTo>
                    <a:lnTo>
                      <a:pt x="6296" y="878"/>
                    </a:lnTo>
                    <a:close/>
                    <a:moveTo>
                      <a:pt x="6303" y="850"/>
                    </a:moveTo>
                    <a:lnTo>
                      <a:pt x="6301" y="850"/>
                    </a:lnTo>
                    <a:lnTo>
                      <a:pt x="6301" y="852"/>
                    </a:lnTo>
                    <a:lnTo>
                      <a:pt x="6301" y="871"/>
                    </a:lnTo>
                    <a:lnTo>
                      <a:pt x="6303" y="871"/>
                    </a:lnTo>
                    <a:lnTo>
                      <a:pt x="6303" y="869"/>
                    </a:lnTo>
                    <a:lnTo>
                      <a:pt x="6303" y="869"/>
                    </a:lnTo>
                    <a:lnTo>
                      <a:pt x="6303" y="850"/>
                    </a:lnTo>
                    <a:close/>
                    <a:moveTo>
                      <a:pt x="3005" y="762"/>
                    </a:moveTo>
                    <a:lnTo>
                      <a:pt x="3005" y="762"/>
                    </a:lnTo>
                    <a:lnTo>
                      <a:pt x="3005" y="762"/>
                    </a:lnTo>
                    <a:lnTo>
                      <a:pt x="3005" y="765"/>
                    </a:lnTo>
                    <a:lnTo>
                      <a:pt x="3005" y="923"/>
                    </a:lnTo>
                    <a:lnTo>
                      <a:pt x="3005" y="923"/>
                    </a:lnTo>
                    <a:lnTo>
                      <a:pt x="3005" y="762"/>
                    </a:lnTo>
                    <a:close/>
                    <a:moveTo>
                      <a:pt x="915" y="753"/>
                    </a:moveTo>
                    <a:lnTo>
                      <a:pt x="912" y="753"/>
                    </a:lnTo>
                    <a:lnTo>
                      <a:pt x="912" y="755"/>
                    </a:lnTo>
                    <a:lnTo>
                      <a:pt x="912" y="772"/>
                    </a:lnTo>
                    <a:lnTo>
                      <a:pt x="915" y="772"/>
                    </a:lnTo>
                    <a:lnTo>
                      <a:pt x="915" y="753"/>
                    </a:lnTo>
                    <a:close/>
                    <a:moveTo>
                      <a:pt x="5038" y="732"/>
                    </a:moveTo>
                    <a:lnTo>
                      <a:pt x="5036" y="732"/>
                    </a:lnTo>
                    <a:lnTo>
                      <a:pt x="5036" y="734"/>
                    </a:lnTo>
                    <a:lnTo>
                      <a:pt x="5036" y="916"/>
                    </a:lnTo>
                    <a:lnTo>
                      <a:pt x="5038" y="916"/>
                    </a:lnTo>
                    <a:lnTo>
                      <a:pt x="5038" y="732"/>
                    </a:lnTo>
                    <a:close/>
                    <a:moveTo>
                      <a:pt x="3045" y="656"/>
                    </a:moveTo>
                    <a:lnTo>
                      <a:pt x="3043" y="656"/>
                    </a:lnTo>
                    <a:lnTo>
                      <a:pt x="3043" y="658"/>
                    </a:lnTo>
                    <a:lnTo>
                      <a:pt x="3043" y="725"/>
                    </a:lnTo>
                    <a:lnTo>
                      <a:pt x="3043" y="725"/>
                    </a:lnTo>
                    <a:lnTo>
                      <a:pt x="3043" y="722"/>
                    </a:lnTo>
                    <a:lnTo>
                      <a:pt x="3045" y="722"/>
                    </a:lnTo>
                    <a:lnTo>
                      <a:pt x="3045" y="656"/>
                    </a:lnTo>
                    <a:close/>
                    <a:moveTo>
                      <a:pt x="2" y="616"/>
                    </a:moveTo>
                    <a:lnTo>
                      <a:pt x="0" y="616"/>
                    </a:lnTo>
                    <a:lnTo>
                      <a:pt x="0" y="618"/>
                    </a:lnTo>
                    <a:lnTo>
                      <a:pt x="0" y="1397"/>
                    </a:lnTo>
                    <a:lnTo>
                      <a:pt x="2" y="1397"/>
                    </a:lnTo>
                    <a:lnTo>
                      <a:pt x="2" y="616"/>
                    </a:lnTo>
                    <a:close/>
                    <a:moveTo>
                      <a:pt x="5159" y="609"/>
                    </a:moveTo>
                    <a:lnTo>
                      <a:pt x="5157" y="609"/>
                    </a:lnTo>
                    <a:lnTo>
                      <a:pt x="5157" y="611"/>
                    </a:lnTo>
                    <a:lnTo>
                      <a:pt x="5157" y="675"/>
                    </a:lnTo>
                    <a:lnTo>
                      <a:pt x="5159" y="675"/>
                    </a:lnTo>
                    <a:lnTo>
                      <a:pt x="5159" y="609"/>
                    </a:lnTo>
                    <a:close/>
                    <a:moveTo>
                      <a:pt x="3189" y="583"/>
                    </a:moveTo>
                    <a:lnTo>
                      <a:pt x="3187" y="583"/>
                    </a:lnTo>
                    <a:lnTo>
                      <a:pt x="3187" y="583"/>
                    </a:lnTo>
                    <a:lnTo>
                      <a:pt x="3187" y="583"/>
                    </a:lnTo>
                    <a:lnTo>
                      <a:pt x="3187" y="601"/>
                    </a:lnTo>
                    <a:lnTo>
                      <a:pt x="3189" y="601"/>
                    </a:lnTo>
                    <a:lnTo>
                      <a:pt x="3189" y="583"/>
                    </a:lnTo>
                    <a:close/>
                    <a:moveTo>
                      <a:pt x="208" y="547"/>
                    </a:moveTo>
                    <a:lnTo>
                      <a:pt x="205" y="547"/>
                    </a:lnTo>
                    <a:lnTo>
                      <a:pt x="205" y="549"/>
                    </a:lnTo>
                    <a:lnTo>
                      <a:pt x="205" y="561"/>
                    </a:lnTo>
                    <a:lnTo>
                      <a:pt x="208" y="561"/>
                    </a:lnTo>
                    <a:lnTo>
                      <a:pt x="208" y="547"/>
                    </a:lnTo>
                    <a:close/>
                    <a:moveTo>
                      <a:pt x="6932" y="509"/>
                    </a:moveTo>
                    <a:lnTo>
                      <a:pt x="6930" y="509"/>
                    </a:lnTo>
                    <a:lnTo>
                      <a:pt x="6930" y="512"/>
                    </a:lnTo>
                    <a:lnTo>
                      <a:pt x="6930" y="1037"/>
                    </a:lnTo>
                    <a:lnTo>
                      <a:pt x="6932" y="1037"/>
                    </a:lnTo>
                    <a:lnTo>
                      <a:pt x="6932" y="509"/>
                    </a:lnTo>
                    <a:close/>
                    <a:moveTo>
                      <a:pt x="4100" y="502"/>
                    </a:moveTo>
                    <a:lnTo>
                      <a:pt x="4100" y="502"/>
                    </a:lnTo>
                    <a:lnTo>
                      <a:pt x="4097" y="504"/>
                    </a:lnTo>
                    <a:lnTo>
                      <a:pt x="4076" y="533"/>
                    </a:lnTo>
                    <a:lnTo>
                      <a:pt x="4076" y="535"/>
                    </a:lnTo>
                    <a:lnTo>
                      <a:pt x="4100" y="502"/>
                    </a:lnTo>
                    <a:close/>
                    <a:moveTo>
                      <a:pt x="3206" y="500"/>
                    </a:moveTo>
                    <a:lnTo>
                      <a:pt x="3206" y="500"/>
                    </a:lnTo>
                    <a:lnTo>
                      <a:pt x="3204" y="500"/>
                    </a:lnTo>
                    <a:lnTo>
                      <a:pt x="3204" y="502"/>
                    </a:lnTo>
                    <a:lnTo>
                      <a:pt x="3204" y="566"/>
                    </a:lnTo>
                    <a:lnTo>
                      <a:pt x="3206" y="566"/>
                    </a:lnTo>
                    <a:lnTo>
                      <a:pt x="3206" y="564"/>
                    </a:lnTo>
                    <a:lnTo>
                      <a:pt x="3206" y="564"/>
                    </a:lnTo>
                    <a:lnTo>
                      <a:pt x="3206" y="500"/>
                    </a:lnTo>
                    <a:close/>
                    <a:moveTo>
                      <a:pt x="3941" y="455"/>
                    </a:moveTo>
                    <a:lnTo>
                      <a:pt x="3941" y="455"/>
                    </a:lnTo>
                    <a:lnTo>
                      <a:pt x="3941" y="455"/>
                    </a:lnTo>
                    <a:lnTo>
                      <a:pt x="3941" y="455"/>
                    </a:lnTo>
                    <a:lnTo>
                      <a:pt x="3941" y="490"/>
                    </a:lnTo>
                    <a:lnTo>
                      <a:pt x="3859" y="644"/>
                    </a:lnTo>
                    <a:lnTo>
                      <a:pt x="3859" y="871"/>
                    </a:lnTo>
                    <a:lnTo>
                      <a:pt x="3861" y="871"/>
                    </a:lnTo>
                    <a:lnTo>
                      <a:pt x="3861" y="642"/>
                    </a:lnTo>
                    <a:lnTo>
                      <a:pt x="3941" y="488"/>
                    </a:lnTo>
                    <a:lnTo>
                      <a:pt x="3941" y="455"/>
                    </a:lnTo>
                    <a:close/>
                    <a:moveTo>
                      <a:pt x="3234" y="433"/>
                    </a:moveTo>
                    <a:lnTo>
                      <a:pt x="3232" y="433"/>
                    </a:lnTo>
                    <a:lnTo>
                      <a:pt x="3232" y="436"/>
                    </a:lnTo>
                    <a:lnTo>
                      <a:pt x="3232" y="474"/>
                    </a:lnTo>
                    <a:lnTo>
                      <a:pt x="3234" y="474"/>
                    </a:lnTo>
                    <a:lnTo>
                      <a:pt x="3234" y="471"/>
                    </a:lnTo>
                    <a:lnTo>
                      <a:pt x="3234" y="471"/>
                    </a:lnTo>
                    <a:lnTo>
                      <a:pt x="3234" y="433"/>
                    </a:lnTo>
                    <a:close/>
                    <a:moveTo>
                      <a:pt x="3948" y="391"/>
                    </a:moveTo>
                    <a:lnTo>
                      <a:pt x="3946" y="391"/>
                    </a:lnTo>
                    <a:lnTo>
                      <a:pt x="3946" y="391"/>
                    </a:lnTo>
                    <a:lnTo>
                      <a:pt x="3946" y="393"/>
                    </a:lnTo>
                    <a:lnTo>
                      <a:pt x="3946" y="448"/>
                    </a:lnTo>
                    <a:lnTo>
                      <a:pt x="3948" y="448"/>
                    </a:lnTo>
                    <a:lnTo>
                      <a:pt x="3948" y="448"/>
                    </a:lnTo>
                    <a:lnTo>
                      <a:pt x="3948" y="448"/>
                    </a:lnTo>
                    <a:lnTo>
                      <a:pt x="3948" y="391"/>
                    </a:lnTo>
                    <a:close/>
                    <a:moveTo>
                      <a:pt x="1716" y="367"/>
                    </a:moveTo>
                    <a:lnTo>
                      <a:pt x="1714" y="367"/>
                    </a:lnTo>
                    <a:lnTo>
                      <a:pt x="1714" y="369"/>
                    </a:lnTo>
                    <a:lnTo>
                      <a:pt x="1714" y="1075"/>
                    </a:lnTo>
                    <a:lnTo>
                      <a:pt x="1716" y="1075"/>
                    </a:lnTo>
                    <a:lnTo>
                      <a:pt x="1716" y="367"/>
                    </a:lnTo>
                    <a:close/>
                    <a:moveTo>
                      <a:pt x="3955" y="327"/>
                    </a:moveTo>
                    <a:lnTo>
                      <a:pt x="3953" y="327"/>
                    </a:lnTo>
                    <a:lnTo>
                      <a:pt x="3953" y="329"/>
                    </a:lnTo>
                    <a:lnTo>
                      <a:pt x="3953" y="384"/>
                    </a:lnTo>
                    <a:lnTo>
                      <a:pt x="3955" y="384"/>
                    </a:lnTo>
                    <a:lnTo>
                      <a:pt x="3955" y="381"/>
                    </a:lnTo>
                    <a:lnTo>
                      <a:pt x="3955" y="381"/>
                    </a:lnTo>
                    <a:lnTo>
                      <a:pt x="3955" y="327"/>
                    </a:lnTo>
                    <a:close/>
                    <a:moveTo>
                      <a:pt x="4608" y="232"/>
                    </a:moveTo>
                    <a:lnTo>
                      <a:pt x="4608" y="232"/>
                    </a:lnTo>
                    <a:lnTo>
                      <a:pt x="4608" y="235"/>
                    </a:lnTo>
                    <a:lnTo>
                      <a:pt x="4549" y="448"/>
                    </a:lnTo>
                    <a:lnTo>
                      <a:pt x="4551" y="448"/>
                    </a:lnTo>
                    <a:lnTo>
                      <a:pt x="4608" y="232"/>
                    </a:lnTo>
                    <a:close/>
                    <a:moveTo>
                      <a:pt x="4710" y="173"/>
                    </a:moveTo>
                    <a:lnTo>
                      <a:pt x="4707" y="173"/>
                    </a:lnTo>
                    <a:lnTo>
                      <a:pt x="4707" y="173"/>
                    </a:lnTo>
                    <a:lnTo>
                      <a:pt x="4707" y="175"/>
                    </a:lnTo>
                    <a:lnTo>
                      <a:pt x="4710" y="175"/>
                    </a:lnTo>
                    <a:lnTo>
                      <a:pt x="4710" y="173"/>
                    </a:lnTo>
                    <a:close/>
                    <a:moveTo>
                      <a:pt x="4759" y="0"/>
                    </a:moveTo>
                    <a:lnTo>
                      <a:pt x="4757" y="0"/>
                    </a:lnTo>
                    <a:lnTo>
                      <a:pt x="4757" y="2"/>
                    </a:lnTo>
                    <a:lnTo>
                      <a:pt x="4757" y="123"/>
                    </a:lnTo>
                    <a:lnTo>
                      <a:pt x="4757" y="123"/>
                    </a:lnTo>
                    <a:lnTo>
                      <a:pt x="4757" y="121"/>
                    </a:lnTo>
                    <a:lnTo>
                      <a:pt x="4759" y="121"/>
                    </a:lnTo>
                    <a:lnTo>
                      <a:pt x="4759" y="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3" name="Freeform 85"/>
              <p:cNvSpPr>
                <a:spLocks noEditPoints="1"/>
              </p:cNvSpPr>
              <p:nvPr/>
            </p:nvSpPr>
            <p:spPr bwMode="auto">
              <a:xfrm>
                <a:off x="85" y="1717"/>
                <a:ext cx="6932" cy="1397"/>
              </a:xfrm>
              <a:custGeom>
                <a:avLst/>
                <a:gdLst>
                  <a:gd name="T0" fmla="*/ 3615 w 6932"/>
                  <a:gd name="T1" fmla="*/ 1260 h 1397"/>
                  <a:gd name="T2" fmla="*/ 5736 w 6932"/>
                  <a:gd name="T3" fmla="*/ 1208 h 1397"/>
                  <a:gd name="T4" fmla="*/ 5736 w 6932"/>
                  <a:gd name="T5" fmla="*/ 1269 h 1397"/>
                  <a:gd name="T6" fmla="*/ 1593 w 6932"/>
                  <a:gd name="T7" fmla="*/ 1134 h 1397"/>
                  <a:gd name="T8" fmla="*/ 1593 w 6932"/>
                  <a:gd name="T9" fmla="*/ 1132 h 1397"/>
                  <a:gd name="T10" fmla="*/ 5760 w 6932"/>
                  <a:gd name="T11" fmla="*/ 1129 h 1397"/>
                  <a:gd name="T12" fmla="*/ 5762 w 6932"/>
                  <a:gd name="T13" fmla="*/ 1182 h 1397"/>
                  <a:gd name="T14" fmla="*/ 6225 w 6932"/>
                  <a:gd name="T15" fmla="*/ 1127 h 1397"/>
                  <a:gd name="T16" fmla="*/ 6228 w 6932"/>
                  <a:gd name="T17" fmla="*/ 1127 h 1397"/>
                  <a:gd name="T18" fmla="*/ 1369 w 6932"/>
                  <a:gd name="T19" fmla="*/ 1108 h 1397"/>
                  <a:gd name="T20" fmla="*/ 1369 w 6932"/>
                  <a:gd name="T21" fmla="*/ 1084 h 1397"/>
                  <a:gd name="T22" fmla="*/ 2764 w 6932"/>
                  <a:gd name="T23" fmla="*/ 1063 h 1397"/>
                  <a:gd name="T24" fmla="*/ 5838 w 6932"/>
                  <a:gd name="T25" fmla="*/ 1042 h 1397"/>
                  <a:gd name="T26" fmla="*/ 5835 w 6932"/>
                  <a:gd name="T27" fmla="*/ 1073 h 1397"/>
                  <a:gd name="T28" fmla="*/ 2780 w 6932"/>
                  <a:gd name="T29" fmla="*/ 1013 h 1397"/>
                  <a:gd name="T30" fmla="*/ 2783 w 6932"/>
                  <a:gd name="T31" fmla="*/ 1044 h 1397"/>
                  <a:gd name="T32" fmla="*/ 3674 w 6932"/>
                  <a:gd name="T33" fmla="*/ 992 h 1397"/>
                  <a:gd name="T34" fmla="*/ 3676 w 6932"/>
                  <a:gd name="T35" fmla="*/ 992 h 1397"/>
                  <a:gd name="T36" fmla="*/ 5854 w 6932"/>
                  <a:gd name="T37" fmla="*/ 1025 h 1397"/>
                  <a:gd name="T38" fmla="*/ 5854 w 6932"/>
                  <a:gd name="T39" fmla="*/ 990 h 1397"/>
                  <a:gd name="T40" fmla="*/ 6244 w 6932"/>
                  <a:gd name="T41" fmla="*/ 1111 h 1397"/>
                  <a:gd name="T42" fmla="*/ 6247 w 6932"/>
                  <a:gd name="T43" fmla="*/ 935 h 1397"/>
                  <a:gd name="T44" fmla="*/ 3750 w 6932"/>
                  <a:gd name="T45" fmla="*/ 938 h 1397"/>
                  <a:gd name="T46" fmla="*/ 6294 w 6932"/>
                  <a:gd name="T47" fmla="*/ 878 h 1397"/>
                  <a:gd name="T48" fmla="*/ 6294 w 6932"/>
                  <a:gd name="T49" fmla="*/ 888 h 1397"/>
                  <a:gd name="T50" fmla="*/ 6303 w 6932"/>
                  <a:gd name="T51" fmla="*/ 850 h 1397"/>
                  <a:gd name="T52" fmla="*/ 6303 w 6932"/>
                  <a:gd name="T53" fmla="*/ 871 h 1397"/>
                  <a:gd name="T54" fmla="*/ 3005 w 6932"/>
                  <a:gd name="T55" fmla="*/ 762 h 1397"/>
                  <a:gd name="T56" fmla="*/ 3005 w 6932"/>
                  <a:gd name="T57" fmla="*/ 923 h 1397"/>
                  <a:gd name="T58" fmla="*/ 912 w 6932"/>
                  <a:gd name="T59" fmla="*/ 753 h 1397"/>
                  <a:gd name="T60" fmla="*/ 915 w 6932"/>
                  <a:gd name="T61" fmla="*/ 753 h 1397"/>
                  <a:gd name="T62" fmla="*/ 5036 w 6932"/>
                  <a:gd name="T63" fmla="*/ 916 h 1397"/>
                  <a:gd name="T64" fmla="*/ 3043 w 6932"/>
                  <a:gd name="T65" fmla="*/ 656 h 1397"/>
                  <a:gd name="T66" fmla="*/ 3043 w 6932"/>
                  <a:gd name="T67" fmla="*/ 722 h 1397"/>
                  <a:gd name="T68" fmla="*/ 0 w 6932"/>
                  <a:gd name="T69" fmla="*/ 616 h 1397"/>
                  <a:gd name="T70" fmla="*/ 2 w 6932"/>
                  <a:gd name="T71" fmla="*/ 616 h 1397"/>
                  <a:gd name="T72" fmla="*/ 5157 w 6932"/>
                  <a:gd name="T73" fmla="*/ 675 h 1397"/>
                  <a:gd name="T74" fmla="*/ 3187 w 6932"/>
                  <a:gd name="T75" fmla="*/ 583 h 1397"/>
                  <a:gd name="T76" fmla="*/ 3189 w 6932"/>
                  <a:gd name="T77" fmla="*/ 601 h 1397"/>
                  <a:gd name="T78" fmla="*/ 205 w 6932"/>
                  <a:gd name="T79" fmla="*/ 549 h 1397"/>
                  <a:gd name="T80" fmla="*/ 6932 w 6932"/>
                  <a:gd name="T81" fmla="*/ 509 h 1397"/>
                  <a:gd name="T82" fmla="*/ 6932 w 6932"/>
                  <a:gd name="T83" fmla="*/ 1037 h 1397"/>
                  <a:gd name="T84" fmla="*/ 4097 w 6932"/>
                  <a:gd name="T85" fmla="*/ 504 h 1397"/>
                  <a:gd name="T86" fmla="*/ 3206 w 6932"/>
                  <a:gd name="T87" fmla="*/ 500 h 1397"/>
                  <a:gd name="T88" fmla="*/ 3204 w 6932"/>
                  <a:gd name="T89" fmla="*/ 566 h 1397"/>
                  <a:gd name="T90" fmla="*/ 3206 w 6932"/>
                  <a:gd name="T91" fmla="*/ 500 h 1397"/>
                  <a:gd name="T92" fmla="*/ 3941 w 6932"/>
                  <a:gd name="T93" fmla="*/ 455 h 1397"/>
                  <a:gd name="T94" fmla="*/ 3861 w 6932"/>
                  <a:gd name="T95" fmla="*/ 871 h 1397"/>
                  <a:gd name="T96" fmla="*/ 3234 w 6932"/>
                  <a:gd name="T97" fmla="*/ 433 h 1397"/>
                  <a:gd name="T98" fmla="*/ 3234 w 6932"/>
                  <a:gd name="T99" fmla="*/ 474 h 1397"/>
                  <a:gd name="T100" fmla="*/ 3948 w 6932"/>
                  <a:gd name="T101" fmla="*/ 391 h 1397"/>
                  <a:gd name="T102" fmla="*/ 3946 w 6932"/>
                  <a:gd name="T103" fmla="*/ 448 h 1397"/>
                  <a:gd name="T104" fmla="*/ 3948 w 6932"/>
                  <a:gd name="T105" fmla="*/ 391 h 1397"/>
                  <a:gd name="T106" fmla="*/ 1714 w 6932"/>
                  <a:gd name="T107" fmla="*/ 1075 h 1397"/>
                  <a:gd name="T108" fmla="*/ 3953 w 6932"/>
                  <a:gd name="T109" fmla="*/ 327 h 1397"/>
                  <a:gd name="T110" fmla="*/ 3955 w 6932"/>
                  <a:gd name="T111" fmla="*/ 381 h 1397"/>
                  <a:gd name="T112" fmla="*/ 4608 w 6932"/>
                  <a:gd name="T113" fmla="*/ 232 h 1397"/>
                  <a:gd name="T114" fmla="*/ 4608 w 6932"/>
                  <a:gd name="T115" fmla="*/ 232 h 1397"/>
                  <a:gd name="T116" fmla="*/ 4707 w 6932"/>
                  <a:gd name="T117" fmla="*/ 175 h 1397"/>
                  <a:gd name="T118" fmla="*/ 4757 w 6932"/>
                  <a:gd name="T119" fmla="*/ 0 h 1397"/>
                  <a:gd name="T120" fmla="*/ 4757 w 6932"/>
                  <a:gd name="T121" fmla="*/ 121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2" h="1397">
                    <a:moveTo>
                      <a:pt x="3617" y="1222"/>
                    </a:moveTo>
                    <a:lnTo>
                      <a:pt x="3615" y="1222"/>
                    </a:lnTo>
                    <a:lnTo>
                      <a:pt x="3615" y="1224"/>
                    </a:lnTo>
                    <a:lnTo>
                      <a:pt x="3615" y="1260"/>
                    </a:lnTo>
                    <a:lnTo>
                      <a:pt x="3617" y="1260"/>
                    </a:lnTo>
                    <a:lnTo>
                      <a:pt x="3617" y="1222"/>
                    </a:lnTo>
                    <a:moveTo>
                      <a:pt x="5736" y="1208"/>
                    </a:moveTo>
                    <a:lnTo>
                      <a:pt x="5736" y="1208"/>
                    </a:lnTo>
                    <a:lnTo>
                      <a:pt x="5736" y="1208"/>
                    </a:lnTo>
                    <a:lnTo>
                      <a:pt x="5736" y="1210"/>
                    </a:lnTo>
                    <a:lnTo>
                      <a:pt x="5736" y="1269"/>
                    </a:lnTo>
                    <a:lnTo>
                      <a:pt x="5736" y="1269"/>
                    </a:lnTo>
                    <a:lnTo>
                      <a:pt x="5736" y="1208"/>
                    </a:lnTo>
                    <a:moveTo>
                      <a:pt x="1593" y="1132"/>
                    </a:moveTo>
                    <a:lnTo>
                      <a:pt x="1593" y="1132"/>
                    </a:lnTo>
                    <a:lnTo>
                      <a:pt x="1593" y="1134"/>
                    </a:lnTo>
                    <a:lnTo>
                      <a:pt x="1593" y="1134"/>
                    </a:lnTo>
                    <a:lnTo>
                      <a:pt x="1593" y="1134"/>
                    </a:lnTo>
                    <a:lnTo>
                      <a:pt x="1593" y="1132"/>
                    </a:lnTo>
                    <a:lnTo>
                      <a:pt x="1593" y="1132"/>
                    </a:lnTo>
                    <a:lnTo>
                      <a:pt x="1593" y="1132"/>
                    </a:lnTo>
                    <a:moveTo>
                      <a:pt x="5762" y="1127"/>
                    </a:moveTo>
                    <a:lnTo>
                      <a:pt x="5760" y="1127"/>
                    </a:lnTo>
                    <a:lnTo>
                      <a:pt x="5760" y="1129"/>
                    </a:lnTo>
                    <a:lnTo>
                      <a:pt x="5760" y="1184"/>
                    </a:lnTo>
                    <a:lnTo>
                      <a:pt x="5762" y="1184"/>
                    </a:lnTo>
                    <a:lnTo>
                      <a:pt x="5762" y="1182"/>
                    </a:lnTo>
                    <a:lnTo>
                      <a:pt x="5762" y="1182"/>
                    </a:lnTo>
                    <a:lnTo>
                      <a:pt x="5762" y="1127"/>
                    </a:lnTo>
                    <a:moveTo>
                      <a:pt x="6228" y="1127"/>
                    </a:moveTo>
                    <a:lnTo>
                      <a:pt x="6228" y="1127"/>
                    </a:lnTo>
                    <a:lnTo>
                      <a:pt x="6225" y="1127"/>
                    </a:lnTo>
                    <a:lnTo>
                      <a:pt x="6225" y="1129"/>
                    </a:lnTo>
                    <a:lnTo>
                      <a:pt x="6225" y="1153"/>
                    </a:lnTo>
                    <a:lnTo>
                      <a:pt x="6228" y="1153"/>
                    </a:lnTo>
                    <a:lnTo>
                      <a:pt x="6228" y="1127"/>
                    </a:lnTo>
                    <a:moveTo>
                      <a:pt x="1369" y="1084"/>
                    </a:moveTo>
                    <a:lnTo>
                      <a:pt x="1369" y="1084"/>
                    </a:lnTo>
                    <a:lnTo>
                      <a:pt x="1369" y="1084"/>
                    </a:lnTo>
                    <a:lnTo>
                      <a:pt x="1369" y="1108"/>
                    </a:lnTo>
                    <a:lnTo>
                      <a:pt x="1369" y="1108"/>
                    </a:lnTo>
                    <a:lnTo>
                      <a:pt x="1369" y="1106"/>
                    </a:lnTo>
                    <a:lnTo>
                      <a:pt x="1369" y="1106"/>
                    </a:lnTo>
                    <a:lnTo>
                      <a:pt x="1369" y="1084"/>
                    </a:lnTo>
                    <a:moveTo>
                      <a:pt x="2766" y="1063"/>
                    </a:moveTo>
                    <a:lnTo>
                      <a:pt x="2764" y="1063"/>
                    </a:lnTo>
                    <a:lnTo>
                      <a:pt x="2764" y="1063"/>
                    </a:lnTo>
                    <a:lnTo>
                      <a:pt x="2764" y="1063"/>
                    </a:lnTo>
                    <a:lnTo>
                      <a:pt x="2764" y="1184"/>
                    </a:lnTo>
                    <a:lnTo>
                      <a:pt x="2766" y="1184"/>
                    </a:lnTo>
                    <a:lnTo>
                      <a:pt x="2766" y="1063"/>
                    </a:lnTo>
                    <a:moveTo>
                      <a:pt x="5838" y="1042"/>
                    </a:moveTo>
                    <a:lnTo>
                      <a:pt x="5835" y="1042"/>
                    </a:lnTo>
                    <a:lnTo>
                      <a:pt x="5835" y="1042"/>
                    </a:lnTo>
                    <a:lnTo>
                      <a:pt x="5835" y="1042"/>
                    </a:lnTo>
                    <a:lnTo>
                      <a:pt x="5835" y="1073"/>
                    </a:lnTo>
                    <a:lnTo>
                      <a:pt x="5838" y="1073"/>
                    </a:lnTo>
                    <a:lnTo>
                      <a:pt x="5838" y="1042"/>
                    </a:lnTo>
                    <a:moveTo>
                      <a:pt x="2783" y="1011"/>
                    </a:moveTo>
                    <a:lnTo>
                      <a:pt x="2780" y="1013"/>
                    </a:lnTo>
                    <a:lnTo>
                      <a:pt x="2780" y="1013"/>
                    </a:lnTo>
                    <a:lnTo>
                      <a:pt x="2780" y="1047"/>
                    </a:lnTo>
                    <a:lnTo>
                      <a:pt x="2783" y="1047"/>
                    </a:lnTo>
                    <a:lnTo>
                      <a:pt x="2783" y="1044"/>
                    </a:lnTo>
                    <a:lnTo>
                      <a:pt x="2783" y="1044"/>
                    </a:lnTo>
                    <a:lnTo>
                      <a:pt x="2783" y="1011"/>
                    </a:lnTo>
                    <a:moveTo>
                      <a:pt x="3676" y="992"/>
                    </a:moveTo>
                    <a:lnTo>
                      <a:pt x="3674" y="992"/>
                    </a:lnTo>
                    <a:lnTo>
                      <a:pt x="3674" y="994"/>
                    </a:lnTo>
                    <a:lnTo>
                      <a:pt x="3674" y="1167"/>
                    </a:lnTo>
                    <a:lnTo>
                      <a:pt x="3676" y="1167"/>
                    </a:lnTo>
                    <a:lnTo>
                      <a:pt x="3676" y="992"/>
                    </a:lnTo>
                    <a:moveTo>
                      <a:pt x="5854" y="990"/>
                    </a:moveTo>
                    <a:lnTo>
                      <a:pt x="5854" y="990"/>
                    </a:lnTo>
                    <a:lnTo>
                      <a:pt x="5854" y="992"/>
                    </a:lnTo>
                    <a:lnTo>
                      <a:pt x="5854" y="1025"/>
                    </a:lnTo>
                    <a:lnTo>
                      <a:pt x="5854" y="1025"/>
                    </a:lnTo>
                    <a:lnTo>
                      <a:pt x="5854" y="1023"/>
                    </a:lnTo>
                    <a:lnTo>
                      <a:pt x="5854" y="1023"/>
                    </a:lnTo>
                    <a:lnTo>
                      <a:pt x="5854" y="990"/>
                    </a:lnTo>
                    <a:moveTo>
                      <a:pt x="6247" y="935"/>
                    </a:moveTo>
                    <a:lnTo>
                      <a:pt x="6244" y="935"/>
                    </a:lnTo>
                    <a:lnTo>
                      <a:pt x="6244" y="938"/>
                    </a:lnTo>
                    <a:lnTo>
                      <a:pt x="6244" y="1111"/>
                    </a:lnTo>
                    <a:lnTo>
                      <a:pt x="6244" y="1111"/>
                    </a:lnTo>
                    <a:lnTo>
                      <a:pt x="6244" y="1108"/>
                    </a:lnTo>
                    <a:lnTo>
                      <a:pt x="6247" y="1108"/>
                    </a:lnTo>
                    <a:lnTo>
                      <a:pt x="6247" y="935"/>
                    </a:lnTo>
                    <a:moveTo>
                      <a:pt x="3752" y="928"/>
                    </a:moveTo>
                    <a:lnTo>
                      <a:pt x="3750" y="928"/>
                    </a:lnTo>
                    <a:lnTo>
                      <a:pt x="3750" y="931"/>
                    </a:lnTo>
                    <a:lnTo>
                      <a:pt x="3750" y="938"/>
                    </a:lnTo>
                    <a:lnTo>
                      <a:pt x="3752" y="938"/>
                    </a:lnTo>
                    <a:lnTo>
                      <a:pt x="3752" y="928"/>
                    </a:lnTo>
                    <a:moveTo>
                      <a:pt x="6296" y="878"/>
                    </a:moveTo>
                    <a:lnTo>
                      <a:pt x="6294" y="878"/>
                    </a:lnTo>
                    <a:lnTo>
                      <a:pt x="6294" y="878"/>
                    </a:lnTo>
                    <a:lnTo>
                      <a:pt x="6294" y="881"/>
                    </a:lnTo>
                    <a:lnTo>
                      <a:pt x="6294" y="888"/>
                    </a:lnTo>
                    <a:lnTo>
                      <a:pt x="6294" y="888"/>
                    </a:lnTo>
                    <a:lnTo>
                      <a:pt x="6294" y="886"/>
                    </a:lnTo>
                    <a:lnTo>
                      <a:pt x="6296" y="886"/>
                    </a:lnTo>
                    <a:lnTo>
                      <a:pt x="6296" y="878"/>
                    </a:lnTo>
                    <a:moveTo>
                      <a:pt x="6303" y="850"/>
                    </a:moveTo>
                    <a:lnTo>
                      <a:pt x="6301" y="850"/>
                    </a:lnTo>
                    <a:lnTo>
                      <a:pt x="6301" y="852"/>
                    </a:lnTo>
                    <a:lnTo>
                      <a:pt x="6301" y="871"/>
                    </a:lnTo>
                    <a:lnTo>
                      <a:pt x="6303" y="871"/>
                    </a:lnTo>
                    <a:lnTo>
                      <a:pt x="6303" y="869"/>
                    </a:lnTo>
                    <a:lnTo>
                      <a:pt x="6303" y="869"/>
                    </a:lnTo>
                    <a:lnTo>
                      <a:pt x="6303" y="850"/>
                    </a:lnTo>
                    <a:moveTo>
                      <a:pt x="3005" y="762"/>
                    </a:moveTo>
                    <a:lnTo>
                      <a:pt x="3005" y="762"/>
                    </a:lnTo>
                    <a:lnTo>
                      <a:pt x="3005" y="762"/>
                    </a:lnTo>
                    <a:lnTo>
                      <a:pt x="3005" y="765"/>
                    </a:lnTo>
                    <a:lnTo>
                      <a:pt x="3005" y="923"/>
                    </a:lnTo>
                    <a:lnTo>
                      <a:pt x="3005" y="923"/>
                    </a:lnTo>
                    <a:lnTo>
                      <a:pt x="3005" y="762"/>
                    </a:lnTo>
                    <a:moveTo>
                      <a:pt x="915" y="753"/>
                    </a:moveTo>
                    <a:lnTo>
                      <a:pt x="912" y="753"/>
                    </a:lnTo>
                    <a:lnTo>
                      <a:pt x="912" y="755"/>
                    </a:lnTo>
                    <a:lnTo>
                      <a:pt x="912" y="772"/>
                    </a:lnTo>
                    <a:lnTo>
                      <a:pt x="915" y="772"/>
                    </a:lnTo>
                    <a:lnTo>
                      <a:pt x="915" y="753"/>
                    </a:lnTo>
                    <a:moveTo>
                      <a:pt x="5038" y="732"/>
                    </a:moveTo>
                    <a:lnTo>
                      <a:pt x="5036" y="732"/>
                    </a:lnTo>
                    <a:lnTo>
                      <a:pt x="5036" y="734"/>
                    </a:lnTo>
                    <a:lnTo>
                      <a:pt x="5036" y="916"/>
                    </a:lnTo>
                    <a:lnTo>
                      <a:pt x="5038" y="916"/>
                    </a:lnTo>
                    <a:lnTo>
                      <a:pt x="5038" y="732"/>
                    </a:lnTo>
                    <a:moveTo>
                      <a:pt x="3045" y="656"/>
                    </a:moveTo>
                    <a:lnTo>
                      <a:pt x="3043" y="656"/>
                    </a:lnTo>
                    <a:lnTo>
                      <a:pt x="3043" y="658"/>
                    </a:lnTo>
                    <a:lnTo>
                      <a:pt x="3043" y="725"/>
                    </a:lnTo>
                    <a:lnTo>
                      <a:pt x="3043" y="725"/>
                    </a:lnTo>
                    <a:lnTo>
                      <a:pt x="3043" y="722"/>
                    </a:lnTo>
                    <a:lnTo>
                      <a:pt x="3045" y="722"/>
                    </a:lnTo>
                    <a:lnTo>
                      <a:pt x="3045" y="656"/>
                    </a:lnTo>
                    <a:moveTo>
                      <a:pt x="2" y="616"/>
                    </a:moveTo>
                    <a:lnTo>
                      <a:pt x="0" y="616"/>
                    </a:lnTo>
                    <a:lnTo>
                      <a:pt x="0" y="618"/>
                    </a:lnTo>
                    <a:lnTo>
                      <a:pt x="0" y="1397"/>
                    </a:lnTo>
                    <a:lnTo>
                      <a:pt x="2" y="1397"/>
                    </a:lnTo>
                    <a:lnTo>
                      <a:pt x="2" y="616"/>
                    </a:lnTo>
                    <a:moveTo>
                      <a:pt x="5159" y="609"/>
                    </a:moveTo>
                    <a:lnTo>
                      <a:pt x="5157" y="609"/>
                    </a:lnTo>
                    <a:lnTo>
                      <a:pt x="5157" y="611"/>
                    </a:lnTo>
                    <a:lnTo>
                      <a:pt x="5157" y="675"/>
                    </a:lnTo>
                    <a:lnTo>
                      <a:pt x="5159" y="675"/>
                    </a:lnTo>
                    <a:lnTo>
                      <a:pt x="5159" y="609"/>
                    </a:lnTo>
                    <a:moveTo>
                      <a:pt x="3189" y="583"/>
                    </a:moveTo>
                    <a:lnTo>
                      <a:pt x="3187" y="583"/>
                    </a:lnTo>
                    <a:lnTo>
                      <a:pt x="3187" y="583"/>
                    </a:lnTo>
                    <a:lnTo>
                      <a:pt x="3187" y="583"/>
                    </a:lnTo>
                    <a:lnTo>
                      <a:pt x="3187" y="601"/>
                    </a:lnTo>
                    <a:lnTo>
                      <a:pt x="3189" y="601"/>
                    </a:lnTo>
                    <a:lnTo>
                      <a:pt x="3189" y="583"/>
                    </a:lnTo>
                    <a:moveTo>
                      <a:pt x="208" y="547"/>
                    </a:moveTo>
                    <a:lnTo>
                      <a:pt x="205" y="547"/>
                    </a:lnTo>
                    <a:lnTo>
                      <a:pt x="205" y="549"/>
                    </a:lnTo>
                    <a:lnTo>
                      <a:pt x="205" y="561"/>
                    </a:lnTo>
                    <a:lnTo>
                      <a:pt x="208" y="561"/>
                    </a:lnTo>
                    <a:lnTo>
                      <a:pt x="208" y="547"/>
                    </a:lnTo>
                    <a:moveTo>
                      <a:pt x="6932" y="509"/>
                    </a:moveTo>
                    <a:lnTo>
                      <a:pt x="6930" y="509"/>
                    </a:lnTo>
                    <a:lnTo>
                      <a:pt x="6930" y="512"/>
                    </a:lnTo>
                    <a:lnTo>
                      <a:pt x="6930" y="1037"/>
                    </a:lnTo>
                    <a:lnTo>
                      <a:pt x="6932" y="1037"/>
                    </a:lnTo>
                    <a:lnTo>
                      <a:pt x="6932" y="509"/>
                    </a:lnTo>
                    <a:moveTo>
                      <a:pt x="4100" y="502"/>
                    </a:moveTo>
                    <a:lnTo>
                      <a:pt x="4100" y="502"/>
                    </a:lnTo>
                    <a:lnTo>
                      <a:pt x="4097" y="504"/>
                    </a:lnTo>
                    <a:lnTo>
                      <a:pt x="4076" y="533"/>
                    </a:lnTo>
                    <a:lnTo>
                      <a:pt x="4076" y="535"/>
                    </a:lnTo>
                    <a:lnTo>
                      <a:pt x="4100" y="502"/>
                    </a:lnTo>
                    <a:moveTo>
                      <a:pt x="3206" y="500"/>
                    </a:moveTo>
                    <a:lnTo>
                      <a:pt x="3206" y="500"/>
                    </a:lnTo>
                    <a:lnTo>
                      <a:pt x="3204" y="500"/>
                    </a:lnTo>
                    <a:lnTo>
                      <a:pt x="3204" y="502"/>
                    </a:lnTo>
                    <a:lnTo>
                      <a:pt x="3204" y="566"/>
                    </a:lnTo>
                    <a:lnTo>
                      <a:pt x="3206" y="566"/>
                    </a:lnTo>
                    <a:lnTo>
                      <a:pt x="3206" y="564"/>
                    </a:lnTo>
                    <a:lnTo>
                      <a:pt x="3206" y="564"/>
                    </a:lnTo>
                    <a:lnTo>
                      <a:pt x="3206" y="500"/>
                    </a:lnTo>
                    <a:moveTo>
                      <a:pt x="3941" y="455"/>
                    </a:moveTo>
                    <a:lnTo>
                      <a:pt x="3941" y="455"/>
                    </a:lnTo>
                    <a:lnTo>
                      <a:pt x="3941" y="455"/>
                    </a:lnTo>
                    <a:lnTo>
                      <a:pt x="3941" y="455"/>
                    </a:lnTo>
                    <a:lnTo>
                      <a:pt x="3941" y="490"/>
                    </a:lnTo>
                    <a:lnTo>
                      <a:pt x="3859" y="644"/>
                    </a:lnTo>
                    <a:lnTo>
                      <a:pt x="3859" y="871"/>
                    </a:lnTo>
                    <a:lnTo>
                      <a:pt x="3861" y="871"/>
                    </a:lnTo>
                    <a:lnTo>
                      <a:pt x="3861" y="642"/>
                    </a:lnTo>
                    <a:lnTo>
                      <a:pt x="3941" y="488"/>
                    </a:lnTo>
                    <a:lnTo>
                      <a:pt x="3941" y="455"/>
                    </a:lnTo>
                    <a:moveTo>
                      <a:pt x="3234" y="433"/>
                    </a:moveTo>
                    <a:lnTo>
                      <a:pt x="3232" y="433"/>
                    </a:lnTo>
                    <a:lnTo>
                      <a:pt x="3232" y="436"/>
                    </a:lnTo>
                    <a:lnTo>
                      <a:pt x="3232" y="474"/>
                    </a:lnTo>
                    <a:lnTo>
                      <a:pt x="3234" y="474"/>
                    </a:lnTo>
                    <a:lnTo>
                      <a:pt x="3234" y="471"/>
                    </a:lnTo>
                    <a:lnTo>
                      <a:pt x="3234" y="471"/>
                    </a:lnTo>
                    <a:lnTo>
                      <a:pt x="3234" y="433"/>
                    </a:lnTo>
                    <a:moveTo>
                      <a:pt x="3948" y="391"/>
                    </a:moveTo>
                    <a:lnTo>
                      <a:pt x="3946" y="391"/>
                    </a:lnTo>
                    <a:lnTo>
                      <a:pt x="3946" y="391"/>
                    </a:lnTo>
                    <a:lnTo>
                      <a:pt x="3946" y="393"/>
                    </a:lnTo>
                    <a:lnTo>
                      <a:pt x="3946" y="448"/>
                    </a:lnTo>
                    <a:lnTo>
                      <a:pt x="3948" y="448"/>
                    </a:lnTo>
                    <a:lnTo>
                      <a:pt x="3948" y="448"/>
                    </a:lnTo>
                    <a:lnTo>
                      <a:pt x="3948" y="448"/>
                    </a:lnTo>
                    <a:lnTo>
                      <a:pt x="3948" y="391"/>
                    </a:lnTo>
                    <a:moveTo>
                      <a:pt x="1716" y="367"/>
                    </a:moveTo>
                    <a:lnTo>
                      <a:pt x="1714" y="367"/>
                    </a:lnTo>
                    <a:lnTo>
                      <a:pt x="1714" y="369"/>
                    </a:lnTo>
                    <a:lnTo>
                      <a:pt x="1714" y="1075"/>
                    </a:lnTo>
                    <a:lnTo>
                      <a:pt x="1716" y="1075"/>
                    </a:lnTo>
                    <a:lnTo>
                      <a:pt x="1716" y="367"/>
                    </a:lnTo>
                    <a:moveTo>
                      <a:pt x="3955" y="327"/>
                    </a:moveTo>
                    <a:lnTo>
                      <a:pt x="3953" y="327"/>
                    </a:lnTo>
                    <a:lnTo>
                      <a:pt x="3953" y="329"/>
                    </a:lnTo>
                    <a:lnTo>
                      <a:pt x="3953" y="384"/>
                    </a:lnTo>
                    <a:lnTo>
                      <a:pt x="3955" y="384"/>
                    </a:lnTo>
                    <a:lnTo>
                      <a:pt x="3955" y="381"/>
                    </a:lnTo>
                    <a:lnTo>
                      <a:pt x="3955" y="381"/>
                    </a:lnTo>
                    <a:lnTo>
                      <a:pt x="3955" y="327"/>
                    </a:lnTo>
                    <a:moveTo>
                      <a:pt x="4608" y="232"/>
                    </a:moveTo>
                    <a:lnTo>
                      <a:pt x="4608" y="232"/>
                    </a:lnTo>
                    <a:lnTo>
                      <a:pt x="4608" y="235"/>
                    </a:lnTo>
                    <a:lnTo>
                      <a:pt x="4549" y="448"/>
                    </a:lnTo>
                    <a:lnTo>
                      <a:pt x="4551" y="448"/>
                    </a:lnTo>
                    <a:lnTo>
                      <a:pt x="4608" y="232"/>
                    </a:lnTo>
                    <a:moveTo>
                      <a:pt x="4710" y="173"/>
                    </a:moveTo>
                    <a:lnTo>
                      <a:pt x="4707" y="173"/>
                    </a:lnTo>
                    <a:lnTo>
                      <a:pt x="4707" y="173"/>
                    </a:lnTo>
                    <a:lnTo>
                      <a:pt x="4707" y="175"/>
                    </a:lnTo>
                    <a:lnTo>
                      <a:pt x="4710" y="175"/>
                    </a:lnTo>
                    <a:lnTo>
                      <a:pt x="4710" y="173"/>
                    </a:lnTo>
                    <a:moveTo>
                      <a:pt x="4759" y="0"/>
                    </a:moveTo>
                    <a:lnTo>
                      <a:pt x="4757" y="0"/>
                    </a:lnTo>
                    <a:lnTo>
                      <a:pt x="4757" y="2"/>
                    </a:lnTo>
                    <a:lnTo>
                      <a:pt x="4757" y="123"/>
                    </a:lnTo>
                    <a:lnTo>
                      <a:pt x="4757" y="123"/>
                    </a:lnTo>
                    <a:lnTo>
                      <a:pt x="4757" y="121"/>
                    </a:lnTo>
                    <a:lnTo>
                      <a:pt x="4759" y="121"/>
                    </a:lnTo>
                    <a:lnTo>
                      <a:pt x="47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4" name="Freeform 86"/>
              <p:cNvSpPr>
                <a:spLocks noEditPoints="1"/>
              </p:cNvSpPr>
              <p:nvPr/>
            </p:nvSpPr>
            <p:spPr bwMode="auto">
              <a:xfrm>
                <a:off x="87" y="1715"/>
                <a:ext cx="6930" cy="1399"/>
              </a:xfrm>
              <a:custGeom>
                <a:avLst/>
                <a:gdLst>
                  <a:gd name="T0" fmla="*/ 3615 w 6930"/>
                  <a:gd name="T1" fmla="*/ 1262 h 1399"/>
                  <a:gd name="T2" fmla="*/ 5736 w 6930"/>
                  <a:gd name="T3" fmla="*/ 1210 h 1399"/>
                  <a:gd name="T4" fmla="*/ 5736 w 6930"/>
                  <a:gd name="T5" fmla="*/ 1271 h 1399"/>
                  <a:gd name="T6" fmla="*/ 1591 w 6930"/>
                  <a:gd name="T7" fmla="*/ 1134 h 1399"/>
                  <a:gd name="T8" fmla="*/ 1594 w 6930"/>
                  <a:gd name="T9" fmla="*/ 1131 h 1399"/>
                  <a:gd name="T10" fmla="*/ 5760 w 6930"/>
                  <a:gd name="T11" fmla="*/ 1129 h 1399"/>
                  <a:gd name="T12" fmla="*/ 5762 w 6930"/>
                  <a:gd name="T13" fmla="*/ 1184 h 1399"/>
                  <a:gd name="T14" fmla="*/ 6226 w 6930"/>
                  <a:gd name="T15" fmla="*/ 1127 h 1399"/>
                  <a:gd name="T16" fmla="*/ 6228 w 6930"/>
                  <a:gd name="T17" fmla="*/ 1127 h 1399"/>
                  <a:gd name="T18" fmla="*/ 1367 w 6930"/>
                  <a:gd name="T19" fmla="*/ 1108 h 1399"/>
                  <a:gd name="T20" fmla="*/ 1369 w 6930"/>
                  <a:gd name="T21" fmla="*/ 1084 h 1399"/>
                  <a:gd name="T22" fmla="*/ 2764 w 6930"/>
                  <a:gd name="T23" fmla="*/ 1065 h 1399"/>
                  <a:gd name="T24" fmla="*/ 5836 w 6930"/>
                  <a:gd name="T25" fmla="*/ 1041 h 1399"/>
                  <a:gd name="T26" fmla="*/ 5836 w 6930"/>
                  <a:gd name="T27" fmla="*/ 1075 h 1399"/>
                  <a:gd name="T28" fmla="*/ 2781 w 6930"/>
                  <a:gd name="T29" fmla="*/ 1013 h 1399"/>
                  <a:gd name="T30" fmla="*/ 2783 w 6930"/>
                  <a:gd name="T31" fmla="*/ 1044 h 1399"/>
                  <a:gd name="T32" fmla="*/ 3674 w 6930"/>
                  <a:gd name="T33" fmla="*/ 994 h 1399"/>
                  <a:gd name="T34" fmla="*/ 3677 w 6930"/>
                  <a:gd name="T35" fmla="*/ 994 h 1399"/>
                  <a:gd name="T36" fmla="*/ 5852 w 6930"/>
                  <a:gd name="T37" fmla="*/ 1025 h 1399"/>
                  <a:gd name="T38" fmla="*/ 5855 w 6930"/>
                  <a:gd name="T39" fmla="*/ 989 h 1399"/>
                  <a:gd name="T40" fmla="*/ 6245 w 6930"/>
                  <a:gd name="T41" fmla="*/ 1110 h 1399"/>
                  <a:gd name="T42" fmla="*/ 6245 w 6930"/>
                  <a:gd name="T43" fmla="*/ 935 h 1399"/>
                  <a:gd name="T44" fmla="*/ 3750 w 6930"/>
                  <a:gd name="T45" fmla="*/ 940 h 1399"/>
                  <a:gd name="T46" fmla="*/ 6294 w 6930"/>
                  <a:gd name="T47" fmla="*/ 878 h 1399"/>
                  <a:gd name="T48" fmla="*/ 6294 w 6930"/>
                  <a:gd name="T49" fmla="*/ 888 h 1399"/>
                  <a:gd name="T50" fmla="*/ 6304 w 6930"/>
                  <a:gd name="T51" fmla="*/ 850 h 1399"/>
                  <a:gd name="T52" fmla="*/ 6304 w 6930"/>
                  <a:gd name="T53" fmla="*/ 871 h 1399"/>
                  <a:gd name="T54" fmla="*/ 3005 w 6930"/>
                  <a:gd name="T55" fmla="*/ 762 h 1399"/>
                  <a:gd name="T56" fmla="*/ 3003 w 6930"/>
                  <a:gd name="T57" fmla="*/ 925 h 1399"/>
                  <a:gd name="T58" fmla="*/ 913 w 6930"/>
                  <a:gd name="T59" fmla="*/ 753 h 1399"/>
                  <a:gd name="T60" fmla="*/ 915 w 6930"/>
                  <a:gd name="T61" fmla="*/ 753 h 1399"/>
                  <a:gd name="T62" fmla="*/ 5036 w 6930"/>
                  <a:gd name="T63" fmla="*/ 918 h 1399"/>
                  <a:gd name="T64" fmla="*/ 3043 w 6930"/>
                  <a:gd name="T65" fmla="*/ 656 h 1399"/>
                  <a:gd name="T66" fmla="*/ 3043 w 6930"/>
                  <a:gd name="T67" fmla="*/ 724 h 1399"/>
                  <a:gd name="T68" fmla="*/ 0 w 6930"/>
                  <a:gd name="T69" fmla="*/ 615 h 1399"/>
                  <a:gd name="T70" fmla="*/ 2 w 6930"/>
                  <a:gd name="T71" fmla="*/ 615 h 1399"/>
                  <a:gd name="T72" fmla="*/ 5157 w 6930"/>
                  <a:gd name="T73" fmla="*/ 677 h 1399"/>
                  <a:gd name="T74" fmla="*/ 3187 w 6930"/>
                  <a:gd name="T75" fmla="*/ 582 h 1399"/>
                  <a:gd name="T76" fmla="*/ 3187 w 6930"/>
                  <a:gd name="T77" fmla="*/ 603 h 1399"/>
                  <a:gd name="T78" fmla="*/ 206 w 6930"/>
                  <a:gd name="T79" fmla="*/ 549 h 1399"/>
                  <a:gd name="T80" fmla="*/ 6930 w 6930"/>
                  <a:gd name="T81" fmla="*/ 509 h 1399"/>
                  <a:gd name="T82" fmla="*/ 6930 w 6930"/>
                  <a:gd name="T83" fmla="*/ 1039 h 1399"/>
                  <a:gd name="T84" fmla="*/ 4098 w 6930"/>
                  <a:gd name="T85" fmla="*/ 504 h 1399"/>
                  <a:gd name="T86" fmla="*/ 3206 w 6930"/>
                  <a:gd name="T87" fmla="*/ 502 h 1399"/>
                  <a:gd name="T88" fmla="*/ 3204 w 6930"/>
                  <a:gd name="T89" fmla="*/ 566 h 1399"/>
                  <a:gd name="T90" fmla="*/ 3206 w 6930"/>
                  <a:gd name="T91" fmla="*/ 502 h 1399"/>
                  <a:gd name="T92" fmla="*/ 3939 w 6930"/>
                  <a:gd name="T93" fmla="*/ 457 h 1399"/>
                  <a:gd name="T94" fmla="*/ 3861 w 6930"/>
                  <a:gd name="T95" fmla="*/ 873 h 1399"/>
                  <a:gd name="T96" fmla="*/ 3235 w 6930"/>
                  <a:gd name="T97" fmla="*/ 433 h 1399"/>
                  <a:gd name="T98" fmla="*/ 3232 w 6930"/>
                  <a:gd name="T99" fmla="*/ 473 h 1399"/>
                  <a:gd name="T100" fmla="*/ 3949 w 6930"/>
                  <a:gd name="T101" fmla="*/ 390 h 1399"/>
                  <a:gd name="T102" fmla="*/ 3946 w 6930"/>
                  <a:gd name="T103" fmla="*/ 450 h 1399"/>
                  <a:gd name="T104" fmla="*/ 3949 w 6930"/>
                  <a:gd name="T105" fmla="*/ 390 h 1399"/>
                  <a:gd name="T106" fmla="*/ 1714 w 6930"/>
                  <a:gd name="T107" fmla="*/ 1077 h 1399"/>
                  <a:gd name="T108" fmla="*/ 3953 w 6930"/>
                  <a:gd name="T109" fmla="*/ 326 h 1399"/>
                  <a:gd name="T110" fmla="*/ 3956 w 6930"/>
                  <a:gd name="T111" fmla="*/ 381 h 1399"/>
                  <a:gd name="T112" fmla="*/ 4608 w 6930"/>
                  <a:gd name="T113" fmla="*/ 232 h 1399"/>
                  <a:gd name="T114" fmla="*/ 4608 w 6930"/>
                  <a:gd name="T115" fmla="*/ 232 h 1399"/>
                  <a:gd name="T116" fmla="*/ 4708 w 6930"/>
                  <a:gd name="T117" fmla="*/ 177 h 1399"/>
                  <a:gd name="T118" fmla="*/ 4757 w 6930"/>
                  <a:gd name="T119" fmla="*/ 0 h 1399"/>
                  <a:gd name="T120" fmla="*/ 4757 w 6930"/>
                  <a:gd name="T121" fmla="*/ 123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9">
                    <a:moveTo>
                      <a:pt x="3615" y="1221"/>
                    </a:moveTo>
                    <a:lnTo>
                      <a:pt x="3615" y="1221"/>
                    </a:lnTo>
                    <a:lnTo>
                      <a:pt x="3615" y="1224"/>
                    </a:lnTo>
                    <a:lnTo>
                      <a:pt x="3615" y="1262"/>
                    </a:lnTo>
                    <a:lnTo>
                      <a:pt x="3615" y="1262"/>
                    </a:lnTo>
                    <a:lnTo>
                      <a:pt x="3615" y="1221"/>
                    </a:lnTo>
                    <a:close/>
                    <a:moveTo>
                      <a:pt x="5736" y="1210"/>
                    </a:moveTo>
                    <a:lnTo>
                      <a:pt x="5736" y="1210"/>
                    </a:lnTo>
                    <a:lnTo>
                      <a:pt x="5734" y="1210"/>
                    </a:lnTo>
                    <a:lnTo>
                      <a:pt x="5734" y="1210"/>
                    </a:lnTo>
                    <a:lnTo>
                      <a:pt x="5734" y="1271"/>
                    </a:lnTo>
                    <a:lnTo>
                      <a:pt x="5736" y="1271"/>
                    </a:lnTo>
                    <a:lnTo>
                      <a:pt x="5736" y="1210"/>
                    </a:lnTo>
                    <a:close/>
                    <a:moveTo>
                      <a:pt x="1594" y="1131"/>
                    </a:moveTo>
                    <a:lnTo>
                      <a:pt x="1591" y="1131"/>
                    </a:lnTo>
                    <a:lnTo>
                      <a:pt x="1591" y="1134"/>
                    </a:lnTo>
                    <a:lnTo>
                      <a:pt x="1591" y="1134"/>
                    </a:lnTo>
                    <a:lnTo>
                      <a:pt x="1594" y="1134"/>
                    </a:lnTo>
                    <a:lnTo>
                      <a:pt x="1594" y="1131"/>
                    </a:lnTo>
                    <a:lnTo>
                      <a:pt x="1594" y="1131"/>
                    </a:lnTo>
                    <a:lnTo>
                      <a:pt x="1594" y="1131"/>
                    </a:lnTo>
                    <a:close/>
                    <a:moveTo>
                      <a:pt x="5762" y="1127"/>
                    </a:moveTo>
                    <a:lnTo>
                      <a:pt x="5760" y="1127"/>
                    </a:lnTo>
                    <a:lnTo>
                      <a:pt x="5760" y="1129"/>
                    </a:lnTo>
                    <a:lnTo>
                      <a:pt x="5760" y="1184"/>
                    </a:lnTo>
                    <a:lnTo>
                      <a:pt x="5760" y="1184"/>
                    </a:lnTo>
                    <a:lnTo>
                      <a:pt x="5760" y="1184"/>
                    </a:lnTo>
                    <a:lnTo>
                      <a:pt x="5762" y="1184"/>
                    </a:lnTo>
                    <a:lnTo>
                      <a:pt x="5762" y="1127"/>
                    </a:lnTo>
                    <a:close/>
                    <a:moveTo>
                      <a:pt x="6228" y="1127"/>
                    </a:moveTo>
                    <a:lnTo>
                      <a:pt x="6228" y="1127"/>
                    </a:lnTo>
                    <a:lnTo>
                      <a:pt x="6226" y="1127"/>
                    </a:lnTo>
                    <a:lnTo>
                      <a:pt x="6226" y="1129"/>
                    </a:lnTo>
                    <a:lnTo>
                      <a:pt x="6226" y="1155"/>
                    </a:lnTo>
                    <a:lnTo>
                      <a:pt x="6228" y="1155"/>
                    </a:lnTo>
                    <a:lnTo>
                      <a:pt x="6228" y="1127"/>
                    </a:lnTo>
                    <a:close/>
                    <a:moveTo>
                      <a:pt x="1369" y="1084"/>
                    </a:moveTo>
                    <a:lnTo>
                      <a:pt x="1367" y="1084"/>
                    </a:lnTo>
                    <a:lnTo>
                      <a:pt x="1367" y="1086"/>
                    </a:lnTo>
                    <a:lnTo>
                      <a:pt x="1367" y="1108"/>
                    </a:lnTo>
                    <a:lnTo>
                      <a:pt x="1369" y="1108"/>
                    </a:lnTo>
                    <a:lnTo>
                      <a:pt x="1369" y="1108"/>
                    </a:lnTo>
                    <a:lnTo>
                      <a:pt x="1369" y="1108"/>
                    </a:lnTo>
                    <a:lnTo>
                      <a:pt x="1369" y="1084"/>
                    </a:lnTo>
                    <a:close/>
                    <a:moveTo>
                      <a:pt x="2767" y="1063"/>
                    </a:moveTo>
                    <a:lnTo>
                      <a:pt x="2764" y="1063"/>
                    </a:lnTo>
                    <a:lnTo>
                      <a:pt x="2764" y="1063"/>
                    </a:lnTo>
                    <a:lnTo>
                      <a:pt x="2764" y="1065"/>
                    </a:lnTo>
                    <a:lnTo>
                      <a:pt x="2764" y="1186"/>
                    </a:lnTo>
                    <a:lnTo>
                      <a:pt x="2767" y="1186"/>
                    </a:lnTo>
                    <a:lnTo>
                      <a:pt x="2767" y="1063"/>
                    </a:lnTo>
                    <a:close/>
                    <a:moveTo>
                      <a:pt x="5836" y="1041"/>
                    </a:moveTo>
                    <a:lnTo>
                      <a:pt x="5836" y="1041"/>
                    </a:lnTo>
                    <a:lnTo>
                      <a:pt x="5836" y="1041"/>
                    </a:lnTo>
                    <a:lnTo>
                      <a:pt x="5836" y="1044"/>
                    </a:lnTo>
                    <a:lnTo>
                      <a:pt x="5836" y="1075"/>
                    </a:lnTo>
                    <a:lnTo>
                      <a:pt x="5836" y="1075"/>
                    </a:lnTo>
                    <a:lnTo>
                      <a:pt x="5836" y="1041"/>
                    </a:lnTo>
                    <a:close/>
                    <a:moveTo>
                      <a:pt x="2783" y="1011"/>
                    </a:moveTo>
                    <a:lnTo>
                      <a:pt x="2781" y="1013"/>
                    </a:lnTo>
                    <a:lnTo>
                      <a:pt x="2781" y="1013"/>
                    </a:lnTo>
                    <a:lnTo>
                      <a:pt x="2781" y="1046"/>
                    </a:lnTo>
                    <a:lnTo>
                      <a:pt x="2783" y="1046"/>
                    </a:lnTo>
                    <a:lnTo>
                      <a:pt x="2783" y="1044"/>
                    </a:lnTo>
                    <a:lnTo>
                      <a:pt x="2783" y="1044"/>
                    </a:lnTo>
                    <a:lnTo>
                      <a:pt x="2783" y="1011"/>
                    </a:lnTo>
                    <a:close/>
                    <a:moveTo>
                      <a:pt x="3677" y="994"/>
                    </a:moveTo>
                    <a:lnTo>
                      <a:pt x="3674" y="994"/>
                    </a:lnTo>
                    <a:lnTo>
                      <a:pt x="3674" y="994"/>
                    </a:lnTo>
                    <a:lnTo>
                      <a:pt x="3674" y="1169"/>
                    </a:lnTo>
                    <a:lnTo>
                      <a:pt x="3677" y="1169"/>
                    </a:lnTo>
                    <a:lnTo>
                      <a:pt x="3677" y="994"/>
                    </a:lnTo>
                    <a:close/>
                    <a:moveTo>
                      <a:pt x="5855" y="989"/>
                    </a:moveTo>
                    <a:lnTo>
                      <a:pt x="5852" y="989"/>
                    </a:lnTo>
                    <a:lnTo>
                      <a:pt x="5852" y="992"/>
                    </a:lnTo>
                    <a:lnTo>
                      <a:pt x="5852" y="1025"/>
                    </a:lnTo>
                    <a:lnTo>
                      <a:pt x="5852" y="1025"/>
                    </a:lnTo>
                    <a:lnTo>
                      <a:pt x="5852" y="1023"/>
                    </a:lnTo>
                    <a:lnTo>
                      <a:pt x="5855" y="1023"/>
                    </a:lnTo>
                    <a:lnTo>
                      <a:pt x="5855" y="989"/>
                    </a:lnTo>
                    <a:close/>
                    <a:moveTo>
                      <a:pt x="6245" y="935"/>
                    </a:moveTo>
                    <a:lnTo>
                      <a:pt x="6245" y="935"/>
                    </a:lnTo>
                    <a:lnTo>
                      <a:pt x="6245" y="937"/>
                    </a:lnTo>
                    <a:lnTo>
                      <a:pt x="6245" y="1110"/>
                    </a:lnTo>
                    <a:lnTo>
                      <a:pt x="6245" y="1110"/>
                    </a:lnTo>
                    <a:lnTo>
                      <a:pt x="6245" y="1110"/>
                    </a:lnTo>
                    <a:lnTo>
                      <a:pt x="6245" y="1110"/>
                    </a:lnTo>
                    <a:lnTo>
                      <a:pt x="6245" y="935"/>
                    </a:lnTo>
                    <a:close/>
                    <a:moveTo>
                      <a:pt x="3750" y="928"/>
                    </a:moveTo>
                    <a:lnTo>
                      <a:pt x="3750" y="928"/>
                    </a:lnTo>
                    <a:lnTo>
                      <a:pt x="3750" y="930"/>
                    </a:lnTo>
                    <a:lnTo>
                      <a:pt x="3750" y="940"/>
                    </a:lnTo>
                    <a:lnTo>
                      <a:pt x="3750" y="940"/>
                    </a:lnTo>
                    <a:lnTo>
                      <a:pt x="3750" y="928"/>
                    </a:lnTo>
                    <a:close/>
                    <a:moveTo>
                      <a:pt x="6294" y="878"/>
                    </a:moveTo>
                    <a:lnTo>
                      <a:pt x="6294" y="878"/>
                    </a:lnTo>
                    <a:lnTo>
                      <a:pt x="6294" y="878"/>
                    </a:lnTo>
                    <a:lnTo>
                      <a:pt x="6294" y="880"/>
                    </a:lnTo>
                    <a:lnTo>
                      <a:pt x="6294" y="888"/>
                    </a:lnTo>
                    <a:lnTo>
                      <a:pt x="6294" y="888"/>
                    </a:lnTo>
                    <a:lnTo>
                      <a:pt x="6294" y="885"/>
                    </a:lnTo>
                    <a:lnTo>
                      <a:pt x="6294" y="885"/>
                    </a:lnTo>
                    <a:lnTo>
                      <a:pt x="6294" y="878"/>
                    </a:lnTo>
                    <a:close/>
                    <a:moveTo>
                      <a:pt x="6304" y="850"/>
                    </a:moveTo>
                    <a:lnTo>
                      <a:pt x="6301" y="850"/>
                    </a:lnTo>
                    <a:lnTo>
                      <a:pt x="6301" y="852"/>
                    </a:lnTo>
                    <a:lnTo>
                      <a:pt x="6301" y="871"/>
                    </a:lnTo>
                    <a:lnTo>
                      <a:pt x="6304" y="871"/>
                    </a:lnTo>
                    <a:lnTo>
                      <a:pt x="6304" y="869"/>
                    </a:lnTo>
                    <a:lnTo>
                      <a:pt x="6304" y="869"/>
                    </a:lnTo>
                    <a:lnTo>
                      <a:pt x="6304" y="850"/>
                    </a:lnTo>
                    <a:close/>
                    <a:moveTo>
                      <a:pt x="3005" y="762"/>
                    </a:moveTo>
                    <a:lnTo>
                      <a:pt x="3005" y="762"/>
                    </a:lnTo>
                    <a:lnTo>
                      <a:pt x="3003" y="762"/>
                    </a:lnTo>
                    <a:lnTo>
                      <a:pt x="3003" y="764"/>
                    </a:lnTo>
                    <a:lnTo>
                      <a:pt x="3003" y="925"/>
                    </a:lnTo>
                    <a:lnTo>
                      <a:pt x="3005" y="925"/>
                    </a:lnTo>
                    <a:lnTo>
                      <a:pt x="3005" y="762"/>
                    </a:lnTo>
                    <a:close/>
                    <a:moveTo>
                      <a:pt x="915" y="753"/>
                    </a:moveTo>
                    <a:lnTo>
                      <a:pt x="913" y="753"/>
                    </a:lnTo>
                    <a:lnTo>
                      <a:pt x="913" y="755"/>
                    </a:lnTo>
                    <a:lnTo>
                      <a:pt x="913" y="774"/>
                    </a:lnTo>
                    <a:lnTo>
                      <a:pt x="915" y="774"/>
                    </a:lnTo>
                    <a:lnTo>
                      <a:pt x="915" y="753"/>
                    </a:lnTo>
                    <a:close/>
                    <a:moveTo>
                      <a:pt x="5036" y="731"/>
                    </a:moveTo>
                    <a:lnTo>
                      <a:pt x="5036" y="731"/>
                    </a:lnTo>
                    <a:lnTo>
                      <a:pt x="5036" y="734"/>
                    </a:lnTo>
                    <a:lnTo>
                      <a:pt x="5036" y="918"/>
                    </a:lnTo>
                    <a:lnTo>
                      <a:pt x="5036" y="918"/>
                    </a:lnTo>
                    <a:lnTo>
                      <a:pt x="5036" y="731"/>
                    </a:lnTo>
                    <a:close/>
                    <a:moveTo>
                      <a:pt x="3043" y="656"/>
                    </a:moveTo>
                    <a:lnTo>
                      <a:pt x="3043" y="656"/>
                    </a:lnTo>
                    <a:lnTo>
                      <a:pt x="3043" y="658"/>
                    </a:lnTo>
                    <a:lnTo>
                      <a:pt x="3043" y="724"/>
                    </a:lnTo>
                    <a:lnTo>
                      <a:pt x="3043" y="724"/>
                    </a:lnTo>
                    <a:lnTo>
                      <a:pt x="3043" y="724"/>
                    </a:lnTo>
                    <a:lnTo>
                      <a:pt x="3043" y="724"/>
                    </a:lnTo>
                    <a:lnTo>
                      <a:pt x="3043" y="656"/>
                    </a:lnTo>
                    <a:close/>
                    <a:moveTo>
                      <a:pt x="2" y="615"/>
                    </a:moveTo>
                    <a:lnTo>
                      <a:pt x="0" y="615"/>
                    </a:lnTo>
                    <a:lnTo>
                      <a:pt x="0" y="618"/>
                    </a:lnTo>
                    <a:lnTo>
                      <a:pt x="0" y="1399"/>
                    </a:lnTo>
                    <a:lnTo>
                      <a:pt x="2" y="1399"/>
                    </a:lnTo>
                    <a:lnTo>
                      <a:pt x="2" y="615"/>
                    </a:lnTo>
                    <a:close/>
                    <a:moveTo>
                      <a:pt x="5159" y="608"/>
                    </a:moveTo>
                    <a:lnTo>
                      <a:pt x="5157" y="608"/>
                    </a:lnTo>
                    <a:lnTo>
                      <a:pt x="5157" y="611"/>
                    </a:lnTo>
                    <a:lnTo>
                      <a:pt x="5157" y="677"/>
                    </a:lnTo>
                    <a:lnTo>
                      <a:pt x="5159" y="677"/>
                    </a:lnTo>
                    <a:lnTo>
                      <a:pt x="5159" y="608"/>
                    </a:lnTo>
                    <a:close/>
                    <a:moveTo>
                      <a:pt x="3187" y="582"/>
                    </a:moveTo>
                    <a:lnTo>
                      <a:pt x="3187" y="582"/>
                    </a:lnTo>
                    <a:lnTo>
                      <a:pt x="3187" y="582"/>
                    </a:lnTo>
                    <a:lnTo>
                      <a:pt x="3187" y="585"/>
                    </a:lnTo>
                    <a:lnTo>
                      <a:pt x="3187" y="603"/>
                    </a:lnTo>
                    <a:lnTo>
                      <a:pt x="3187" y="603"/>
                    </a:lnTo>
                    <a:lnTo>
                      <a:pt x="3187" y="582"/>
                    </a:lnTo>
                    <a:close/>
                    <a:moveTo>
                      <a:pt x="208" y="547"/>
                    </a:moveTo>
                    <a:lnTo>
                      <a:pt x="206" y="547"/>
                    </a:lnTo>
                    <a:lnTo>
                      <a:pt x="206" y="549"/>
                    </a:lnTo>
                    <a:lnTo>
                      <a:pt x="206" y="563"/>
                    </a:lnTo>
                    <a:lnTo>
                      <a:pt x="208" y="563"/>
                    </a:lnTo>
                    <a:lnTo>
                      <a:pt x="208" y="547"/>
                    </a:lnTo>
                    <a:close/>
                    <a:moveTo>
                      <a:pt x="6930" y="509"/>
                    </a:moveTo>
                    <a:lnTo>
                      <a:pt x="6930" y="509"/>
                    </a:lnTo>
                    <a:lnTo>
                      <a:pt x="6930" y="511"/>
                    </a:lnTo>
                    <a:lnTo>
                      <a:pt x="6930" y="1039"/>
                    </a:lnTo>
                    <a:lnTo>
                      <a:pt x="6930" y="1039"/>
                    </a:lnTo>
                    <a:lnTo>
                      <a:pt x="6930" y="509"/>
                    </a:lnTo>
                    <a:close/>
                    <a:moveTo>
                      <a:pt x="4100" y="504"/>
                    </a:moveTo>
                    <a:lnTo>
                      <a:pt x="4098" y="504"/>
                    </a:lnTo>
                    <a:lnTo>
                      <a:pt x="4098" y="504"/>
                    </a:lnTo>
                    <a:lnTo>
                      <a:pt x="4074" y="537"/>
                    </a:lnTo>
                    <a:lnTo>
                      <a:pt x="4074" y="537"/>
                    </a:lnTo>
                    <a:lnTo>
                      <a:pt x="4100" y="504"/>
                    </a:lnTo>
                    <a:close/>
                    <a:moveTo>
                      <a:pt x="3206" y="502"/>
                    </a:moveTo>
                    <a:lnTo>
                      <a:pt x="3204" y="502"/>
                    </a:lnTo>
                    <a:lnTo>
                      <a:pt x="3204" y="502"/>
                    </a:lnTo>
                    <a:lnTo>
                      <a:pt x="3204" y="502"/>
                    </a:lnTo>
                    <a:lnTo>
                      <a:pt x="3204" y="566"/>
                    </a:lnTo>
                    <a:lnTo>
                      <a:pt x="3204" y="566"/>
                    </a:lnTo>
                    <a:lnTo>
                      <a:pt x="3204" y="563"/>
                    </a:lnTo>
                    <a:lnTo>
                      <a:pt x="3206" y="563"/>
                    </a:lnTo>
                    <a:lnTo>
                      <a:pt x="3206" y="502"/>
                    </a:lnTo>
                    <a:close/>
                    <a:moveTo>
                      <a:pt x="3942" y="454"/>
                    </a:moveTo>
                    <a:lnTo>
                      <a:pt x="3942" y="454"/>
                    </a:lnTo>
                    <a:lnTo>
                      <a:pt x="3939" y="454"/>
                    </a:lnTo>
                    <a:lnTo>
                      <a:pt x="3939" y="457"/>
                    </a:lnTo>
                    <a:lnTo>
                      <a:pt x="3939" y="490"/>
                    </a:lnTo>
                    <a:lnTo>
                      <a:pt x="3859" y="644"/>
                    </a:lnTo>
                    <a:lnTo>
                      <a:pt x="3859" y="873"/>
                    </a:lnTo>
                    <a:lnTo>
                      <a:pt x="3861" y="873"/>
                    </a:lnTo>
                    <a:lnTo>
                      <a:pt x="3861" y="641"/>
                    </a:lnTo>
                    <a:lnTo>
                      <a:pt x="3942" y="490"/>
                    </a:lnTo>
                    <a:lnTo>
                      <a:pt x="3942" y="454"/>
                    </a:lnTo>
                    <a:close/>
                    <a:moveTo>
                      <a:pt x="3235" y="433"/>
                    </a:moveTo>
                    <a:lnTo>
                      <a:pt x="3232" y="433"/>
                    </a:lnTo>
                    <a:lnTo>
                      <a:pt x="3232" y="435"/>
                    </a:lnTo>
                    <a:lnTo>
                      <a:pt x="3232" y="473"/>
                    </a:lnTo>
                    <a:lnTo>
                      <a:pt x="3232" y="473"/>
                    </a:lnTo>
                    <a:lnTo>
                      <a:pt x="3232" y="471"/>
                    </a:lnTo>
                    <a:lnTo>
                      <a:pt x="3235" y="471"/>
                    </a:lnTo>
                    <a:lnTo>
                      <a:pt x="3235" y="433"/>
                    </a:lnTo>
                    <a:close/>
                    <a:moveTo>
                      <a:pt x="3949" y="390"/>
                    </a:moveTo>
                    <a:lnTo>
                      <a:pt x="3946" y="390"/>
                    </a:lnTo>
                    <a:lnTo>
                      <a:pt x="3946" y="390"/>
                    </a:lnTo>
                    <a:lnTo>
                      <a:pt x="3946" y="393"/>
                    </a:lnTo>
                    <a:lnTo>
                      <a:pt x="3946" y="450"/>
                    </a:lnTo>
                    <a:lnTo>
                      <a:pt x="3949" y="450"/>
                    </a:lnTo>
                    <a:lnTo>
                      <a:pt x="3949" y="447"/>
                    </a:lnTo>
                    <a:lnTo>
                      <a:pt x="3949" y="447"/>
                    </a:lnTo>
                    <a:lnTo>
                      <a:pt x="3949" y="390"/>
                    </a:lnTo>
                    <a:close/>
                    <a:moveTo>
                      <a:pt x="1714" y="369"/>
                    </a:moveTo>
                    <a:lnTo>
                      <a:pt x="1714" y="369"/>
                    </a:lnTo>
                    <a:lnTo>
                      <a:pt x="1714" y="369"/>
                    </a:lnTo>
                    <a:lnTo>
                      <a:pt x="1714" y="1077"/>
                    </a:lnTo>
                    <a:lnTo>
                      <a:pt x="1714" y="1077"/>
                    </a:lnTo>
                    <a:lnTo>
                      <a:pt x="1714" y="369"/>
                    </a:lnTo>
                    <a:close/>
                    <a:moveTo>
                      <a:pt x="3956" y="326"/>
                    </a:moveTo>
                    <a:lnTo>
                      <a:pt x="3953" y="326"/>
                    </a:lnTo>
                    <a:lnTo>
                      <a:pt x="3953" y="329"/>
                    </a:lnTo>
                    <a:lnTo>
                      <a:pt x="3953" y="383"/>
                    </a:lnTo>
                    <a:lnTo>
                      <a:pt x="3956" y="383"/>
                    </a:lnTo>
                    <a:lnTo>
                      <a:pt x="3956" y="381"/>
                    </a:lnTo>
                    <a:lnTo>
                      <a:pt x="3956" y="381"/>
                    </a:lnTo>
                    <a:lnTo>
                      <a:pt x="3956" y="326"/>
                    </a:lnTo>
                    <a:close/>
                    <a:moveTo>
                      <a:pt x="4608" y="232"/>
                    </a:moveTo>
                    <a:lnTo>
                      <a:pt x="4608" y="232"/>
                    </a:lnTo>
                    <a:lnTo>
                      <a:pt x="4606" y="234"/>
                    </a:lnTo>
                    <a:lnTo>
                      <a:pt x="4549" y="450"/>
                    </a:lnTo>
                    <a:lnTo>
                      <a:pt x="4549" y="447"/>
                    </a:lnTo>
                    <a:lnTo>
                      <a:pt x="4608" y="232"/>
                    </a:lnTo>
                    <a:close/>
                    <a:moveTo>
                      <a:pt x="4710" y="173"/>
                    </a:moveTo>
                    <a:lnTo>
                      <a:pt x="4708" y="173"/>
                    </a:lnTo>
                    <a:lnTo>
                      <a:pt x="4708" y="175"/>
                    </a:lnTo>
                    <a:lnTo>
                      <a:pt x="4708" y="177"/>
                    </a:lnTo>
                    <a:lnTo>
                      <a:pt x="4710" y="177"/>
                    </a:lnTo>
                    <a:lnTo>
                      <a:pt x="4710" y="173"/>
                    </a:lnTo>
                    <a:close/>
                    <a:moveTo>
                      <a:pt x="4757" y="0"/>
                    </a:moveTo>
                    <a:lnTo>
                      <a:pt x="4757" y="0"/>
                    </a:lnTo>
                    <a:lnTo>
                      <a:pt x="4757" y="2"/>
                    </a:lnTo>
                    <a:lnTo>
                      <a:pt x="4757" y="123"/>
                    </a:lnTo>
                    <a:lnTo>
                      <a:pt x="4757" y="123"/>
                    </a:lnTo>
                    <a:lnTo>
                      <a:pt x="4757" y="123"/>
                    </a:lnTo>
                    <a:lnTo>
                      <a:pt x="4757" y="123"/>
                    </a:lnTo>
                    <a:lnTo>
                      <a:pt x="4757" y="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5" name="Freeform 87"/>
              <p:cNvSpPr>
                <a:spLocks noEditPoints="1"/>
              </p:cNvSpPr>
              <p:nvPr/>
            </p:nvSpPr>
            <p:spPr bwMode="auto">
              <a:xfrm>
                <a:off x="87" y="1715"/>
                <a:ext cx="6930" cy="1399"/>
              </a:xfrm>
              <a:custGeom>
                <a:avLst/>
                <a:gdLst>
                  <a:gd name="T0" fmla="*/ 3615 w 6930"/>
                  <a:gd name="T1" fmla="*/ 1262 h 1399"/>
                  <a:gd name="T2" fmla="*/ 5736 w 6930"/>
                  <a:gd name="T3" fmla="*/ 1210 h 1399"/>
                  <a:gd name="T4" fmla="*/ 5736 w 6930"/>
                  <a:gd name="T5" fmla="*/ 1271 h 1399"/>
                  <a:gd name="T6" fmla="*/ 1591 w 6930"/>
                  <a:gd name="T7" fmla="*/ 1134 h 1399"/>
                  <a:gd name="T8" fmla="*/ 1594 w 6930"/>
                  <a:gd name="T9" fmla="*/ 1131 h 1399"/>
                  <a:gd name="T10" fmla="*/ 5760 w 6930"/>
                  <a:gd name="T11" fmla="*/ 1129 h 1399"/>
                  <a:gd name="T12" fmla="*/ 5762 w 6930"/>
                  <a:gd name="T13" fmla="*/ 1184 h 1399"/>
                  <a:gd name="T14" fmla="*/ 6226 w 6930"/>
                  <a:gd name="T15" fmla="*/ 1127 h 1399"/>
                  <a:gd name="T16" fmla="*/ 6228 w 6930"/>
                  <a:gd name="T17" fmla="*/ 1127 h 1399"/>
                  <a:gd name="T18" fmla="*/ 1367 w 6930"/>
                  <a:gd name="T19" fmla="*/ 1108 h 1399"/>
                  <a:gd name="T20" fmla="*/ 1369 w 6930"/>
                  <a:gd name="T21" fmla="*/ 1084 h 1399"/>
                  <a:gd name="T22" fmla="*/ 2764 w 6930"/>
                  <a:gd name="T23" fmla="*/ 1065 h 1399"/>
                  <a:gd name="T24" fmla="*/ 5836 w 6930"/>
                  <a:gd name="T25" fmla="*/ 1041 h 1399"/>
                  <a:gd name="T26" fmla="*/ 5836 w 6930"/>
                  <a:gd name="T27" fmla="*/ 1075 h 1399"/>
                  <a:gd name="T28" fmla="*/ 2781 w 6930"/>
                  <a:gd name="T29" fmla="*/ 1013 h 1399"/>
                  <a:gd name="T30" fmla="*/ 2783 w 6930"/>
                  <a:gd name="T31" fmla="*/ 1044 h 1399"/>
                  <a:gd name="T32" fmla="*/ 3674 w 6930"/>
                  <a:gd name="T33" fmla="*/ 994 h 1399"/>
                  <a:gd name="T34" fmla="*/ 3677 w 6930"/>
                  <a:gd name="T35" fmla="*/ 994 h 1399"/>
                  <a:gd name="T36" fmla="*/ 5852 w 6930"/>
                  <a:gd name="T37" fmla="*/ 1025 h 1399"/>
                  <a:gd name="T38" fmla="*/ 5855 w 6930"/>
                  <a:gd name="T39" fmla="*/ 989 h 1399"/>
                  <a:gd name="T40" fmla="*/ 6245 w 6930"/>
                  <a:gd name="T41" fmla="*/ 1110 h 1399"/>
                  <a:gd name="T42" fmla="*/ 6245 w 6930"/>
                  <a:gd name="T43" fmla="*/ 935 h 1399"/>
                  <a:gd name="T44" fmla="*/ 3750 w 6930"/>
                  <a:gd name="T45" fmla="*/ 940 h 1399"/>
                  <a:gd name="T46" fmla="*/ 6294 w 6930"/>
                  <a:gd name="T47" fmla="*/ 878 h 1399"/>
                  <a:gd name="T48" fmla="*/ 6294 w 6930"/>
                  <a:gd name="T49" fmla="*/ 888 h 1399"/>
                  <a:gd name="T50" fmla="*/ 6304 w 6930"/>
                  <a:gd name="T51" fmla="*/ 850 h 1399"/>
                  <a:gd name="T52" fmla="*/ 6304 w 6930"/>
                  <a:gd name="T53" fmla="*/ 871 h 1399"/>
                  <a:gd name="T54" fmla="*/ 3005 w 6930"/>
                  <a:gd name="T55" fmla="*/ 762 h 1399"/>
                  <a:gd name="T56" fmla="*/ 3003 w 6930"/>
                  <a:gd name="T57" fmla="*/ 925 h 1399"/>
                  <a:gd name="T58" fmla="*/ 913 w 6930"/>
                  <a:gd name="T59" fmla="*/ 753 h 1399"/>
                  <a:gd name="T60" fmla="*/ 915 w 6930"/>
                  <a:gd name="T61" fmla="*/ 753 h 1399"/>
                  <a:gd name="T62" fmla="*/ 5036 w 6930"/>
                  <a:gd name="T63" fmla="*/ 918 h 1399"/>
                  <a:gd name="T64" fmla="*/ 3043 w 6930"/>
                  <a:gd name="T65" fmla="*/ 656 h 1399"/>
                  <a:gd name="T66" fmla="*/ 3043 w 6930"/>
                  <a:gd name="T67" fmla="*/ 724 h 1399"/>
                  <a:gd name="T68" fmla="*/ 0 w 6930"/>
                  <a:gd name="T69" fmla="*/ 615 h 1399"/>
                  <a:gd name="T70" fmla="*/ 2 w 6930"/>
                  <a:gd name="T71" fmla="*/ 615 h 1399"/>
                  <a:gd name="T72" fmla="*/ 5157 w 6930"/>
                  <a:gd name="T73" fmla="*/ 677 h 1399"/>
                  <a:gd name="T74" fmla="*/ 3187 w 6930"/>
                  <a:gd name="T75" fmla="*/ 582 h 1399"/>
                  <a:gd name="T76" fmla="*/ 3187 w 6930"/>
                  <a:gd name="T77" fmla="*/ 603 h 1399"/>
                  <a:gd name="T78" fmla="*/ 206 w 6930"/>
                  <a:gd name="T79" fmla="*/ 549 h 1399"/>
                  <a:gd name="T80" fmla="*/ 6930 w 6930"/>
                  <a:gd name="T81" fmla="*/ 509 h 1399"/>
                  <a:gd name="T82" fmla="*/ 6930 w 6930"/>
                  <a:gd name="T83" fmla="*/ 1039 h 1399"/>
                  <a:gd name="T84" fmla="*/ 4098 w 6930"/>
                  <a:gd name="T85" fmla="*/ 504 h 1399"/>
                  <a:gd name="T86" fmla="*/ 3206 w 6930"/>
                  <a:gd name="T87" fmla="*/ 502 h 1399"/>
                  <a:gd name="T88" fmla="*/ 3204 w 6930"/>
                  <a:gd name="T89" fmla="*/ 566 h 1399"/>
                  <a:gd name="T90" fmla="*/ 3206 w 6930"/>
                  <a:gd name="T91" fmla="*/ 502 h 1399"/>
                  <a:gd name="T92" fmla="*/ 3939 w 6930"/>
                  <a:gd name="T93" fmla="*/ 457 h 1399"/>
                  <a:gd name="T94" fmla="*/ 3861 w 6930"/>
                  <a:gd name="T95" fmla="*/ 873 h 1399"/>
                  <a:gd name="T96" fmla="*/ 3235 w 6930"/>
                  <a:gd name="T97" fmla="*/ 433 h 1399"/>
                  <a:gd name="T98" fmla="*/ 3232 w 6930"/>
                  <a:gd name="T99" fmla="*/ 473 h 1399"/>
                  <a:gd name="T100" fmla="*/ 3949 w 6930"/>
                  <a:gd name="T101" fmla="*/ 390 h 1399"/>
                  <a:gd name="T102" fmla="*/ 3946 w 6930"/>
                  <a:gd name="T103" fmla="*/ 450 h 1399"/>
                  <a:gd name="T104" fmla="*/ 3949 w 6930"/>
                  <a:gd name="T105" fmla="*/ 390 h 1399"/>
                  <a:gd name="T106" fmla="*/ 1714 w 6930"/>
                  <a:gd name="T107" fmla="*/ 1077 h 1399"/>
                  <a:gd name="T108" fmla="*/ 3953 w 6930"/>
                  <a:gd name="T109" fmla="*/ 326 h 1399"/>
                  <a:gd name="T110" fmla="*/ 3956 w 6930"/>
                  <a:gd name="T111" fmla="*/ 381 h 1399"/>
                  <a:gd name="T112" fmla="*/ 4608 w 6930"/>
                  <a:gd name="T113" fmla="*/ 232 h 1399"/>
                  <a:gd name="T114" fmla="*/ 4608 w 6930"/>
                  <a:gd name="T115" fmla="*/ 232 h 1399"/>
                  <a:gd name="T116" fmla="*/ 4708 w 6930"/>
                  <a:gd name="T117" fmla="*/ 177 h 1399"/>
                  <a:gd name="T118" fmla="*/ 4757 w 6930"/>
                  <a:gd name="T119" fmla="*/ 0 h 1399"/>
                  <a:gd name="T120" fmla="*/ 4757 w 6930"/>
                  <a:gd name="T121" fmla="*/ 123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0" h="1399">
                    <a:moveTo>
                      <a:pt x="3615" y="1221"/>
                    </a:moveTo>
                    <a:lnTo>
                      <a:pt x="3615" y="1221"/>
                    </a:lnTo>
                    <a:lnTo>
                      <a:pt x="3615" y="1224"/>
                    </a:lnTo>
                    <a:lnTo>
                      <a:pt x="3615" y="1262"/>
                    </a:lnTo>
                    <a:lnTo>
                      <a:pt x="3615" y="1262"/>
                    </a:lnTo>
                    <a:lnTo>
                      <a:pt x="3615" y="1221"/>
                    </a:lnTo>
                    <a:moveTo>
                      <a:pt x="5736" y="1210"/>
                    </a:moveTo>
                    <a:lnTo>
                      <a:pt x="5736" y="1210"/>
                    </a:lnTo>
                    <a:lnTo>
                      <a:pt x="5734" y="1210"/>
                    </a:lnTo>
                    <a:lnTo>
                      <a:pt x="5734" y="1210"/>
                    </a:lnTo>
                    <a:lnTo>
                      <a:pt x="5734" y="1271"/>
                    </a:lnTo>
                    <a:lnTo>
                      <a:pt x="5736" y="1271"/>
                    </a:lnTo>
                    <a:lnTo>
                      <a:pt x="5736" y="1210"/>
                    </a:lnTo>
                    <a:moveTo>
                      <a:pt x="1594" y="1131"/>
                    </a:moveTo>
                    <a:lnTo>
                      <a:pt x="1591" y="1131"/>
                    </a:lnTo>
                    <a:lnTo>
                      <a:pt x="1591" y="1134"/>
                    </a:lnTo>
                    <a:lnTo>
                      <a:pt x="1591" y="1134"/>
                    </a:lnTo>
                    <a:lnTo>
                      <a:pt x="1594" y="1134"/>
                    </a:lnTo>
                    <a:lnTo>
                      <a:pt x="1594" y="1131"/>
                    </a:lnTo>
                    <a:lnTo>
                      <a:pt x="1594" y="1131"/>
                    </a:lnTo>
                    <a:lnTo>
                      <a:pt x="1594" y="1131"/>
                    </a:lnTo>
                    <a:moveTo>
                      <a:pt x="5762" y="1127"/>
                    </a:moveTo>
                    <a:lnTo>
                      <a:pt x="5760" y="1127"/>
                    </a:lnTo>
                    <a:lnTo>
                      <a:pt x="5760" y="1129"/>
                    </a:lnTo>
                    <a:lnTo>
                      <a:pt x="5760" y="1184"/>
                    </a:lnTo>
                    <a:lnTo>
                      <a:pt x="5760" y="1184"/>
                    </a:lnTo>
                    <a:lnTo>
                      <a:pt x="5760" y="1184"/>
                    </a:lnTo>
                    <a:lnTo>
                      <a:pt x="5762" y="1184"/>
                    </a:lnTo>
                    <a:lnTo>
                      <a:pt x="5762" y="1127"/>
                    </a:lnTo>
                    <a:moveTo>
                      <a:pt x="6228" y="1127"/>
                    </a:moveTo>
                    <a:lnTo>
                      <a:pt x="6228" y="1127"/>
                    </a:lnTo>
                    <a:lnTo>
                      <a:pt x="6226" y="1127"/>
                    </a:lnTo>
                    <a:lnTo>
                      <a:pt x="6226" y="1129"/>
                    </a:lnTo>
                    <a:lnTo>
                      <a:pt x="6226" y="1155"/>
                    </a:lnTo>
                    <a:lnTo>
                      <a:pt x="6228" y="1155"/>
                    </a:lnTo>
                    <a:lnTo>
                      <a:pt x="6228" y="1127"/>
                    </a:lnTo>
                    <a:moveTo>
                      <a:pt x="1369" y="1084"/>
                    </a:moveTo>
                    <a:lnTo>
                      <a:pt x="1367" y="1084"/>
                    </a:lnTo>
                    <a:lnTo>
                      <a:pt x="1367" y="1086"/>
                    </a:lnTo>
                    <a:lnTo>
                      <a:pt x="1367" y="1108"/>
                    </a:lnTo>
                    <a:lnTo>
                      <a:pt x="1369" y="1108"/>
                    </a:lnTo>
                    <a:lnTo>
                      <a:pt x="1369" y="1108"/>
                    </a:lnTo>
                    <a:lnTo>
                      <a:pt x="1369" y="1108"/>
                    </a:lnTo>
                    <a:lnTo>
                      <a:pt x="1369" y="1084"/>
                    </a:lnTo>
                    <a:moveTo>
                      <a:pt x="2767" y="1063"/>
                    </a:moveTo>
                    <a:lnTo>
                      <a:pt x="2764" y="1063"/>
                    </a:lnTo>
                    <a:lnTo>
                      <a:pt x="2764" y="1063"/>
                    </a:lnTo>
                    <a:lnTo>
                      <a:pt x="2764" y="1065"/>
                    </a:lnTo>
                    <a:lnTo>
                      <a:pt x="2764" y="1186"/>
                    </a:lnTo>
                    <a:lnTo>
                      <a:pt x="2767" y="1186"/>
                    </a:lnTo>
                    <a:lnTo>
                      <a:pt x="2767" y="1063"/>
                    </a:lnTo>
                    <a:moveTo>
                      <a:pt x="5836" y="1041"/>
                    </a:moveTo>
                    <a:lnTo>
                      <a:pt x="5836" y="1041"/>
                    </a:lnTo>
                    <a:lnTo>
                      <a:pt x="5836" y="1041"/>
                    </a:lnTo>
                    <a:lnTo>
                      <a:pt x="5836" y="1044"/>
                    </a:lnTo>
                    <a:lnTo>
                      <a:pt x="5836" y="1075"/>
                    </a:lnTo>
                    <a:lnTo>
                      <a:pt x="5836" y="1075"/>
                    </a:lnTo>
                    <a:lnTo>
                      <a:pt x="5836" y="1041"/>
                    </a:lnTo>
                    <a:moveTo>
                      <a:pt x="2783" y="1011"/>
                    </a:moveTo>
                    <a:lnTo>
                      <a:pt x="2781" y="1013"/>
                    </a:lnTo>
                    <a:lnTo>
                      <a:pt x="2781" y="1013"/>
                    </a:lnTo>
                    <a:lnTo>
                      <a:pt x="2781" y="1046"/>
                    </a:lnTo>
                    <a:lnTo>
                      <a:pt x="2783" y="1046"/>
                    </a:lnTo>
                    <a:lnTo>
                      <a:pt x="2783" y="1044"/>
                    </a:lnTo>
                    <a:lnTo>
                      <a:pt x="2783" y="1044"/>
                    </a:lnTo>
                    <a:lnTo>
                      <a:pt x="2783" y="1011"/>
                    </a:lnTo>
                    <a:moveTo>
                      <a:pt x="3677" y="994"/>
                    </a:moveTo>
                    <a:lnTo>
                      <a:pt x="3674" y="994"/>
                    </a:lnTo>
                    <a:lnTo>
                      <a:pt x="3674" y="994"/>
                    </a:lnTo>
                    <a:lnTo>
                      <a:pt x="3674" y="1169"/>
                    </a:lnTo>
                    <a:lnTo>
                      <a:pt x="3677" y="1169"/>
                    </a:lnTo>
                    <a:lnTo>
                      <a:pt x="3677" y="994"/>
                    </a:lnTo>
                    <a:moveTo>
                      <a:pt x="5855" y="989"/>
                    </a:moveTo>
                    <a:lnTo>
                      <a:pt x="5852" y="989"/>
                    </a:lnTo>
                    <a:lnTo>
                      <a:pt x="5852" y="992"/>
                    </a:lnTo>
                    <a:lnTo>
                      <a:pt x="5852" y="1025"/>
                    </a:lnTo>
                    <a:lnTo>
                      <a:pt x="5852" y="1025"/>
                    </a:lnTo>
                    <a:lnTo>
                      <a:pt x="5852" y="1023"/>
                    </a:lnTo>
                    <a:lnTo>
                      <a:pt x="5855" y="1023"/>
                    </a:lnTo>
                    <a:lnTo>
                      <a:pt x="5855" y="989"/>
                    </a:lnTo>
                    <a:moveTo>
                      <a:pt x="6245" y="935"/>
                    </a:moveTo>
                    <a:lnTo>
                      <a:pt x="6245" y="935"/>
                    </a:lnTo>
                    <a:lnTo>
                      <a:pt x="6245" y="937"/>
                    </a:lnTo>
                    <a:lnTo>
                      <a:pt x="6245" y="1110"/>
                    </a:lnTo>
                    <a:lnTo>
                      <a:pt x="6245" y="1110"/>
                    </a:lnTo>
                    <a:lnTo>
                      <a:pt x="6245" y="1110"/>
                    </a:lnTo>
                    <a:lnTo>
                      <a:pt x="6245" y="1110"/>
                    </a:lnTo>
                    <a:lnTo>
                      <a:pt x="6245" y="935"/>
                    </a:lnTo>
                    <a:moveTo>
                      <a:pt x="3750" y="928"/>
                    </a:moveTo>
                    <a:lnTo>
                      <a:pt x="3750" y="928"/>
                    </a:lnTo>
                    <a:lnTo>
                      <a:pt x="3750" y="930"/>
                    </a:lnTo>
                    <a:lnTo>
                      <a:pt x="3750" y="940"/>
                    </a:lnTo>
                    <a:lnTo>
                      <a:pt x="3750" y="940"/>
                    </a:lnTo>
                    <a:lnTo>
                      <a:pt x="3750" y="928"/>
                    </a:lnTo>
                    <a:moveTo>
                      <a:pt x="6294" y="878"/>
                    </a:moveTo>
                    <a:lnTo>
                      <a:pt x="6294" y="878"/>
                    </a:lnTo>
                    <a:lnTo>
                      <a:pt x="6294" y="878"/>
                    </a:lnTo>
                    <a:lnTo>
                      <a:pt x="6294" y="880"/>
                    </a:lnTo>
                    <a:lnTo>
                      <a:pt x="6294" y="888"/>
                    </a:lnTo>
                    <a:lnTo>
                      <a:pt x="6294" y="888"/>
                    </a:lnTo>
                    <a:lnTo>
                      <a:pt x="6294" y="885"/>
                    </a:lnTo>
                    <a:lnTo>
                      <a:pt x="6294" y="885"/>
                    </a:lnTo>
                    <a:lnTo>
                      <a:pt x="6294" y="878"/>
                    </a:lnTo>
                    <a:moveTo>
                      <a:pt x="6304" y="850"/>
                    </a:moveTo>
                    <a:lnTo>
                      <a:pt x="6301" y="850"/>
                    </a:lnTo>
                    <a:lnTo>
                      <a:pt x="6301" y="852"/>
                    </a:lnTo>
                    <a:lnTo>
                      <a:pt x="6301" y="871"/>
                    </a:lnTo>
                    <a:lnTo>
                      <a:pt x="6304" y="871"/>
                    </a:lnTo>
                    <a:lnTo>
                      <a:pt x="6304" y="869"/>
                    </a:lnTo>
                    <a:lnTo>
                      <a:pt x="6304" y="869"/>
                    </a:lnTo>
                    <a:lnTo>
                      <a:pt x="6304" y="850"/>
                    </a:lnTo>
                    <a:moveTo>
                      <a:pt x="3005" y="762"/>
                    </a:moveTo>
                    <a:lnTo>
                      <a:pt x="3005" y="762"/>
                    </a:lnTo>
                    <a:lnTo>
                      <a:pt x="3003" y="762"/>
                    </a:lnTo>
                    <a:lnTo>
                      <a:pt x="3003" y="764"/>
                    </a:lnTo>
                    <a:lnTo>
                      <a:pt x="3003" y="925"/>
                    </a:lnTo>
                    <a:lnTo>
                      <a:pt x="3005" y="925"/>
                    </a:lnTo>
                    <a:lnTo>
                      <a:pt x="3005" y="762"/>
                    </a:lnTo>
                    <a:moveTo>
                      <a:pt x="915" y="753"/>
                    </a:moveTo>
                    <a:lnTo>
                      <a:pt x="913" y="753"/>
                    </a:lnTo>
                    <a:lnTo>
                      <a:pt x="913" y="755"/>
                    </a:lnTo>
                    <a:lnTo>
                      <a:pt x="913" y="774"/>
                    </a:lnTo>
                    <a:lnTo>
                      <a:pt x="915" y="774"/>
                    </a:lnTo>
                    <a:lnTo>
                      <a:pt x="915" y="753"/>
                    </a:lnTo>
                    <a:moveTo>
                      <a:pt x="5036" y="731"/>
                    </a:moveTo>
                    <a:lnTo>
                      <a:pt x="5036" y="731"/>
                    </a:lnTo>
                    <a:lnTo>
                      <a:pt x="5036" y="734"/>
                    </a:lnTo>
                    <a:lnTo>
                      <a:pt x="5036" y="918"/>
                    </a:lnTo>
                    <a:lnTo>
                      <a:pt x="5036" y="918"/>
                    </a:lnTo>
                    <a:lnTo>
                      <a:pt x="5036" y="731"/>
                    </a:lnTo>
                    <a:moveTo>
                      <a:pt x="3043" y="656"/>
                    </a:moveTo>
                    <a:lnTo>
                      <a:pt x="3043" y="656"/>
                    </a:lnTo>
                    <a:lnTo>
                      <a:pt x="3043" y="658"/>
                    </a:lnTo>
                    <a:lnTo>
                      <a:pt x="3043" y="724"/>
                    </a:lnTo>
                    <a:lnTo>
                      <a:pt x="3043" y="724"/>
                    </a:lnTo>
                    <a:lnTo>
                      <a:pt x="3043" y="724"/>
                    </a:lnTo>
                    <a:lnTo>
                      <a:pt x="3043" y="724"/>
                    </a:lnTo>
                    <a:lnTo>
                      <a:pt x="3043" y="656"/>
                    </a:lnTo>
                    <a:moveTo>
                      <a:pt x="2" y="615"/>
                    </a:moveTo>
                    <a:lnTo>
                      <a:pt x="0" y="615"/>
                    </a:lnTo>
                    <a:lnTo>
                      <a:pt x="0" y="618"/>
                    </a:lnTo>
                    <a:lnTo>
                      <a:pt x="0" y="1399"/>
                    </a:lnTo>
                    <a:lnTo>
                      <a:pt x="2" y="1399"/>
                    </a:lnTo>
                    <a:lnTo>
                      <a:pt x="2" y="615"/>
                    </a:lnTo>
                    <a:moveTo>
                      <a:pt x="5159" y="608"/>
                    </a:moveTo>
                    <a:lnTo>
                      <a:pt x="5157" y="608"/>
                    </a:lnTo>
                    <a:lnTo>
                      <a:pt x="5157" y="611"/>
                    </a:lnTo>
                    <a:lnTo>
                      <a:pt x="5157" y="677"/>
                    </a:lnTo>
                    <a:lnTo>
                      <a:pt x="5159" y="677"/>
                    </a:lnTo>
                    <a:lnTo>
                      <a:pt x="5159" y="608"/>
                    </a:lnTo>
                    <a:moveTo>
                      <a:pt x="3187" y="582"/>
                    </a:moveTo>
                    <a:lnTo>
                      <a:pt x="3187" y="582"/>
                    </a:lnTo>
                    <a:lnTo>
                      <a:pt x="3187" y="582"/>
                    </a:lnTo>
                    <a:lnTo>
                      <a:pt x="3187" y="585"/>
                    </a:lnTo>
                    <a:lnTo>
                      <a:pt x="3187" y="603"/>
                    </a:lnTo>
                    <a:lnTo>
                      <a:pt x="3187" y="603"/>
                    </a:lnTo>
                    <a:lnTo>
                      <a:pt x="3187" y="582"/>
                    </a:lnTo>
                    <a:moveTo>
                      <a:pt x="208" y="547"/>
                    </a:moveTo>
                    <a:lnTo>
                      <a:pt x="206" y="547"/>
                    </a:lnTo>
                    <a:lnTo>
                      <a:pt x="206" y="549"/>
                    </a:lnTo>
                    <a:lnTo>
                      <a:pt x="206" y="563"/>
                    </a:lnTo>
                    <a:lnTo>
                      <a:pt x="208" y="563"/>
                    </a:lnTo>
                    <a:lnTo>
                      <a:pt x="208" y="547"/>
                    </a:lnTo>
                    <a:moveTo>
                      <a:pt x="6930" y="509"/>
                    </a:moveTo>
                    <a:lnTo>
                      <a:pt x="6930" y="509"/>
                    </a:lnTo>
                    <a:lnTo>
                      <a:pt x="6930" y="511"/>
                    </a:lnTo>
                    <a:lnTo>
                      <a:pt x="6930" y="1039"/>
                    </a:lnTo>
                    <a:lnTo>
                      <a:pt x="6930" y="1039"/>
                    </a:lnTo>
                    <a:lnTo>
                      <a:pt x="6930" y="509"/>
                    </a:lnTo>
                    <a:moveTo>
                      <a:pt x="4100" y="504"/>
                    </a:moveTo>
                    <a:lnTo>
                      <a:pt x="4098" y="504"/>
                    </a:lnTo>
                    <a:lnTo>
                      <a:pt x="4098" y="504"/>
                    </a:lnTo>
                    <a:lnTo>
                      <a:pt x="4074" y="537"/>
                    </a:lnTo>
                    <a:lnTo>
                      <a:pt x="4074" y="537"/>
                    </a:lnTo>
                    <a:lnTo>
                      <a:pt x="4100" y="504"/>
                    </a:lnTo>
                    <a:moveTo>
                      <a:pt x="3206" y="502"/>
                    </a:moveTo>
                    <a:lnTo>
                      <a:pt x="3204" y="502"/>
                    </a:lnTo>
                    <a:lnTo>
                      <a:pt x="3204" y="502"/>
                    </a:lnTo>
                    <a:lnTo>
                      <a:pt x="3204" y="502"/>
                    </a:lnTo>
                    <a:lnTo>
                      <a:pt x="3204" y="566"/>
                    </a:lnTo>
                    <a:lnTo>
                      <a:pt x="3204" y="566"/>
                    </a:lnTo>
                    <a:lnTo>
                      <a:pt x="3204" y="563"/>
                    </a:lnTo>
                    <a:lnTo>
                      <a:pt x="3206" y="563"/>
                    </a:lnTo>
                    <a:lnTo>
                      <a:pt x="3206" y="502"/>
                    </a:lnTo>
                    <a:moveTo>
                      <a:pt x="3942" y="454"/>
                    </a:moveTo>
                    <a:lnTo>
                      <a:pt x="3942" y="454"/>
                    </a:lnTo>
                    <a:lnTo>
                      <a:pt x="3939" y="454"/>
                    </a:lnTo>
                    <a:lnTo>
                      <a:pt x="3939" y="457"/>
                    </a:lnTo>
                    <a:lnTo>
                      <a:pt x="3939" y="490"/>
                    </a:lnTo>
                    <a:lnTo>
                      <a:pt x="3859" y="644"/>
                    </a:lnTo>
                    <a:lnTo>
                      <a:pt x="3859" y="873"/>
                    </a:lnTo>
                    <a:lnTo>
                      <a:pt x="3861" y="873"/>
                    </a:lnTo>
                    <a:lnTo>
                      <a:pt x="3861" y="641"/>
                    </a:lnTo>
                    <a:lnTo>
                      <a:pt x="3942" y="490"/>
                    </a:lnTo>
                    <a:lnTo>
                      <a:pt x="3942" y="454"/>
                    </a:lnTo>
                    <a:moveTo>
                      <a:pt x="3235" y="433"/>
                    </a:moveTo>
                    <a:lnTo>
                      <a:pt x="3232" y="433"/>
                    </a:lnTo>
                    <a:lnTo>
                      <a:pt x="3232" y="435"/>
                    </a:lnTo>
                    <a:lnTo>
                      <a:pt x="3232" y="473"/>
                    </a:lnTo>
                    <a:lnTo>
                      <a:pt x="3232" y="473"/>
                    </a:lnTo>
                    <a:lnTo>
                      <a:pt x="3232" y="471"/>
                    </a:lnTo>
                    <a:lnTo>
                      <a:pt x="3235" y="471"/>
                    </a:lnTo>
                    <a:lnTo>
                      <a:pt x="3235" y="433"/>
                    </a:lnTo>
                    <a:moveTo>
                      <a:pt x="3949" y="390"/>
                    </a:moveTo>
                    <a:lnTo>
                      <a:pt x="3946" y="390"/>
                    </a:lnTo>
                    <a:lnTo>
                      <a:pt x="3946" y="390"/>
                    </a:lnTo>
                    <a:lnTo>
                      <a:pt x="3946" y="393"/>
                    </a:lnTo>
                    <a:lnTo>
                      <a:pt x="3946" y="450"/>
                    </a:lnTo>
                    <a:lnTo>
                      <a:pt x="3949" y="450"/>
                    </a:lnTo>
                    <a:lnTo>
                      <a:pt x="3949" y="447"/>
                    </a:lnTo>
                    <a:lnTo>
                      <a:pt x="3949" y="447"/>
                    </a:lnTo>
                    <a:lnTo>
                      <a:pt x="3949" y="390"/>
                    </a:lnTo>
                    <a:moveTo>
                      <a:pt x="1714" y="369"/>
                    </a:moveTo>
                    <a:lnTo>
                      <a:pt x="1714" y="369"/>
                    </a:lnTo>
                    <a:lnTo>
                      <a:pt x="1714" y="369"/>
                    </a:lnTo>
                    <a:lnTo>
                      <a:pt x="1714" y="1077"/>
                    </a:lnTo>
                    <a:lnTo>
                      <a:pt x="1714" y="1077"/>
                    </a:lnTo>
                    <a:lnTo>
                      <a:pt x="1714" y="369"/>
                    </a:lnTo>
                    <a:moveTo>
                      <a:pt x="3956" y="326"/>
                    </a:moveTo>
                    <a:lnTo>
                      <a:pt x="3953" y="326"/>
                    </a:lnTo>
                    <a:lnTo>
                      <a:pt x="3953" y="329"/>
                    </a:lnTo>
                    <a:lnTo>
                      <a:pt x="3953" y="383"/>
                    </a:lnTo>
                    <a:lnTo>
                      <a:pt x="3956" y="383"/>
                    </a:lnTo>
                    <a:lnTo>
                      <a:pt x="3956" y="381"/>
                    </a:lnTo>
                    <a:lnTo>
                      <a:pt x="3956" y="381"/>
                    </a:lnTo>
                    <a:lnTo>
                      <a:pt x="3956" y="326"/>
                    </a:lnTo>
                    <a:moveTo>
                      <a:pt x="4608" y="232"/>
                    </a:moveTo>
                    <a:lnTo>
                      <a:pt x="4608" y="232"/>
                    </a:lnTo>
                    <a:lnTo>
                      <a:pt x="4606" y="234"/>
                    </a:lnTo>
                    <a:lnTo>
                      <a:pt x="4549" y="450"/>
                    </a:lnTo>
                    <a:lnTo>
                      <a:pt x="4549" y="447"/>
                    </a:lnTo>
                    <a:lnTo>
                      <a:pt x="4608" y="232"/>
                    </a:lnTo>
                    <a:moveTo>
                      <a:pt x="4710" y="173"/>
                    </a:moveTo>
                    <a:lnTo>
                      <a:pt x="4708" y="173"/>
                    </a:lnTo>
                    <a:lnTo>
                      <a:pt x="4708" y="175"/>
                    </a:lnTo>
                    <a:lnTo>
                      <a:pt x="4708" y="177"/>
                    </a:lnTo>
                    <a:lnTo>
                      <a:pt x="4710" y="177"/>
                    </a:lnTo>
                    <a:lnTo>
                      <a:pt x="4710" y="173"/>
                    </a:lnTo>
                    <a:moveTo>
                      <a:pt x="4757" y="0"/>
                    </a:moveTo>
                    <a:lnTo>
                      <a:pt x="4757" y="0"/>
                    </a:lnTo>
                    <a:lnTo>
                      <a:pt x="4757" y="2"/>
                    </a:lnTo>
                    <a:lnTo>
                      <a:pt x="4757" y="123"/>
                    </a:lnTo>
                    <a:lnTo>
                      <a:pt x="4757" y="123"/>
                    </a:lnTo>
                    <a:lnTo>
                      <a:pt x="4757" y="123"/>
                    </a:lnTo>
                    <a:lnTo>
                      <a:pt x="4757" y="123"/>
                    </a:lnTo>
                    <a:lnTo>
                      <a:pt x="47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6" name="Freeform 88"/>
              <p:cNvSpPr>
                <a:spLocks noEditPoints="1"/>
              </p:cNvSpPr>
              <p:nvPr/>
            </p:nvSpPr>
            <p:spPr bwMode="auto">
              <a:xfrm>
                <a:off x="89" y="1712"/>
                <a:ext cx="6931" cy="1402"/>
              </a:xfrm>
              <a:custGeom>
                <a:avLst/>
                <a:gdLst>
                  <a:gd name="T0" fmla="*/ 3613 w 6931"/>
                  <a:gd name="T1" fmla="*/ 1265 h 1402"/>
                  <a:gd name="T2" fmla="*/ 5734 w 6931"/>
                  <a:gd name="T3" fmla="*/ 1210 h 1402"/>
                  <a:gd name="T4" fmla="*/ 5737 w 6931"/>
                  <a:gd name="T5" fmla="*/ 1274 h 1402"/>
                  <a:gd name="T6" fmla="*/ 1592 w 6931"/>
                  <a:gd name="T7" fmla="*/ 1134 h 1402"/>
                  <a:gd name="T8" fmla="*/ 1594 w 6931"/>
                  <a:gd name="T9" fmla="*/ 1134 h 1402"/>
                  <a:gd name="T10" fmla="*/ 5760 w 6931"/>
                  <a:gd name="T11" fmla="*/ 1130 h 1402"/>
                  <a:gd name="T12" fmla="*/ 5760 w 6931"/>
                  <a:gd name="T13" fmla="*/ 1184 h 1402"/>
                  <a:gd name="T14" fmla="*/ 6226 w 6931"/>
                  <a:gd name="T15" fmla="*/ 1130 h 1402"/>
                  <a:gd name="T16" fmla="*/ 6229 w 6931"/>
                  <a:gd name="T17" fmla="*/ 1130 h 1402"/>
                  <a:gd name="T18" fmla="*/ 1367 w 6931"/>
                  <a:gd name="T19" fmla="*/ 1111 h 1402"/>
                  <a:gd name="T20" fmla="*/ 1369 w 6931"/>
                  <a:gd name="T21" fmla="*/ 1085 h 1402"/>
                  <a:gd name="T22" fmla="*/ 2765 w 6931"/>
                  <a:gd name="T23" fmla="*/ 1066 h 1402"/>
                  <a:gd name="T24" fmla="*/ 5836 w 6931"/>
                  <a:gd name="T25" fmla="*/ 1042 h 1402"/>
                  <a:gd name="T26" fmla="*/ 5834 w 6931"/>
                  <a:gd name="T27" fmla="*/ 1078 h 1402"/>
                  <a:gd name="T28" fmla="*/ 2781 w 6931"/>
                  <a:gd name="T29" fmla="*/ 1014 h 1402"/>
                  <a:gd name="T30" fmla="*/ 2783 w 6931"/>
                  <a:gd name="T31" fmla="*/ 1044 h 1402"/>
                  <a:gd name="T32" fmla="*/ 3675 w 6931"/>
                  <a:gd name="T33" fmla="*/ 995 h 1402"/>
                  <a:gd name="T34" fmla="*/ 3675 w 6931"/>
                  <a:gd name="T35" fmla="*/ 995 h 1402"/>
                  <a:gd name="T36" fmla="*/ 5853 w 6931"/>
                  <a:gd name="T37" fmla="*/ 1026 h 1402"/>
                  <a:gd name="T38" fmla="*/ 5855 w 6931"/>
                  <a:gd name="T39" fmla="*/ 990 h 1402"/>
                  <a:gd name="T40" fmla="*/ 6243 w 6931"/>
                  <a:gd name="T41" fmla="*/ 1113 h 1402"/>
                  <a:gd name="T42" fmla="*/ 6245 w 6931"/>
                  <a:gd name="T43" fmla="*/ 936 h 1402"/>
                  <a:gd name="T44" fmla="*/ 3748 w 6931"/>
                  <a:gd name="T45" fmla="*/ 943 h 1402"/>
                  <a:gd name="T46" fmla="*/ 6295 w 6931"/>
                  <a:gd name="T47" fmla="*/ 879 h 1402"/>
                  <a:gd name="T48" fmla="*/ 6295 w 6931"/>
                  <a:gd name="T49" fmla="*/ 888 h 1402"/>
                  <a:gd name="T50" fmla="*/ 6304 w 6931"/>
                  <a:gd name="T51" fmla="*/ 850 h 1402"/>
                  <a:gd name="T52" fmla="*/ 6302 w 6931"/>
                  <a:gd name="T53" fmla="*/ 872 h 1402"/>
                  <a:gd name="T54" fmla="*/ 3006 w 6931"/>
                  <a:gd name="T55" fmla="*/ 763 h 1402"/>
                  <a:gd name="T56" fmla="*/ 3003 w 6931"/>
                  <a:gd name="T57" fmla="*/ 928 h 1402"/>
                  <a:gd name="T58" fmla="*/ 913 w 6931"/>
                  <a:gd name="T59" fmla="*/ 753 h 1402"/>
                  <a:gd name="T60" fmla="*/ 915 w 6931"/>
                  <a:gd name="T61" fmla="*/ 753 h 1402"/>
                  <a:gd name="T62" fmla="*/ 5034 w 6931"/>
                  <a:gd name="T63" fmla="*/ 921 h 1402"/>
                  <a:gd name="T64" fmla="*/ 3041 w 6931"/>
                  <a:gd name="T65" fmla="*/ 659 h 1402"/>
                  <a:gd name="T66" fmla="*/ 3044 w 6931"/>
                  <a:gd name="T67" fmla="*/ 725 h 1402"/>
                  <a:gd name="T68" fmla="*/ 0 w 6931"/>
                  <a:gd name="T69" fmla="*/ 618 h 1402"/>
                  <a:gd name="T70" fmla="*/ 3 w 6931"/>
                  <a:gd name="T71" fmla="*/ 618 h 1402"/>
                  <a:gd name="T72" fmla="*/ 5157 w 6931"/>
                  <a:gd name="T73" fmla="*/ 680 h 1402"/>
                  <a:gd name="T74" fmla="*/ 3188 w 6931"/>
                  <a:gd name="T75" fmla="*/ 583 h 1402"/>
                  <a:gd name="T76" fmla="*/ 3188 w 6931"/>
                  <a:gd name="T77" fmla="*/ 606 h 1402"/>
                  <a:gd name="T78" fmla="*/ 206 w 6931"/>
                  <a:gd name="T79" fmla="*/ 550 h 1402"/>
                  <a:gd name="T80" fmla="*/ 6931 w 6931"/>
                  <a:gd name="T81" fmla="*/ 509 h 1402"/>
                  <a:gd name="T82" fmla="*/ 6931 w 6931"/>
                  <a:gd name="T83" fmla="*/ 1042 h 1402"/>
                  <a:gd name="T84" fmla="*/ 4098 w 6931"/>
                  <a:gd name="T85" fmla="*/ 507 h 1402"/>
                  <a:gd name="T86" fmla="*/ 3204 w 6931"/>
                  <a:gd name="T87" fmla="*/ 502 h 1402"/>
                  <a:gd name="T88" fmla="*/ 3204 w 6931"/>
                  <a:gd name="T89" fmla="*/ 566 h 1402"/>
                  <a:gd name="T90" fmla="*/ 3204 w 6931"/>
                  <a:gd name="T91" fmla="*/ 502 h 1402"/>
                  <a:gd name="T92" fmla="*/ 3940 w 6931"/>
                  <a:gd name="T93" fmla="*/ 457 h 1402"/>
                  <a:gd name="T94" fmla="*/ 3859 w 6931"/>
                  <a:gd name="T95" fmla="*/ 876 h 1402"/>
                  <a:gd name="T96" fmla="*/ 3235 w 6931"/>
                  <a:gd name="T97" fmla="*/ 434 h 1402"/>
                  <a:gd name="T98" fmla="*/ 3233 w 6931"/>
                  <a:gd name="T99" fmla="*/ 474 h 1402"/>
                  <a:gd name="T100" fmla="*/ 3947 w 6931"/>
                  <a:gd name="T101" fmla="*/ 391 h 1402"/>
                  <a:gd name="T102" fmla="*/ 3947 w 6931"/>
                  <a:gd name="T103" fmla="*/ 450 h 1402"/>
                  <a:gd name="T104" fmla="*/ 3947 w 6931"/>
                  <a:gd name="T105" fmla="*/ 391 h 1402"/>
                  <a:gd name="T106" fmla="*/ 1712 w 6931"/>
                  <a:gd name="T107" fmla="*/ 1080 h 1402"/>
                  <a:gd name="T108" fmla="*/ 3954 w 6931"/>
                  <a:gd name="T109" fmla="*/ 329 h 1402"/>
                  <a:gd name="T110" fmla="*/ 3956 w 6931"/>
                  <a:gd name="T111" fmla="*/ 382 h 1402"/>
                  <a:gd name="T112" fmla="*/ 4606 w 6931"/>
                  <a:gd name="T113" fmla="*/ 232 h 1402"/>
                  <a:gd name="T114" fmla="*/ 4609 w 6931"/>
                  <a:gd name="T115" fmla="*/ 232 h 1402"/>
                  <a:gd name="T116" fmla="*/ 4708 w 6931"/>
                  <a:gd name="T117" fmla="*/ 180 h 1402"/>
                  <a:gd name="T118" fmla="*/ 4755 w 6931"/>
                  <a:gd name="T119" fmla="*/ 0 h 1402"/>
                  <a:gd name="T120" fmla="*/ 4758 w 6931"/>
                  <a:gd name="T121" fmla="*/ 123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402">
                    <a:moveTo>
                      <a:pt x="3616" y="1222"/>
                    </a:moveTo>
                    <a:lnTo>
                      <a:pt x="3613" y="1222"/>
                    </a:lnTo>
                    <a:lnTo>
                      <a:pt x="3613" y="1224"/>
                    </a:lnTo>
                    <a:lnTo>
                      <a:pt x="3613" y="1265"/>
                    </a:lnTo>
                    <a:lnTo>
                      <a:pt x="3616" y="1265"/>
                    </a:lnTo>
                    <a:lnTo>
                      <a:pt x="3616" y="1222"/>
                    </a:lnTo>
                    <a:close/>
                    <a:moveTo>
                      <a:pt x="5737" y="1210"/>
                    </a:moveTo>
                    <a:lnTo>
                      <a:pt x="5734" y="1210"/>
                    </a:lnTo>
                    <a:lnTo>
                      <a:pt x="5734" y="1210"/>
                    </a:lnTo>
                    <a:lnTo>
                      <a:pt x="5734" y="1213"/>
                    </a:lnTo>
                    <a:lnTo>
                      <a:pt x="5734" y="1274"/>
                    </a:lnTo>
                    <a:lnTo>
                      <a:pt x="5737" y="1274"/>
                    </a:lnTo>
                    <a:lnTo>
                      <a:pt x="5737" y="1210"/>
                    </a:lnTo>
                    <a:close/>
                    <a:moveTo>
                      <a:pt x="1594" y="1132"/>
                    </a:moveTo>
                    <a:lnTo>
                      <a:pt x="1592" y="1132"/>
                    </a:lnTo>
                    <a:lnTo>
                      <a:pt x="1592" y="1134"/>
                    </a:lnTo>
                    <a:lnTo>
                      <a:pt x="1592" y="1134"/>
                    </a:lnTo>
                    <a:lnTo>
                      <a:pt x="1594" y="1134"/>
                    </a:lnTo>
                    <a:lnTo>
                      <a:pt x="1594" y="1134"/>
                    </a:lnTo>
                    <a:lnTo>
                      <a:pt x="1594" y="1134"/>
                    </a:lnTo>
                    <a:lnTo>
                      <a:pt x="1594" y="1132"/>
                    </a:lnTo>
                    <a:close/>
                    <a:moveTo>
                      <a:pt x="5760" y="1130"/>
                    </a:moveTo>
                    <a:lnTo>
                      <a:pt x="5760" y="1130"/>
                    </a:lnTo>
                    <a:lnTo>
                      <a:pt x="5760" y="1130"/>
                    </a:lnTo>
                    <a:lnTo>
                      <a:pt x="5760" y="1187"/>
                    </a:lnTo>
                    <a:lnTo>
                      <a:pt x="5760" y="1187"/>
                    </a:lnTo>
                    <a:lnTo>
                      <a:pt x="5760" y="1184"/>
                    </a:lnTo>
                    <a:lnTo>
                      <a:pt x="5760" y="1184"/>
                    </a:lnTo>
                    <a:lnTo>
                      <a:pt x="5760" y="1130"/>
                    </a:lnTo>
                    <a:close/>
                    <a:moveTo>
                      <a:pt x="6229" y="1130"/>
                    </a:moveTo>
                    <a:lnTo>
                      <a:pt x="6226" y="1130"/>
                    </a:lnTo>
                    <a:lnTo>
                      <a:pt x="6226" y="1130"/>
                    </a:lnTo>
                    <a:lnTo>
                      <a:pt x="6226" y="1130"/>
                    </a:lnTo>
                    <a:lnTo>
                      <a:pt x="6226" y="1158"/>
                    </a:lnTo>
                    <a:lnTo>
                      <a:pt x="6229" y="1158"/>
                    </a:lnTo>
                    <a:lnTo>
                      <a:pt x="6229" y="1130"/>
                    </a:lnTo>
                    <a:close/>
                    <a:moveTo>
                      <a:pt x="1369" y="1085"/>
                    </a:moveTo>
                    <a:lnTo>
                      <a:pt x="1367" y="1085"/>
                    </a:lnTo>
                    <a:lnTo>
                      <a:pt x="1367" y="1087"/>
                    </a:lnTo>
                    <a:lnTo>
                      <a:pt x="1367" y="1111"/>
                    </a:lnTo>
                    <a:lnTo>
                      <a:pt x="1369" y="1111"/>
                    </a:lnTo>
                    <a:lnTo>
                      <a:pt x="1369" y="1108"/>
                    </a:lnTo>
                    <a:lnTo>
                      <a:pt x="1369" y="1108"/>
                    </a:lnTo>
                    <a:lnTo>
                      <a:pt x="1369" y="1085"/>
                    </a:lnTo>
                    <a:close/>
                    <a:moveTo>
                      <a:pt x="2765" y="1063"/>
                    </a:moveTo>
                    <a:lnTo>
                      <a:pt x="2765" y="1063"/>
                    </a:lnTo>
                    <a:lnTo>
                      <a:pt x="2765" y="1063"/>
                    </a:lnTo>
                    <a:lnTo>
                      <a:pt x="2765" y="1066"/>
                    </a:lnTo>
                    <a:lnTo>
                      <a:pt x="2765" y="1189"/>
                    </a:lnTo>
                    <a:lnTo>
                      <a:pt x="2765" y="1189"/>
                    </a:lnTo>
                    <a:lnTo>
                      <a:pt x="2765" y="1063"/>
                    </a:lnTo>
                    <a:close/>
                    <a:moveTo>
                      <a:pt x="5836" y="1042"/>
                    </a:moveTo>
                    <a:lnTo>
                      <a:pt x="5836" y="1042"/>
                    </a:lnTo>
                    <a:lnTo>
                      <a:pt x="5834" y="1042"/>
                    </a:lnTo>
                    <a:lnTo>
                      <a:pt x="5834" y="1044"/>
                    </a:lnTo>
                    <a:lnTo>
                      <a:pt x="5834" y="1078"/>
                    </a:lnTo>
                    <a:lnTo>
                      <a:pt x="5836" y="1078"/>
                    </a:lnTo>
                    <a:lnTo>
                      <a:pt x="5836" y="1042"/>
                    </a:lnTo>
                    <a:close/>
                    <a:moveTo>
                      <a:pt x="2783" y="1014"/>
                    </a:moveTo>
                    <a:lnTo>
                      <a:pt x="2781" y="1014"/>
                    </a:lnTo>
                    <a:lnTo>
                      <a:pt x="2781" y="1014"/>
                    </a:lnTo>
                    <a:lnTo>
                      <a:pt x="2781" y="1047"/>
                    </a:lnTo>
                    <a:lnTo>
                      <a:pt x="2783" y="1047"/>
                    </a:lnTo>
                    <a:lnTo>
                      <a:pt x="2783" y="1044"/>
                    </a:lnTo>
                    <a:lnTo>
                      <a:pt x="2783" y="1044"/>
                    </a:lnTo>
                    <a:lnTo>
                      <a:pt x="2783" y="1014"/>
                    </a:lnTo>
                    <a:close/>
                    <a:moveTo>
                      <a:pt x="3675" y="995"/>
                    </a:moveTo>
                    <a:lnTo>
                      <a:pt x="3675" y="995"/>
                    </a:lnTo>
                    <a:lnTo>
                      <a:pt x="3675" y="997"/>
                    </a:lnTo>
                    <a:lnTo>
                      <a:pt x="3675" y="1172"/>
                    </a:lnTo>
                    <a:lnTo>
                      <a:pt x="3675" y="1172"/>
                    </a:lnTo>
                    <a:lnTo>
                      <a:pt x="3675" y="995"/>
                    </a:lnTo>
                    <a:close/>
                    <a:moveTo>
                      <a:pt x="5855" y="990"/>
                    </a:moveTo>
                    <a:lnTo>
                      <a:pt x="5853" y="990"/>
                    </a:lnTo>
                    <a:lnTo>
                      <a:pt x="5853" y="992"/>
                    </a:lnTo>
                    <a:lnTo>
                      <a:pt x="5853" y="1026"/>
                    </a:lnTo>
                    <a:lnTo>
                      <a:pt x="5853" y="1026"/>
                    </a:lnTo>
                    <a:lnTo>
                      <a:pt x="5853" y="1023"/>
                    </a:lnTo>
                    <a:lnTo>
                      <a:pt x="5855" y="1023"/>
                    </a:lnTo>
                    <a:lnTo>
                      <a:pt x="5855" y="990"/>
                    </a:lnTo>
                    <a:close/>
                    <a:moveTo>
                      <a:pt x="6245" y="936"/>
                    </a:moveTo>
                    <a:lnTo>
                      <a:pt x="6243" y="936"/>
                    </a:lnTo>
                    <a:lnTo>
                      <a:pt x="6243" y="938"/>
                    </a:lnTo>
                    <a:lnTo>
                      <a:pt x="6243" y="1113"/>
                    </a:lnTo>
                    <a:lnTo>
                      <a:pt x="6245" y="1113"/>
                    </a:lnTo>
                    <a:lnTo>
                      <a:pt x="6245" y="1111"/>
                    </a:lnTo>
                    <a:lnTo>
                      <a:pt x="6245" y="1111"/>
                    </a:lnTo>
                    <a:lnTo>
                      <a:pt x="6245" y="936"/>
                    </a:lnTo>
                    <a:close/>
                    <a:moveTo>
                      <a:pt x="3751" y="928"/>
                    </a:moveTo>
                    <a:lnTo>
                      <a:pt x="3748" y="928"/>
                    </a:lnTo>
                    <a:lnTo>
                      <a:pt x="3748" y="931"/>
                    </a:lnTo>
                    <a:lnTo>
                      <a:pt x="3748" y="943"/>
                    </a:lnTo>
                    <a:lnTo>
                      <a:pt x="3751" y="943"/>
                    </a:lnTo>
                    <a:lnTo>
                      <a:pt x="3751" y="928"/>
                    </a:lnTo>
                    <a:close/>
                    <a:moveTo>
                      <a:pt x="6295" y="879"/>
                    </a:moveTo>
                    <a:lnTo>
                      <a:pt x="6295" y="879"/>
                    </a:lnTo>
                    <a:lnTo>
                      <a:pt x="6292" y="879"/>
                    </a:lnTo>
                    <a:lnTo>
                      <a:pt x="6292" y="881"/>
                    </a:lnTo>
                    <a:lnTo>
                      <a:pt x="6292" y="888"/>
                    </a:lnTo>
                    <a:lnTo>
                      <a:pt x="6295" y="888"/>
                    </a:lnTo>
                    <a:lnTo>
                      <a:pt x="6295" y="886"/>
                    </a:lnTo>
                    <a:lnTo>
                      <a:pt x="6295" y="886"/>
                    </a:lnTo>
                    <a:lnTo>
                      <a:pt x="6295" y="879"/>
                    </a:lnTo>
                    <a:close/>
                    <a:moveTo>
                      <a:pt x="6304" y="850"/>
                    </a:moveTo>
                    <a:lnTo>
                      <a:pt x="6302" y="850"/>
                    </a:lnTo>
                    <a:lnTo>
                      <a:pt x="6302" y="853"/>
                    </a:lnTo>
                    <a:lnTo>
                      <a:pt x="6302" y="872"/>
                    </a:lnTo>
                    <a:lnTo>
                      <a:pt x="6302" y="872"/>
                    </a:lnTo>
                    <a:lnTo>
                      <a:pt x="6302" y="869"/>
                    </a:lnTo>
                    <a:lnTo>
                      <a:pt x="6304" y="869"/>
                    </a:lnTo>
                    <a:lnTo>
                      <a:pt x="6304" y="850"/>
                    </a:lnTo>
                    <a:close/>
                    <a:moveTo>
                      <a:pt x="3006" y="763"/>
                    </a:moveTo>
                    <a:lnTo>
                      <a:pt x="3006" y="763"/>
                    </a:lnTo>
                    <a:lnTo>
                      <a:pt x="3003" y="763"/>
                    </a:lnTo>
                    <a:lnTo>
                      <a:pt x="3003" y="765"/>
                    </a:lnTo>
                    <a:lnTo>
                      <a:pt x="3003" y="928"/>
                    </a:lnTo>
                    <a:lnTo>
                      <a:pt x="3006" y="928"/>
                    </a:lnTo>
                    <a:lnTo>
                      <a:pt x="3006" y="763"/>
                    </a:lnTo>
                    <a:close/>
                    <a:moveTo>
                      <a:pt x="915" y="753"/>
                    </a:moveTo>
                    <a:lnTo>
                      <a:pt x="913" y="753"/>
                    </a:lnTo>
                    <a:lnTo>
                      <a:pt x="913" y="756"/>
                    </a:lnTo>
                    <a:lnTo>
                      <a:pt x="913" y="777"/>
                    </a:lnTo>
                    <a:lnTo>
                      <a:pt x="915" y="777"/>
                    </a:lnTo>
                    <a:lnTo>
                      <a:pt x="915" y="753"/>
                    </a:lnTo>
                    <a:close/>
                    <a:moveTo>
                      <a:pt x="5037" y="732"/>
                    </a:moveTo>
                    <a:lnTo>
                      <a:pt x="5034" y="732"/>
                    </a:lnTo>
                    <a:lnTo>
                      <a:pt x="5034" y="734"/>
                    </a:lnTo>
                    <a:lnTo>
                      <a:pt x="5034" y="921"/>
                    </a:lnTo>
                    <a:lnTo>
                      <a:pt x="5037" y="921"/>
                    </a:lnTo>
                    <a:lnTo>
                      <a:pt x="5037" y="732"/>
                    </a:lnTo>
                    <a:close/>
                    <a:moveTo>
                      <a:pt x="3044" y="659"/>
                    </a:moveTo>
                    <a:lnTo>
                      <a:pt x="3041" y="659"/>
                    </a:lnTo>
                    <a:lnTo>
                      <a:pt x="3041" y="659"/>
                    </a:lnTo>
                    <a:lnTo>
                      <a:pt x="3041" y="727"/>
                    </a:lnTo>
                    <a:lnTo>
                      <a:pt x="3044" y="727"/>
                    </a:lnTo>
                    <a:lnTo>
                      <a:pt x="3044" y="725"/>
                    </a:lnTo>
                    <a:lnTo>
                      <a:pt x="3044" y="725"/>
                    </a:lnTo>
                    <a:lnTo>
                      <a:pt x="3044" y="659"/>
                    </a:lnTo>
                    <a:close/>
                    <a:moveTo>
                      <a:pt x="3" y="618"/>
                    </a:moveTo>
                    <a:lnTo>
                      <a:pt x="0" y="618"/>
                    </a:lnTo>
                    <a:lnTo>
                      <a:pt x="0" y="618"/>
                    </a:lnTo>
                    <a:lnTo>
                      <a:pt x="0" y="1402"/>
                    </a:lnTo>
                    <a:lnTo>
                      <a:pt x="3" y="1402"/>
                    </a:lnTo>
                    <a:lnTo>
                      <a:pt x="3" y="618"/>
                    </a:lnTo>
                    <a:close/>
                    <a:moveTo>
                      <a:pt x="5157" y="611"/>
                    </a:moveTo>
                    <a:lnTo>
                      <a:pt x="5157" y="611"/>
                    </a:lnTo>
                    <a:lnTo>
                      <a:pt x="5157" y="611"/>
                    </a:lnTo>
                    <a:lnTo>
                      <a:pt x="5157" y="680"/>
                    </a:lnTo>
                    <a:lnTo>
                      <a:pt x="5157" y="680"/>
                    </a:lnTo>
                    <a:lnTo>
                      <a:pt x="5157" y="611"/>
                    </a:lnTo>
                    <a:close/>
                    <a:moveTo>
                      <a:pt x="3188" y="583"/>
                    </a:moveTo>
                    <a:lnTo>
                      <a:pt x="3188" y="583"/>
                    </a:lnTo>
                    <a:lnTo>
                      <a:pt x="3185" y="583"/>
                    </a:lnTo>
                    <a:lnTo>
                      <a:pt x="3185" y="585"/>
                    </a:lnTo>
                    <a:lnTo>
                      <a:pt x="3185" y="606"/>
                    </a:lnTo>
                    <a:lnTo>
                      <a:pt x="3188" y="606"/>
                    </a:lnTo>
                    <a:lnTo>
                      <a:pt x="3188" y="583"/>
                    </a:lnTo>
                    <a:close/>
                    <a:moveTo>
                      <a:pt x="208" y="547"/>
                    </a:moveTo>
                    <a:lnTo>
                      <a:pt x="206" y="547"/>
                    </a:lnTo>
                    <a:lnTo>
                      <a:pt x="206" y="550"/>
                    </a:lnTo>
                    <a:lnTo>
                      <a:pt x="206" y="566"/>
                    </a:lnTo>
                    <a:lnTo>
                      <a:pt x="208" y="566"/>
                    </a:lnTo>
                    <a:lnTo>
                      <a:pt x="208" y="547"/>
                    </a:lnTo>
                    <a:close/>
                    <a:moveTo>
                      <a:pt x="6931" y="509"/>
                    </a:moveTo>
                    <a:lnTo>
                      <a:pt x="6928" y="509"/>
                    </a:lnTo>
                    <a:lnTo>
                      <a:pt x="6928" y="512"/>
                    </a:lnTo>
                    <a:lnTo>
                      <a:pt x="6928" y="1042"/>
                    </a:lnTo>
                    <a:lnTo>
                      <a:pt x="6931" y="1042"/>
                    </a:lnTo>
                    <a:lnTo>
                      <a:pt x="6931" y="509"/>
                    </a:lnTo>
                    <a:close/>
                    <a:moveTo>
                      <a:pt x="4098" y="505"/>
                    </a:moveTo>
                    <a:lnTo>
                      <a:pt x="4098" y="505"/>
                    </a:lnTo>
                    <a:lnTo>
                      <a:pt x="4098" y="507"/>
                    </a:lnTo>
                    <a:lnTo>
                      <a:pt x="4072" y="540"/>
                    </a:lnTo>
                    <a:lnTo>
                      <a:pt x="4072" y="540"/>
                    </a:lnTo>
                    <a:lnTo>
                      <a:pt x="4098" y="505"/>
                    </a:lnTo>
                    <a:close/>
                    <a:moveTo>
                      <a:pt x="3204" y="502"/>
                    </a:moveTo>
                    <a:lnTo>
                      <a:pt x="3204" y="502"/>
                    </a:lnTo>
                    <a:lnTo>
                      <a:pt x="3204" y="502"/>
                    </a:lnTo>
                    <a:lnTo>
                      <a:pt x="3204" y="505"/>
                    </a:lnTo>
                    <a:lnTo>
                      <a:pt x="3204" y="566"/>
                    </a:lnTo>
                    <a:lnTo>
                      <a:pt x="3204" y="566"/>
                    </a:lnTo>
                    <a:lnTo>
                      <a:pt x="3204" y="564"/>
                    </a:lnTo>
                    <a:lnTo>
                      <a:pt x="3204" y="564"/>
                    </a:lnTo>
                    <a:lnTo>
                      <a:pt x="3204" y="502"/>
                    </a:lnTo>
                    <a:close/>
                    <a:moveTo>
                      <a:pt x="3942" y="455"/>
                    </a:moveTo>
                    <a:lnTo>
                      <a:pt x="3940" y="455"/>
                    </a:lnTo>
                    <a:lnTo>
                      <a:pt x="3940" y="455"/>
                    </a:lnTo>
                    <a:lnTo>
                      <a:pt x="3940" y="457"/>
                    </a:lnTo>
                    <a:lnTo>
                      <a:pt x="3940" y="493"/>
                    </a:lnTo>
                    <a:lnTo>
                      <a:pt x="3859" y="644"/>
                    </a:lnTo>
                    <a:lnTo>
                      <a:pt x="3859" y="876"/>
                    </a:lnTo>
                    <a:lnTo>
                      <a:pt x="3859" y="876"/>
                    </a:lnTo>
                    <a:lnTo>
                      <a:pt x="3859" y="642"/>
                    </a:lnTo>
                    <a:lnTo>
                      <a:pt x="3942" y="490"/>
                    </a:lnTo>
                    <a:lnTo>
                      <a:pt x="3942" y="455"/>
                    </a:lnTo>
                    <a:close/>
                    <a:moveTo>
                      <a:pt x="3235" y="434"/>
                    </a:moveTo>
                    <a:lnTo>
                      <a:pt x="3233" y="434"/>
                    </a:lnTo>
                    <a:lnTo>
                      <a:pt x="3233" y="436"/>
                    </a:lnTo>
                    <a:lnTo>
                      <a:pt x="3233" y="474"/>
                    </a:lnTo>
                    <a:lnTo>
                      <a:pt x="3233" y="474"/>
                    </a:lnTo>
                    <a:lnTo>
                      <a:pt x="3233" y="472"/>
                    </a:lnTo>
                    <a:lnTo>
                      <a:pt x="3235" y="472"/>
                    </a:lnTo>
                    <a:lnTo>
                      <a:pt x="3235" y="434"/>
                    </a:lnTo>
                    <a:close/>
                    <a:moveTo>
                      <a:pt x="3947" y="391"/>
                    </a:moveTo>
                    <a:lnTo>
                      <a:pt x="3947" y="391"/>
                    </a:lnTo>
                    <a:lnTo>
                      <a:pt x="3947" y="391"/>
                    </a:lnTo>
                    <a:lnTo>
                      <a:pt x="3947" y="393"/>
                    </a:lnTo>
                    <a:lnTo>
                      <a:pt x="3947" y="450"/>
                    </a:lnTo>
                    <a:lnTo>
                      <a:pt x="3947" y="450"/>
                    </a:lnTo>
                    <a:lnTo>
                      <a:pt x="3947" y="448"/>
                    </a:lnTo>
                    <a:lnTo>
                      <a:pt x="3947" y="448"/>
                    </a:lnTo>
                    <a:lnTo>
                      <a:pt x="3947" y="391"/>
                    </a:lnTo>
                    <a:close/>
                    <a:moveTo>
                      <a:pt x="1715" y="370"/>
                    </a:moveTo>
                    <a:lnTo>
                      <a:pt x="1712" y="370"/>
                    </a:lnTo>
                    <a:lnTo>
                      <a:pt x="1712" y="372"/>
                    </a:lnTo>
                    <a:lnTo>
                      <a:pt x="1712" y="1080"/>
                    </a:lnTo>
                    <a:lnTo>
                      <a:pt x="1715" y="1080"/>
                    </a:lnTo>
                    <a:lnTo>
                      <a:pt x="1715" y="370"/>
                    </a:lnTo>
                    <a:close/>
                    <a:moveTo>
                      <a:pt x="3956" y="329"/>
                    </a:moveTo>
                    <a:lnTo>
                      <a:pt x="3954" y="329"/>
                    </a:lnTo>
                    <a:lnTo>
                      <a:pt x="3954" y="329"/>
                    </a:lnTo>
                    <a:lnTo>
                      <a:pt x="3954" y="384"/>
                    </a:lnTo>
                    <a:lnTo>
                      <a:pt x="3956" y="384"/>
                    </a:lnTo>
                    <a:lnTo>
                      <a:pt x="3956" y="382"/>
                    </a:lnTo>
                    <a:lnTo>
                      <a:pt x="3956" y="382"/>
                    </a:lnTo>
                    <a:lnTo>
                      <a:pt x="3956" y="329"/>
                    </a:lnTo>
                    <a:close/>
                    <a:moveTo>
                      <a:pt x="4609" y="232"/>
                    </a:moveTo>
                    <a:lnTo>
                      <a:pt x="4606" y="232"/>
                    </a:lnTo>
                    <a:lnTo>
                      <a:pt x="4606" y="235"/>
                    </a:lnTo>
                    <a:lnTo>
                      <a:pt x="4547" y="450"/>
                    </a:lnTo>
                    <a:lnTo>
                      <a:pt x="4550" y="450"/>
                    </a:lnTo>
                    <a:lnTo>
                      <a:pt x="4609" y="232"/>
                    </a:lnTo>
                    <a:close/>
                    <a:moveTo>
                      <a:pt x="4708" y="173"/>
                    </a:moveTo>
                    <a:lnTo>
                      <a:pt x="4708" y="173"/>
                    </a:lnTo>
                    <a:lnTo>
                      <a:pt x="4708" y="176"/>
                    </a:lnTo>
                    <a:lnTo>
                      <a:pt x="4708" y="180"/>
                    </a:lnTo>
                    <a:lnTo>
                      <a:pt x="4708" y="180"/>
                    </a:lnTo>
                    <a:lnTo>
                      <a:pt x="4708" y="173"/>
                    </a:lnTo>
                    <a:close/>
                    <a:moveTo>
                      <a:pt x="4758" y="0"/>
                    </a:moveTo>
                    <a:lnTo>
                      <a:pt x="4755" y="0"/>
                    </a:lnTo>
                    <a:lnTo>
                      <a:pt x="4755" y="3"/>
                    </a:lnTo>
                    <a:lnTo>
                      <a:pt x="4755" y="126"/>
                    </a:lnTo>
                    <a:lnTo>
                      <a:pt x="4758" y="126"/>
                    </a:lnTo>
                    <a:lnTo>
                      <a:pt x="4758" y="123"/>
                    </a:lnTo>
                    <a:lnTo>
                      <a:pt x="4758" y="123"/>
                    </a:lnTo>
                    <a:lnTo>
                      <a:pt x="4758" y="0"/>
                    </a:lnTo>
                    <a:close/>
                  </a:path>
                </a:pathLst>
              </a:custGeom>
              <a:solidFill>
                <a:srgbClr val="DF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7" name="Freeform 89"/>
              <p:cNvSpPr>
                <a:spLocks noEditPoints="1"/>
              </p:cNvSpPr>
              <p:nvPr/>
            </p:nvSpPr>
            <p:spPr bwMode="auto">
              <a:xfrm>
                <a:off x="89" y="1712"/>
                <a:ext cx="6931" cy="1402"/>
              </a:xfrm>
              <a:custGeom>
                <a:avLst/>
                <a:gdLst>
                  <a:gd name="T0" fmla="*/ 3613 w 6931"/>
                  <a:gd name="T1" fmla="*/ 1265 h 1402"/>
                  <a:gd name="T2" fmla="*/ 5734 w 6931"/>
                  <a:gd name="T3" fmla="*/ 1210 h 1402"/>
                  <a:gd name="T4" fmla="*/ 5737 w 6931"/>
                  <a:gd name="T5" fmla="*/ 1274 h 1402"/>
                  <a:gd name="T6" fmla="*/ 1592 w 6931"/>
                  <a:gd name="T7" fmla="*/ 1134 h 1402"/>
                  <a:gd name="T8" fmla="*/ 1594 w 6931"/>
                  <a:gd name="T9" fmla="*/ 1134 h 1402"/>
                  <a:gd name="T10" fmla="*/ 5760 w 6931"/>
                  <a:gd name="T11" fmla="*/ 1130 h 1402"/>
                  <a:gd name="T12" fmla="*/ 5760 w 6931"/>
                  <a:gd name="T13" fmla="*/ 1184 h 1402"/>
                  <a:gd name="T14" fmla="*/ 6226 w 6931"/>
                  <a:gd name="T15" fmla="*/ 1130 h 1402"/>
                  <a:gd name="T16" fmla="*/ 6229 w 6931"/>
                  <a:gd name="T17" fmla="*/ 1130 h 1402"/>
                  <a:gd name="T18" fmla="*/ 1367 w 6931"/>
                  <a:gd name="T19" fmla="*/ 1111 h 1402"/>
                  <a:gd name="T20" fmla="*/ 1369 w 6931"/>
                  <a:gd name="T21" fmla="*/ 1085 h 1402"/>
                  <a:gd name="T22" fmla="*/ 2765 w 6931"/>
                  <a:gd name="T23" fmla="*/ 1066 h 1402"/>
                  <a:gd name="T24" fmla="*/ 5836 w 6931"/>
                  <a:gd name="T25" fmla="*/ 1042 h 1402"/>
                  <a:gd name="T26" fmla="*/ 5834 w 6931"/>
                  <a:gd name="T27" fmla="*/ 1078 h 1402"/>
                  <a:gd name="T28" fmla="*/ 2781 w 6931"/>
                  <a:gd name="T29" fmla="*/ 1014 h 1402"/>
                  <a:gd name="T30" fmla="*/ 2783 w 6931"/>
                  <a:gd name="T31" fmla="*/ 1044 h 1402"/>
                  <a:gd name="T32" fmla="*/ 3675 w 6931"/>
                  <a:gd name="T33" fmla="*/ 995 h 1402"/>
                  <a:gd name="T34" fmla="*/ 3675 w 6931"/>
                  <a:gd name="T35" fmla="*/ 995 h 1402"/>
                  <a:gd name="T36" fmla="*/ 5853 w 6931"/>
                  <a:gd name="T37" fmla="*/ 1026 h 1402"/>
                  <a:gd name="T38" fmla="*/ 5855 w 6931"/>
                  <a:gd name="T39" fmla="*/ 990 h 1402"/>
                  <a:gd name="T40" fmla="*/ 6243 w 6931"/>
                  <a:gd name="T41" fmla="*/ 1113 h 1402"/>
                  <a:gd name="T42" fmla="*/ 6245 w 6931"/>
                  <a:gd name="T43" fmla="*/ 936 h 1402"/>
                  <a:gd name="T44" fmla="*/ 3748 w 6931"/>
                  <a:gd name="T45" fmla="*/ 943 h 1402"/>
                  <a:gd name="T46" fmla="*/ 6295 w 6931"/>
                  <a:gd name="T47" fmla="*/ 879 h 1402"/>
                  <a:gd name="T48" fmla="*/ 6295 w 6931"/>
                  <a:gd name="T49" fmla="*/ 888 h 1402"/>
                  <a:gd name="T50" fmla="*/ 6304 w 6931"/>
                  <a:gd name="T51" fmla="*/ 850 h 1402"/>
                  <a:gd name="T52" fmla="*/ 6302 w 6931"/>
                  <a:gd name="T53" fmla="*/ 872 h 1402"/>
                  <a:gd name="T54" fmla="*/ 3006 w 6931"/>
                  <a:gd name="T55" fmla="*/ 763 h 1402"/>
                  <a:gd name="T56" fmla="*/ 3003 w 6931"/>
                  <a:gd name="T57" fmla="*/ 928 h 1402"/>
                  <a:gd name="T58" fmla="*/ 913 w 6931"/>
                  <a:gd name="T59" fmla="*/ 753 h 1402"/>
                  <a:gd name="T60" fmla="*/ 915 w 6931"/>
                  <a:gd name="T61" fmla="*/ 753 h 1402"/>
                  <a:gd name="T62" fmla="*/ 5034 w 6931"/>
                  <a:gd name="T63" fmla="*/ 921 h 1402"/>
                  <a:gd name="T64" fmla="*/ 3041 w 6931"/>
                  <a:gd name="T65" fmla="*/ 659 h 1402"/>
                  <a:gd name="T66" fmla="*/ 3044 w 6931"/>
                  <a:gd name="T67" fmla="*/ 725 h 1402"/>
                  <a:gd name="T68" fmla="*/ 0 w 6931"/>
                  <a:gd name="T69" fmla="*/ 618 h 1402"/>
                  <a:gd name="T70" fmla="*/ 3 w 6931"/>
                  <a:gd name="T71" fmla="*/ 618 h 1402"/>
                  <a:gd name="T72" fmla="*/ 5157 w 6931"/>
                  <a:gd name="T73" fmla="*/ 680 h 1402"/>
                  <a:gd name="T74" fmla="*/ 3188 w 6931"/>
                  <a:gd name="T75" fmla="*/ 583 h 1402"/>
                  <a:gd name="T76" fmla="*/ 3188 w 6931"/>
                  <a:gd name="T77" fmla="*/ 606 h 1402"/>
                  <a:gd name="T78" fmla="*/ 206 w 6931"/>
                  <a:gd name="T79" fmla="*/ 550 h 1402"/>
                  <a:gd name="T80" fmla="*/ 6931 w 6931"/>
                  <a:gd name="T81" fmla="*/ 509 h 1402"/>
                  <a:gd name="T82" fmla="*/ 6931 w 6931"/>
                  <a:gd name="T83" fmla="*/ 1042 h 1402"/>
                  <a:gd name="T84" fmla="*/ 4098 w 6931"/>
                  <a:gd name="T85" fmla="*/ 507 h 1402"/>
                  <a:gd name="T86" fmla="*/ 3204 w 6931"/>
                  <a:gd name="T87" fmla="*/ 502 h 1402"/>
                  <a:gd name="T88" fmla="*/ 3204 w 6931"/>
                  <a:gd name="T89" fmla="*/ 566 h 1402"/>
                  <a:gd name="T90" fmla="*/ 3204 w 6931"/>
                  <a:gd name="T91" fmla="*/ 502 h 1402"/>
                  <a:gd name="T92" fmla="*/ 3940 w 6931"/>
                  <a:gd name="T93" fmla="*/ 457 h 1402"/>
                  <a:gd name="T94" fmla="*/ 3859 w 6931"/>
                  <a:gd name="T95" fmla="*/ 876 h 1402"/>
                  <a:gd name="T96" fmla="*/ 3235 w 6931"/>
                  <a:gd name="T97" fmla="*/ 434 h 1402"/>
                  <a:gd name="T98" fmla="*/ 3233 w 6931"/>
                  <a:gd name="T99" fmla="*/ 474 h 1402"/>
                  <a:gd name="T100" fmla="*/ 3947 w 6931"/>
                  <a:gd name="T101" fmla="*/ 391 h 1402"/>
                  <a:gd name="T102" fmla="*/ 3947 w 6931"/>
                  <a:gd name="T103" fmla="*/ 450 h 1402"/>
                  <a:gd name="T104" fmla="*/ 3947 w 6931"/>
                  <a:gd name="T105" fmla="*/ 391 h 1402"/>
                  <a:gd name="T106" fmla="*/ 1712 w 6931"/>
                  <a:gd name="T107" fmla="*/ 1080 h 1402"/>
                  <a:gd name="T108" fmla="*/ 3954 w 6931"/>
                  <a:gd name="T109" fmla="*/ 329 h 1402"/>
                  <a:gd name="T110" fmla="*/ 3956 w 6931"/>
                  <a:gd name="T111" fmla="*/ 382 h 1402"/>
                  <a:gd name="T112" fmla="*/ 4606 w 6931"/>
                  <a:gd name="T113" fmla="*/ 232 h 1402"/>
                  <a:gd name="T114" fmla="*/ 4609 w 6931"/>
                  <a:gd name="T115" fmla="*/ 232 h 1402"/>
                  <a:gd name="T116" fmla="*/ 4708 w 6931"/>
                  <a:gd name="T117" fmla="*/ 180 h 1402"/>
                  <a:gd name="T118" fmla="*/ 4755 w 6931"/>
                  <a:gd name="T119" fmla="*/ 0 h 1402"/>
                  <a:gd name="T120" fmla="*/ 4758 w 6931"/>
                  <a:gd name="T121" fmla="*/ 123 h 1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31" h="1402">
                    <a:moveTo>
                      <a:pt x="3616" y="1222"/>
                    </a:moveTo>
                    <a:lnTo>
                      <a:pt x="3613" y="1222"/>
                    </a:lnTo>
                    <a:lnTo>
                      <a:pt x="3613" y="1224"/>
                    </a:lnTo>
                    <a:lnTo>
                      <a:pt x="3613" y="1265"/>
                    </a:lnTo>
                    <a:lnTo>
                      <a:pt x="3616" y="1265"/>
                    </a:lnTo>
                    <a:lnTo>
                      <a:pt x="3616" y="1222"/>
                    </a:lnTo>
                    <a:moveTo>
                      <a:pt x="5737" y="1210"/>
                    </a:moveTo>
                    <a:lnTo>
                      <a:pt x="5734" y="1210"/>
                    </a:lnTo>
                    <a:lnTo>
                      <a:pt x="5734" y="1210"/>
                    </a:lnTo>
                    <a:lnTo>
                      <a:pt x="5734" y="1213"/>
                    </a:lnTo>
                    <a:lnTo>
                      <a:pt x="5734" y="1274"/>
                    </a:lnTo>
                    <a:lnTo>
                      <a:pt x="5737" y="1274"/>
                    </a:lnTo>
                    <a:lnTo>
                      <a:pt x="5737" y="1210"/>
                    </a:lnTo>
                    <a:moveTo>
                      <a:pt x="1594" y="1132"/>
                    </a:moveTo>
                    <a:lnTo>
                      <a:pt x="1592" y="1132"/>
                    </a:lnTo>
                    <a:lnTo>
                      <a:pt x="1592" y="1134"/>
                    </a:lnTo>
                    <a:lnTo>
                      <a:pt x="1592" y="1134"/>
                    </a:lnTo>
                    <a:lnTo>
                      <a:pt x="1594" y="1134"/>
                    </a:lnTo>
                    <a:lnTo>
                      <a:pt x="1594" y="1134"/>
                    </a:lnTo>
                    <a:lnTo>
                      <a:pt x="1594" y="1134"/>
                    </a:lnTo>
                    <a:lnTo>
                      <a:pt x="1594" y="1132"/>
                    </a:lnTo>
                    <a:moveTo>
                      <a:pt x="5760" y="1130"/>
                    </a:moveTo>
                    <a:lnTo>
                      <a:pt x="5760" y="1130"/>
                    </a:lnTo>
                    <a:lnTo>
                      <a:pt x="5760" y="1130"/>
                    </a:lnTo>
                    <a:lnTo>
                      <a:pt x="5760" y="1187"/>
                    </a:lnTo>
                    <a:lnTo>
                      <a:pt x="5760" y="1187"/>
                    </a:lnTo>
                    <a:lnTo>
                      <a:pt x="5760" y="1184"/>
                    </a:lnTo>
                    <a:lnTo>
                      <a:pt x="5760" y="1184"/>
                    </a:lnTo>
                    <a:lnTo>
                      <a:pt x="5760" y="1130"/>
                    </a:lnTo>
                    <a:moveTo>
                      <a:pt x="6229" y="1130"/>
                    </a:moveTo>
                    <a:lnTo>
                      <a:pt x="6226" y="1130"/>
                    </a:lnTo>
                    <a:lnTo>
                      <a:pt x="6226" y="1130"/>
                    </a:lnTo>
                    <a:lnTo>
                      <a:pt x="6226" y="1130"/>
                    </a:lnTo>
                    <a:lnTo>
                      <a:pt x="6226" y="1158"/>
                    </a:lnTo>
                    <a:lnTo>
                      <a:pt x="6229" y="1158"/>
                    </a:lnTo>
                    <a:lnTo>
                      <a:pt x="6229" y="1130"/>
                    </a:lnTo>
                    <a:moveTo>
                      <a:pt x="1369" y="1085"/>
                    </a:moveTo>
                    <a:lnTo>
                      <a:pt x="1367" y="1085"/>
                    </a:lnTo>
                    <a:lnTo>
                      <a:pt x="1367" y="1087"/>
                    </a:lnTo>
                    <a:lnTo>
                      <a:pt x="1367" y="1111"/>
                    </a:lnTo>
                    <a:lnTo>
                      <a:pt x="1369" y="1111"/>
                    </a:lnTo>
                    <a:lnTo>
                      <a:pt x="1369" y="1108"/>
                    </a:lnTo>
                    <a:lnTo>
                      <a:pt x="1369" y="1108"/>
                    </a:lnTo>
                    <a:lnTo>
                      <a:pt x="1369" y="1085"/>
                    </a:lnTo>
                    <a:moveTo>
                      <a:pt x="2765" y="1063"/>
                    </a:moveTo>
                    <a:lnTo>
                      <a:pt x="2765" y="1063"/>
                    </a:lnTo>
                    <a:lnTo>
                      <a:pt x="2765" y="1063"/>
                    </a:lnTo>
                    <a:lnTo>
                      <a:pt x="2765" y="1066"/>
                    </a:lnTo>
                    <a:lnTo>
                      <a:pt x="2765" y="1189"/>
                    </a:lnTo>
                    <a:lnTo>
                      <a:pt x="2765" y="1189"/>
                    </a:lnTo>
                    <a:lnTo>
                      <a:pt x="2765" y="1063"/>
                    </a:lnTo>
                    <a:moveTo>
                      <a:pt x="5836" y="1042"/>
                    </a:moveTo>
                    <a:lnTo>
                      <a:pt x="5836" y="1042"/>
                    </a:lnTo>
                    <a:lnTo>
                      <a:pt x="5834" y="1042"/>
                    </a:lnTo>
                    <a:lnTo>
                      <a:pt x="5834" y="1044"/>
                    </a:lnTo>
                    <a:lnTo>
                      <a:pt x="5834" y="1078"/>
                    </a:lnTo>
                    <a:lnTo>
                      <a:pt x="5836" y="1078"/>
                    </a:lnTo>
                    <a:lnTo>
                      <a:pt x="5836" y="1042"/>
                    </a:lnTo>
                    <a:moveTo>
                      <a:pt x="2783" y="1014"/>
                    </a:moveTo>
                    <a:lnTo>
                      <a:pt x="2781" y="1014"/>
                    </a:lnTo>
                    <a:lnTo>
                      <a:pt x="2781" y="1014"/>
                    </a:lnTo>
                    <a:lnTo>
                      <a:pt x="2781" y="1047"/>
                    </a:lnTo>
                    <a:lnTo>
                      <a:pt x="2783" y="1047"/>
                    </a:lnTo>
                    <a:lnTo>
                      <a:pt x="2783" y="1044"/>
                    </a:lnTo>
                    <a:lnTo>
                      <a:pt x="2783" y="1044"/>
                    </a:lnTo>
                    <a:lnTo>
                      <a:pt x="2783" y="1014"/>
                    </a:lnTo>
                    <a:moveTo>
                      <a:pt x="3675" y="995"/>
                    </a:moveTo>
                    <a:lnTo>
                      <a:pt x="3675" y="995"/>
                    </a:lnTo>
                    <a:lnTo>
                      <a:pt x="3675" y="997"/>
                    </a:lnTo>
                    <a:lnTo>
                      <a:pt x="3675" y="1172"/>
                    </a:lnTo>
                    <a:lnTo>
                      <a:pt x="3675" y="1172"/>
                    </a:lnTo>
                    <a:lnTo>
                      <a:pt x="3675" y="995"/>
                    </a:lnTo>
                    <a:moveTo>
                      <a:pt x="5855" y="990"/>
                    </a:moveTo>
                    <a:lnTo>
                      <a:pt x="5853" y="990"/>
                    </a:lnTo>
                    <a:lnTo>
                      <a:pt x="5853" y="992"/>
                    </a:lnTo>
                    <a:lnTo>
                      <a:pt x="5853" y="1026"/>
                    </a:lnTo>
                    <a:lnTo>
                      <a:pt x="5853" y="1026"/>
                    </a:lnTo>
                    <a:lnTo>
                      <a:pt x="5853" y="1023"/>
                    </a:lnTo>
                    <a:lnTo>
                      <a:pt x="5855" y="1023"/>
                    </a:lnTo>
                    <a:lnTo>
                      <a:pt x="5855" y="990"/>
                    </a:lnTo>
                    <a:moveTo>
                      <a:pt x="6245" y="936"/>
                    </a:moveTo>
                    <a:lnTo>
                      <a:pt x="6243" y="936"/>
                    </a:lnTo>
                    <a:lnTo>
                      <a:pt x="6243" y="938"/>
                    </a:lnTo>
                    <a:lnTo>
                      <a:pt x="6243" y="1113"/>
                    </a:lnTo>
                    <a:lnTo>
                      <a:pt x="6245" y="1113"/>
                    </a:lnTo>
                    <a:lnTo>
                      <a:pt x="6245" y="1111"/>
                    </a:lnTo>
                    <a:lnTo>
                      <a:pt x="6245" y="1111"/>
                    </a:lnTo>
                    <a:lnTo>
                      <a:pt x="6245" y="936"/>
                    </a:lnTo>
                    <a:moveTo>
                      <a:pt x="3751" y="928"/>
                    </a:moveTo>
                    <a:lnTo>
                      <a:pt x="3748" y="928"/>
                    </a:lnTo>
                    <a:lnTo>
                      <a:pt x="3748" y="931"/>
                    </a:lnTo>
                    <a:lnTo>
                      <a:pt x="3748" y="943"/>
                    </a:lnTo>
                    <a:lnTo>
                      <a:pt x="3751" y="943"/>
                    </a:lnTo>
                    <a:lnTo>
                      <a:pt x="3751" y="928"/>
                    </a:lnTo>
                    <a:moveTo>
                      <a:pt x="6295" y="879"/>
                    </a:moveTo>
                    <a:lnTo>
                      <a:pt x="6295" y="879"/>
                    </a:lnTo>
                    <a:lnTo>
                      <a:pt x="6292" y="879"/>
                    </a:lnTo>
                    <a:lnTo>
                      <a:pt x="6292" y="881"/>
                    </a:lnTo>
                    <a:lnTo>
                      <a:pt x="6292" y="888"/>
                    </a:lnTo>
                    <a:lnTo>
                      <a:pt x="6295" y="888"/>
                    </a:lnTo>
                    <a:lnTo>
                      <a:pt x="6295" y="886"/>
                    </a:lnTo>
                    <a:lnTo>
                      <a:pt x="6295" y="886"/>
                    </a:lnTo>
                    <a:lnTo>
                      <a:pt x="6295" y="879"/>
                    </a:lnTo>
                    <a:moveTo>
                      <a:pt x="6304" y="850"/>
                    </a:moveTo>
                    <a:lnTo>
                      <a:pt x="6302" y="850"/>
                    </a:lnTo>
                    <a:lnTo>
                      <a:pt x="6302" y="853"/>
                    </a:lnTo>
                    <a:lnTo>
                      <a:pt x="6302" y="872"/>
                    </a:lnTo>
                    <a:lnTo>
                      <a:pt x="6302" y="872"/>
                    </a:lnTo>
                    <a:lnTo>
                      <a:pt x="6302" y="869"/>
                    </a:lnTo>
                    <a:lnTo>
                      <a:pt x="6304" y="869"/>
                    </a:lnTo>
                    <a:lnTo>
                      <a:pt x="6304" y="850"/>
                    </a:lnTo>
                    <a:moveTo>
                      <a:pt x="3006" y="763"/>
                    </a:moveTo>
                    <a:lnTo>
                      <a:pt x="3006" y="763"/>
                    </a:lnTo>
                    <a:lnTo>
                      <a:pt x="3003" y="763"/>
                    </a:lnTo>
                    <a:lnTo>
                      <a:pt x="3003" y="765"/>
                    </a:lnTo>
                    <a:lnTo>
                      <a:pt x="3003" y="928"/>
                    </a:lnTo>
                    <a:lnTo>
                      <a:pt x="3006" y="928"/>
                    </a:lnTo>
                    <a:lnTo>
                      <a:pt x="3006" y="763"/>
                    </a:lnTo>
                    <a:moveTo>
                      <a:pt x="915" y="753"/>
                    </a:moveTo>
                    <a:lnTo>
                      <a:pt x="913" y="753"/>
                    </a:lnTo>
                    <a:lnTo>
                      <a:pt x="913" y="756"/>
                    </a:lnTo>
                    <a:lnTo>
                      <a:pt x="913" y="777"/>
                    </a:lnTo>
                    <a:lnTo>
                      <a:pt x="915" y="777"/>
                    </a:lnTo>
                    <a:lnTo>
                      <a:pt x="915" y="753"/>
                    </a:lnTo>
                    <a:moveTo>
                      <a:pt x="5037" y="732"/>
                    </a:moveTo>
                    <a:lnTo>
                      <a:pt x="5034" y="732"/>
                    </a:lnTo>
                    <a:lnTo>
                      <a:pt x="5034" y="734"/>
                    </a:lnTo>
                    <a:lnTo>
                      <a:pt x="5034" y="921"/>
                    </a:lnTo>
                    <a:lnTo>
                      <a:pt x="5037" y="921"/>
                    </a:lnTo>
                    <a:lnTo>
                      <a:pt x="5037" y="732"/>
                    </a:lnTo>
                    <a:moveTo>
                      <a:pt x="3044" y="659"/>
                    </a:moveTo>
                    <a:lnTo>
                      <a:pt x="3041" y="659"/>
                    </a:lnTo>
                    <a:lnTo>
                      <a:pt x="3041" y="659"/>
                    </a:lnTo>
                    <a:lnTo>
                      <a:pt x="3041" y="727"/>
                    </a:lnTo>
                    <a:lnTo>
                      <a:pt x="3044" y="727"/>
                    </a:lnTo>
                    <a:lnTo>
                      <a:pt x="3044" y="725"/>
                    </a:lnTo>
                    <a:lnTo>
                      <a:pt x="3044" y="725"/>
                    </a:lnTo>
                    <a:lnTo>
                      <a:pt x="3044" y="659"/>
                    </a:lnTo>
                    <a:moveTo>
                      <a:pt x="3" y="618"/>
                    </a:moveTo>
                    <a:lnTo>
                      <a:pt x="0" y="618"/>
                    </a:lnTo>
                    <a:lnTo>
                      <a:pt x="0" y="618"/>
                    </a:lnTo>
                    <a:lnTo>
                      <a:pt x="0" y="1402"/>
                    </a:lnTo>
                    <a:lnTo>
                      <a:pt x="3" y="1402"/>
                    </a:lnTo>
                    <a:lnTo>
                      <a:pt x="3" y="618"/>
                    </a:lnTo>
                    <a:moveTo>
                      <a:pt x="5157" y="611"/>
                    </a:moveTo>
                    <a:lnTo>
                      <a:pt x="5157" y="611"/>
                    </a:lnTo>
                    <a:lnTo>
                      <a:pt x="5157" y="611"/>
                    </a:lnTo>
                    <a:lnTo>
                      <a:pt x="5157" y="680"/>
                    </a:lnTo>
                    <a:lnTo>
                      <a:pt x="5157" y="680"/>
                    </a:lnTo>
                    <a:lnTo>
                      <a:pt x="5157" y="611"/>
                    </a:lnTo>
                    <a:moveTo>
                      <a:pt x="3188" y="583"/>
                    </a:moveTo>
                    <a:lnTo>
                      <a:pt x="3188" y="583"/>
                    </a:lnTo>
                    <a:lnTo>
                      <a:pt x="3185" y="583"/>
                    </a:lnTo>
                    <a:lnTo>
                      <a:pt x="3185" y="585"/>
                    </a:lnTo>
                    <a:lnTo>
                      <a:pt x="3185" y="606"/>
                    </a:lnTo>
                    <a:lnTo>
                      <a:pt x="3188" y="606"/>
                    </a:lnTo>
                    <a:lnTo>
                      <a:pt x="3188" y="583"/>
                    </a:lnTo>
                    <a:moveTo>
                      <a:pt x="208" y="547"/>
                    </a:moveTo>
                    <a:lnTo>
                      <a:pt x="206" y="547"/>
                    </a:lnTo>
                    <a:lnTo>
                      <a:pt x="206" y="550"/>
                    </a:lnTo>
                    <a:lnTo>
                      <a:pt x="206" y="566"/>
                    </a:lnTo>
                    <a:lnTo>
                      <a:pt x="208" y="566"/>
                    </a:lnTo>
                    <a:lnTo>
                      <a:pt x="208" y="547"/>
                    </a:lnTo>
                    <a:moveTo>
                      <a:pt x="6931" y="509"/>
                    </a:moveTo>
                    <a:lnTo>
                      <a:pt x="6928" y="509"/>
                    </a:lnTo>
                    <a:lnTo>
                      <a:pt x="6928" y="512"/>
                    </a:lnTo>
                    <a:lnTo>
                      <a:pt x="6928" y="1042"/>
                    </a:lnTo>
                    <a:lnTo>
                      <a:pt x="6931" y="1042"/>
                    </a:lnTo>
                    <a:lnTo>
                      <a:pt x="6931" y="509"/>
                    </a:lnTo>
                    <a:moveTo>
                      <a:pt x="4098" y="505"/>
                    </a:moveTo>
                    <a:lnTo>
                      <a:pt x="4098" y="505"/>
                    </a:lnTo>
                    <a:lnTo>
                      <a:pt x="4098" y="507"/>
                    </a:lnTo>
                    <a:lnTo>
                      <a:pt x="4072" y="540"/>
                    </a:lnTo>
                    <a:lnTo>
                      <a:pt x="4072" y="540"/>
                    </a:lnTo>
                    <a:lnTo>
                      <a:pt x="4098" y="505"/>
                    </a:lnTo>
                    <a:moveTo>
                      <a:pt x="3204" y="502"/>
                    </a:moveTo>
                    <a:lnTo>
                      <a:pt x="3204" y="502"/>
                    </a:lnTo>
                    <a:lnTo>
                      <a:pt x="3204" y="502"/>
                    </a:lnTo>
                    <a:lnTo>
                      <a:pt x="3204" y="505"/>
                    </a:lnTo>
                    <a:lnTo>
                      <a:pt x="3204" y="566"/>
                    </a:lnTo>
                    <a:lnTo>
                      <a:pt x="3204" y="566"/>
                    </a:lnTo>
                    <a:lnTo>
                      <a:pt x="3204" y="564"/>
                    </a:lnTo>
                    <a:lnTo>
                      <a:pt x="3204" y="564"/>
                    </a:lnTo>
                    <a:lnTo>
                      <a:pt x="3204" y="502"/>
                    </a:lnTo>
                    <a:moveTo>
                      <a:pt x="3942" y="455"/>
                    </a:moveTo>
                    <a:lnTo>
                      <a:pt x="3940" y="455"/>
                    </a:lnTo>
                    <a:lnTo>
                      <a:pt x="3940" y="455"/>
                    </a:lnTo>
                    <a:lnTo>
                      <a:pt x="3940" y="457"/>
                    </a:lnTo>
                    <a:lnTo>
                      <a:pt x="3940" y="493"/>
                    </a:lnTo>
                    <a:lnTo>
                      <a:pt x="3859" y="644"/>
                    </a:lnTo>
                    <a:lnTo>
                      <a:pt x="3859" y="876"/>
                    </a:lnTo>
                    <a:lnTo>
                      <a:pt x="3859" y="876"/>
                    </a:lnTo>
                    <a:lnTo>
                      <a:pt x="3859" y="642"/>
                    </a:lnTo>
                    <a:lnTo>
                      <a:pt x="3942" y="490"/>
                    </a:lnTo>
                    <a:lnTo>
                      <a:pt x="3942" y="455"/>
                    </a:lnTo>
                    <a:moveTo>
                      <a:pt x="3235" y="434"/>
                    </a:moveTo>
                    <a:lnTo>
                      <a:pt x="3233" y="434"/>
                    </a:lnTo>
                    <a:lnTo>
                      <a:pt x="3233" y="436"/>
                    </a:lnTo>
                    <a:lnTo>
                      <a:pt x="3233" y="474"/>
                    </a:lnTo>
                    <a:lnTo>
                      <a:pt x="3233" y="474"/>
                    </a:lnTo>
                    <a:lnTo>
                      <a:pt x="3233" y="472"/>
                    </a:lnTo>
                    <a:lnTo>
                      <a:pt x="3235" y="472"/>
                    </a:lnTo>
                    <a:lnTo>
                      <a:pt x="3235" y="434"/>
                    </a:lnTo>
                    <a:moveTo>
                      <a:pt x="3947" y="391"/>
                    </a:moveTo>
                    <a:lnTo>
                      <a:pt x="3947" y="391"/>
                    </a:lnTo>
                    <a:lnTo>
                      <a:pt x="3947" y="391"/>
                    </a:lnTo>
                    <a:lnTo>
                      <a:pt x="3947" y="393"/>
                    </a:lnTo>
                    <a:lnTo>
                      <a:pt x="3947" y="450"/>
                    </a:lnTo>
                    <a:lnTo>
                      <a:pt x="3947" y="450"/>
                    </a:lnTo>
                    <a:lnTo>
                      <a:pt x="3947" y="448"/>
                    </a:lnTo>
                    <a:lnTo>
                      <a:pt x="3947" y="448"/>
                    </a:lnTo>
                    <a:lnTo>
                      <a:pt x="3947" y="391"/>
                    </a:lnTo>
                    <a:moveTo>
                      <a:pt x="1715" y="370"/>
                    </a:moveTo>
                    <a:lnTo>
                      <a:pt x="1712" y="370"/>
                    </a:lnTo>
                    <a:lnTo>
                      <a:pt x="1712" y="372"/>
                    </a:lnTo>
                    <a:lnTo>
                      <a:pt x="1712" y="1080"/>
                    </a:lnTo>
                    <a:lnTo>
                      <a:pt x="1715" y="1080"/>
                    </a:lnTo>
                    <a:lnTo>
                      <a:pt x="1715" y="370"/>
                    </a:lnTo>
                    <a:moveTo>
                      <a:pt x="3956" y="329"/>
                    </a:moveTo>
                    <a:lnTo>
                      <a:pt x="3954" y="329"/>
                    </a:lnTo>
                    <a:lnTo>
                      <a:pt x="3954" y="329"/>
                    </a:lnTo>
                    <a:lnTo>
                      <a:pt x="3954" y="384"/>
                    </a:lnTo>
                    <a:lnTo>
                      <a:pt x="3956" y="384"/>
                    </a:lnTo>
                    <a:lnTo>
                      <a:pt x="3956" y="382"/>
                    </a:lnTo>
                    <a:lnTo>
                      <a:pt x="3956" y="382"/>
                    </a:lnTo>
                    <a:lnTo>
                      <a:pt x="3956" y="329"/>
                    </a:lnTo>
                    <a:moveTo>
                      <a:pt x="4609" y="232"/>
                    </a:moveTo>
                    <a:lnTo>
                      <a:pt x="4606" y="232"/>
                    </a:lnTo>
                    <a:lnTo>
                      <a:pt x="4606" y="235"/>
                    </a:lnTo>
                    <a:lnTo>
                      <a:pt x="4547" y="450"/>
                    </a:lnTo>
                    <a:lnTo>
                      <a:pt x="4550" y="450"/>
                    </a:lnTo>
                    <a:lnTo>
                      <a:pt x="4609" y="232"/>
                    </a:lnTo>
                    <a:moveTo>
                      <a:pt x="4708" y="173"/>
                    </a:moveTo>
                    <a:lnTo>
                      <a:pt x="4708" y="173"/>
                    </a:lnTo>
                    <a:lnTo>
                      <a:pt x="4708" y="176"/>
                    </a:lnTo>
                    <a:lnTo>
                      <a:pt x="4708" y="180"/>
                    </a:lnTo>
                    <a:lnTo>
                      <a:pt x="4708" y="180"/>
                    </a:lnTo>
                    <a:lnTo>
                      <a:pt x="4708" y="173"/>
                    </a:lnTo>
                    <a:moveTo>
                      <a:pt x="4758" y="0"/>
                    </a:moveTo>
                    <a:lnTo>
                      <a:pt x="4755" y="0"/>
                    </a:lnTo>
                    <a:lnTo>
                      <a:pt x="4755" y="3"/>
                    </a:lnTo>
                    <a:lnTo>
                      <a:pt x="4755" y="126"/>
                    </a:lnTo>
                    <a:lnTo>
                      <a:pt x="4758" y="126"/>
                    </a:lnTo>
                    <a:lnTo>
                      <a:pt x="4758" y="123"/>
                    </a:lnTo>
                    <a:lnTo>
                      <a:pt x="4758" y="123"/>
                    </a:lnTo>
                    <a:lnTo>
                      <a:pt x="475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8" name="Freeform 90"/>
              <p:cNvSpPr>
                <a:spLocks noEditPoints="1"/>
              </p:cNvSpPr>
              <p:nvPr/>
            </p:nvSpPr>
            <p:spPr bwMode="auto">
              <a:xfrm>
                <a:off x="-3" y="1712"/>
                <a:ext cx="7025" cy="1485"/>
              </a:xfrm>
              <a:custGeom>
                <a:avLst/>
                <a:gdLst>
                  <a:gd name="T0" fmla="*/ 0 w 7025"/>
                  <a:gd name="T1" fmla="*/ 1482 h 1485"/>
                  <a:gd name="T2" fmla="*/ 3708 w 7025"/>
                  <a:gd name="T3" fmla="*/ 1222 h 1485"/>
                  <a:gd name="T4" fmla="*/ 3710 w 7025"/>
                  <a:gd name="T5" fmla="*/ 1222 h 1485"/>
                  <a:gd name="T6" fmla="*/ 5829 w 7025"/>
                  <a:gd name="T7" fmla="*/ 1210 h 1485"/>
                  <a:gd name="T8" fmla="*/ 1688 w 7025"/>
                  <a:gd name="T9" fmla="*/ 1132 h 1485"/>
                  <a:gd name="T10" fmla="*/ 1686 w 7025"/>
                  <a:gd name="T11" fmla="*/ 1134 h 1485"/>
                  <a:gd name="T12" fmla="*/ 5855 w 7025"/>
                  <a:gd name="T13" fmla="*/ 1127 h 1485"/>
                  <a:gd name="T14" fmla="*/ 5855 w 7025"/>
                  <a:gd name="T15" fmla="*/ 1184 h 1485"/>
                  <a:gd name="T16" fmla="*/ 6323 w 7025"/>
                  <a:gd name="T17" fmla="*/ 1127 h 1485"/>
                  <a:gd name="T18" fmla="*/ 6321 w 7025"/>
                  <a:gd name="T19" fmla="*/ 1158 h 1485"/>
                  <a:gd name="T20" fmla="*/ 1461 w 7025"/>
                  <a:gd name="T21" fmla="*/ 1082 h 1485"/>
                  <a:gd name="T22" fmla="*/ 1464 w 7025"/>
                  <a:gd name="T23" fmla="*/ 1106 h 1485"/>
                  <a:gd name="T24" fmla="*/ 2859 w 7025"/>
                  <a:gd name="T25" fmla="*/ 1061 h 1485"/>
                  <a:gd name="T26" fmla="*/ 2859 w 7025"/>
                  <a:gd name="T27" fmla="*/ 1189 h 1485"/>
                  <a:gd name="T28" fmla="*/ 5928 w 7025"/>
                  <a:gd name="T29" fmla="*/ 1040 h 1485"/>
                  <a:gd name="T30" fmla="*/ 5930 w 7025"/>
                  <a:gd name="T31" fmla="*/ 1040 h 1485"/>
                  <a:gd name="T32" fmla="*/ 2875 w 7025"/>
                  <a:gd name="T33" fmla="*/ 1044 h 1485"/>
                  <a:gd name="T34" fmla="*/ 2878 w 7025"/>
                  <a:gd name="T35" fmla="*/ 1011 h 1485"/>
                  <a:gd name="T36" fmla="*/ 3767 w 7025"/>
                  <a:gd name="T37" fmla="*/ 1172 h 1485"/>
                  <a:gd name="T38" fmla="*/ 5947 w 7025"/>
                  <a:gd name="T39" fmla="*/ 990 h 1485"/>
                  <a:gd name="T40" fmla="*/ 5947 w 7025"/>
                  <a:gd name="T41" fmla="*/ 1021 h 1485"/>
                  <a:gd name="T42" fmla="*/ 6337 w 7025"/>
                  <a:gd name="T43" fmla="*/ 936 h 1485"/>
                  <a:gd name="T44" fmla="*/ 6339 w 7025"/>
                  <a:gd name="T45" fmla="*/ 1108 h 1485"/>
                  <a:gd name="T46" fmla="*/ 3843 w 7025"/>
                  <a:gd name="T47" fmla="*/ 926 h 1485"/>
                  <a:gd name="T48" fmla="*/ 3845 w 7025"/>
                  <a:gd name="T49" fmla="*/ 926 h 1485"/>
                  <a:gd name="T50" fmla="*/ 6387 w 7025"/>
                  <a:gd name="T51" fmla="*/ 879 h 1485"/>
                  <a:gd name="T52" fmla="*/ 6389 w 7025"/>
                  <a:gd name="T53" fmla="*/ 883 h 1485"/>
                  <a:gd name="T54" fmla="*/ 6396 w 7025"/>
                  <a:gd name="T55" fmla="*/ 850 h 1485"/>
                  <a:gd name="T56" fmla="*/ 6396 w 7025"/>
                  <a:gd name="T57" fmla="*/ 869 h 1485"/>
                  <a:gd name="T58" fmla="*/ 3098 w 7025"/>
                  <a:gd name="T59" fmla="*/ 763 h 1485"/>
                  <a:gd name="T60" fmla="*/ 3100 w 7025"/>
                  <a:gd name="T61" fmla="*/ 763 h 1485"/>
                  <a:gd name="T62" fmla="*/ 1007 w 7025"/>
                  <a:gd name="T63" fmla="*/ 777 h 1485"/>
                  <a:gd name="T64" fmla="*/ 5129 w 7025"/>
                  <a:gd name="T65" fmla="*/ 732 h 1485"/>
                  <a:gd name="T66" fmla="*/ 5131 w 7025"/>
                  <a:gd name="T67" fmla="*/ 732 h 1485"/>
                  <a:gd name="T68" fmla="*/ 3136 w 7025"/>
                  <a:gd name="T69" fmla="*/ 725 h 1485"/>
                  <a:gd name="T70" fmla="*/ 3138 w 7025"/>
                  <a:gd name="T71" fmla="*/ 656 h 1485"/>
                  <a:gd name="T72" fmla="*/ 95 w 7025"/>
                  <a:gd name="T73" fmla="*/ 1402 h 1485"/>
                  <a:gd name="T74" fmla="*/ 5249 w 7025"/>
                  <a:gd name="T75" fmla="*/ 609 h 1485"/>
                  <a:gd name="T76" fmla="*/ 5252 w 7025"/>
                  <a:gd name="T77" fmla="*/ 609 h 1485"/>
                  <a:gd name="T78" fmla="*/ 3280 w 7025"/>
                  <a:gd name="T79" fmla="*/ 583 h 1485"/>
                  <a:gd name="T80" fmla="*/ 300 w 7025"/>
                  <a:gd name="T81" fmla="*/ 547 h 1485"/>
                  <a:gd name="T82" fmla="*/ 300 w 7025"/>
                  <a:gd name="T83" fmla="*/ 566 h 1485"/>
                  <a:gd name="T84" fmla="*/ 7023 w 7025"/>
                  <a:gd name="T85" fmla="*/ 509 h 1485"/>
                  <a:gd name="T86" fmla="*/ 4192 w 7025"/>
                  <a:gd name="T87" fmla="*/ 502 h 1485"/>
                  <a:gd name="T88" fmla="*/ 4164 w 7025"/>
                  <a:gd name="T89" fmla="*/ 540 h 1485"/>
                  <a:gd name="T90" fmla="*/ 3296 w 7025"/>
                  <a:gd name="T91" fmla="*/ 500 h 1485"/>
                  <a:gd name="T92" fmla="*/ 3299 w 7025"/>
                  <a:gd name="T93" fmla="*/ 561 h 1485"/>
                  <a:gd name="T94" fmla="*/ 4034 w 7025"/>
                  <a:gd name="T95" fmla="*/ 453 h 1485"/>
                  <a:gd name="T96" fmla="*/ 3951 w 7025"/>
                  <a:gd name="T97" fmla="*/ 642 h 1485"/>
                  <a:gd name="T98" fmla="*/ 4036 w 7025"/>
                  <a:gd name="T99" fmla="*/ 488 h 1485"/>
                  <a:gd name="T100" fmla="*/ 3327 w 7025"/>
                  <a:gd name="T101" fmla="*/ 434 h 1485"/>
                  <a:gd name="T102" fmla="*/ 3327 w 7025"/>
                  <a:gd name="T103" fmla="*/ 472 h 1485"/>
                  <a:gd name="T104" fmla="*/ 4039 w 7025"/>
                  <a:gd name="T105" fmla="*/ 391 h 1485"/>
                  <a:gd name="T106" fmla="*/ 4041 w 7025"/>
                  <a:gd name="T107" fmla="*/ 445 h 1485"/>
                  <a:gd name="T108" fmla="*/ 1807 w 7025"/>
                  <a:gd name="T109" fmla="*/ 367 h 1485"/>
                  <a:gd name="T110" fmla="*/ 1809 w 7025"/>
                  <a:gd name="T111" fmla="*/ 367 h 1485"/>
                  <a:gd name="T112" fmla="*/ 4048 w 7025"/>
                  <a:gd name="T113" fmla="*/ 382 h 1485"/>
                  <a:gd name="T114" fmla="*/ 4051 w 7025"/>
                  <a:gd name="T115" fmla="*/ 327 h 1485"/>
                  <a:gd name="T116" fmla="*/ 4642 w 7025"/>
                  <a:gd name="T117" fmla="*/ 450 h 1485"/>
                  <a:gd name="T118" fmla="*/ 4800 w 7025"/>
                  <a:gd name="T119" fmla="*/ 171 h 1485"/>
                  <a:gd name="T120" fmla="*/ 4802 w 7025"/>
                  <a:gd name="T121" fmla="*/ 171 h 1485"/>
                  <a:gd name="T122" fmla="*/ 4850 w 7025"/>
                  <a:gd name="T123" fmla="*/ 123 h 1485"/>
                  <a:gd name="T124" fmla="*/ 4852 w 7025"/>
                  <a:gd name="T125" fmla="*/ 0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5" h="1485">
                    <a:moveTo>
                      <a:pt x="0" y="1452"/>
                    </a:moveTo>
                    <a:lnTo>
                      <a:pt x="0" y="1452"/>
                    </a:lnTo>
                    <a:lnTo>
                      <a:pt x="0" y="1485"/>
                    </a:lnTo>
                    <a:lnTo>
                      <a:pt x="0" y="1482"/>
                    </a:lnTo>
                    <a:lnTo>
                      <a:pt x="0" y="1482"/>
                    </a:lnTo>
                    <a:lnTo>
                      <a:pt x="0" y="1452"/>
                    </a:lnTo>
                    <a:close/>
                    <a:moveTo>
                      <a:pt x="3710" y="1222"/>
                    </a:moveTo>
                    <a:lnTo>
                      <a:pt x="3708" y="1222"/>
                    </a:lnTo>
                    <a:lnTo>
                      <a:pt x="3708" y="1222"/>
                    </a:lnTo>
                    <a:lnTo>
                      <a:pt x="3708" y="1265"/>
                    </a:lnTo>
                    <a:lnTo>
                      <a:pt x="3710" y="1265"/>
                    </a:lnTo>
                    <a:lnTo>
                      <a:pt x="3710" y="1222"/>
                    </a:lnTo>
                    <a:close/>
                    <a:moveTo>
                      <a:pt x="5831" y="1208"/>
                    </a:moveTo>
                    <a:lnTo>
                      <a:pt x="5829" y="1208"/>
                    </a:lnTo>
                    <a:lnTo>
                      <a:pt x="5829" y="1208"/>
                    </a:lnTo>
                    <a:lnTo>
                      <a:pt x="5829" y="1210"/>
                    </a:lnTo>
                    <a:lnTo>
                      <a:pt x="5829" y="1274"/>
                    </a:lnTo>
                    <a:lnTo>
                      <a:pt x="5831" y="1274"/>
                    </a:lnTo>
                    <a:lnTo>
                      <a:pt x="5831" y="1208"/>
                    </a:lnTo>
                    <a:close/>
                    <a:moveTo>
                      <a:pt x="1688" y="1132"/>
                    </a:moveTo>
                    <a:lnTo>
                      <a:pt x="1686" y="1132"/>
                    </a:lnTo>
                    <a:lnTo>
                      <a:pt x="1686" y="1132"/>
                    </a:lnTo>
                    <a:lnTo>
                      <a:pt x="1686" y="1134"/>
                    </a:lnTo>
                    <a:lnTo>
                      <a:pt x="1686" y="1134"/>
                    </a:lnTo>
                    <a:lnTo>
                      <a:pt x="1686" y="1132"/>
                    </a:lnTo>
                    <a:lnTo>
                      <a:pt x="1688" y="1132"/>
                    </a:lnTo>
                    <a:lnTo>
                      <a:pt x="1688" y="1132"/>
                    </a:lnTo>
                    <a:close/>
                    <a:moveTo>
                      <a:pt x="5855" y="1127"/>
                    </a:moveTo>
                    <a:lnTo>
                      <a:pt x="5852" y="1127"/>
                    </a:lnTo>
                    <a:lnTo>
                      <a:pt x="5852" y="1130"/>
                    </a:lnTo>
                    <a:lnTo>
                      <a:pt x="5852" y="1184"/>
                    </a:lnTo>
                    <a:lnTo>
                      <a:pt x="5855" y="1184"/>
                    </a:lnTo>
                    <a:lnTo>
                      <a:pt x="5855" y="1182"/>
                    </a:lnTo>
                    <a:lnTo>
                      <a:pt x="5855" y="1182"/>
                    </a:lnTo>
                    <a:lnTo>
                      <a:pt x="5855" y="1127"/>
                    </a:lnTo>
                    <a:close/>
                    <a:moveTo>
                      <a:pt x="6323" y="1127"/>
                    </a:moveTo>
                    <a:lnTo>
                      <a:pt x="6321" y="1127"/>
                    </a:lnTo>
                    <a:lnTo>
                      <a:pt x="6321" y="1127"/>
                    </a:lnTo>
                    <a:lnTo>
                      <a:pt x="6321" y="1130"/>
                    </a:lnTo>
                    <a:lnTo>
                      <a:pt x="6321" y="1158"/>
                    </a:lnTo>
                    <a:lnTo>
                      <a:pt x="6323" y="1158"/>
                    </a:lnTo>
                    <a:lnTo>
                      <a:pt x="6323" y="1127"/>
                    </a:lnTo>
                    <a:close/>
                    <a:moveTo>
                      <a:pt x="1464" y="1082"/>
                    </a:moveTo>
                    <a:lnTo>
                      <a:pt x="1461" y="1082"/>
                    </a:lnTo>
                    <a:lnTo>
                      <a:pt x="1461" y="1085"/>
                    </a:lnTo>
                    <a:lnTo>
                      <a:pt x="1461" y="1108"/>
                    </a:lnTo>
                    <a:lnTo>
                      <a:pt x="1464" y="1108"/>
                    </a:lnTo>
                    <a:lnTo>
                      <a:pt x="1464" y="1106"/>
                    </a:lnTo>
                    <a:lnTo>
                      <a:pt x="1464" y="1106"/>
                    </a:lnTo>
                    <a:lnTo>
                      <a:pt x="1464" y="1082"/>
                    </a:lnTo>
                    <a:close/>
                    <a:moveTo>
                      <a:pt x="2859" y="1061"/>
                    </a:moveTo>
                    <a:lnTo>
                      <a:pt x="2859" y="1061"/>
                    </a:lnTo>
                    <a:lnTo>
                      <a:pt x="2857" y="1061"/>
                    </a:lnTo>
                    <a:lnTo>
                      <a:pt x="2857" y="1063"/>
                    </a:lnTo>
                    <a:lnTo>
                      <a:pt x="2857" y="1189"/>
                    </a:lnTo>
                    <a:lnTo>
                      <a:pt x="2859" y="1189"/>
                    </a:lnTo>
                    <a:lnTo>
                      <a:pt x="2859" y="1061"/>
                    </a:lnTo>
                    <a:close/>
                    <a:moveTo>
                      <a:pt x="5930" y="1040"/>
                    </a:moveTo>
                    <a:lnTo>
                      <a:pt x="5930" y="1040"/>
                    </a:lnTo>
                    <a:lnTo>
                      <a:pt x="5928" y="1040"/>
                    </a:lnTo>
                    <a:lnTo>
                      <a:pt x="5928" y="1042"/>
                    </a:lnTo>
                    <a:lnTo>
                      <a:pt x="5928" y="1078"/>
                    </a:lnTo>
                    <a:lnTo>
                      <a:pt x="5930" y="1078"/>
                    </a:lnTo>
                    <a:lnTo>
                      <a:pt x="5930" y="1040"/>
                    </a:lnTo>
                    <a:close/>
                    <a:moveTo>
                      <a:pt x="2878" y="1011"/>
                    </a:moveTo>
                    <a:lnTo>
                      <a:pt x="2875" y="1011"/>
                    </a:lnTo>
                    <a:lnTo>
                      <a:pt x="2875" y="1014"/>
                    </a:lnTo>
                    <a:lnTo>
                      <a:pt x="2875" y="1044"/>
                    </a:lnTo>
                    <a:lnTo>
                      <a:pt x="2875" y="1044"/>
                    </a:lnTo>
                    <a:lnTo>
                      <a:pt x="2875" y="1042"/>
                    </a:lnTo>
                    <a:lnTo>
                      <a:pt x="2878" y="1042"/>
                    </a:lnTo>
                    <a:lnTo>
                      <a:pt x="2878" y="1011"/>
                    </a:lnTo>
                    <a:close/>
                    <a:moveTo>
                      <a:pt x="3769" y="992"/>
                    </a:moveTo>
                    <a:lnTo>
                      <a:pt x="3767" y="992"/>
                    </a:lnTo>
                    <a:lnTo>
                      <a:pt x="3767" y="995"/>
                    </a:lnTo>
                    <a:lnTo>
                      <a:pt x="3767" y="1172"/>
                    </a:lnTo>
                    <a:lnTo>
                      <a:pt x="3769" y="1172"/>
                    </a:lnTo>
                    <a:lnTo>
                      <a:pt x="3769" y="992"/>
                    </a:lnTo>
                    <a:close/>
                    <a:moveTo>
                      <a:pt x="5949" y="990"/>
                    </a:moveTo>
                    <a:lnTo>
                      <a:pt x="5947" y="990"/>
                    </a:lnTo>
                    <a:lnTo>
                      <a:pt x="5947" y="990"/>
                    </a:lnTo>
                    <a:lnTo>
                      <a:pt x="5947" y="1023"/>
                    </a:lnTo>
                    <a:lnTo>
                      <a:pt x="5947" y="1023"/>
                    </a:lnTo>
                    <a:lnTo>
                      <a:pt x="5947" y="1021"/>
                    </a:lnTo>
                    <a:lnTo>
                      <a:pt x="5949" y="1021"/>
                    </a:lnTo>
                    <a:lnTo>
                      <a:pt x="5949" y="990"/>
                    </a:lnTo>
                    <a:close/>
                    <a:moveTo>
                      <a:pt x="6339" y="936"/>
                    </a:moveTo>
                    <a:lnTo>
                      <a:pt x="6337" y="936"/>
                    </a:lnTo>
                    <a:lnTo>
                      <a:pt x="6337" y="936"/>
                    </a:lnTo>
                    <a:lnTo>
                      <a:pt x="6337" y="1111"/>
                    </a:lnTo>
                    <a:lnTo>
                      <a:pt x="6339" y="1111"/>
                    </a:lnTo>
                    <a:lnTo>
                      <a:pt x="6339" y="1108"/>
                    </a:lnTo>
                    <a:lnTo>
                      <a:pt x="6339" y="1108"/>
                    </a:lnTo>
                    <a:lnTo>
                      <a:pt x="6339" y="936"/>
                    </a:lnTo>
                    <a:close/>
                    <a:moveTo>
                      <a:pt x="3845" y="926"/>
                    </a:moveTo>
                    <a:lnTo>
                      <a:pt x="3843" y="926"/>
                    </a:lnTo>
                    <a:lnTo>
                      <a:pt x="3843" y="928"/>
                    </a:lnTo>
                    <a:lnTo>
                      <a:pt x="3843" y="943"/>
                    </a:lnTo>
                    <a:lnTo>
                      <a:pt x="3845" y="943"/>
                    </a:lnTo>
                    <a:lnTo>
                      <a:pt x="3845" y="926"/>
                    </a:lnTo>
                    <a:close/>
                    <a:moveTo>
                      <a:pt x="6389" y="879"/>
                    </a:moveTo>
                    <a:lnTo>
                      <a:pt x="6387" y="879"/>
                    </a:lnTo>
                    <a:lnTo>
                      <a:pt x="6387" y="879"/>
                    </a:lnTo>
                    <a:lnTo>
                      <a:pt x="6387" y="879"/>
                    </a:lnTo>
                    <a:lnTo>
                      <a:pt x="6387" y="886"/>
                    </a:lnTo>
                    <a:lnTo>
                      <a:pt x="6387" y="886"/>
                    </a:lnTo>
                    <a:lnTo>
                      <a:pt x="6387" y="883"/>
                    </a:lnTo>
                    <a:lnTo>
                      <a:pt x="6389" y="883"/>
                    </a:lnTo>
                    <a:lnTo>
                      <a:pt x="6389" y="879"/>
                    </a:lnTo>
                    <a:close/>
                    <a:moveTo>
                      <a:pt x="6396" y="850"/>
                    </a:moveTo>
                    <a:lnTo>
                      <a:pt x="6396" y="850"/>
                    </a:lnTo>
                    <a:lnTo>
                      <a:pt x="6396" y="850"/>
                    </a:lnTo>
                    <a:lnTo>
                      <a:pt x="6396" y="869"/>
                    </a:lnTo>
                    <a:lnTo>
                      <a:pt x="6396" y="869"/>
                    </a:lnTo>
                    <a:lnTo>
                      <a:pt x="6396" y="869"/>
                    </a:lnTo>
                    <a:lnTo>
                      <a:pt x="6396" y="869"/>
                    </a:lnTo>
                    <a:lnTo>
                      <a:pt x="6396" y="850"/>
                    </a:lnTo>
                    <a:close/>
                    <a:moveTo>
                      <a:pt x="3100" y="763"/>
                    </a:moveTo>
                    <a:lnTo>
                      <a:pt x="3100" y="763"/>
                    </a:lnTo>
                    <a:lnTo>
                      <a:pt x="3098" y="763"/>
                    </a:lnTo>
                    <a:lnTo>
                      <a:pt x="3098" y="763"/>
                    </a:lnTo>
                    <a:lnTo>
                      <a:pt x="3098" y="928"/>
                    </a:lnTo>
                    <a:lnTo>
                      <a:pt x="3100" y="928"/>
                    </a:lnTo>
                    <a:lnTo>
                      <a:pt x="3100" y="763"/>
                    </a:lnTo>
                    <a:close/>
                    <a:moveTo>
                      <a:pt x="1007" y="753"/>
                    </a:moveTo>
                    <a:lnTo>
                      <a:pt x="1007" y="753"/>
                    </a:lnTo>
                    <a:lnTo>
                      <a:pt x="1007" y="753"/>
                    </a:lnTo>
                    <a:lnTo>
                      <a:pt x="1007" y="777"/>
                    </a:lnTo>
                    <a:lnTo>
                      <a:pt x="1007" y="777"/>
                    </a:lnTo>
                    <a:lnTo>
                      <a:pt x="1007" y="753"/>
                    </a:lnTo>
                    <a:close/>
                    <a:moveTo>
                      <a:pt x="5131" y="732"/>
                    </a:moveTo>
                    <a:lnTo>
                      <a:pt x="5129" y="732"/>
                    </a:lnTo>
                    <a:lnTo>
                      <a:pt x="5129" y="732"/>
                    </a:lnTo>
                    <a:lnTo>
                      <a:pt x="5129" y="921"/>
                    </a:lnTo>
                    <a:lnTo>
                      <a:pt x="5131" y="921"/>
                    </a:lnTo>
                    <a:lnTo>
                      <a:pt x="5131" y="732"/>
                    </a:lnTo>
                    <a:close/>
                    <a:moveTo>
                      <a:pt x="3138" y="656"/>
                    </a:moveTo>
                    <a:lnTo>
                      <a:pt x="3136" y="656"/>
                    </a:lnTo>
                    <a:lnTo>
                      <a:pt x="3136" y="659"/>
                    </a:lnTo>
                    <a:lnTo>
                      <a:pt x="3136" y="725"/>
                    </a:lnTo>
                    <a:lnTo>
                      <a:pt x="3136" y="725"/>
                    </a:lnTo>
                    <a:lnTo>
                      <a:pt x="3136" y="722"/>
                    </a:lnTo>
                    <a:lnTo>
                      <a:pt x="3138" y="722"/>
                    </a:lnTo>
                    <a:lnTo>
                      <a:pt x="3138" y="656"/>
                    </a:lnTo>
                    <a:close/>
                    <a:moveTo>
                      <a:pt x="97" y="616"/>
                    </a:moveTo>
                    <a:lnTo>
                      <a:pt x="95" y="616"/>
                    </a:lnTo>
                    <a:lnTo>
                      <a:pt x="95" y="618"/>
                    </a:lnTo>
                    <a:lnTo>
                      <a:pt x="95" y="1402"/>
                    </a:lnTo>
                    <a:lnTo>
                      <a:pt x="97" y="1402"/>
                    </a:lnTo>
                    <a:lnTo>
                      <a:pt x="97" y="616"/>
                    </a:lnTo>
                    <a:close/>
                    <a:moveTo>
                      <a:pt x="5252" y="609"/>
                    </a:moveTo>
                    <a:lnTo>
                      <a:pt x="5249" y="609"/>
                    </a:lnTo>
                    <a:lnTo>
                      <a:pt x="5249" y="611"/>
                    </a:lnTo>
                    <a:lnTo>
                      <a:pt x="5249" y="680"/>
                    </a:lnTo>
                    <a:lnTo>
                      <a:pt x="5252" y="680"/>
                    </a:lnTo>
                    <a:lnTo>
                      <a:pt x="5252" y="609"/>
                    </a:lnTo>
                    <a:close/>
                    <a:moveTo>
                      <a:pt x="3282" y="580"/>
                    </a:moveTo>
                    <a:lnTo>
                      <a:pt x="3280" y="580"/>
                    </a:lnTo>
                    <a:lnTo>
                      <a:pt x="3280" y="580"/>
                    </a:lnTo>
                    <a:lnTo>
                      <a:pt x="3280" y="583"/>
                    </a:lnTo>
                    <a:lnTo>
                      <a:pt x="3280" y="606"/>
                    </a:lnTo>
                    <a:lnTo>
                      <a:pt x="3282" y="606"/>
                    </a:lnTo>
                    <a:lnTo>
                      <a:pt x="3282" y="580"/>
                    </a:lnTo>
                    <a:close/>
                    <a:moveTo>
                      <a:pt x="300" y="547"/>
                    </a:moveTo>
                    <a:lnTo>
                      <a:pt x="300" y="547"/>
                    </a:lnTo>
                    <a:lnTo>
                      <a:pt x="300" y="547"/>
                    </a:lnTo>
                    <a:lnTo>
                      <a:pt x="300" y="566"/>
                    </a:lnTo>
                    <a:lnTo>
                      <a:pt x="300" y="566"/>
                    </a:lnTo>
                    <a:lnTo>
                      <a:pt x="300" y="547"/>
                    </a:lnTo>
                    <a:close/>
                    <a:moveTo>
                      <a:pt x="7025" y="507"/>
                    </a:moveTo>
                    <a:lnTo>
                      <a:pt x="7023" y="507"/>
                    </a:lnTo>
                    <a:lnTo>
                      <a:pt x="7023" y="509"/>
                    </a:lnTo>
                    <a:lnTo>
                      <a:pt x="7023" y="1042"/>
                    </a:lnTo>
                    <a:lnTo>
                      <a:pt x="7025" y="1042"/>
                    </a:lnTo>
                    <a:lnTo>
                      <a:pt x="7025" y="507"/>
                    </a:lnTo>
                    <a:close/>
                    <a:moveTo>
                      <a:pt x="4192" y="502"/>
                    </a:moveTo>
                    <a:lnTo>
                      <a:pt x="4192" y="502"/>
                    </a:lnTo>
                    <a:lnTo>
                      <a:pt x="4190" y="505"/>
                    </a:lnTo>
                    <a:lnTo>
                      <a:pt x="4164" y="540"/>
                    </a:lnTo>
                    <a:lnTo>
                      <a:pt x="4164" y="540"/>
                    </a:lnTo>
                    <a:lnTo>
                      <a:pt x="4192" y="502"/>
                    </a:lnTo>
                    <a:close/>
                    <a:moveTo>
                      <a:pt x="3299" y="500"/>
                    </a:moveTo>
                    <a:lnTo>
                      <a:pt x="3299" y="500"/>
                    </a:lnTo>
                    <a:lnTo>
                      <a:pt x="3296" y="500"/>
                    </a:lnTo>
                    <a:lnTo>
                      <a:pt x="3296" y="502"/>
                    </a:lnTo>
                    <a:lnTo>
                      <a:pt x="3296" y="564"/>
                    </a:lnTo>
                    <a:lnTo>
                      <a:pt x="3299" y="564"/>
                    </a:lnTo>
                    <a:lnTo>
                      <a:pt x="3299" y="561"/>
                    </a:lnTo>
                    <a:lnTo>
                      <a:pt x="3299" y="561"/>
                    </a:lnTo>
                    <a:lnTo>
                      <a:pt x="3299" y="500"/>
                    </a:lnTo>
                    <a:close/>
                    <a:moveTo>
                      <a:pt x="4036" y="453"/>
                    </a:moveTo>
                    <a:lnTo>
                      <a:pt x="4034" y="453"/>
                    </a:lnTo>
                    <a:lnTo>
                      <a:pt x="4034" y="453"/>
                    </a:lnTo>
                    <a:lnTo>
                      <a:pt x="4034" y="455"/>
                    </a:lnTo>
                    <a:lnTo>
                      <a:pt x="4034" y="490"/>
                    </a:lnTo>
                    <a:lnTo>
                      <a:pt x="3951" y="642"/>
                    </a:lnTo>
                    <a:lnTo>
                      <a:pt x="3951" y="876"/>
                    </a:lnTo>
                    <a:lnTo>
                      <a:pt x="3954" y="876"/>
                    </a:lnTo>
                    <a:lnTo>
                      <a:pt x="3954" y="640"/>
                    </a:lnTo>
                    <a:lnTo>
                      <a:pt x="4036" y="488"/>
                    </a:lnTo>
                    <a:lnTo>
                      <a:pt x="4036" y="453"/>
                    </a:lnTo>
                    <a:close/>
                    <a:moveTo>
                      <a:pt x="3327" y="434"/>
                    </a:moveTo>
                    <a:lnTo>
                      <a:pt x="3327" y="434"/>
                    </a:lnTo>
                    <a:lnTo>
                      <a:pt x="3327" y="434"/>
                    </a:lnTo>
                    <a:lnTo>
                      <a:pt x="3327" y="472"/>
                    </a:lnTo>
                    <a:lnTo>
                      <a:pt x="3327" y="472"/>
                    </a:lnTo>
                    <a:lnTo>
                      <a:pt x="3327" y="472"/>
                    </a:lnTo>
                    <a:lnTo>
                      <a:pt x="3327" y="472"/>
                    </a:lnTo>
                    <a:lnTo>
                      <a:pt x="3327" y="434"/>
                    </a:lnTo>
                    <a:close/>
                    <a:moveTo>
                      <a:pt x="4041" y="391"/>
                    </a:moveTo>
                    <a:lnTo>
                      <a:pt x="4041" y="391"/>
                    </a:lnTo>
                    <a:lnTo>
                      <a:pt x="4039" y="391"/>
                    </a:lnTo>
                    <a:lnTo>
                      <a:pt x="4039" y="391"/>
                    </a:lnTo>
                    <a:lnTo>
                      <a:pt x="4039" y="448"/>
                    </a:lnTo>
                    <a:lnTo>
                      <a:pt x="4041" y="448"/>
                    </a:lnTo>
                    <a:lnTo>
                      <a:pt x="4041" y="445"/>
                    </a:lnTo>
                    <a:lnTo>
                      <a:pt x="4041" y="445"/>
                    </a:lnTo>
                    <a:lnTo>
                      <a:pt x="4041" y="391"/>
                    </a:lnTo>
                    <a:close/>
                    <a:moveTo>
                      <a:pt x="1809" y="367"/>
                    </a:moveTo>
                    <a:lnTo>
                      <a:pt x="1807" y="367"/>
                    </a:lnTo>
                    <a:lnTo>
                      <a:pt x="1807" y="370"/>
                    </a:lnTo>
                    <a:lnTo>
                      <a:pt x="1807" y="1080"/>
                    </a:lnTo>
                    <a:lnTo>
                      <a:pt x="1809" y="1080"/>
                    </a:lnTo>
                    <a:lnTo>
                      <a:pt x="1809" y="367"/>
                    </a:lnTo>
                    <a:close/>
                    <a:moveTo>
                      <a:pt x="4051" y="327"/>
                    </a:moveTo>
                    <a:lnTo>
                      <a:pt x="4048" y="327"/>
                    </a:lnTo>
                    <a:lnTo>
                      <a:pt x="4048" y="329"/>
                    </a:lnTo>
                    <a:lnTo>
                      <a:pt x="4048" y="382"/>
                    </a:lnTo>
                    <a:lnTo>
                      <a:pt x="4048" y="382"/>
                    </a:lnTo>
                    <a:lnTo>
                      <a:pt x="4048" y="382"/>
                    </a:lnTo>
                    <a:lnTo>
                      <a:pt x="4051" y="382"/>
                    </a:lnTo>
                    <a:lnTo>
                      <a:pt x="4051" y="327"/>
                    </a:lnTo>
                    <a:close/>
                    <a:moveTo>
                      <a:pt x="4703" y="230"/>
                    </a:moveTo>
                    <a:lnTo>
                      <a:pt x="4701" y="230"/>
                    </a:lnTo>
                    <a:lnTo>
                      <a:pt x="4701" y="232"/>
                    </a:lnTo>
                    <a:lnTo>
                      <a:pt x="4642" y="450"/>
                    </a:lnTo>
                    <a:lnTo>
                      <a:pt x="4644" y="448"/>
                    </a:lnTo>
                    <a:lnTo>
                      <a:pt x="4703" y="230"/>
                    </a:lnTo>
                    <a:close/>
                    <a:moveTo>
                      <a:pt x="4802" y="171"/>
                    </a:moveTo>
                    <a:lnTo>
                      <a:pt x="4800" y="171"/>
                    </a:lnTo>
                    <a:lnTo>
                      <a:pt x="4800" y="173"/>
                    </a:lnTo>
                    <a:lnTo>
                      <a:pt x="4800" y="180"/>
                    </a:lnTo>
                    <a:lnTo>
                      <a:pt x="4802" y="180"/>
                    </a:lnTo>
                    <a:lnTo>
                      <a:pt x="4802" y="171"/>
                    </a:lnTo>
                    <a:close/>
                    <a:moveTo>
                      <a:pt x="4852" y="0"/>
                    </a:moveTo>
                    <a:lnTo>
                      <a:pt x="4850" y="0"/>
                    </a:lnTo>
                    <a:lnTo>
                      <a:pt x="4850" y="0"/>
                    </a:lnTo>
                    <a:lnTo>
                      <a:pt x="4850" y="123"/>
                    </a:lnTo>
                    <a:lnTo>
                      <a:pt x="4852" y="123"/>
                    </a:lnTo>
                    <a:lnTo>
                      <a:pt x="4852" y="121"/>
                    </a:lnTo>
                    <a:lnTo>
                      <a:pt x="4852" y="121"/>
                    </a:lnTo>
                    <a:lnTo>
                      <a:pt x="4852" y="0"/>
                    </a:ln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69" name="Freeform 91"/>
              <p:cNvSpPr>
                <a:spLocks noEditPoints="1"/>
              </p:cNvSpPr>
              <p:nvPr/>
            </p:nvSpPr>
            <p:spPr bwMode="auto">
              <a:xfrm>
                <a:off x="-3" y="1712"/>
                <a:ext cx="7025" cy="1485"/>
              </a:xfrm>
              <a:custGeom>
                <a:avLst/>
                <a:gdLst>
                  <a:gd name="T0" fmla="*/ 0 w 7025"/>
                  <a:gd name="T1" fmla="*/ 1482 h 1485"/>
                  <a:gd name="T2" fmla="*/ 3708 w 7025"/>
                  <a:gd name="T3" fmla="*/ 1222 h 1485"/>
                  <a:gd name="T4" fmla="*/ 3710 w 7025"/>
                  <a:gd name="T5" fmla="*/ 1222 h 1485"/>
                  <a:gd name="T6" fmla="*/ 5829 w 7025"/>
                  <a:gd name="T7" fmla="*/ 1210 h 1485"/>
                  <a:gd name="T8" fmla="*/ 1688 w 7025"/>
                  <a:gd name="T9" fmla="*/ 1132 h 1485"/>
                  <a:gd name="T10" fmla="*/ 1686 w 7025"/>
                  <a:gd name="T11" fmla="*/ 1134 h 1485"/>
                  <a:gd name="T12" fmla="*/ 5855 w 7025"/>
                  <a:gd name="T13" fmla="*/ 1127 h 1485"/>
                  <a:gd name="T14" fmla="*/ 5855 w 7025"/>
                  <a:gd name="T15" fmla="*/ 1184 h 1485"/>
                  <a:gd name="T16" fmla="*/ 6323 w 7025"/>
                  <a:gd name="T17" fmla="*/ 1127 h 1485"/>
                  <a:gd name="T18" fmla="*/ 6321 w 7025"/>
                  <a:gd name="T19" fmla="*/ 1158 h 1485"/>
                  <a:gd name="T20" fmla="*/ 1461 w 7025"/>
                  <a:gd name="T21" fmla="*/ 1082 h 1485"/>
                  <a:gd name="T22" fmla="*/ 1464 w 7025"/>
                  <a:gd name="T23" fmla="*/ 1106 h 1485"/>
                  <a:gd name="T24" fmla="*/ 2859 w 7025"/>
                  <a:gd name="T25" fmla="*/ 1061 h 1485"/>
                  <a:gd name="T26" fmla="*/ 2859 w 7025"/>
                  <a:gd name="T27" fmla="*/ 1189 h 1485"/>
                  <a:gd name="T28" fmla="*/ 5928 w 7025"/>
                  <a:gd name="T29" fmla="*/ 1040 h 1485"/>
                  <a:gd name="T30" fmla="*/ 5930 w 7025"/>
                  <a:gd name="T31" fmla="*/ 1040 h 1485"/>
                  <a:gd name="T32" fmla="*/ 2875 w 7025"/>
                  <a:gd name="T33" fmla="*/ 1044 h 1485"/>
                  <a:gd name="T34" fmla="*/ 2878 w 7025"/>
                  <a:gd name="T35" fmla="*/ 1011 h 1485"/>
                  <a:gd name="T36" fmla="*/ 3767 w 7025"/>
                  <a:gd name="T37" fmla="*/ 1172 h 1485"/>
                  <a:gd name="T38" fmla="*/ 5947 w 7025"/>
                  <a:gd name="T39" fmla="*/ 990 h 1485"/>
                  <a:gd name="T40" fmla="*/ 5947 w 7025"/>
                  <a:gd name="T41" fmla="*/ 1021 h 1485"/>
                  <a:gd name="T42" fmla="*/ 6337 w 7025"/>
                  <a:gd name="T43" fmla="*/ 936 h 1485"/>
                  <a:gd name="T44" fmla="*/ 6339 w 7025"/>
                  <a:gd name="T45" fmla="*/ 1108 h 1485"/>
                  <a:gd name="T46" fmla="*/ 3843 w 7025"/>
                  <a:gd name="T47" fmla="*/ 926 h 1485"/>
                  <a:gd name="T48" fmla="*/ 3845 w 7025"/>
                  <a:gd name="T49" fmla="*/ 926 h 1485"/>
                  <a:gd name="T50" fmla="*/ 6387 w 7025"/>
                  <a:gd name="T51" fmla="*/ 879 h 1485"/>
                  <a:gd name="T52" fmla="*/ 6389 w 7025"/>
                  <a:gd name="T53" fmla="*/ 883 h 1485"/>
                  <a:gd name="T54" fmla="*/ 6396 w 7025"/>
                  <a:gd name="T55" fmla="*/ 850 h 1485"/>
                  <a:gd name="T56" fmla="*/ 6396 w 7025"/>
                  <a:gd name="T57" fmla="*/ 869 h 1485"/>
                  <a:gd name="T58" fmla="*/ 3098 w 7025"/>
                  <a:gd name="T59" fmla="*/ 763 h 1485"/>
                  <a:gd name="T60" fmla="*/ 3100 w 7025"/>
                  <a:gd name="T61" fmla="*/ 763 h 1485"/>
                  <a:gd name="T62" fmla="*/ 1007 w 7025"/>
                  <a:gd name="T63" fmla="*/ 777 h 1485"/>
                  <a:gd name="T64" fmla="*/ 5129 w 7025"/>
                  <a:gd name="T65" fmla="*/ 732 h 1485"/>
                  <a:gd name="T66" fmla="*/ 5131 w 7025"/>
                  <a:gd name="T67" fmla="*/ 732 h 1485"/>
                  <a:gd name="T68" fmla="*/ 3136 w 7025"/>
                  <a:gd name="T69" fmla="*/ 725 h 1485"/>
                  <a:gd name="T70" fmla="*/ 3138 w 7025"/>
                  <a:gd name="T71" fmla="*/ 656 h 1485"/>
                  <a:gd name="T72" fmla="*/ 95 w 7025"/>
                  <a:gd name="T73" fmla="*/ 1402 h 1485"/>
                  <a:gd name="T74" fmla="*/ 5249 w 7025"/>
                  <a:gd name="T75" fmla="*/ 609 h 1485"/>
                  <a:gd name="T76" fmla="*/ 5252 w 7025"/>
                  <a:gd name="T77" fmla="*/ 609 h 1485"/>
                  <a:gd name="T78" fmla="*/ 3280 w 7025"/>
                  <a:gd name="T79" fmla="*/ 583 h 1485"/>
                  <a:gd name="T80" fmla="*/ 300 w 7025"/>
                  <a:gd name="T81" fmla="*/ 547 h 1485"/>
                  <a:gd name="T82" fmla="*/ 300 w 7025"/>
                  <a:gd name="T83" fmla="*/ 566 h 1485"/>
                  <a:gd name="T84" fmla="*/ 7023 w 7025"/>
                  <a:gd name="T85" fmla="*/ 509 h 1485"/>
                  <a:gd name="T86" fmla="*/ 4192 w 7025"/>
                  <a:gd name="T87" fmla="*/ 502 h 1485"/>
                  <a:gd name="T88" fmla="*/ 4164 w 7025"/>
                  <a:gd name="T89" fmla="*/ 540 h 1485"/>
                  <a:gd name="T90" fmla="*/ 3296 w 7025"/>
                  <a:gd name="T91" fmla="*/ 500 h 1485"/>
                  <a:gd name="T92" fmla="*/ 3299 w 7025"/>
                  <a:gd name="T93" fmla="*/ 561 h 1485"/>
                  <a:gd name="T94" fmla="*/ 4034 w 7025"/>
                  <a:gd name="T95" fmla="*/ 453 h 1485"/>
                  <a:gd name="T96" fmla="*/ 3951 w 7025"/>
                  <a:gd name="T97" fmla="*/ 642 h 1485"/>
                  <a:gd name="T98" fmla="*/ 4036 w 7025"/>
                  <a:gd name="T99" fmla="*/ 488 h 1485"/>
                  <a:gd name="T100" fmla="*/ 3327 w 7025"/>
                  <a:gd name="T101" fmla="*/ 434 h 1485"/>
                  <a:gd name="T102" fmla="*/ 3327 w 7025"/>
                  <a:gd name="T103" fmla="*/ 472 h 1485"/>
                  <a:gd name="T104" fmla="*/ 4039 w 7025"/>
                  <a:gd name="T105" fmla="*/ 391 h 1485"/>
                  <a:gd name="T106" fmla="*/ 4041 w 7025"/>
                  <a:gd name="T107" fmla="*/ 445 h 1485"/>
                  <a:gd name="T108" fmla="*/ 1807 w 7025"/>
                  <a:gd name="T109" fmla="*/ 367 h 1485"/>
                  <a:gd name="T110" fmla="*/ 1809 w 7025"/>
                  <a:gd name="T111" fmla="*/ 367 h 1485"/>
                  <a:gd name="T112" fmla="*/ 4048 w 7025"/>
                  <a:gd name="T113" fmla="*/ 382 h 1485"/>
                  <a:gd name="T114" fmla="*/ 4051 w 7025"/>
                  <a:gd name="T115" fmla="*/ 327 h 1485"/>
                  <a:gd name="T116" fmla="*/ 4642 w 7025"/>
                  <a:gd name="T117" fmla="*/ 450 h 1485"/>
                  <a:gd name="T118" fmla="*/ 4800 w 7025"/>
                  <a:gd name="T119" fmla="*/ 171 h 1485"/>
                  <a:gd name="T120" fmla="*/ 4802 w 7025"/>
                  <a:gd name="T121" fmla="*/ 171 h 1485"/>
                  <a:gd name="T122" fmla="*/ 4850 w 7025"/>
                  <a:gd name="T123" fmla="*/ 123 h 1485"/>
                  <a:gd name="T124" fmla="*/ 4852 w 7025"/>
                  <a:gd name="T125" fmla="*/ 0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5" h="1485">
                    <a:moveTo>
                      <a:pt x="0" y="1452"/>
                    </a:moveTo>
                    <a:lnTo>
                      <a:pt x="0" y="1452"/>
                    </a:lnTo>
                    <a:lnTo>
                      <a:pt x="0" y="1485"/>
                    </a:lnTo>
                    <a:lnTo>
                      <a:pt x="0" y="1482"/>
                    </a:lnTo>
                    <a:lnTo>
                      <a:pt x="0" y="1482"/>
                    </a:lnTo>
                    <a:lnTo>
                      <a:pt x="0" y="1452"/>
                    </a:lnTo>
                    <a:moveTo>
                      <a:pt x="3710" y="1222"/>
                    </a:moveTo>
                    <a:lnTo>
                      <a:pt x="3708" y="1222"/>
                    </a:lnTo>
                    <a:lnTo>
                      <a:pt x="3708" y="1222"/>
                    </a:lnTo>
                    <a:lnTo>
                      <a:pt x="3708" y="1265"/>
                    </a:lnTo>
                    <a:lnTo>
                      <a:pt x="3710" y="1265"/>
                    </a:lnTo>
                    <a:lnTo>
                      <a:pt x="3710" y="1222"/>
                    </a:lnTo>
                    <a:moveTo>
                      <a:pt x="5831" y="1208"/>
                    </a:moveTo>
                    <a:lnTo>
                      <a:pt x="5829" y="1208"/>
                    </a:lnTo>
                    <a:lnTo>
                      <a:pt x="5829" y="1208"/>
                    </a:lnTo>
                    <a:lnTo>
                      <a:pt x="5829" y="1210"/>
                    </a:lnTo>
                    <a:lnTo>
                      <a:pt x="5829" y="1274"/>
                    </a:lnTo>
                    <a:lnTo>
                      <a:pt x="5831" y="1274"/>
                    </a:lnTo>
                    <a:lnTo>
                      <a:pt x="5831" y="1208"/>
                    </a:lnTo>
                    <a:moveTo>
                      <a:pt x="1688" y="1132"/>
                    </a:moveTo>
                    <a:lnTo>
                      <a:pt x="1686" y="1132"/>
                    </a:lnTo>
                    <a:lnTo>
                      <a:pt x="1686" y="1132"/>
                    </a:lnTo>
                    <a:lnTo>
                      <a:pt x="1686" y="1134"/>
                    </a:lnTo>
                    <a:lnTo>
                      <a:pt x="1686" y="1134"/>
                    </a:lnTo>
                    <a:lnTo>
                      <a:pt x="1686" y="1132"/>
                    </a:lnTo>
                    <a:lnTo>
                      <a:pt x="1688" y="1132"/>
                    </a:lnTo>
                    <a:lnTo>
                      <a:pt x="1688" y="1132"/>
                    </a:lnTo>
                    <a:moveTo>
                      <a:pt x="5855" y="1127"/>
                    </a:moveTo>
                    <a:lnTo>
                      <a:pt x="5852" y="1127"/>
                    </a:lnTo>
                    <a:lnTo>
                      <a:pt x="5852" y="1130"/>
                    </a:lnTo>
                    <a:lnTo>
                      <a:pt x="5852" y="1184"/>
                    </a:lnTo>
                    <a:lnTo>
                      <a:pt x="5855" y="1184"/>
                    </a:lnTo>
                    <a:lnTo>
                      <a:pt x="5855" y="1182"/>
                    </a:lnTo>
                    <a:lnTo>
                      <a:pt x="5855" y="1182"/>
                    </a:lnTo>
                    <a:lnTo>
                      <a:pt x="5855" y="1127"/>
                    </a:lnTo>
                    <a:moveTo>
                      <a:pt x="6323" y="1127"/>
                    </a:moveTo>
                    <a:lnTo>
                      <a:pt x="6321" y="1127"/>
                    </a:lnTo>
                    <a:lnTo>
                      <a:pt x="6321" y="1127"/>
                    </a:lnTo>
                    <a:lnTo>
                      <a:pt x="6321" y="1130"/>
                    </a:lnTo>
                    <a:lnTo>
                      <a:pt x="6321" y="1158"/>
                    </a:lnTo>
                    <a:lnTo>
                      <a:pt x="6323" y="1158"/>
                    </a:lnTo>
                    <a:lnTo>
                      <a:pt x="6323" y="1127"/>
                    </a:lnTo>
                    <a:moveTo>
                      <a:pt x="1464" y="1082"/>
                    </a:moveTo>
                    <a:lnTo>
                      <a:pt x="1461" y="1082"/>
                    </a:lnTo>
                    <a:lnTo>
                      <a:pt x="1461" y="1085"/>
                    </a:lnTo>
                    <a:lnTo>
                      <a:pt x="1461" y="1108"/>
                    </a:lnTo>
                    <a:lnTo>
                      <a:pt x="1464" y="1108"/>
                    </a:lnTo>
                    <a:lnTo>
                      <a:pt x="1464" y="1106"/>
                    </a:lnTo>
                    <a:lnTo>
                      <a:pt x="1464" y="1106"/>
                    </a:lnTo>
                    <a:lnTo>
                      <a:pt x="1464" y="1082"/>
                    </a:lnTo>
                    <a:moveTo>
                      <a:pt x="2859" y="1061"/>
                    </a:moveTo>
                    <a:lnTo>
                      <a:pt x="2859" y="1061"/>
                    </a:lnTo>
                    <a:lnTo>
                      <a:pt x="2857" y="1061"/>
                    </a:lnTo>
                    <a:lnTo>
                      <a:pt x="2857" y="1063"/>
                    </a:lnTo>
                    <a:lnTo>
                      <a:pt x="2857" y="1189"/>
                    </a:lnTo>
                    <a:lnTo>
                      <a:pt x="2859" y="1189"/>
                    </a:lnTo>
                    <a:lnTo>
                      <a:pt x="2859" y="1061"/>
                    </a:lnTo>
                    <a:moveTo>
                      <a:pt x="5930" y="1040"/>
                    </a:moveTo>
                    <a:lnTo>
                      <a:pt x="5930" y="1040"/>
                    </a:lnTo>
                    <a:lnTo>
                      <a:pt x="5928" y="1040"/>
                    </a:lnTo>
                    <a:lnTo>
                      <a:pt x="5928" y="1042"/>
                    </a:lnTo>
                    <a:lnTo>
                      <a:pt x="5928" y="1078"/>
                    </a:lnTo>
                    <a:lnTo>
                      <a:pt x="5930" y="1078"/>
                    </a:lnTo>
                    <a:lnTo>
                      <a:pt x="5930" y="1040"/>
                    </a:lnTo>
                    <a:moveTo>
                      <a:pt x="2878" y="1011"/>
                    </a:moveTo>
                    <a:lnTo>
                      <a:pt x="2875" y="1011"/>
                    </a:lnTo>
                    <a:lnTo>
                      <a:pt x="2875" y="1014"/>
                    </a:lnTo>
                    <a:lnTo>
                      <a:pt x="2875" y="1044"/>
                    </a:lnTo>
                    <a:lnTo>
                      <a:pt x="2875" y="1044"/>
                    </a:lnTo>
                    <a:lnTo>
                      <a:pt x="2875" y="1042"/>
                    </a:lnTo>
                    <a:lnTo>
                      <a:pt x="2878" y="1042"/>
                    </a:lnTo>
                    <a:lnTo>
                      <a:pt x="2878" y="1011"/>
                    </a:lnTo>
                    <a:moveTo>
                      <a:pt x="3769" y="992"/>
                    </a:moveTo>
                    <a:lnTo>
                      <a:pt x="3767" y="992"/>
                    </a:lnTo>
                    <a:lnTo>
                      <a:pt x="3767" y="995"/>
                    </a:lnTo>
                    <a:lnTo>
                      <a:pt x="3767" y="1172"/>
                    </a:lnTo>
                    <a:lnTo>
                      <a:pt x="3769" y="1172"/>
                    </a:lnTo>
                    <a:lnTo>
                      <a:pt x="3769" y="992"/>
                    </a:lnTo>
                    <a:moveTo>
                      <a:pt x="5949" y="990"/>
                    </a:moveTo>
                    <a:lnTo>
                      <a:pt x="5947" y="990"/>
                    </a:lnTo>
                    <a:lnTo>
                      <a:pt x="5947" y="990"/>
                    </a:lnTo>
                    <a:lnTo>
                      <a:pt x="5947" y="1023"/>
                    </a:lnTo>
                    <a:lnTo>
                      <a:pt x="5947" y="1023"/>
                    </a:lnTo>
                    <a:lnTo>
                      <a:pt x="5947" y="1021"/>
                    </a:lnTo>
                    <a:lnTo>
                      <a:pt x="5949" y="1021"/>
                    </a:lnTo>
                    <a:lnTo>
                      <a:pt x="5949" y="990"/>
                    </a:lnTo>
                    <a:moveTo>
                      <a:pt x="6339" y="936"/>
                    </a:moveTo>
                    <a:lnTo>
                      <a:pt x="6337" y="936"/>
                    </a:lnTo>
                    <a:lnTo>
                      <a:pt x="6337" y="936"/>
                    </a:lnTo>
                    <a:lnTo>
                      <a:pt x="6337" y="1111"/>
                    </a:lnTo>
                    <a:lnTo>
                      <a:pt x="6339" y="1111"/>
                    </a:lnTo>
                    <a:lnTo>
                      <a:pt x="6339" y="1108"/>
                    </a:lnTo>
                    <a:lnTo>
                      <a:pt x="6339" y="1108"/>
                    </a:lnTo>
                    <a:lnTo>
                      <a:pt x="6339" y="936"/>
                    </a:lnTo>
                    <a:moveTo>
                      <a:pt x="3845" y="926"/>
                    </a:moveTo>
                    <a:lnTo>
                      <a:pt x="3843" y="926"/>
                    </a:lnTo>
                    <a:lnTo>
                      <a:pt x="3843" y="928"/>
                    </a:lnTo>
                    <a:lnTo>
                      <a:pt x="3843" y="943"/>
                    </a:lnTo>
                    <a:lnTo>
                      <a:pt x="3845" y="943"/>
                    </a:lnTo>
                    <a:lnTo>
                      <a:pt x="3845" y="926"/>
                    </a:lnTo>
                    <a:moveTo>
                      <a:pt x="6389" y="879"/>
                    </a:moveTo>
                    <a:lnTo>
                      <a:pt x="6387" y="879"/>
                    </a:lnTo>
                    <a:lnTo>
                      <a:pt x="6387" y="879"/>
                    </a:lnTo>
                    <a:lnTo>
                      <a:pt x="6387" y="879"/>
                    </a:lnTo>
                    <a:lnTo>
                      <a:pt x="6387" y="886"/>
                    </a:lnTo>
                    <a:lnTo>
                      <a:pt x="6387" y="886"/>
                    </a:lnTo>
                    <a:lnTo>
                      <a:pt x="6387" y="883"/>
                    </a:lnTo>
                    <a:lnTo>
                      <a:pt x="6389" y="883"/>
                    </a:lnTo>
                    <a:lnTo>
                      <a:pt x="6389" y="879"/>
                    </a:lnTo>
                    <a:moveTo>
                      <a:pt x="6396" y="850"/>
                    </a:moveTo>
                    <a:lnTo>
                      <a:pt x="6396" y="850"/>
                    </a:lnTo>
                    <a:lnTo>
                      <a:pt x="6396" y="850"/>
                    </a:lnTo>
                    <a:lnTo>
                      <a:pt x="6396" y="869"/>
                    </a:lnTo>
                    <a:lnTo>
                      <a:pt x="6396" y="869"/>
                    </a:lnTo>
                    <a:lnTo>
                      <a:pt x="6396" y="869"/>
                    </a:lnTo>
                    <a:lnTo>
                      <a:pt x="6396" y="869"/>
                    </a:lnTo>
                    <a:lnTo>
                      <a:pt x="6396" y="850"/>
                    </a:lnTo>
                    <a:moveTo>
                      <a:pt x="3100" y="763"/>
                    </a:moveTo>
                    <a:lnTo>
                      <a:pt x="3100" y="763"/>
                    </a:lnTo>
                    <a:lnTo>
                      <a:pt x="3098" y="763"/>
                    </a:lnTo>
                    <a:lnTo>
                      <a:pt x="3098" y="763"/>
                    </a:lnTo>
                    <a:lnTo>
                      <a:pt x="3098" y="928"/>
                    </a:lnTo>
                    <a:lnTo>
                      <a:pt x="3100" y="928"/>
                    </a:lnTo>
                    <a:lnTo>
                      <a:pt x="3100" y="763"/>
                    </a:lnTo>
                    <a:moveTo>
                      <a:pt x="1007" y="753"/>
                    </a:moveTo>
                    <a:lnTo>
                      <a:pt x="1007" y="753"/>
                    </a:lnTo>
                    <a:lnTo>
                      <a:pt x="1007" y="753"/>
                    </a:lnTo>
                    <a:lnTo>
                      <a:pt x="1007" y="777"/>
                    </a:lnTo>
                    <a:lnTo>
                      <a:pt x="1007" y="777"/>
                    </a:lnTo>
                    <a:lnTo>
                      <a:pt x="1007" y="753"/>
                    </a:lnTo>
                    <a:moveTo>
                      <a:pt x="5131" y="732"/>
                    </a:moveTo>
                    <a:lnTo>
                      <a:pt x="5129" y="732"/>
                    </a:lnTo>
                    <a:lnTo>
                      <a:pt x="5129" y="732"/>
                    </a:lnTo>
                    <a:lnTo>
                      <a:pt x="5129" y="921"/>
                    </a:lnTo>
                    <a:lnTo>
                      <a:pt x="5131" y="921"/>
                    </a:lnTo>
                    <a:lnTo>
                      <a:pt x="5131" y="732"/>
                    </a:lnTo>
                    <a:moveTo>
                      <a:pt x="3138" y="656"/>
                    </a:moveTo>
                    <a:lnTo>
                      <a:pt x="3136" y="656"/>
                    </a:lnTo>
                    <a:lnTo>
                      <a:pt x="3136" y="659"/>
                    </a:lnTo>
                    <a:lnTo>
                      <a:pt x="3136" y="725"/>
                    </a:lnTo>
                    <a:lnTo>
                      <a:pt x="3136" y="725"/>
                    </a:lnTo>
                    <a:lnTo>
                      <a:pt x="3136" y="722"/>
                    </a:lnTo>
                    <a:lnTo>
                      <a:pt x="3138" y="722"/>
                    </a:lnTo>
                    <a:lnTo>
                      <a:pt x="3138" y="656"/>
                    </a:lnTo>
                    <a:moveTo>
                      <a:pt x="97" y="616"/>
                    </a:moveTo>
                    <a:lnTo>
                      <a:pt x="95" y="616"/>
                    </a:lnTo>
                    <a:lnTo>
                      <a:pt x="95" y="618"/>
                    </a:lnTo>
                    <a:lnTo>
                      <a:pt x="95" y="1402"/>
                    </a:lnTo>
                    <a:lnTo>
                      <a:pt x="97" y="1402"/>
                    </a:lnTo>
                    <a:lnTo>
                      <a:pt x="97" y="616"/>
                    </a:lnTo>
                    <a:moveTo>
                      <a:pt x="5252" y="609"/>
                    </a:moveTo>
                    <a:lnTo>
                      <a:pt x="5249" y="609"/>
                    </a:lnTo>
                    <a:lnTo>
                      <a:pt x="5249" y="611"/>
                    </a:lnTo>
                    <a:lnTo>
                      <a:pt x="5249" y="680"/>
                    </a:lnTo>
                    <a:lnTo>
                      <a:pt x="5252" y="680"/>
                    </a:lnTo>
                    <a:lnTo>
                      <a:pt x="5252" y="609"/>
                    </a:lnTo>
                    <a:moveTo>
                      <a:pt x="3282" y="580"/>
                    </a:moveTo>
                    <a:lnTo>
                      <a:pt x="3280" y="580"/>
                    </a:lnTo>
                    <a:lnTo>
                      <a:pt x="3280" y="580"/>
                    </a:lnTo>
                    <a:lnTo>
                      <a:pt x="3280" y="583"/>
                    </a:lnTo>
                    <a:lnTo>
                      <a:pt x="3280" y="606"/>
                    </a:lnTo>
                    <a:lnTo>
                      <a:pt x="3282" y="606"/>
                    </a:lnTo>
                    <a:lnTo>
                      <a:pt x="3282" y="580"/>
                    </a:lnTo>
                    <a:moveTo>
                      <a:pt x="300" y="547"/>
                    </a:moveTo>
                    <a:lnTo>
                      <a:pt x="300" y="547"/>
                    </a:lnTo>
                    <a:lnTo>
                      <a:pt x="300" y="547"/>
                    </a:lnTo>
                    <a:lnTo>
                      <a:pt x="300" y="566"/>
                    </a:lnTo>
                    <a:lnTo>
                      <a:pt x="300" y="566"/>
                    </a:lnTo>
                    <a:lnTo>
                      <a:pt x="300" y="547"/>
                    </a:lnTo>
                    <a:moveTo>
                      <a:pt x="7025" y="507"/>
                    </a:moveTo>
                    <a:lnTo>
                      <a:pt x="7023" y="507"/>
                    </a:lnTo>
                    <a:lnTo>
                      <a:pt x="7023" y="509"/>
                    </a:lnTo>
                    <a:lnTo>
                      <a:pt x="7023" y="1042"/>
                    </a:lnTo>
                    <a:lnTo>
                      <a:pt x="7025" y="1042"/>
                    </a:lnTo>
                    <a:lnTo>
                      <a:pt x="7025" y="507"/>
                    </a:lnTo>
                    <a:moveTo>
                      <a:pt x="4192" y="502"/>
                    </a:moveTo>
                    <a:lnTo>
                      <a:pt x="4192" y="502"/>
                    </a:lnTo>
                    <a:lnTo>
                      <a:pt x="4190" y="505"/>
                    </a:lnTo>
                    <a:lnTo>
                      <a:pt x="4164" y="540"/>
                    </a:lnTo>
                    <a:lnTo>
                      <a:pt x="4164" y="540"/>
                    </a:lnTo>
                    <a:lnTo>
                      <a:pt x="4192" y="502"/>
                    </a:lnTo>
                    <a:moveTo>
                      <a:pt x="3299" y="500"/>
                    </a:moveTo>
                    <a:lnTo>
                      <a:pt x="3299" y="500"/>
                    </a:lnTo>
                    <a:lnTo>
                      <a:pt x="3296" y="500"/>
                    </a:lnTo>
                    <a:lnTo>
                      <a:pt x="3296" y="502"/>
                    </a:lnTo>
                    <a:lnTo>
                      <a:pt x="3296" y="564"/>
                    </a:lnTo>
                    <a:lnTo>
                      <a:pt x="3299" y="564"/>
                    </a:lnTo>
                    <a:lnTo>
                      <a:pt x="3299" y="561"/>
                    </a:lnTo>
                    <a:lnTo>
                      <a:pt x="3299" y="561"/>
                    </a:lnTo>
                    <a:lnTo>
                      <a:pt x="3299" y="500"/>
                    </a:lnTo>
                    <a:moveTo>
                      <a:pt x="4036" y="453"/>
                    </a:moveTo>
                    <a:lnTo>
                      <a:pt x="4034" y="453"/>
                    </a:lnTo>
                    <a:lnTo>
                      <a:pt x="4034" y="453"/>
                    </a:lnTo>
                    <a:lnTo>
                      <a:pt x="4034" y="455"/>
                    </a:lnTo>
                    <a:lnTo>
                      <a:pt x="4034" y="490"/>
                    </a:lnTo>
                    <a:lnTo>
                      <a:pt x="3951" y="642"/>
                    </a:lnTo>
                    <a:lnTo>
                      <a:pt x="3951" y="876"/>
                    </a:lnTo>
                    <a:lnTo>
                      <a:pt x="3954" y="876"/>
                    </a:lnTo>
                    <a:lnTo>
                      <a:pt x="3954" y="640"/>
                    </a:lnTo>
                    <a:lnTo>
                      <a:pt x="4036" y="488"/>
                    </a:lnTo>
                    <a:lnTo>
                      <a:pt x="4036" y="453"/>
                    </a:lnTo>
                    <a:moveTo>
                      <a:pt x="3327" y="434"/>
                    </a:moveTo>
                    <a:lnTo>
                      <a:pt x="3327" y="434"/>
                    </a:lnTo>
                    <a:lnTo>
                      <a:pt x="3327" y="434"/>
                    </a:lnTo>
                    <a:lnTo>
                      <a:pt x="3327" y="472"/>
                    </a:lnTo>
                    <a:lnTo>
                      <a:pt x="3327" y="472"/>
                    </a:lnTo>
                    <a:lnTo>
                      <a:pt x="3327" y="472"/>
                    </a:lnTo>
                    <a:lnTo>
                      <a:pt x="3327" y="472"/>
                    </a:lnTo>
                    <a:lnTo>
                      <a:pt x="3327" y="434"/>
                    </a:lnTo>
                    <a:moveTo>
                      <a:pt x="4041" y="391"/>
                    </a:moveTo>
                    <a:lnTo>
                      <a:pt x="4041" y="391"/>
                    </a:lnTo>
                    <a:lnTo>
                      <a:pt x="4039" y="391"/>
                    </a:lnTo>
                    <a:lnTo>
                      <a:pt x="4039" y="391"/>
                    </a:lnTo>
                    <a:lnTo>
                      <a:pt x="4039" y="448"/>
                    </a:lnTo>
                    <a:lnTo>
                      <a:pt x="4041" y="448"/>
                    </a:lnTo>
                    <a:lnTo>
                      <a:pt x="4041" y="445"/>
                    </a:lnTo>
                    <a:lnTo>
                      <a:pt x="4041" y="445"/>
                    </a:lnTo>
                    <a:lnTo>
                      <a:pt x="4041" y="391"/>
                    </a:lnTo>
                    <a:moveTo>
                      <a:pt x="1809" y="367"/>
                    </a:moveTo>
                    <a:lnTo>
                      <a:pt x="1807" y="367"/>
                    </a:lnTo>
                    <a:lnTo>
                      <a:pt x="1807" y="370"/>
                    </a:lnTo>
                    <a:lnTo>
                      <a:pt x="1807" y="1080"/>
                    </a:lnTo>
                    <a:lnTo>
                      <a:pt x="1809" y="1080"/>
                    </a:lnTo>
                    <a:lnTo>
                      <a:pt x="1809" y="367"/>
                    </a:lnTo>
                    <a:moveTo>
                      <a:pt x="4051" y="327"/>
                    </a:moveTo>
                    <a:lnTo>
                      <a:pt x="4048" y="327"/>
                    </a:lnTo>
                    <a:lnTo>
                      <a:pt x="4048" y="329"/>
                    </a:lnTo>
                    <a:lnTo>
                      <a:pt x="4048" y="382"/>
                    </a:lnTo>
                    <a:lnTo>
                      <a:pt x="4048" y="382"/>
                    </a:lnTo>
                    <a:lnTo>
                      <a:pt x="4048" y="382"/>
                    </a:lnTo>
                    <a:lnTo>
                      <a:pt x="4051" y="382"/>
                    </a:lnTo>
                    <a:lnTo>
                      <a:pt x="4051" y="327"/>
                    </a:lnTo>
                    <a:moveTo>
                      <a:pt x="4703" y="230"/>
                    </a:moveTo>
                    <a:lnTo>
                      <a:pt x="4701" y="230"/>
                    </a:lnTo>
                    <a:lnTo>
                      <a:pt x="4701" y="232"/>
                    </a:lnTo>
                    <a:lnTo>
                      <a:pt x="4642" y="450"/>
                    </a:lnTo>
                    <a:lnTo>
                      <a:pt x="4644" y="448"/>
                    </a:lnTo>
                    <a:lnTo>
                      <a:pt x="4703" y="230"/>
                    </a:lnTo>
                    <a:moveTo>
                      <a:pt x="4802" y="171"/>
                    </a:moveTo>
                    <a:lnTo>
                      <a:pt x="4800" y="171"/>
                    </a:lnTo>
                    <a:lnTo>
                      <a:pt x="4800" y="173"/>
                    </a:lnTo>
                    <a:lnTo>
                      <a:pt x="4800" y="180"/>
                    </a:lnTo>
                    <a:lnTo>
                      <a:pt x="4802" y="180"/>
                    </a:lnTo>
                    <a:lnTo>
                      <a:pt x="4802" y="171"/>
                    </a:lnTo>
                    <a:moveTo>
                      <a:pt x="4852" y="0"/>
                    </a:moveTo>
                    <a:lnTo>
                      <a:pt x="4850" y="0"/>
                    </a:lnTo>
                    <a:lnTo>
                      <a:pt x="4850" y="0"/>
                    </a:lnTo>
                    <a:lnTo>
                      <a:pt x="4850" y="123"/>
                    </a:lnTo>
                    <a:lnTo>
                      <a:pt x="4852" y="123"/>
                    </a:lnTo>
                    <a:lnTo>
                      <a:pt x="4852" y="121"/>
                    </a:lnTo>
                    <a:lnTo>
                      <a:pt x="4852" y="121"/>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0" name="Freeform 92"/>
              <p:cNvSpPr>
                <a:spLocks noEditPoints="1"/>
              </p:cNvSpPr>
              <p:nvPr/>
            </p:nvSpPr>
            <p:spPr bwMode="auto">
              <a:xfrm>
                <a:off x="-3" y="1710"/>
                <a:ext cx="7028" cy="1484"/>
              </a:xfrm>
              <a:custGeom>
                <a:avLst/>
                <a:gdLst>
                  <a:gd name="T0" fmla="*/ 3 w 7028"/>
                  <a:gd name="T1" fmla="*/ 1484 h 1484"/>
                  <a:gd name="T2" fmla="*/ 5668 w 7028"/>
                  <a:gd name="T3" fmla="*/ 1399 h 1484"/>
                  <a:gd name="T4" fmla="*/ 3710 w 7028"/>
                  <a:gd name="T5" fmla="*/ 1267 h 1484"/>
                  <a:gd name="T6" fmla="*/ 5831 w 7028"/>
                  <a:gd name="T7" fmla="*/ 1207 h 1484"/>
                  <a:gd name="T8" fmla="*/ 1691 w 7028"/>
                  <a:gd name="T9" fmla="*/ 1132 h 1484"/>
                  <a:gd name="T10" fmla="*/ 1688 w 7028"/>
                  <a:gd name="T11" fmla="*/ 1132 h 1484"/>
                  <a:gd name="T12" fmla="*/ 5855 w 7028"/>
                  <a:gd name="T13" fmla="*/ 1129 h 1484"/>
                  <a:gd name="T14" fmla="*/ 5857 w 7028"/>
                  <a:gd name="T15" fmla="*/ 1127 h 1484"/>
                  <a:gd name="T16" fmla="*/ 6323 w 7028"/>
                  <a:gd name="T17" fmla="*/ 1160 h 1484"/>
                  <a:gd name="T18" fmla="*/ 1447 w 7028"/>
                  <a:gd name="T19" fmla="*/ 1125 h 1484"/>
                  <a:gd name="T20" fmla="*/ 1464 w 7028"/>
                  <a:gd name="T21" fmla="*/ 1082 h 1484"/>
                  <a:gd name="T22" fmla="*/ 1464 w 7028"/>
                  <a:gd name="T23" fmla="*/ 1106 h 1484"/>
                  <a:gd name="T24" fmla="*/ 2859 w 7028"/>
                  <a:gd name="T25" fmla="*/ 1063 h 1484"/>
                  <a:gd name="T26" fmla="*/ 5933 w 7028"/>
                  <a:gd name="T27" fmla="*/ 1042 h 1484"/>
                  <a:gd name="T28" fmla="*/ 5933 w 7028"/>
                  <a:gd name="T29" fmla="*/ 1042 h 1484"/>
                  <a:gd name="T30" fmla="*/ 2878 w 7028"/>
                  <a:gd name="T31" fmla="*/ 1044 h 1484"/>
                  <a:gd name="T32" fmla="*/ 3769 w 7028"/>
                  <a:gd name="T33" fmla="*/ 992 h 1484"/>
                  <a:gd name="T34" fmla="*/ 5949 w 7028"/>
                  <a:gd name="T35" fmla="*/ 990 h 1484"/>
                  <a:gd name="T36" fmla="*/ 5949 w 7028"/>
                  <a:gd name="T37" fmla="*/ 1023 h 1484"/>
                  <a:gd name="T38" fmla="*/ 6339 w 7028"/>
                  <a:gd name="T39" fmla="*/ 938 h 1484"/>
                  <a:gd name="T40" fmla="*/ 6342 w 7028"/>
                  <a:gd name="T41" fmla="*/ 935 h 1484"/>
                  <a:gd name="T42" fmla="*/ 3847 w 7028"/>
                  <a:gd name="T43" fmla="*/ 945 h 1484"/>
                  <a:gd name="T44" fmla="*/ 6389 w 7028"/>
                  <a:gd name="T45" fmla="*/ 881 h 1484"/>
                  <a:gd name="T46" fmla="*/ 6396 w 7028"/>
                  <a:gd name="T47" fmla="*/ 850 h 1484"/>
                  <a:gd name="T48" fmla="*/ 6399 w 7028"/>
                  <a:gd name="T49" fmla="*/ 869 h 1484"/>
                  <a:gd name="T50" fmla="*/ 3100 w 7028"/>
                  <a:gd name="T51" fmla="*/ 765 h 1484"/>
                  <a:gd name="T52" fmla="*/ 1007 w 7028"/>
                  <a:gd name="T53" fmla="*/ 753 h 1484"/>
                  <a:gd name="T54" fmla="*/ 5134 w 7028"/>
                  <a:gd name="T55" fmla="*/ 732 h 1484"/>
                  <a:gd name="T56" fmla="*/ 5134 w 7028"/>
                  <a:gd name="T57" fmla="*/ 732 h 1484"/>
                  <a:gd name="T58" fmla="*/ 3138 w 7028"/>
                  <a:gd name="T59" fmla="*/ 724 h 1484"/>
                  <a:gd name="T60" fmla="*/ 97 w 7028"/>
                  <a:gd name="T61" fmla="*/ 616 h 1484"/>
                  <a:gd name="T62" fmla="*/ 5254 w 7028"/>
                  <a:gd name="T63" fmla="*/ 608 h 1484"/>
                  <a:gd name="T64" fmla="*/ 5254 w 7028"/>
                  <a:gd name="T65" fmla="*/ 608 h 1484"/>
                  <a:gd name="T66" fmla="*/ 3282 w 7028"/>
                  <a:gd name="T67" fmla="*/ 608 h 1484"/>
                  <a:gd name="T68" fmla="*/ 300 w 7028"/>
                  <a:gd name="T69" fmla="*/ 549 h 1484"/>
                  <a:gd name="T70" fmla="*/ 7025 w 7028"/>
                  <a:gd name="T71" fmla="*/ 509 h 1484"/>
                  <a:gd name="T72" fmla="*/ 4195 w 7028"/>
                  <a:gd name="T73" fmla="*/ 502 h 1484"/>
                  <a:gd name="T74" fmla="*/ 4195 w 7028"/>
                  <a:gd name="T75" fmla="*/ 502 h 1484"/>
                  <a:gd name="T76" fmla="*/ 3299 w 7028"/>
                  <a:gd name="T77" fmla="*/ 563 h 1484"/>
                  <a:gd name="T78" fmla="*/ 4039 w 7028"/>
                  <a:gd name="T79" fmla="*/ 455 h 1484"/>
                  <a:gd name="T80" fmla="*/ 3954 w 7028"/>
                  <a:gd name="T81" fmla="*/ 642 h 1484"/>
                  <a:gd name="T82" fmla="*/ 4039 w 7028"/>
                  <a:gd name="T83" fmla="*/ 455 h 1484"/>
                  <a:gd name="T84" fmla="*/ 3329 w 7028"/>
                  <a:gd name="T85" fmla="*/ 474 h 1484"/>
                  <a:gd name="T86" fmla="*/ 4041 w 7028"/>
                  <a:gd name="T87" fmla="*/ 391 h 1484"/>
                  <a:gd name="T88" fmla="*/ 4043 w 7028"/>
                  <a:gd name="T89" fmla="*/ 445 h 1484"/>
                  <a:gd name="T90" fmla="*/ 1809 w 7028"/>
                  <a:gd name="T91" fmla="*/ 369 h 1484"/>
                  <a:gd name="T92" fmla="*/ 4051 w 7028"/>
                  <a:gd name="T93" fmla="*/ 327 h 1484"/>
                  <a:gd name="T94" fmla="*/ 4051 w 7028"/>
                  <a:gd name="T95" fmla="*/ 381 h 1484"/>
                  <a:gd name="T96" fmla="*/ 4644 w 7028"/>
                  <a:gd name="T97" fmla="*/ 450 h 1484"/>
                  <a:gd name="T98" fmla="*/ 4802 w 7028"/>
                  <a:gd name="T99" fmla="*/ 173 h 1484"/>
                  <a:gd name="T100" fmla="*/ 4852 w 7028"/>
                  <a:gd name="T101" fmla="*/ 0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28" h="1484">
                    <a:moveTo>
                      <a:pt x="3" y="1451"/>
                    </a:moveTo>
                    <a:lnTo>
                      <a:pt x="0" y="1451"/>
                    </a:lnTo>
                    <a:lnTo>
                      <a:pt x="0" y="1454"/>
                    </a:lnTo>
                    <a:lnTo>
                      <a:pt x="0" y="1484"/>
                    </a:lnTo>
                    <a:lnTo>
                      <a:pt x="3" y="1484"/>
                    </a:lnTo>
                    <a:lnTo>
                      <a:pt x="3" y="1451"/>
                    </a:lnTo>
                    <a:close/>
                    <a:moveTo>
                      <a:pt x="5668" y="1326"/>
                    </a:moveTo>
                    <a:lnTo>
                      <a:pt x="5666" y="1326"/>
                    </a:lnTo>
                    <a:lnTo>
                      <a:pt x="5666" y="1399"/>
                    </a:lnTo>
                    <a:lnTo>
                      <a:pt x="5668" y="1399"/>
                    </a:lnTo>
                    <a:lnTo>
                      <a:pt x="5668" y="1326"/>
                    </a:lnTo>
                    <a:close/>
                    <a:moveTo>
                      <a:pt x="3712" y="1222"/>
                    </a:moveTo>
                    <a:lnTo>
                      <a:pt x="3710" y="1222"/>
                    </a:lnTo>
                    <a:lnTo>
                      <a:pt x="3710" y="1224"/>
                    </a:lnTo>
                    <a:lnTo>
                      <a:pt x="3710" y="1267"/>
                    </a:lnTo>
                    <a:lnTo>
                      <a:pt x="3712" y="1267"/>
                    </a:lnTo>
                    <a:lnTo>
                      <a:pt x="3712" y="1222"/>
                    </a:lnTo>
                    <a:close/>
                    <a:moveTo>
                      <a:pt x="5831" y="1207"/>
                    </a:moveTo>
                    <a:lnTo>
                      <a:pt x="5831" y="1207"/>
                    </a:lnTo>
                    <a:lnTo>
                      <a:pt x="5831" y="1207"/>
                    </a:lnTo>
                    <a:lnTo>
                      <a:pt x="5831" y="1210"/>
                    </a:lnTo>
                    <a:lnTo>
                      <a:pt x="5831" y="1276"/>
                    </a:lnTo>
                    <a:lnTo>
                      <a:pt x="5831" y="1276"/>
                    </a:lnTo>
                    <a:lnTo>
                      <a:pt x="5831" y="1207"/>
                    </a:lnTo>
                    <a:close/>
                    <a:moveTo>
                      <a:pt x="1691" y="1132"/>
                    </a:moveTo>
                    <a:lnTo>
                      <a:pt x="1688" y="1132"/>
                    </a:lnTo>
                    <a:lnTo>
                      <a:pt x="1688" y="1134"/>
                    </a:lnTo>
                    <a:lnTo>
                      <a:pt x="1688" y="1134"/>
                    </a:lnTo>
                    <a:lnTo>
                      <a:pt x="1688" y="1134"/>
                    </a:lnTo>
                    <a:lnTo>
                      <a:pt x="1688" y="1132"/>
                    </a:lnTo>
                    <a:lnTo>
                      <a:pt x="1691" y="1132"/>
                    </a:lnTo>
                    <a:lnTo>
                      <a:pt x="1691" y="1132"/>
                    </a:lnTo>
                    <a:close/>
                    <a:moveTo>
                      <a:pt x="5857" y="1127"/>
                    </a:moveTo>
                    <a:lnTo>
                      <a:pt x="5855" y="1127"/>
                    </a:lnTo>
                    <a:lnTo>
                      <a:pt x="5855" y="1129"/>
                    </a:lnTo>
                    <a:lnTo>
                      <a:pt x="5855" y="1184"/>
                    </a:lnTo>
                    <a:lnTo>
                      <a:pt x="5857" y="1184"/>
                    </a:lnTo>
                    <a:lnTo>
                      <a:pt x="5857" y="1181"/>
                    </a:lnTo>
                    <a:lnTo>
                      <a:pt x="5857" y="1181"/>
                    </a:lnTo>
                    <a:lnTo>
                      <a:pt x="5857" y="1127"/>
                    </a:lnTo>
                    <a:close/>
                    <a:moveTo>
                      <a:pt x="6323" y="1127"/>
                    </a:moveTo>
                    <a:lnTo>
                      <a:pt x="6323" y="1127"/>
                    </a:lnTo>
                    <a:lnTo>
                      <a:pt x="6323" y="1127"/>
                    </a:lnTo>
                    <a:lnTo>
                      <a:pt x="6323" y="1129"/>
                    </a:lnTo>
                    <a:lnTo>
                      <a:pt x="6323" y="1160"/>
                    </a:lnTo>
                    <a:lnTo>
                      <a:pt x="6323" y="1160"/>
                    </a:lnTo>
                    <a:lnTo>
                      <a:pt x="6323" y="1127"/>
                    </a:lnTo>
                    <a:close/>
                    <a:moveTo>
                      <a:pt x="1447" y="1125"/>
                    </a:moveTo>
                    <a:lnTo>
                      <a:pt x="1447" y="1125"/>
                    </a:lnTo>
                    <a:lnTo>
                      <a:pt x="1447" y="1125"/>
                    </a:lnTo>
                    <a:lnTo>
                      <a:pt x="1447" y="1151"/>
                    </a:lnTo>
                    <a:lnTo>
                      <a:pt x="1447" y="1151"/>
                    </a:lnTo>
                    <a:lnTo>
                      <a:pt x="1447" y="1125"/>
                    </a:lnTo>
                    <a:close/>
                    <a:moveTo>
                      <a:pt x="1464" y="1082"/>
                    </a:moveTo>
                    <a:lnTo>
                      <a:pt x="1464" y="1082"/>
                    </a:lnTo>
                    <a:lnTo>
                      <a:pt x="1464" y="1084"/>
                    </a:lnTo>
                    <a:lnTo>
                      <a:pt x="1464" y="1108"/>
                    </a:lnTo>
                    <a:lnTo>
                      <a:pt x="1464" y="1108"/>
                    </a:lnTo>
                    <a:lnTo>
                      <a:pt x="1464" y="1106"/>
                    </a:lnTo>
                    <a:lnTo>
                      <a:pt x="1464" y="1106"/>
                    </a:lnTo>
                    <a:lnTo>
                      <a:pt x="1464" y="1082"/>
                    </a:lnTo>
                    <a:close/>
                    <a:moveTo>
                      <a:pt x="2861" y="1061"/>
                    </a:moveTo>
                    <a:lnTo>
                      <a:pt x="2861" y="1061"/>
                    </a:lnTo>
                    <a:lnTo>
                      <a:pt x="2859" y="1061"/>
                    </a:lnTo>
                    <a:lnTo>
                      <a:pt x="2859" y="1063"/>
                    </a:lnTo>
                    <a:lnTo>
                      <a:pt x="2859" y="1191"/>
                    </a:lnTo>
                    <a:lnTo>
                      <a:pt x="2861" y="1191"/>
                    </a:lnTo>
                    <a:lnTo>
                      <a:pt x="2861" y="1061"/>
                    </a:lnTo>
                    <a:close/>
                    <a:moveTo>
                      <a:pt x="5933" y="1042"/>
                    </a:moveTo>
                    <a:lnTo>
                      <a:pt x="5933" y="1042"/>
                    </a:lnTo>
                    <a:lnTo>
                      <a:pt x="5930" y="1042"/>
                    </a:lnTo>
                    <a:lnTo>
                      <a:pt x="5930" y="1042"/>
                    </a:lnTo>
                    <a:lnTo>
                      <a:pt x="5930" y="1080"/>
                    </a:lnTo>
                    <a:lnTo>
                      <a:pt x="5933" y="1080"/>
                    </a:lnTo>
                    <a:lnTo>
                      <a:pt x="5933" y="1042"/>
                    </a:lnTo>
                    <a:close/>
                    <a:moveTo>
                      <a:pt x="2878" y="1011"/>
                    </a:moveTo>
                    <a:lnTo>
                      <a:pt x="2878" y="1011"/>
                    </a:lnTo>
                    <a:lnTo>
                      <a:pt x="2878" y="1013"/>
                    </a:lnTo>
                    <a:lnTo>
                      <a:pt x="2878" y="1044"/>
                    </a:lnTo>
                    <a:lnTo>
                      <a:pt x="2878" y="1044"/>
                    </a:lnTo>
                    <a:lnTo>
                      <a:pt x="2878" y="1044"/>
                    </a:lnTo>
                    <a:lnTo>
                      <a:pt x="2878" y="1044"/>
                    </a:lnTo>
                    <a:lnTo>
                      <a:pt x="2878" y="1011"/>
                    </a:lnTo>
                    <a:close/>
                    <a:moveTo>
                      <a:pt x="3772" y="992"/>
                    </a:moveTo>
                    <a:lnTo>
                      <a:pt x="3769" y="992"/>
                    </a:lnTo>
                    <a:lnTo>
                      <a:pt x="3769" y="994"/>
                    </a:lnTo>
                    <a:lnTo>
                      <a:pt x="3769" y="1174"/>
                    </a:lnTo>
                    <a:lnTo>
                      <a:pt x="3772" y="1174"/>
                    </a:lnTo>
                    <a:lnTo>
                      <a:pt x="3772" y="992"/>
                    </a:lnTo>
                    <a:close/>
                    <a:moveTo>
                      <a:pt x="5949" y="990"/>
                    </a:moveTo>
                    <a:lnTo>
                      <a:pt x="5949" y="990"/>
                    </a:lnTo>
                    <a:lnTo>
                      <a:pt x="5949" y="992"/>
                    </a:lnTo>
                    <a:lnTo>
                      <a:pt x="5949" y="1023"/>
                    </a:lnTo>
                    <a:lnTo>
                      <a:pt x="5949" y="1023"/>
                    </a:lnTo>
                    <a:lnTo>
                      <a:pt x="5949" y="1023"/>
                    </a:lnTo>
                    <a:lnTo>
                      <a:pt x="5949" y="1023"/>
                    </a:lnTo>
                    <a:lnTo>
                      <a:pt x="5949" y="990"/>
                    </a:lnTo>
                    <a:close/>
                    <a:moveTo>
                      <a:pt x="6342" y="935"/>
                    </a:moveTo>
                    <a:lnTo>
                      <a:pt x="6339" y="935"/>
                    </a:lnTo>
                    <a:lnTo>
                      <a:pt x="6339" y="938"/>
                    </a:lnTo>
                    <a:lnTo>
                      <a:pt x="6339" y="1110"/>
                    </a:lnTo>
                    <a:lnTo>
                      <a:pt x="6339" y="1110"/>
                    </a:lnTo>
                    <a:lnTo>
                      <a:pt x="6339" y="1108"/>
                    </a:lnTo>
                    <a:lnTo>
                      <a:pt x="6342" y="1108"/>
                    </a:lnTo>
                    <a:lnTo>
                      <a:pt x="6342" y="935"/>
                    </a:lnTo>
                    <a:close/>
                    <a:moveTo>
                      <a:pt x="3847" y="928"/>
                    </a:moveTo>
                    <a:lnTo>
                      <a:pt x="3845" y="928"/>
                    </a:lnTo>
                    <a:lnTo>
                      <a:pt x="3845" y="928"/>
                    </a:lnTo>
                    <a:lnTo>
                      <a:pt x="3845" y="945"/>
                    </a:lnTo>
                    <a:lnTo>
                      <a:pt x="3847" y="945"/>
                    </a:lnTo>
                    <a:lnTo>
                      <a:pt x="3847" y="928"/>
                    </a:lnTo>
                    <a:close/>
                    <a:moveTo>
                      <a:pt x="6391" y="878"/>
                    </a:moveTo>
                    <a:lnTo>
                      <a:pt x="6389" y="878"/>
                    </a:lnTo>
                    <a:lnTo>
                      <a:pt x="6389" y="878"/>
                    </a:lnTo>
                    <a:lnTo>
                      <a:pt x="6389" y="881"/>
                    </a:lnTo>
                    <a:lnTo>
                      <a:pt x="6389" y="885"/>
                    </a:lnTo>
                    <a:lnTo>
                      <a:pt x="6391" y="885"/>
                    </a:lnTo>
                    <a:lnTo>
                      <a:pt x="6391" y="878"/>
                    </a:lnTo>
                    <a:close/>
                    <a:moveTo>
                      <a:pt x="6399" y="850"/>
                    </a:moveTo>
                    <a:lnTo>
                      <a:pt x="6396" y="850"/>
                    </a:lnTo>
                    <a:lnTo>
                      <a:pt x="6396" y="852"/>
                    </a:lnTo>
                    <a:lnTo>
                      <a:pt x="6396" y="871"/>
                    </a:lnTo>
                    <a:lnTo>
                      <a:pt x="6399" y="871"/>
                    </a:lnTo>
                    <a:lnTo>
                      <a:pt x="6399" y="869"/>
                    </a:lnTo>
                    <a:lnTo>
                      <a:pt x="6399" y="869"/>
                    </a:lnTo>
                    <a:lnTo>
                      <a:pt x="6399" y="850"/>
                    </a:lnTo>
                    <a:close/>
                    <a:moveTo>
                      <a:pt x="3102" y="762"/>
                    </a:moveTo>
                    <a:lnTo>
                      <a:pt x="3100" y="762"/>
                    </a:lnTo>
                    <a:lnTo>
                      <a:pt x="3100" y="762"/>
                    </a:lnTo>
                    <a:lnTo>
                      <a:pt x="3100" y="765"/>
                    </a:lnTo>
                    <a:lnTo>
                      <a:pt x="3100" y="930"/>
                    </a:lnTo>
                    <a:lnTo>
                      <a:pt x="3102" y="930"/>
                    </a:lnTo>
                    <a:lnTo>
                      <a:pt x="3102" y="762"/>
                    </a:lnTo>
                    <a:close/>
                    <a:moveTo>
                      <a:pt x="1010" y="753"/>
                    </a:moveTo>
                    <a:lnTo>
                      <a:pt x="1007" y="753"/>
                    </a:lnTo>
                    <a:lnTo>
                      <a:pt x="1007" y="755"/>
                    </a:lnTo>
                    <a:lnTo>
                      <a:pt x="1007" y="779"/>
                    </a:lnTo>
                    <a:lnTo>
                      <a:pt x="1010" y="779"/>
                    </a:lnTo>
                    <a:lnTo>
                      <a:pt x="1010" y="753"/>
                    </a:lnTo>
                    <a:close/>
                    <a:moveTo>
                      <a:pt x="5134" y="732"/>
                    </a:moveTo>
                    <a:lnTo>
                      <a:pt x="5131" y="732"/>
                    </a:lnTo>
                    <a:lnTo>
                      <a:pt x="5131" y="734"/>
                    </a:lnTo>
                    <a:lnTo>
                      <a:pt x="5131" y="923"/>
                    </a:lnTo>
                    <a:lnTo>
                      <a:pt x="5134" y="923"/>
                    </a:lnTo>
                    <a:lnTo>
                      <a:pt x="5134" y="732"/>
                    </a:lnTo>
                    <a:close/>
                    <a:moveTo>
                      <a:pt x="3140" y="656"/>
                    </a:moveTo>
                    <a:lnTo>
                      <a:pt x="3138" y="656"/>
                    </a:lnTo>
                    <a:lnTo>
                      <a:pt x="3138" y="658"/>
                    </a:lnTo>
                    <a:lnTo>
                      <a:pt x="3138" y="724"/>
                    </a:lnTo>
                    <a:lnTo>
                      <a:pt x="3138" y="724"/>
                    </a:lnTo>
                    <a:lnTo>
                      <a:pt x="3138" y="722"/>
                    </a:lnTo>
                    <a:lnTo>
                      <a:pt x="3140" y="722"/>
                    </a:lnTo>
                    <a:lnTo>
                      <a:pt x="3140" y="656"/>
                    </a:lnTo>
                    <a:close/>
                    <a:moveTo>
                      <a:pt x="97" y="616"/>
                    </a:moveTo>
                    <a:lnTo>
                      <a:pt x="97" y="616"/>
                    </a:lnTo>
                    <a:lnTo>
                      <a:pt x="97" y="618"/>
                    </a:lnTo>
                    <a:lnTo>
                      <a:pt x="97" y="1404"/>
                    </a:lnTo>
                    <a:lnTo>
                      <a:pt x="97" y="1404"/>
                    </a:lnTo>
                    <a:lnTo>
                      <a:pt x="97" y="616"/>
                    </a:lnTo>
                    <a:close/>
                    <a:moveTo>
                      <a:pt x="5254" y="608"/>
                    </a:moveTo>
                    <a:lnTo>
                      <a:pt x="5252" y="608"/>
                    </a:lnTo>
                    <a:lnTo>
                      <a:pt x="5252" y="611"/>
                    </a:lnTo>
                    <a:lnTo>
                      <a:pt x="5252" y="682"/>
                    </a:lnTo>
                    <a:lnTo>
                      <a:pt x="5254" y="682"/>
                    </a:lnTo>
                    <a:lnTo>
                      <a:pt x="5254" y="608"/>
                    </a:lnTo>
                    <a:close/>
                    <a:moveTo>
                      <a:pt x="3284" y="580"/>
                    </a:moveTo>
                    <a:lnTo>
                      <a:pt x="3282" y="580"/>
                    </a:lnTo>
                    <a:lnTo>
                      <a:pt x="3282" y="580"/>
                    </a:lnTo>
                    <a:lnTo>
                      <a:pt x="3282" y="582"/>
                    </a:lnTo>
                    <a:lnTo>
                      <a:pt x="3282" y="608"/>
                    </a:lnTo>
                    <a:lnTo>
                      <a:pt x="3284" y="608"/>
                    </a:lnTo>
                    <a:lnTo>
                      <a:pt x="3284" y="580"/>
                    </a:lnTo>
                    <a:close/>
                    <a:moveTo>
                      <a:pt x="303" y="547"/>
                    </a:moveTo>
                    <a:lnTo>
                      <a:pt x="300" y="547"/>
                    </a:lnTo>
                    <a:lnTo>
                      <a:pt x="300" y="549"/>
                    </a:lnTo>
                    <a:lnTo>
                      <a:pt x="300" y="568"/>
                    </a:lnTo>
                    <a:lnTo>
                      <a:pt x="303" y="568"/>
                    </a:lnTo>
                    <a:lnTo>
                      <a:pt x="303" y="547"/>
                    </a:lnTo>
                    <a:close/>
                    <a:moveTo>
                      <a:pt x="7028" y="509"/>
                    </a:moveTo>
                    <a:lnTo>
                      <a:pt x="7025" y="509"/>
                    </a:lnTo>
                    <a:lnTo>
                      <a:pt x="7025" y="509"/>
                    </a:lnTo>
                    <a:lnTo>
                      <a:pt x="7025" y="1044"/>
                    </a:lnTo>
                    <a:lnTo>
                      <a:pt x="7028" y="1044"/>
                    </a:lnTo>
                    <a:lnTo>
                      <a:pt x="7028" y="509"/>
                    </a:lnTo>
                    <a:close/>
                    <a:moveTo>
                      <a:pt x="4195" y="502"/>
                    </a:moveTo>
                    <a:lnTo>
                      <a:pt x="4195" y="502"/>
                    </a:lnTo>
                    <a:lnTo>
                      <a:pt x="4192" y="504"/>
                    </a:lnTo>
                    <a:lnTo>
                      <a:pt x="4164" y="542"/>
                    </a:lnTo>
                    <a:lnTo>
                      <a:pt x="4164" y="542"/>
                    </a:lnTo>
                    <a:lnTo>
                      <a:pt x="4195" y="502"/>
                    </a:lnTo>
                    <a:close/>
                    <a:moveTo>
                      <a:pt x="3301" y="500"/>
                    </a:moveTo>
                    <a:lnTo>
                      <a:pt x="3301" y="500"/>
                    </a:lnTo>
                    <a:lnTo>
                      <a:pt x="3299" y="500"/>
                    </a:lnTo>
                    <a:lnTo>
                      <a:pt x="3299" y="502"/>
                    </a:lnTo>
                    <a:lnTo>
                      <a:pt x="3299" y="563"/>
                    </a:lnTo>
                    <a:lnTo>
                      <a:pt x="3301" y="563"/>
                    </a:lnTo>
                    <a:lnTo>
                      <a:pt x="3301" y="563"/>
                    </a:lnTo>
                    <a:lnTo>
                      <a:pt x="3301" y="563"/>
                    </a:lnTo>
                    <a:lnTo>
                      <a:pt x="3301" y="500"/>
                    </a:lnTo>
                    <a:close/>
                    <a:moveTo>
                      <a:pt x="4039" y="455"/>
                    </a:moveTo>
                    <a:lnTo>
                      <a:pt x="4036" y="455"/>
                    </a:lnTo>
                    <a:lnTo>
                      <a:pt x="4036" y="455"/>
                    </a:lnTo>
                    <a:lnTo>
                      <a:pt x="4036" y="455"/>
                    </a:lnTo>
                    <a:lnTo>
                      <a:pt x="4036" y="490"/>
                    </a:lnTo>
                    <a:lnTo>
                      <a:pt x="3954" y="642"/>
                    </a:lnTo>
                    <a:lnTo>
                      <a:pt x="3954" y="878"/>
                    </a:lnTo>
                    <a:lnTo>
                      <a:pt x="3956" y="878"/>
                    </a:lnTo>
                    <a:lnTo>
                      <a:pt x="3956" y="642"/>
                    </a:lnTo>
                    <a:lnTo>
                      <a:pt x="4039" y="488"/>
                    </a:lnTo>
                    <a:lnTo>
                      <a:pt x="4039" y="455"/>
                    </a:lnTo>
                    <a:close/>
                    <a:moveTo>
                      <a:pt x="3329" y="433"/>
                    </a:moveTo>
                    <a:lnTo>
                      <a:pt x="3327" y="433"/>
                    </a:lnTo>
                    <a:lnTo>
                      <a:pt x="3327" y="436"/>
                    </a:lnTo>
                    <a:lnTo>
                      <a:pt x="3327" y="474"/>
                    </a:lnTo>
                    <a:lnTo>
                      <a:pt x="3329" y="474"/>
                    </a:lnTo>
                    <a:lnTo>
                      <a:pt x="3329" y="471"/>
                    </a:lnTo>
                    <a:lnTo>
                      <a:pt x="3329" y="471"/>
                    </a:lnTo>
                    <a:lnTo>
                      <a:pt x="3329" y="433"/>
                    </a:lnTo>
                    <a:close/>
                    <a:moveTo>
                      <a:pt x="4043" y="391"/>
                    </a:moveTo>
                    <a:lnTo>
                      <a:pt x="4041" y="391"/>
                    </a:lnTo>
                    <a:lnTo>
                      <a:pt x="4041" y="391"/>
                    </a:lnTo>
                    <a:lnTo>
                      <a:pt x="4041" y="393"/>
                    </a:lnTo>
                    <a:lnTo>
                      <a:pt x="4041" y="447"/>
                    </a:lnTo>
                    <a:lnTo>
                      <a:pt x="4043" y="447"/>
                    </a:lnTo>
                    <a:lnTo>
                      <a:pt x="4043" y="445"/>
                    </a:lnTo>
                    <a:lnTo>
                      <a:pt x="4043" y="445"/>
                    </a:lnTo>
                    <a:lnTo>
                      <a:pt x="4043" y="391"/>
                    </a:lnTo>
                    <a:close/>
                    <a:moveTo>
                      <a:pt x="1811" y="367"/>
                    </a:moveTo>
                    <a:lnTo>
                      <a:pt x="1809" y="367"/>
                    </a:lnTo>
                    <a:lnTo>
                      <a:pt x="1809" y="369"/>
                    </a:lnTo>
                    <a:lnTo>
                      <a:pt x="1809" y="1082"/>
                    </a:lnTo>
                    <a:lnTo>
                      <a:pt x="1811" y="1082"/>
                    </a:lnTo>
                    <a:lnTo>
                      <a:pt x="1811" y="367"/>
                    </a:lnTo>
                    <a:close/>
                    <a:moveTo>
                      <a:pt x="4051" y="327"/>
                    </a:moveTo>
                    <a:lnTo>
                      <a:pt x="4051" y="327"/>
                    </a:lnTo>
                    <a:lnTo>
                      <a:pt x="4051" y="329"/>
                    </a:lnTo>
                    <a:lnTo>
                      <a:pt x="4051" y="384"/>
                    </a:lnTo>
                    <a:lnTo>
                      <a:pt x="4051" y="384"/>
                    </a:lnTo>
                    <a:lnTo>
                      <a:pt x="4051" y="381"/>
                    </a:lnTo>
                    <a:lnTo>
                      <a:pt x="4051" y="381"/>
                    </a:lnTo>
                    <a:lnTo>
                      <a:pt x="4051" y="327"/>
                    </a:lnTo>
                    <a:close/>
                    <a:moveTo>
                      <a:pt x="4706" y="232"/>
                    </a:moveTo>
                    <a:lnTo>
                      <a:pt x="4703" y="232"/>
                    </a:lnTo>
                    <a:lnTo>
                      <a:pt x="4703" y="232"/>
                    </a:lnTo>
                    <a:lnTo>
                      <a:pt x="4644" y="450"/>
                    </a:lnTo>
                    <a:lnTo>
                      <a:pt x="4644" y="450"/>
                    </a:lnTo>
                    <a:lnTo>
                      <a:pt x="4706" y="232"/>
                    </a:lnTo>
                    <a:close/>
                    <a:moveTo>
                      <a:pt x="4805" y="170"/>
                    </a:moveTo>
                    <a:lnTo>
                      <a:pt x="4802" y="170"/>
                    </a:lnTo>
                    <a:lnTo>
                      <a:pt x="4802" y="173"/>
                    </a:lnTo>
                    <a:lnTo>
                      <a:pt x="4802" y="182"/>
                    </a:lnTo>
                    <a:lnTo>
                      <a:pt x="4805" y="182"/>
                    </a:lnTo>
                    <a:lnTo>
                      <a:pt x="4805" y="170"/>
                    </a:lnTo>
                    <a:close/>
                    <a:moveTo>
                      <a:pt x="4855" y="0"/>
                    </a:moveTo>
                    <a:lnTo>
                      <a:pt x="4852" y="0"/>
                    </a:lnTo>
                    <a:lnTo>
                      <a:pt x="4852" y="2"/>
                    </a:lnTo>
                    <a:lnTo>
                      <a:pt x="4852" y="123"/>
                    </a:lnTo>
                    <a:lnTo>
                      <a:pt x="4855" y="123"/>
                    </a:lnTo>
                    <a:lnTo>
                      <a:pt x="4855" y="0"/>
                    </a:lnTo>
                    <a:close/>
                  </a:path>
                </a:pathLst>
              </a:custGeom>
              <a:solidFill>
                <a:srgbClr val="DCDBD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1" name="Freeform 93"/>
              <p:cNvSpPr>
                <a:spLocks noEditPoints="1"/>
              </p:cNvSpPr>
              <p:nvPr/>
            </p:nvSpPr>
            <p:spPr bwMode="auto">
              <a:xfrm>
                <a:off x="-3" y="1710"/>
                <a:ext cx="7028" cy="1484"/>
              </a:xfrm>
              <a:custGeom>
                <a:avLst/>
                <a:gdLst>
                  <a:gd name="T0" fmla="*/ 3 w 7028"/>
                  <a:gd name="T1" fmla="*/ 1484 h 1484"/>
                  <a:gd name="T2" fmla="*/ 5668 w 7028"/>
                  <a:gd name="T3" fmla="*/ 1399 h 1484"/>
                  <a:gd name="T4" fmla="*/ 3710 w 7028"/>
                  <a:gd name="T5" fmla="*/ 1267 h 1484"/>
                  <a:gd name="T6" fmla="*/ 5831 w 7028"/>
                  <a:gd name="T7" fmla="*/ 1207 h 1484"/>
                  <a:gd name="T8" fmla="*/ 1691 w 7028"/>
                  <a:gd name="T9" fmla="*/ 1132 h 1484"/>
                  <a:gd name="T10" fmla="*/ 1688 w 7028"/>
                  <a:gd name="T11" fmla="*/ 1132 h 1484"/>
                  <a:gd name="T12" fmla="*/ 5855 w 7028"/>
                  <a:gd name="T13" fmla="*/ 1129 h 1484"/>
                  <a:gd name="T14" fmla="*/ 5857 w 7028"/>
                  <a:gd name="T15" fmla="*/ 1127 h 1484"/>
                  <a:gd name="T16" fmla="*/ 6323 w 7028"/>
                  <a:gd name="T17" fmla="*/ 1160 h 1484"/>
                  <a:gd name="T18" fmla="*/ 1447 w 7028"/>
                  <a:gd name="T19" fmla="*/ 1125 h 1484"/>
                  <a:gd name="T20" fmla="*/ 1464 w 7028"/>
                  <a:gd name="T21" fmla="*/ 1082 h 1484"/>
                  <a:gd name="T22" fmla="*/ 1464 w 7028"/>
                  <a:gd name="T23" fmla="*/ 1106 h 1484"/>
                  <a:gd name="T24" fmla="*/ 2859 w 7028"/>
                  <a:gd name="T25" fmla="*/ 1063 h 1484"/>
                  <a:gd name="T26" fmla="*/ 5933 w 7028"/>
                  <a:gd name="T27" fmla="*/ 1042 h 1484"/>
                  <a:gd name="T28" fmla="*/ 5933 w 7028"/>
                  <a:gd name="T29" fmla="*/ 1042 h 1484"/>
                  <a:gd name="T30" fmla="*/ 2878 w 7028"/>
                  <a:gd name="T31" fmla="*/ 1044 h 1484"/>
                  <a:gd name="T32" fmla="*/ 3769 w 7028"/>
                  <a:gd name="T33" fmla="*/ 992 h 1484"/>
                  <a:gd name="T34" fmla="*/ 5949 w 7028"/>
                  <a:gd name="T35" fmla="*/ 990 h 1484"/>
                  <a:gd name="T36" fmla="*/ 5949 w 7028"/>
                  <a:gd name="T37" fmla="*/ 1023 h 1484"/>
                  <a:gd name="T38" fmla="*/ 6339 w 7028"/>
                  <a:gd name="T39" fmla="*/ 938 h 1484"/>
                  <a:gd name="T40" fmla="*/ 6342 w 7028"/>
                  <a:gd name="T41" fmla="*/ 935 h 1484"/>
                  <a:gd name="T42" fmla="*/ 3847 w 7028"/>
                  <a:gd name="T43" fmla="*/ 945 h 1484"/>
                  <a:gd name="T44" fmla="*/ 6389 w 7028"/>
                  <a:gd name="T45" fmla="*/ 881 h 1484"/>
                  <a:gd name="T46" fmla="*/ 6396 w 7028"/>
                  <a:gd name="T47" fmla="*/ 850 h 1484"/>
                  <a:gd name="T48" fmla="*/ 6399 w 7028"/>
                  <a:gd name="T49" fmla="*/ 869 h 1484"/>
                  <a:gd name="T50" fmla="*/ 3100 w 7028"/>
                  <a:gd name="T51" fmla="*/ 765 h 1484"/>
                  <a:gd name="T52" fmla="*/ 1007 w 7028"/>
                  <a:gd name="T53" fmla="*/ 753 h 1484"/>
                  <a:gd name="T54" fmla="*/ 5134 w 7028"/>
                  <a:gd name="T55" fmla="*/ 732 h 1484"/>
                  <a:gd name="T56" fmla="*/ 5134 w 7028"/>
                  <a:gd name="T57" fmla="*/ 732 h 1484"/>
                  <a:gd name="T58" fmla="*/ 3138 w 7028"/>
                  <a:gd name="T59" fmla="*/ 724 h 1484"/>
                  <a:gd name="T60" fmla="*/ 97 w 7028"/>
                  <a:gd name="T61" fmla="*/ 616 h 1484"/>
                  <a:gd name="T62" fmla="*/ 5254 w 7028"/>
                  <a:gd name="T63" fmla="*/ 608 h 1484"/>
                  <a:gd name="T64" fmla="*/ 5254 w 7028"/>
                  <a:gd name="T65" fmla="*/ 608 h 1484"/>
                  <a:gd name="T66" fmla="*/ 3282 w 7028"/>
                  <a:gd name="T67" fmla="*/ 608 h 1484"/>
                  <a:gd name="T68" fmla="*/ 300 w 7028"/>
                  <a:gd name="T69" fmla="*/ 549 h 1484"/>
                  <a:gd name="T70" fmla="*/ 7025 w 7028"/>
                  <a:gd name="T71" fmla="*/ 509 h 1484"/>
                  <a:gd name="T72" fmla="*/ 4195 w 7028"/>
                  <a:gd name="T73" fmla="*/ 502 h 1484"/>
                  <a:gd name="T74" fmla="*/ 4195 w 7028"/>
                  <a:gd name="T75" fmla="*/ 502 h 1484"/>
                  <a:gd name="T76" fmla="*/ 3299 w 7028"/>
                  <a:gd name="T77" fmla="*/ 563 h 1484"/>
                  <a:gd name="T78" fmla="*/ 4039 w 7028"/>
                  <a:gd name="T79" fmla="*/ 455 h 1484"/>
                  <a:gd name="T80" fmla="*/ 3954 w 7028"/>
                  <a:gd name="T81" fmla="*/ 642 h 1484"/>
                  <a:gd name="T82" fmla="*/ 4039 w 7028"/>
                  <a:gd name="T83" fmla="*/ 455 h 1484"/>
                  <a:gd name="T84" fmla="*/ 3329 w 7028"/>
                  <a:gd name="T85" fmla="*/ 474 h 1484"/>
                  <a:gd name="T86" fmla="*/ 4041 w 7028"/>
                  <a:gd name="T87" fmla="*/ 391 h 1484"/>
                  <a:gd name="T88" fmla="*/ 4043 w 7028"/>
                  <a:gd name="T89" fmla="*/ 445 h 1484"/>
                  <a:gd name="T90" fmla="*/ 1809 w 7028"/>
                  <a:gd name="T91" fmla="*/ 369 h 1484"/>
                  <a:gd name="T92" fmla="*/ 4051 w 7028"/>
                  <a:gd name="T93" fmla="*/ 327 h 1484"/>
                  <a:gd name="T94" fmla="*/ 4051 w 7028"/>
                  <a:gd name="T95" fmla="*/ 381 h 1484"/>
                  <a:gd name="T96" fmla="*/ 4644 w 7028"/>
                  <a:gd name="T97" fmla="*/ 450 h 1484"/>
                  <a:gd name="T98" fmla="*/ 4802 w 7028"/>
                  <a:gd name="T99" fmla="*/ 173 h 1484"/>
                  <a:gd name="T100" fmla="*/ 4852 w 7028"/>
                  <a:gd name="T101" fmla="*/ 0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28" h="1484">
                    <a:moveTo>
                      <a:pt x="3" y="1451"/>
                    </a:moveTo>
                    <a:lnTo>
                      <a:pt x="0" y="1451"/>
                    </a:lnTo>
                    <a:lnTo>
                      <a:pt x="0" y="1454"/>
                    </a:lnTo>
                    <a:lnTo>
                      <a:pt x="0" y="1484"/>
                    </a:lnTo>
                    <a:lnTo>
                      <a:pt x="3" y="1484"/>
                    </a:lnTo>
                    <a:lnTo>
                      <a:pt x="3" y="1451"/>
                    </a:lnTo>
                    <a:moveTo>
                      <a:pt x="5668" y="1326"/>
                    </a:moveTo>
                    <a:lnTo>
                      <a:pt x="5666" y="1326"/>
                    </a:lnTo>
                    <a:lnTo>
                      <a:pt x="5666" y="1399"/>
                    </a:lnTo>
                    <a:lnTo>
                      <a:pt x="5668" y="1399"/>
                    </a:lnTo>
                    <a:lnTo>
                      <a:pt x="5668" y="1326"/>
                    </a:lnTo>
                    <a:moveTo>
                      <a:pt x="3712" y="1222"/>
                    </a:moveTo>
                    <a:lnTo>
                      <a:pt x="3710" y="1222"/>
                    </a:lnTo>
                    <a:lnTo>
                      <a:pt x="3710" y="1224"/>
                    </a:lnTo>
                    <a:lnTo>
                      <a:pt x="3710" y="1267"/>
                    </a:lnTo>
                    <a:lnTo>
                      <a:pt x="3712" y="1267"/>
                    </a:lnTo>
                    <a:lnTo>
                      <a:pt x="3712" y="1222"/>
                    </a:lnTo>
                    <a:moveTo>
                      <a:pt x="5831" y="1207"/>
                    </a:moveTo>
                    <a:lnTo>
                      <a:pt x="5831" y="1207"/>
                    </a:lnTo>
                    <a:lnTo>
                      <a:pt x="5831" y="1207"/>
                    </a:lnTo>
                    <a:lnTo>
                      <a:pt x="5831" y="1210"/>
                    </a:lnTo>
                    <a:lnTo>
                      <a:pt x="5831" y="1276"/>
                    </a:lnTo>
                    <a:lnTo>
                      <a:pt x="5831" y="1276"/>
                    </a:lnTo>
                    <a:lnTo>
                      <a:pt x="5831" y="1207"/>
                    </a:lnTo>
                    <a:moveTo>
                      <a:pt x="1691" y="1132"/>
                    </a:moveTo>
                    <a:lnTo>
                      <a:pt x="1688" y="1132"/>
                    </a:lnTo>
                    <a:lnTo>
                      <a:pt x="1688" y="1134"/>
                    </a:lnTo>
                    <a:lnTo>
                      <a:pt x="1688" y="1134"/>
                    </a:lnTo>
                    <a:lnTo>
                      <a:pt x="1688" y="1134"/>
                    </a:lnTo>
                    <a:lnTo>
                      <a:pt x="1688" y="1132"/>
                    </a:lnTo>
                    <a:lnTo>
                      <a:pt x="1691" y="1132"/>
                    </a:lnTo>
                    <a:lnTo>
                      <a:pt x="1691" y="1132"/>
                    </a:lnTo>
                    <a:moveTo>
                      <a:pt x="5857" y="1127"/>
                    </a:moveTo>
                    <a:lnTo>
                      <a:pt x="5855" y="1127"/>
                    </a:lnTo>
                    <a:lnTo>
                      <a:pt x="5855" y="1129"/>
                    </a:lnTo>
                    <a:lnTo>
                      <a:pt x="5855" y="1184"/>
                    </a:lnTo>
                    <a:lnTo>
                      <a:pt x="5857" y="1184"/>
                    </a:lnTo>
                    <a:lnTo>
                      <a:pt x="5857" y="1181"/>
                    </a:lnTo>
                    <a:lnTo>
                      <a:pt x="5857" y="1181"/>
                    </a:lnTo>
                    <a:lnTo>
                      <a:pt x="5857" y="1127"/>
                    </a:lnTo>
                    <a:moveTo>
                      <a:pt x="6323" y="1127"/>
                    </a:moveTo>
                    <a:lnTo>
                      <a:pt x="6323" y="1127"/>
                    </a:lnTo>
                    <a:lnTo>
                      <a:pt x="6323" y="1127"/>
                    </a:lnTo>
                    <a:lnTo>
                      <a:pt x="6323" y="1129"/>
                    </a:lnTo>
                    <a:lnTo>
                      <a:pt x="6323" y="1160"/>
                    </a:lnTo>
                    <a:lnTo>
                      <a:pt x="6323" y="1160"/>
                    </a:lnTo>
                    <a:lnTo>
                      <a:pt x="6323" y="1127"/>
                    </a:lnTo>
                    <a:moveTo>
                      <a:pt x="1447" y="1125"/>
                    </a:moveTo>
                    <a:lnTo>
                      <a:pt x="1447" y="1125"/>
                    </a:lnTo>
                    <a:lnTo>
                      <a:pt x="1447" y="1125"/>
                    </a:lnTo>
                    <a:lnTo>
                      <a:pt x="1447" y="1151"/>
                    </a:lnTo>
                    <a:lnTo>
                      <a:pt x="1447" y="1151"/>
                    </a:lnTo>
                    <a:lnTo>
                      <a:pt x="1447" y="1125"/>
                    </a:lnTo>
                    <a:moveTo>
                      <a:pt x="1464" y="1082"/>
                    </a:moveTo>
                    <a:lnTo>
                      <a:pt x="1464" y="1082"/>
                    </a:lnTo>
                    <a:lnTo>
                      <a:pt x="1464" y="1084"/>
                    </a:lnTo>
                    <a:lnTo>
                      <a:pt x="1464" y="1108"/>
                    </a:lnTo>
                    <a:lnTo>
                      <a:pt x="1464" y="1108"/>
                    </a:lnTo>
                    <a:lnTo>
                      <a:pt x="1464" y="1106"/>
                    </a:lnTo>
                    <a:lnTo>
                      <a:pt x="1464" y="1106"/>
                    </a:lnTo>
                    <a:lnTo>
                      <a:pt x="1464" y="1082"/>
                    </a:lnTo>
                    <a:moveTo>
                      <a:pt x="2861" y="1061"/>
                    </a:moveTo>
                    <a:lnTo>
                      <a:pt x="2861" y="1061"/>
                    </a:lnTo>
                    <a:lnTo>
                      <a:pt x="2859" y="1061"/>
                    </a:lnTo>
                    <a:lnTo>
                      <a:pt x="2859" y="1063"/>
                    </a:lnTo>
                    <a:lnTo>
                      <a:pt x="2859" y="1191"/>
                    </a:lnTo>
                    <a:lnTo>
                      <a:pt x="2861" y="1191"/>
                    </a:lnTo>
                    <a:lnTo>
                      <a:pt x="2861" y="1061"/>
                    </a:lnTo>
                    <a:moveTo>
                      <a:pt x="5933" y="1042"/>
                    </a:moveTo>
                    <a:lnTo>
                      <a:pt x="5933" y="1042"/>
                    </a:lnTo>
                    <a:lnTo>
                      <a:pt x="5930" y="1042"/>
                    </a:lnTo>
                    <a:lnTo>
                      <a:pt x="5930" y="1042"/>
                    </a:lnTo>
                    <a:lnTo>
                      <a:pt x="5930" y="1080"/>
                    </a:lnTo>
                    <a:lnTo>
                      <a:pt x="5933" y="1080"/>
                    </a:lnTo>
                    <a:lnTo>
                      <a:pt x="5933" y="1042"/>
                    </a:lnTo>
                    <a:moveTo>
                      <a:pt x="2878" y="1011"/>
                    </a:moveTo>
                    <a:lnTo>
                      <a:pt x="2878" y="1011"/>
                    </a:lnTo>
                    <a:lnTo>
                      <a:pt x="2878" y="1013"/>
                    </a:lnTo>
                    <a:lnTo>
                      <a:pt x="2878" y="1044"/>
                    </a:lnTo>
                    <a:lnTo>
                      <a:pt x="2878" y="1044"/>
                    </a:lnTo>
                    <a:lnTo>
                      <a:pt x="2878" y="1044"/>
                    </a:lnTo>
                    <a:lnTo>
                      <a:pt x="2878" y="1044"/>
                    </a:lnTo>
                    <a:lnTo>
                      <a:pt x="2878" y="1011"/>
                    </a:lnTo>
                    <a:moveTo>
                      <a:pt x="3772" y="992"/>
                    </a:moveTo>
                    <a:lnTo>
                      <a:pt x="3769" y="992"/>
                    </a:lnTo>
                    <a:lnTo>
                      <a:pt x="3769" y="994"/>
                    </a:lnTo>
                    <a:lnTo>
                      <a:pt x="3769" y="1174"/>
                    </a:lnTo>
                    <a:lnTo>
                      <a:pt x="3772" y="1174"/>
                    </a:lnTo>
                    <a:lnTo>
                      <a:pt x="3772" y="992"/>
                    </a:lnTo>
                    <a:moveTo>
                      <a:pt x="5949" y="990"/>
                    </a:moveTo>
                    <a:lnTo>
                      <a:pt x="5949" y="990"/>
                    </a:lnTo>
                    <a:lnTo>
                      <a:pt x="5949" y="992"/>
                    </a:lnTo>
                    <a:lnTo>
                      <a:pt x="5949" y="1023"/>
                    </a:lnTo>
                    <a:lnTo>
                      <a:pt x="5949" y="1023"/>
                    </a:lnTo>
                    <a:lnTo>
                      <a:pt x="5949" y="1023"/>
                    </a:lnTo>
                    <a:lnTo>
                      <a:pt x="5949" y="1023"/>
                    </a:lnTo>
                    <a:lnTo>
                      <a:pt x="5949" y="990"/>
                    </a:lnTo>
                    <a:moveTo>
                      <a:pt x="6342" y="935"/>
                    </a:moveTo>
                    <a:lnTo>
                      <a:pt x="6339" y="935"/>
                    </a:lnTo>
                    <a:lnTo>
                      <a:pt x="6339" y="938"/>
                    </a:lnTo>
                    <a:lnTo>
                      <a:pt x="6339" y="1110"/>
                    </a:lnTo>
                    <a:lnTo>
                      <a:pt x="6339" y="1110"/>
                    </a:lnTo>
                    <a:lnTo>
                      <a:pt x="6339" y="1108"/>
                    </a:lnTo>
                    <a:lnTo>
                      <a:pt x="6342" y="1108"/>
                    </a:lnTo>
                    <a:lnTo>
                      <a:pt x="6342" y="935"/>
                    </a:lnTo>
                    <a:moveTo>
                      <a:pt x="3847" y="928"/>
                    </a:moveTo>
                    <a:lnTo>
                      <a:pt x="3845" y="928"/>
                    </a:lnTo>
                    <a:lnTo>
                      <a:pt x="3845" y="928"/>
                    </a:lnTo>
                    <a:lnTo>
                      <a:pt x="3845" y="945"/>
                    </a:lnTo>
                    <a:lnTo>
                      <a:pt x="3847" y="945"/>
                    </a:lnTo>
                    <a:lnTo>
                      <a:pt x="3847" y="928"/>
                    </a:lnTo>
                    <a:moveTo>
                      <a:pt x="6391" y="878"/>
                    </a:moveTo>
                    <a:lnTo>
                      <a:pt x="6389" y="878"/>
                    </a:lnTo>
                    <a:lnTo>
                      <a:pt x="6389" y="878"/>
                    </a:lnTo>
                    <a:lnTo>
                      <a:pt x="6389" y="881"/>
                    </a:lnTo>
                    <a:lnTo>
                      <a:pt x="6389" y="885"/>
                    </a:lnTo>
                    <a:lnTo>
                      <a:pt x="6391" y="885"/>
                    </a:lnTo>
                    <a:lnTo>
                      <a:pt x="6391" y="878"/>
                    </a:lnTo>
                    <a:moveTo>
                      <a:pt x="6399" y="850"/>
                    </a:moveTo>
                    <a:lnTo>
                      <a:pt x="6396" y="850"/>
                    </a:lnTo>
                    <a:lnTo>
                      <a:pt x="6396" y="852"/>
                    </a:lnTo>
                    <a:lnTo>
                      <a:pt x="6396" y="871"/>
                    </a:lnTo>
                    <a:lnTo>
                      <a:pt x="6399" y="871"/>
                    </a:lnTo>
                    <a:lnTo>
                      <a:pt x="6399" y="869"/>
                    </a:lnTo>
                    <a:lnTo>
                      <a:pt x="6399" y="869"/>
                    </a:lnTo>
                    <a:lnTo>
                      <a:pt x="6399" y="850"/>
                    </a:lnTo>
                    <a:moveTo>
                      <a:pt x="3102" y="762"/>
                    </a:moveTo>
                    <a:lnTo>
                      <a:pt x="3100" y="762"/>
                    </a:lnTo>
                    <a:lnTo>
                      <a:pt x="3100" y="762"/>
                    </a:lnTo>
                    <a:lnTo>
                      <a:pt x="3100" y="765"/>
                    </a:lnTo>
                    <a:lnTo>
                      <a:pt x="3100" y="930"/>
                    </a:lnTo>
                    <a:lnTo>
                      <a:pt x="3102" y="930"/>
                    </a:lnTo>
                    <a:lnTo>
                      <a:pt x="3102" y="762"/>
                    </a:lnTo>
                    <a:moveTo>
                      <a:pt x="1010" y="753"/>
                    </a:moveTo>
                    <a:lnTo>
                      <a:pt x="1007" y="753"/>
                    </a:lnTo>
                    <a:lnTo>
                      <a:pt x="1007" y="755"/>
                    </a:lnTo>
                    <a:lnTo>
                      <a:pt x="1007" y="779"/>
                    </a:lnTo>
                    <a:lnTo>
                      <a:pt x="1010" y="779"/>
                    </a:lnTo>
                    <a:lnTo>
                      <a:pt x="1010" y="753"/>
                    </a:lnTo>
                    <a:moveTo>
                      <a:pt x="5134" y="732"/>
                    </a:moveTo>
                    <a:lnTo>
                      <a:pt x="5131" y="732"/>
                    </a:lnTo>
                    <a:lnTo>
                      <a:pt x="5131" y="734"/>
                    </a:lnTo>
                    <a:lnTo>
                      <a:pt x="5131" y="923"/>
                    </a:lnTo>
                    <a:lnTo>
                      <a:pt x="5134" y="923"/>
                    </a:lnTo>
                    <a:lnTo>
                      <a:pt x="5134" y="732"/>
                    </a:lnTo>
                    <a:moveTo>
                      <a:pt x="3140" y="656"/>
                    </a:moveTo>
                    <a:lnTo>
                      <a:pt x="3138" y="656"/>
                    </a:lnTo>
                    <a:lnTo>
                      <a:pt x="3138" y="658"/>
                    </a:lnTo>
                    <a:lnTo>
                      <a:pt x="3138" y="724"/>
                    </a:lnTo>
                    <a:lnTo>
                      <a:pt x="3138" y="724"/>
                    </a:lnTo>
                    <a:lnTo>
                      <a:pt x="3138" y="722"/>
                    </a:lnTo>
                    <a:lnTo>
                      <a:pt x="3140" y="722"/>
                    </a:lnTo>
                    <a:lnTo>
                      <a:pt x="3140" y="656"/>
                    </a:lnTo>
                    <a:moveTo>
                      <a:pt x="97" y="616"/>
                    </a:moveTo>
                    <a:lnTo>
                      <a:pt x="97" y="616"/>
                    </a:lnTo>
                    <a:lnTo>
                      <a:pt x="97" y="618"/>
                    </a:lnTo>
                    <a:lnTo>
                      <a:pt x="97" y="1404"/>
                    </a:lnTo>
                    <a:lnTo>
                      <a:pt x="97" y="1404"/>
                    </a:lnTo>
                    <a:lnTo>
                      <a:pt x="97" y="616"/>
                    </a:lnTo>
                    <a:moveTo>
                      <a:pt x="5254" y="608"/>
                    </a:moveTo>
                    <a:lnTo>
                      <a:pt x="5252" y="608"/>
                    </a:lnTo>
                    <a:lnTo>
                      <a:pt x="5252" y="611"/>
                    </a:lnTo>
                    <a:lnTo>
                      <a:pt x="5252" y="682"/>
                    </a:lnTo>
                    <a:lnTo>
                      <a:pt x="5254" y="682"/>
                    </a:lnTo>
                    <a:lnTo>
                      <a:pt x="5254" y="608"/>
                    </a:lnTo>
                    <a:moveTo>
                      <a:pt x="3284" y="580"/>
                    </a:moveTo>
                    <a:lnTo>
                      <a:pt x="3282" y="580"/>
                    </a:lnTo>
                    <a:lnTo>
                      <a:pt x="3282" y="580"/>
                    </a:lnTo>
                    <a:lnTo>
                      <a:pt x="3282" y="582"/>
                    </a:lnTo>
                    <a:lnTo>
                      <a:pt x="3282" y="608"/>
                    </a:lnTo>
                    <a:lnTo>
                      <a:pt x="3284" y="608"/>
                    </a:lnTo>
                    <a:lnTo>
                      <a:pt x="3284" y="580"/>
                    </a:lnTo>
                    <a:moveTo>
                      <a:pt x="303" y="547"/>
                    </a:moveTo>
                    <a:lnTo>
                      <a:pt x="300" y="547"/>
                    </a:lnTo>
                    <a:lnTo>
                      <a:pt x="300" y="549"/>
                    </a:lnTo>
                    <a:lnTo>
                      <a:pt x="300" y="568"/>
                    </a:lnTo>
                    <a:lnTo>
                      <a:pt x="303" y="568"/>
                    </a:lnTo>
                    <a:lnTo>
                      <a:pt x="303" y="547"/>
                    </a:lnTo>
                    <a:moveTo>
                      <a:pt x="7028" y="509"/>
                    </a:moveTo>
                    <a:lnTo>
                      <a:pt x="7025" y="509"/>
                    </a:lnTo>
                    <a:lnTo>
                      <a:pt x="7025" y="509"/>
                    </a:lnTo>
                    <a:lnTo>
                      <a:pt x="7025" y="1044"/>
                    </a:lnTo>
                    <a:lnTo>
                      <a:pt x="7028" y="1044"/>
                    </a:lnTo>
                    <a:lnTo>
                      <a:pt x="7028" y="509"/>
                    </a:lnTo>
                    <a:moveTo>
                      <a:pt x="4195" y="502"/>
                    </a:moveTo>
                    <a:lnTo>
                      <a:pt x="4195" y="502"/>
                    </a:lnTo>
                    <a:lnTo>
                      <a:pt x="4192" y="504"/>
                    </a:lnTo>
                    <a:lnTo>
                      <a:pt x="4164" y="542"/>
                    </a:lnTo>
                    <a:lnTo>
                      <a:pt x="4164" y="542"/>
                    </a:lnTo>
                    <a:lnTo>
                      <a:pt x="4195" y="502"/>
                    </a:lnTo>
                    <a:moveTo>
                      <a:pt x="3301" y="500"/>
                    </a:moveTo>
                    <a:lnTo>
                      <a:pt x="3301" y="500"/>
                    </a:lnTo>
                    <a:lnTo>
                      <a:pt x="3299" y="500"/>
                    </a:lnTo>
                    <a:lnTo>
                      <a:pt x="3299" y="502"/>
                    </a:lnTo>
                    <a:lnTo>
                      <a:pt x="3299" y="563"/>
                    </a:lnTo>
                    <a:lnTo>
                      <a:pt x="3301" y="563"/>
                    </a:lnTo>
                    <a:lnTo>
                      <a:pt x="3301" y="563"/>
                    </a:lnTo>
                    <a:lnTo>
                      <a:pt x="3301" y="563"/>
                    </a:lnTo>
                    <a:lnTo>
                      <a:pt x="3301" y="500"/>
                    </a:lnTo>
                    <a:moveTo>
                      <a:pt x="4039" y="455"/>
                    </a:moveTo>
                    <a:lnTo>
                      <a:pt x="4036" y="455"/>
                    </a:lnTo>
                    <a:lnTo>
                      <a:pt x="4036" y="455"/>
                    </a:lnTo>
                    <a:lnTo>
                      <a:pt x="4036" y="455"/>
                    </a:lnTo>
                    <a:lnTo>
                      <a:pt x="4036" y="490"/>
                    </a:lnTo>
                    <a:lnTo>
                      <a:pt x="3954" y="642"/>
                    </a:lnTo>
                    <a:lnTo>
                      <a:pt x="3954" y="878"/>
                    </a:lnTo>
                    <a:lnTo>
                      <a:pt x="3956" y="878"/>
                    </a:lnTo>
                    <a:lnTo>
                      <a:pt x="3956" y="642"/>
                    </a:lnTo>
                    <a:lnTo>
                      <a:pt x="4039" y="488"/>
                    </a:lnTo>
                    <a:lnTo>
                      <a:pt x="4039" y="455"/>
                    </a:lnTo>
                    <a:moveTo>
                      <a:pt x="3329" y="433"/>
                    </a:moveTo>
                    <a:lnTo>
                      <a:pt x="3327" y="433"/>
                    </a:lnTo>
                    <a:lnTo>
                      <a:pt x="3327" y="436"/>
                    </a:lnTo>
                    <a:lnTo>
                      <a:pt x="3327" y="474"/>
                    </a:lnTo>
                    <a:lnTo>
                      <a:pt x="3329" y="474"/>
                    </a:lnTo>
                    <a:lnTo>
                      <a:pt x="3329" y="471"/>
                    </a:lnTo>
                    <a:lnTo>
                      <a:pt x="3329" y="471"/>
                    </a:lnTo>
                    <a:lnTo>
                      <a:pt x="3329" y="433"/>
                    </a:lnTo>
                    <a:moveTo>
                      <a:pt x="4043" y="391"/>
                    </a:moveTo>
                    <a:lnTo>
                      <a:pt x="4041" y="391"/>
                    </a:lnTo>
                    <a:lnTo>
                      <a:pt x="4041" y="391"/>
                    </a:lnTo>
                    <a:lnTo>
                      <a:pt x="4041" y="393"/>
                    </a:lnTo>
                    <a:lnTo>
                      <a:pt x="4041" y="447"/>
                    </a:lnTo>
                    <a:lnTo>
                      <a:pt x="4043" y="447"/>
                    </a:lnTo>
                    <a:lnTo>
                      <a:pt x="4043" y="445"/>
                    </a:lnTo>
                    <a:lnTo>
                      <a:pt x="4043" y="445"/>
                    </a:lnTo>
                    <a:lnTo>
                      <a:pt x="4043" y="391"/>
                    </a:lnTo>
                    <a:moveTo>
                      <a:pt x="1811" y="367"/>
                    </a:moveTo>
                    <a:lnTo>
                      <a:pt x="1809" y="367"/>
                    </a:lnTo>
                    <a:lnTo>
                      <a:pt x="1809" y="369"/>
                    </a:lnTo>
                    <a:lnTo>
                      <a:pt x="1809" y="1082"/>
                    </a:lnTo>
                    <a:lnTo>
                      <a:pt x="1811" y="1082"/>
                    </a:lnTo>
                    <a:lnTo>
                      <a:pt x="1811" y="367"/>
                    </a:lnTo>
                    <a:moveTo>
                      <a:pt x="4051" y="327"/>
                    </a:moveTo>
                    <a:lnTo>
                      <a:pt x="4051" y="327"/>
                    </a:lnTo>
                    <a:lnTo>
                      <a:pt x="4051" y="329"/>
                    </a:lnTo>
                    <a:lnTo>
                      <a:pt x="4051" y="384"/>
                    </a:lnTo>
                    <a:lnTo>
                      <a:pt x="4051" y="384"/>
                    </a:lnTo>
                    <a:lnTo>
                      <a:pt x="4051" y="381"/>
                    </a:lnTo>
                    <a:lnTo>
                      <a:pt x="4051" y="381"/>
                    </a:lnTo>
                    <a:lnTo>
                      <a:pt x="4051" y="327"/>
                    </a:lnTo>
                    <a:moveTo>
                      <a:pt x="4706" y="232"/>
                    </a:moveTo>
                    <a:lnTo>
                      <a:pt x="4703" y="232"/>
                    </a:lnTo>
                    <a:lnTo>
                      <a:pt x="4703" y="232"/>
                    </a:lnTo>
                    <a:lnTo>
                      <a:pt x="4644" y="450"/>
                    </a:lnTo>
                    <a:lnTo>
                      <a:pt x="4644" y="450"/>
                    </a:lnTo>
                    <a:lnTo>
                      <a:pt x="4706" y="232"/>
                    </a:lnTo>
                    <a:moveTo>
                      <a:pt x="4805" y="170"/>
                    </a:moveTo>
                    <a:lnTo>
                      <a:pt x="4802" y="170"/>
                    </a:lnTo>
                    <a:lnTo>
                      <a:pt x="4802" y="173"/>
                    </a:lnTo>
                    <a:lnTo>
                      <a:pt x="4802" y="182"/>
                    </a:lnTo>
                    <a:lnTo>
                      <a:pt x="4805" y="182"/>
                    </a:lnTo>
                    <a:lnTo>
                      <a:pt x="4805" y="170"/>
                    </a:lnTo>
                    <a:moveTo>
                      <a:pt x="4855" y="0"/>
                    </a:moveTo>
                    <a:lnTo>
                      <a:pt x="4852" y="0"/>
                    </a:lnTo>
                    <a:lnTo>
                      <a:pt x="4852" y="2"/>
                    </a:lnTo>
                    <a:lnTo>
                      <a:pt x="4852" y="123"/>
                    </a:lnTo>
                    <a:lnTo>
                      <a:pt x="4855" y="123"/>
                    </a:lnTo>
                    <a:lnTo>
                      <a:pt x="48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2" name="Freeform 94"/>
              <p:cNvSpPr>
                <a:spLocks noEditPoints="1"/>
              </p:cNvSpPr>
              <p:nvPr/>
            </p:nvSpPr>
            <p:spPr bwMode="auto">
              <a:xfrm>
                <a:off x="0" y="1708"/>
                <a:ext cx="7025" cy="1486"/>
              </a:xfrm>
              <a:custGeom>
                <a:avLst/>
                <a:gdLst>
                  <a:gd name="T0" fmla="*/ 2 w 7025"/>
                  <a:gd name="T1" fmla="*/ 1486 h 1486"/>
                  <a:gd name="T2" fmla="*/ 5665 w 7025"/>
                  <a:gd name="T3" fmla="*/ 1401 h 1486"/>
                  <a:gd name="T4" fmla="*/ 3709 w 7025"/>
                  <a:gd name="T5" fmla="*/ 1224 h 1486"/>
                  <a:gd name="T6" fmla="*/ 5830 w 7025"/>
                  <a:gd name="T7" fmla="*/ 1207 h 1486"/>
                  <a:gd name="T8" fmla="*/ 5830 w 7025"/>
                  <a:gd name="T9" fmla="*/ 1207 h 1486"/>
                  <a:gd name="T10" fmla="*/ 1688 w 7025"/>
                  <a:gd name="T11" fmla="*/ 1134 h 1486"/>
                  <a:gd name="T12" fmla="*/ 5854 w 7025"/>
                  <a:gd name="T13" fmla="*/ 1127 h 1486"/>
                  <a:gd name="T14" fmla="*/ 5856 w 7025"/>
                  <a:gd name="T15" fmla="*/ 1181 h 1486"/>
                  <a:gd name="T16" fmla="*/ 6320 w 7025"/>
                  <a:gd name="T17" fmla="*/ 1129 h 1486"/>
                  <a:gd name="T18" fmla="*/ 1444 w 7025"/>
                  <a:gd name="T19" fmla="*/ 1124 h 1486"/>
                  <a:gd name="T20" fmla="*/ 1447 w 7025"/>
                  <a:gd name="T21" fmla="*/ 1124 h 1486"/>
                  <a:gd name="T22" fmla="*/ 1463 w 7025"/>
                  <a:gd name="T23" fmla="*/ 1108 h 1486"/>
                  <a:gd name="T24" fmla="*/ 2858 w 7025"/>
                  <a:gd name="T25" fmla="*/ 1063 h 1486"/>
                  <a:gd name="T26" fmla="*/ 2861 w 7025"/>
                  <a:gd name="T27" fmla="*/ 1063 h 1486"/>
                  <a:gd name="T28" fmla="*/ 5930 w 7025"/>
                  <a:gd name="T29" fmla="*/ 1082 h 1486"/>
                  <a:gd name="T30" fmla="*/ 2875 w 7025"/>
                  <a:gd name="T31" fmla="*/ 1013 h 1486"/>
                  <a:gd name="T32" fmla="*/ 2877 w 7025"/>
                  <a:gd name="T33" fmla="*/ 1011 h 1486"/>
                  <a:gd name="T34" fmla="*/ 3771 w 7025"/>
                  <a:gd name="T35" fmla="*/ 1176 h 1486"/>
                  <a:gd name="T36" fmla="*/ 5946 w 7025"/>
                  <a:gd name="T37" fmla="*/ 1025 h 1486"/>
                  <a:gd name="T38" fmla="*/ 6339 w 7025"/>
                  <a:gd name="T39" fmla="*/ 935 h 1486"/>
                  <a:gd name="T40" fmla="*/ 6339 w 7025"/>
                  <a:gd name="T41" fmla="*/ 1110 h 1486"/>
                  <a:gd name="T42" fmla="*/ 3844 w 7025"/>
                  <a:gd name="T43" fmla="*/ 928 h 1486"/>
                  <a:gd name="T44" fmla="*/ 6391 w 7025"/>
                  <a:gd name="T45" fmla="*/ 878 h 1486"/>
                  <a:gd name="T46" fmla="*/ 6388 w 7025"/>
                  <a:gd name="T47" fmla="*/ 887 h 1486"/>
                  <a:gd name="T48" fmla="*/ 6396 w 7025"/>
                  <a:gd name="T49" fmla="*/ 850 h 1486"/>
                  <a:gd name="T50" fmla="*/ 6398 w 7025"/>
                  <a:gd name="T51" fmla="*/ 869 h 1486"/>
                  <a:gd name="T52" fmla="*/ 3099 w 7025"/>
                  <a:gd name="T53" fmla="*/ 764 h 1486"/>
                  <a:gd name="T54" fmla="*/ 1007 w 7025"/>
                  <a:gd name="T55" fmla="*/ 753 h 1486"/>
                  <a:gd name="T56" fmla="*/ 5133 w 7025"/>
                  <a:gd name="T57" fmla="*/ 731 h 1486"/>
                  <a:gd name="T58" fmla="*/ 5133 w 7025"/>
                  <a:gd name="T59" fmla="*/ 731 h 1486"/>
                  <a:gd name="T60" fmla="*/ 3137 w 7025"/>
                  <a:gd name="T61" fmla="*/ 724 h 1486"/>
                  <a:gd name="T62" fmla="*/ 94 w 7025"/>
                  <a:gd name="T63" fmla="*/ 615 h 1486"/>
                  <a:gd name="T64" fmla="*/ 5253 w 7025"/>
                  <a:gd name="T65" fmla="*/ 608 h 1486"/>
                  <a:gd name="T66" fmla="*/ 5253 w 7025"/>
                  <a:gd name="T67" fmla="*/ 608 h 1486"/>
                  <a:gd name="T68" fmla="*/ 3281 w 7025"/>
                  <a:gd name="T69" fmla="*/ 610 h 1486"/>
                  <a:gd name="T70" fmla="*/ 300 w 7025"/>
                  <a:gd name="T71" fmla="*/ 549 h 1486"/>
                  <a:gd name="T72" fmla="*/ 7025 w 7025"/>
                  <a:gd name="T73" fmla="*/ 509 h 1486"/>
                  <a:gd name="T74" fmla="*/ 4194 w 7025"/>
                  <a:gd name="T75" fmla="*/ 502 h 1486"/>
                  <a:gd name="T76" fmla="*/ 4194 w 7025"/>
                  <a:gd name="T77" fmla="*/ 502 h 1486"/>
                  <a:gd name="T78" fmla="*/ 3298 w 7025"/>
                  <a:gd name="T79" fmla="*/ 565 h 1486"/>
                  <a:gd name="T80" fmla="*/ 4036 w 7025"/>
                  <a:gd name="T81" fmla="*/ 454 h 1486"/>
                  <a:gd name="T82" fmla="*/ 3953 w 7025"/>
                  <a:gd name="T83" fmla="*/ 644 h 1486"/>
                  <a:gd name="T84" fmla="*/ 4036 w 7025"/>
                  <a:gd name="T85" fmla="*/ 454 h 1486"/>
                  <a:gd name="T86" fmla="*/ 3329 w 7025"/>
                  <a:gd name="T87" fmla="*/ 473 h 1486"/>
                  <a:gd name="T88" fmla="*/ 4040 w 7025"/>
                  <a:gd name="T89" fmla="*/ 390 h 1486"/>
                  <a:gd name="T90" fmla="*/ 4043 w 7025"/>
                  <a:gd name="T91" fmla="*/ 447 h 1486"/>
                  <a:gd name="T92" fmla="*/ 1808 w 7025"/>
                  <a:gd name="T93" fmla="*/ 369 h 1486"/>
                  <a:gd name="T94" fmla="*/ 4048 w 7025"/>
                  <a:gd name="T95" fmla="*/ 326 h 1486"/>
                  <a:gd name="T96" fmla="*/ 4050 w 7025"/>
                  <a:gd name="T97" fmla="*/ 381 h 1486"/>
                  <a:gd name="T98" fmla="*/ 4641 w 7025"/>
                  <a:gd name="T99" fmla="*/ 452 h 1486"/>
                  <a:gd name="T100" fmla="*/ 4802 w 7025"/>
                  <a:gd name="T101" fmla="*/ 172 h 1486"/>
                  <a:gd name="T102" fmla="*/ 4852 w 7025"/>
                  <a:gd name="T103" fmla="*/ 0 h 1486"/>
                  <a:gd name="T104" fmla="*/ 4852 w 7025"/>
                  <a:gd name="T105" fmla="*/ 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486">
                    <a:moveTo>
                      <a:pt x="2" y="1453"/>
                    </a:moveTo>
                    <a:lnTo>
                      <a:pt x="0" y="1453"/>
                    </a:lnTo>
                    <a:lnTo>
                      <a:pt x="0" y="1453"/>
                    </a:lnTo>
                    <a:lnTo>
                      <a:pt x="0" y="1486"/>
                    </a:lnTo>
                    <a:lnTo>
                      <a:pt x="2" y="1486"/>
                    </a:lnTo>
                    <a:lnTo>
                      <a:pt x="2" y="1453"/>
                    </a:lnTo>
                    <a:close/>
                    <a:moveTo>
                      <a:pt x="5665" y="1325"/>
                    </a:moveTo>
                    <a:lnTo>
                      <a:pt x="5665" y="1325"/>
                    </a:lnTo>
                    <a:lnTo>
                      <a:pt x="5665" y="1328"/>
                    </a:lnTo>
                    <a:lnTo>
                      <a:pt x="5665" y="1401"/>
                    </a:lnTo>
                    <a:lnTo>
                      <a:pt x="5665" y="1401"/>
                    </a:lnTo>
                    <a:lnTo>
                      <a:pt x="5665" y="1325"/>
                    </a:lnTo>
                    <a:close/>
                    <a:moveTo>
                      <a:pt x="3712" y="1221"/>
                    </a:moveTo>
                    <a:lnTo>
                      <a:pt x="3709" y="1221"/>
                    </a:lnTo>
                    <a:lnTo>
                      <a:pt x="3709" y="1224"/>
                    </a:lnTo>
                    <a:lnTo>
                      <a:pt x="3709" y="1269"/>
                    </a:lnTo>
                    <a:lnTo>
                      <a:pt x="3712" y="1269"/>
                    </a:lnTo>
                    <a:lnTo>
                      <a:pt x="3712" y="1221"/>
                    </a:lnTo>
                    <a:close/>
                    <a:moveTo>
                      <a:pt x="5830" y="1207"/>
                    </a:moveTo>
                    <a:lnTo>
                      <a:pt x="5830" y="1207"/>
                    </a:lnTo>
                    <a:lnTo>
                      <a:pt x="5828" y="1207"/>
                    </a:lnTo>
                    <a:lnTo>
                      <a:pt x="5828" y="1209"/>
                    </a:lnTo>
                    <a:lnTo>
                      <a:pt x="5828" y="1278"/>
                    </a:lnTo>
                    <a:lnTo>
                      <a:pt x="5830" y="1278"/>
                    </a:lnTo>
                    <a:lnTo>
                      <a:pt x="5830" y="1207"/>
                    </a:lnTo>
                    <a:close/>
                    <a:moveTo>
                      <a:pt x="1688" y="1131"/>
                    </a:moveTo>
                    <a:lnTo>
                      <a:pt x="1688" y="1131"/>
                    </a:lnTo>
                    <a:lnTo>
                      <a:pt x="1688" y="1134"/>
                    </a:lnTo>
                    <a:lnTo>
                      <a:pt x="1688" y="1134"/>
                    </a:lnTo>
                    <a:lnTo>
                      <a:pt x="1688" y="1134"/>
                    </a:lnTo>
                    <a:lnTo>
                      <a:pt x="1688" y="1131"/>
                    </a:lnTo>
                    <a:lnTo>
                      <a:pt x="1688" y="1131"/>
                    </a:lnTo>
                    <a:lnTo>
                      <a:pt x="1688" y="1131"/>
                    </a:lnTo>
                    <a:close/>
                    <a:moveTo>
                      <a:pt x="5856" y="1127"/>
                    </a:moveTo>
                    <a:lnTo>
                      <a:pt x="5854" y="1127"/>
                    </a:lnTo>
                    <a:lnTo>
                      <a:pt x="5854" y="1129"/>
                    </a:lnTo>
                    <a:lnTo>
                      <a:pt x="5854" y="1183"/>
                    </a:lnTo>
                    <a:lnTo>
                      <a:pt x="5854" y="1183"/>
                    </a:lnTo>
                    <a:lnTo>
                      <a:pt x="5854" y="1181"/>
                    </a:lnTo>
                    <a:lnTo>
                      <a:pt x="5856" y="1181"/>
                    </a:lnTo>
                    <a:lnTo>
                      <a:pt x="5856" y="1127"/>
                    </a:lnTo>
                    <a:close/>
                    <a:moveTo>
                      <a:pt x="6322" y="1127"/>
                    </a:moveTo>
                    <a:lnTo>
                      <a:pt x="6322" y="1127"/>
                    </a:lnTo>
                    <a:lnTo>
                      <a:pt x="6320" y="1127"/>
                    </a:lnTo>
                    <a:lnTo>
                      <a:pt x="6320" y="1129"/>
                    </a:lnTo>
                    <a:lnTo>
                      <a:pt x="6320" y="1162"/>
                    </a:lnTo>
                    <a:lnTo>
                      <a:pt x="6322" y="1162"/>
                    </a:lnTo>
                    <a:lnTo>
                      <a:pt x="6322" y="1127"/>
                    </a:lnTo>
                    <a:close/>
                    <a:moveTo>
                      <a:pt x="1447" y="1124"/>
                    </a:moveTo>
                    <a:lnTo>
                      <a:pt x="1444" y="1124"/>
                    </a:lnTo>
                    <a:lnTo>
                      <a:pt x="1444" y="1124"/>
                    </a:lnTo>
                    <a:lnTo>
                      <a:pt x="1444" y="1127"/>
                    </a:lnTo>
                    <a:lnTo>
                      <a:pt x="1444" y="1153"/>
                    </a:lnTo>
                    <a:lnTo>
                      <a:pt x="1447" y="1153"/>
                    </a:lnTo>
                    <a:lnTo>
                      <a:pt x="1447" y="1124"/>
                    </a:lnTo>
                    <a:close/>
                    <a:moveTo>
                      <a:pt x="1463" y="1084"/>
                    </a:moveTo>
                    <a:lnTo>
                      <a:pt x="1461" y="1084"/>
                    </a:lnTo>
                    <a:lnTo>
                      <a:pt x="1461" y="1084"/>
                    </a:lnTo>
                    <a:lnTo>
                      <a:pt x="1461" y="1108"/>
                    </a:lnTo>
                    <a:lnTo>
                      <a:pt x="1463" y="1108"/>
                    </a:lnTo>
                    <a:lnTo>
                      <a:pt x="1463" y="1105"/>
                    </a:lnTo>
                    <a:lnTo>
                      <a:pt x="1463" y="1105"/>
                    </a:lnTo>
                    <a:lnTo>
                      <a:pt x="1463" y="1084"/>
                    </a:lnTo>
                    <a:close/>
                    <a:moveTo>
                      <a:pt x="2861" y="1063"/>
                    </a:moveTo>
                    <a:lnTo>
                      <a:pt x="2858" y="1063"/>
                    </a:lnTo>
                    <a:lnTo>
                      <a:pt x="2858" y="1063"/>
                    </a:lnTo>
                    <a:lnTo>
                      <a:pt x="2858" y="1063"/>
                    </a:lnTo>
                    <a:lnTo>
                      <a:pt x="2858" y="1193"/>
                    </a:lnTo>
                    <a:lnTo>
                      <a:pt x="2861" y="1193"/>
                    </a:lnTo>
                    <a:lnTo>
                      <a:pt x="2861" y="1063"/>
                    </a:lnTo>
                    <a:close/>
                    <a:moveTo>
                      <a:pt x="5932" y="1041"/>
                    </a:moveTo>
                    <a:lnTo>
                      <a:pt x="5930" y="1041"/>
                    </a:lnTo>
                    <a:lnTo>
                      <a:pt x="5930" y="1041"/>
                    </a:lnTo>
                    <a:lnTo>
                      <a:pt x="5930" y="1044"/>
                    </a:lnTo>
                    <a:lnTo>
                      <a:pt x="5930" y="1082"/>
                    </a:lnTo>
                    <a:lnTo>
                      <a:pt x="5932" y="1082"/>
                    </a:lnTo>
                    <a:lnTo>
                      <a:pt x="5932" y="1041"/>
                    </a:lnTo>
                    <a:close/>
                    <a:moveTo>
                      <a:pt x="2877" y="1011"/>
                    </a:moveTo>
                    <a:lnTo>
                      <a:pt x="2875" y="1013"/>
                    </a:lnTo>
                    <a:lnTo>
                      <a:pt x="2875" y="1013"/>
                    </a:lnTo>
                    <a:lnTo>
                      <a:pt x="2875" y="1046"/>
                    </a:lnTo>
                    <a:lnTo>
                      <a:pt x="2877" y="1046"/>
                    </a:lnTo>
                    <a:lnTo>
                      <a:pt x="2877" y="1044"/>
                    </a:lnTo>
                    <a:lnTo>
                      <a:pt x="2877" y="1044"/>
                    </a:lnTo>
                    <a:lnTo>
                      <a:pt x="2877" y="1011"/>
                    </a:lnTo>
                    <a:close/>
                    <a:moveTo>
                      <a:pt x="3771" y="992"/>
                    </a:moveTo>
                    <a:lnTo>
                      <a:pt x="3769" y="992"/>
                    </a:lnTo>
                    <a:lnTo>
                      <a:pt x="3769" y="994"/>
                    </a:lnTo>
                    <a:lnTo>
                      <a:pt x="3769" y="1176"/>
                    </a:lnTo>
                    <a:lnTo>
                      <a:pt x="3771" y="1176"/>
                    </a:lnTo>
                    <a:lnTo>
                      <a:pt x="3771" y="992"/>
                    </a:lnTo>
                    <a:close/>
                    <a:moveTo>
                      <a:pt x="5949" y="989"/>
                    </a:moveTo>
                    <a:lnTo>
                      <a:pt x="5946" y="989"/>
                    </a:lnTo>
                    <a:lnTo>
                      <a:pt x="5946" y="992"/>
                    </a:lnTo>
                    <a:lnTo>
                      <a:pt x="5946" y="1025"/>
                    </a:lnTo>
                    <a:lnTo>
                      <a:pt x="5949" y="1025"/>
                    </a:lnTo>
                    <a:lnTo>
                      <a:pt x="5949" y="1022"/>
                    </a:lnTo>
                    <a:lnTo>
                      <a:pt x="5949" y="1022"/>
                    </a:lnTo>
                    <a:lnTo>
                      <a:pt x="5949" y="989"/>
                    </a:lnTo>
                    <a:close/>
                    <a:moveTo>
                      <a:pt x="6339" y="935"/>
                    </a:moveTo>
                    <a:lnTo>
                      <a:pt x="6339" y="935"/>
                    </a:lnTo>
                    <a:lnTo>
                      <a:pt x="6339" y="935"/>
                    </a:lnTo>
                    <a:lnTo>
                      <a:pt x="6339" y="937"/>
                    </a:lnTo>
                    <a:lnTo>
                      <a:pt x="6339" y="1110"/>
                    </a:lnTo>
                    <a:lnTo>
                      <a:pt x="6339" y="1110"/>
                    </a:lnTo>
                    <a:lnTo>
                      <a:pt x="6339" y="1108"/>
                    </a:lnTo>
                    <a:lnTo>
                      <a:pt x="6339" y="1108"/>
                    </a:lnTo>
                    <a:lnTo>
                      <a:pt x="6339" y="935"/>
                    </a:lnTo>
                    <a:close/>
                    <a:moveTo>
                      <a:pt x="3844" y="928"/>
                    </a:moveTo>
                    <a:lnTo>
                      <a:pt x="3844" y="928"/>
                    </a:lnTo>
                    <a:lnTo>
                      <a:pt x="3844" y="930"/>
                    </a:lnTo>
                    <a:lnTo>
                      <a:pt x="3844" y="947"/>
                    </a:lnTo>
                    <a:lnTo>
                      <a:pt x="3844" y="947"/>
                    </a:lnTo>
                    <a:lnTo>
                      <a:pt x="3844" y="928"/>
                    </a:lnTo>
                    <a:close/>
                    <a:moveTo>
                      <a:pt x="6391" y="878"/>
                    </a:moveTo>
                    <a:lnTo>
                      <a:pt x="6388" y="878"/>
                    </a:lnTo>
                    <a:lnTo>
                      <a:pt x="6388" y="878"/>
                    </a:lnTo>
                    <a:lnTo>
                      <a:pt x="6388" y="880"/>
                    </a:lnTo>
                    <a:lnTo>
                      <a:pt x="6388" y="887"/>
                    </a:lnTo>
                    <a:lnTo>
                      <a:pt x="6388" y="887"/>
                    </a:lnTo>
                    <a:lnTo>
                      <a:pt x="6388" y="887"/>
                    </a:lnTo>
                    <a:lnTo>
                      <a:pt x="6391" y="887"/>
                    </a:lnTo>
                    <a:lnTo>
                      <a:pt x="6391" y="878"/>
                    </a:lnTo>
                    <a:close/>
                    <a:moveTo>
                      <a:pt x="6398" y="850"/>
                    </a:moveTo>
                    <a:lnTo>
                      <a:pt x="6396" y="850"/>
                    </a:lnTo>
                    <a:lnTo>
                      <a:pt x="6396" y="852"/>
                    </a:lnTo>
                    <a:lnTo>
                      <a:pt x="6396" y="871"/>
                    </a:lnTo>
                    <a:lnTo>
                      <a:pt x="6398" y="871"/>
                    </a:lnTo>
                    <a:lnTo>
                      <a:pt x="6398" y="869"/>
                    </a:lnTo>
                    <a:lnTo>
                      <a:pt x="6398" y="869"/>
                    </a:lnTo>
                    <a:lnTo>
                      <a:pt x="6398" y="850"/>
                    </a:lnTo>
                    <a:close/>
                    <a:moveTo>
                      <a:pt x="3099" y="762"/>
                    </a:moveTo>
                    <a:lnTo>
                      <a:pt x="3099" y="762"/>
                    </a:lnTo>
                    <a:lnTo>
                      <a:pt x="3099" y="762"/>
                    </a:lnTo>
                    <a:lnTo>
                      <a:pt x="3099" y="764"/>
                    </a:lnTo>
                    <a:lnTo>
                      <a:pt x="3099" y="932"/>
                    </a:lnTo>
                    <a:lnTo>
                      <a:pt x="3099" y="932"/>
                    </a:lnTo>
                    <a:lnTo>
                      <a:pt x="3099" y="762"/>
                    </a:lnTo>
                    <a:close/>
                    <a:moveTo>
                      <a:pt x="1009" y="753"/>
                    </a:moveTo>
                    <a:lnTo>
                      <a:pt x="1007" y="753"/>
                    </a:lnTo>
                    <a:lnTo>
                      <a:pt x="1007" y="755"/>
                    </a:lnTo>
                    <a:lnTo>
                      <a:pt x="1007" y="781"/>
                    </a:lnTo>
                    <a:lnTo>
                      <a:pt x="1009" y="781"/>
                    </a:lnTo>
                    <a:lnTo>
                      <a:pt x="1009" y="753"/>
                    </a:lnTo>
                    <a:close/>
                    <a:moveTo>
                      <a:pt x="5133" y="731"/>
                    </a:moveTo>
                    <a:lnTo>
                      <a:pt x="5131" y="731"/>
                    </a:lnTo>
                    <a:lnTo>
                      <a:pt x="5131" y="734"/>
                    </a:lnTo>
                    <a:lnTo>
                      <a:pt x="5131" y="925"/>
                    </a:lnTo>
                    <a:lnTo>
                      <a:pt x="5133" y="925"/>
                    </a:lnTo>
                    <a:lnTo>
                      <a:pt x="5133" y="731"/>
                    </a:lnTo>
                    <a:close/>
                    <a:moveTo>
                      <a:pt x="3140" y="655"/>
                    </a:moveTo>
                    <a:lnTo>
                      <a:pt x="3137" y="655"/>
                    </a:lnTo>
                    <a:lnTo>
                      <a:pt x="3137" y="658"/>
                    </a:lnTo>
                    <a:lnTo>
                      <a:pt x="3137" y="724"/>
                    </a:lnTo>
                    <a:lnTo>
                      <a:pt x="3137" y="724"/>
                    </a:lnTo>
                    <a:lnTo>
                      <a:pt x="3137" y="724"/>
                    </a:lnTo>
                    <a:lnTo>
                      <a:pt x="3140" y="724"/>
                    </a:lnTo>
                    <a:lnTo>
                      <a:pt x="3140" y="655"/>
                    </a:lnTo>
                    <a:close/>
                    <a:moveTo>
                      <a:pt x="96" y="615"/>
                    </a:moveTo>
                    <a:lnTo>
                      <a:pt x="94" y="615"/>
                    </a:lnTo>
                    <a:lnTo>
                      <a:pt x="94" y="618"/>
                    </a:lnTo>
                    <a:lnTo>
                      <a:pt x="94" y="1406"/>
                    </a:lnTo>
                    <a:lnTo>
                      <a:pt x="96" y="1406"/>
                    </a:lnTo>
                    <a:lnTo>
                      <a:pt x="96" y="615"/>
                    </a:lnTo>
                    <a:close/>
                    <a:moveTo>
                      <a:pt x="5253" y="608"/>
                    </a:moveTo>
                    <a:lnTo>
                      <a:pt x="5251" y="608"/>
                    </a:lnTo>
                    <a:lnTo>
                      <a:pt x="5251" y="610"/>
                    </a:lnTo>
                    <a:lnTo>
                      <a:pt x="5251" y="684"/>
                    </a:lnTo>
                    <a:lnTo>
                      <a:pt x="5253" y="684"/>
                    </a:lnTo>
                    <a:lnTo>
                      <a:pt x="5253" y="608"/>
                    </a:lnTo>
                    <a:close/>
                    <a:moveTo>
                      <a:pt x="3284" y="582"/>
                    </a:moveTo>
                    <a:lnTo>
                      <a:pt x="3281" y="582"/>
                    </a:lnTo>
                    <a:lnTo>
                      <a:pt x="3281" y="582"/>
                    </a:lnTo>
                    <a:lnTo>
                      <a:pt x="3281" y="582"/>
                    </a:lnTo>
                    <a:lnTo>
                      <a:pt x="3281" y="610"/>
                    </a:lnTo>
                    <a:lnTo>
                      <a:pt x="3284" y="610"/>
                    </a:lnTo>
                    <a:lnTo>
                      <a:pt x="3284" y="582"/>
                    </a:lnTo>
                    <a:close/>
                    <a:moveTo>
                      <a:pt x="302" y="547"/>
                    </a:moveTo>
                    <a:lnTo>
                      <a:pt x="300" y="547"/>
                    </a:lnTo>
                    <a:lnTo>
                      <a:pt x="300" y="549"/>
                    </a:lnTo>
                    <a:lnTo>
                      <a:pt x="300" y="570"/>
                    </a:lnTo>
                    <a:lnTo>
                      <a:pt x="302" y="570"/>
                    </a:lnTo>
                    <a:lnTo>
                      <a:pt x="302" y="547"/>
                    </a:lnTo>
                    <a:close/>
                    <a:moveTo>
                      <a:pt x="7025" y="509"/>
                    </a:moveTo>
                    <a:lnTo>
                      <a:pt x="7025" y="509"/>
                    </a:lnTo>
                    <a:lnTo>
                      <a:pt x="7025" y="511"/>
                    </a:lnTo>
                    <a:lnTo>
                      <a:pt x="7025" y="1046"/>
                    </a:lnTo>
                    <a:lnTo>
                      <a:pt x="7025" y="1046"/>
                    </a:lnTo>
                    <a:lnTo>
                      <a:pt x="7025" y="509"/>
                    </a:lnTo>
                    <a:close/>
                    <a:moveTo>
                      <a:pt x="4194" y="502"/>
                    </a:moveTo>
                    <a:lnTo>
                      <a:pt x="4192" y="502"/>
                    </a:lnTo>
                    <a:lnTo>
                      <a:pt x="4192" y="504"/>
                    </a:lnTo>
                    <a:lnTo>
                      <a:pt x="4161" y="544"/>
                    </a:lnTo>
                    <a:lnTo>
                      <a:pt x="4161" y="547"/>
                    </a:lnTo>
                    <a:lnTo>
                      <a:pt x="4194" y="502"/>
                    </a:lnTo>
                    <a:close/>
                    <a:moveTo>
                      <a:pt x="3300" y="502"/>
                    </a:moveTo>
                    <a:lnTo>
                      <a:pt x="3298" y="502"/>
                    </a:lnTo>
                    <a:lnTo>
                      <a:pt x="3298" y="502"/>
                    </a:lnTo>
                    <a:lnTo>
                      <a:pt x="3298" y="502"/>
                    </a:lnTo>
                    <a:lnTo>
                      <a:pt x="3298" y="565"/>
                    </a:lnTo>
                    <a:lnTo>
                      <a:pt x="3300" y="565"/>
                    </a:lnTo>
                    <a:lnTo>
                      <a:pt x="3300" y="563"/>
                    </a:lnTo>
                    <a:lnTo>
                      <a:pt x="3300" y="563"/>
                    </a:lnTo>
                    <a:lnTo>
                      <a:pt x="3300" y="502"/>
                    </a:lnTo>
                    <a:close/>
                    <a:moveTo>
                      <a:pt x="4036" y="454"/>
                    </a:moveTo>
                    <a:lnTo>
                      <a:pt x="4036" y="454"/>
                    </a:lnTo>
                    <a:lnTo>
                      <a:pt x="4036" y="454"/>
                    </a:lnTo>
                    <a:lnTo>
                      <a:pt x="4036" y="457"/>
                    </a:lnTo>
                    <a:lnTo>
                      <a:pt x="4036" y="490"/>
                    </a:lnTo>
                    <a:lnTo>
                      <a:pt x="3953" y="644"/>
                    </a:lnTo>
                    <a:lnTo>
                      <a:pt x="3953" y="880"/>
                    </a:lnTo>
                    <a:lnTo>
                      <a:pt x="3955" y="880"/>
                    </a:lnTo>
                    <a:lnTo>
                      <a:pt x="3955" y="641"/>
                    </a:lnTo>
                    <a:lnTo>
                      <a:pt x="4036" y="487"/>
                    </a:lnTo>
                    <a:lnTo>
                      <a:pt x="4036" y="454"/>
                    </a:lnTo>
                    <a:close/>
                    <a:moveTo>
                      <a:pt x="3329" y="433"/>
                    </a:moveTo>
                    <a:lnTo>
                      <a:pt x="3326" y="433"/>
                    </a:lnTo>
                    <a:lnTo>
                      <a:pt x="3326" y="435"/>
                    </a:lnTo>
                    <a:lnTo>
                      <a:pt x="3326" y="473"/>
                    </a:lnTo>
                    <a:lnTo>
                      <a:pt x="3329" y="473"/>
                    </a:lnTo>
                    <a:lnTo>
                      <a:pt x="3329" y="471"/>
                    </a:lnTo>
                    <a:lnTo>
                      <a:pt x="3329" y="471"/>
                    </a:lnTo>
                    <a:lnTo>
                      <a:pt x="3329" y="433"/>
                    </a:lnTo>
                    <a:close/>
                    <a:moveTo>
                      <a:pt x="4043" y="390"/>
                    </a:moveTo>
                    <a:lnTo>
                      <a:pt x="4040" y="390"/>
                    </a:lnTo>
                    <a:lnTo>
                      <a:pt x="4040" y="390"/>
                    </a:lnTo>
                    <a:lnTo>
                      <a:pt x="4040" y="393"/>
                    </a:lnTo>
                    <a:lnTo>
                      <a:pt x="4040" y="447"/>
                    </a:lnTo>
                    <a:lnTo>
                      <a:pt x="4043" y="447"/>
                    </a:lnTo>
                    <a:lnTo>
                      <a:pt x="4043" y="447"/>
                    </a:lnTo>
                    <a:lnTo>
                      <a:pt x="4043" y="447"/>
                    </a:lnTo>
                    <a:lnTo>
                      <a:pt x="4043" y="390"/>
                    </a:lnTo>
                    <a:close/>
                    <a:moveTo>
                      <a:pt x="1811" y="369"/>
                    </a:moveTo>
                    <a:lnTo>
                      <a:pt x="1808" y="369"/>
                    </a:lnTo>
                    <a:lnTo>
                      <a:pt x="1808" y="369"/>
                    </a:lnTo>
                    <a:lnTo>
                      <a:pt x="1808" y="1084"/>
                    </a:lnTo>
                    <a:lnTo>
                      <a:pt x="1811" y="1084"/>
                    </a:lnTo>
                    <a:lnTo>
                      <a:pt x="1811" y="369"/>
                    </a:lnTo>
                    <a:close/>
                    <a:moveTo>
                      <a:pt x="4050" y="326"/>
                    </a:moveTo>
                    <a:lnTo>
                      <a:pt x="4048" y="326"/>
                    </a:lnTo>
                    <a:lnTo>
                      <a:pt x="4048" y="329"/>
                    </a:lnTo>
                    <a:lnTo>
                      <a:pt x="4048" y="383"/>
                    </a:lnTo>
                    <a:lnTo>
                      <a:pt x="4050" y="383"/>
                    </a:lnTo>
                    <a:lnTo>
                      <a:pt x="4050" y="381"/>
                    </a:lnTo>
                    <a:lnTo>
                      <a:pt x="4050" y="381"/>
                    </a:lnTo>
                    <a:lnTo>
                      <a:pt x="4050" y="326"/>
                    </a:lnTo>
                    <a:close/>
                    <a:moveTo>
                      <a:pt x="4703" y="232"/>
                    </a:moveTo>
                    <a:lnTo>
                      <a:pt x="4703" y="232"/>
                    </a:lnTo>
                    <a:lnTo>
                      <a:pt x="4703" y="234"/>
                    </a:lnTo>
                    <a:lnTo>
                      <a:pt x="4641" y="452"/>
                    </a:lnTo>
                    <a:lnTo>
                      <a:pt x="4643" y="452"/>
                    </a:lnTo>
                    <a:lnTo>
                      <a:pt x="4703" y="232"/>
                    </a:lnTo>
                    <a:close/>
                    <a:moveTo>
                      <a:pt x="4804" y="172"/>
                    </a:moveTo>
                    <a:lnTo>
                      <a:pt x="4802" y="172"/>
                    </a:lnTo>
                    <a:lnTo>
                      <a:pt x="4802" y="172"/>
                    </a:lnTo>
                    <a:lnTo>
                      <a:pt x="4802" y="172"/>
                    </a:lnTo>
                    <a:lnTo>
                      <a:pt x="4802" y="184"/>
                    </a:lnTo>
                    <a:lnTo>
                      <a:pt x="4804" y="184"/>
                    </a:lnTo>
                    <a:lnTo>
                      <a:pt x="4804" y="172"/>
                    </a:lnTo>
                    <a:close/>
                    <a:moveTo>
                      <a:pt x="4852" y="0"/>
                    </a:moveTo>
                    <a:lnTo>
                      <a:pt x="4852" y="0"/>
                    </a:lnTo>
                    <a:lnTo>
                      <a:pt x="4852" y="2"/>
                    </a:lnTo>
                    <a:lnTo>
                      <a:pt x="4852" y="125"/>
                    </a:lnTo>
                    <a:lnTo>
                      <a:pt x="4852" y="125"/>
                    </a:lnTo>
                    <a:lnTo>
                      <a:pt x="4852" y="0"/>
                    </a:lnTo>
                    <a:close/>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3" name="Freeform 95"/>
              <p:cNvSpPr>
                <a:spLocks noEditPoints="1"/>
              </p:cNvSpPr>
              <p:nvPr/>
            </p:nvSpPr>
            <p:spPr bwMode="auto">
              <a:xfrm>
                <a:off x="0" y="1708"/>
                <a:ext cx="7025" cy="1486"/>
              </a:xfrm>
              <a:custGeom>
                <a:avLst/>
                <a:gdLst>
                  <a:gd name="T0" fmla="*/ 2 w 7025"/>
                  <a:gd name="T1" fmla="*/ 1486 h 1486"/>
                  <a:gd name="T2" fmla="*/ 5665 w 7025"/>
                  <a:gd name="T3" fmla="*/ 1401 h 1486"/>
                  <a:gd name="T4" fmla="*/ 3709 w 7025"/>
                  <a:gd name="T5" fmla="*/ 1224 h 1486"/>
                  <a:gd name="T6" fmla="*/ 5830 w 7025"/>
                  <a:gd name="T7" fmla="*/ 1207 h 1486"/>
                  <a:gd name="T8" fmla="*/ 5830 w 7025"/>
                  <a:gd name="T9" fmla="*/ 1207 h 1486"/>
                  <a:gd name="T10" fmla="*/ 1688 w 7025"/>
                  <a:gd name="T11" fmla="*/ 1134 h 1486"/>
                  <a:gd name="T12" fmla="*/ 5854 w 7025"/>
                  <a:gd name="T13" fmla="*/ 1127 h 1486"/>
                  <a:gd name="T14" fmla="*/ 5856 w 7025"/>
                  <a:gd name="T15" fmla="*/ 1181 h 1486"/>
                  <a:gd name="T16" fmla="*/ 6320 w 7025"/>
                  <a:gd name="T17" fmla="*/ 1129 h 1486"/>
                  <a:gd name="T18" fmla="*/ 1444 w 7025"/>
                  <a:gd name="T19" fmla="*/ 1124 h 1486"/>
                  <a:gd name="T20" fmla="*/ 1447 w 7025"/>
                  <a:gd name="T21" fmla="*/ 1124 h 1486"/>
                  <a:gd name="T22" fmla="*/ 1463 w 7025"/>
                  <a:gd name="T23" fmla="*/ 1108 h 1486"/>
                  <a:gd name="T24" fmla="*/ 2858 w 7025"/>
                  <a:gd name="T25" fmla="*/ 1063 h 1486"/>
                  <a:gd name="T26" fmla="*/ 2861 w 7025"/>
                  <a:gd name="T27" fmla="*/ 1063 h 1486"/>
                  <a:gd name="T28" fmla="*/ 5930 w 7025"/>
                  <a:gd name="T29" fmla="*/ 1082 h 1486"/>
                  <a:gd name="T30" fmla="*/ 2875 w 7025"/>
                  <a:gd name="T31" fmla="*/ 1013 h 1486"/>
                  <a:gd name="T32" fmla="*/ 2877 w 7025"/>
                  <a:gd name="T33" fmla="*/ 1011 h 1486"/>
                  <a:gd name="T34" fmla="*/ 3771 w 7025"/>
                  <a:gd name="T35" fmla="*/ 1176 h 1486"/>
                  <a:gd name="T36" fmla="*/ 5946 w 7025"/>
                  <a:gd name="T37" fmla="*/ 1025 h 1486"/>
                  <a:gd name="T38" fmla="*/ 6339 w 7025"/>
                  <a:gd name="T39" fmla="*/ 935 h 1486"/>
                  <a:gd name="T40" fmla="*/ 6339 w 7025"/>
                  <a:gd name="T41" fmla="*/ 1110 h 1486"/>
                  <a:gd name="T42" fmla="*/ 3844 w 7025"/>
                  <a:gd name="T43" fmla="*/ 928 h 1486"/>
                  <a:gd name="T44" fmla="*/ 6391 w 7025"/>
                  <a:gd name="T45" fmla="*/ 878 h 1486"/>
                  <a:gd name="T46" fmla="*/ 6388 w 7025"/>
                  <a:gd name="T47" fmla="*/ 887 h 1486"/>
                  <a:gd name="T48" fmla="*/ 6396 w 7025"/>
                  <a:gd name="T49" fmla="*/ 850 h 1486"/>
                  <a:gd name="T50" fmla="*/ 6398 w 7025"/>
                  <a:gd name="T51" fmla="*/ 869 h 1486"/>
                  <a:gd name="T52" fmla="*/ 3099 w 7025"/>
                  <a:gd name="T53" fmla="*/ 764 h 1486"/>
                  <a:gd name="T54" fmla="*/ 1007 w 7025"/>
                  <a:gd name="T55" fmla="*/ 753 h 1486"/>
                  <a:gd name="T56" fmla="*/ 5133 w 7025"/>
                  <a:gd name="T57" fmla="*/ 731 h 1486"/>
                  <a:gd name="T58" fmla="*/ 5133 w 7025"/>
                  <a:gd name="T59" fmla="*/ 731 h 1486"/>
                  <a:gd name="T60" fmla="*/ 3137 w 7025"/>
                  <a:gd name="T61" fmla="*/ 724 h 1486"/>
                  <a:gd name="T62" fmla="*/ 94 w 7025"/>
                  <a:gd name="T63" fmla="*/ 615 h 1486"/>
                  <a:gd name="T64" fmla="*/ 5253 w 7025"/>
                  <a:gd name="T65" fmla="*/ 608 h 1486"/>
                  <a:gd name="T66" fmla="*/ 5253 w 7025"/>
                  <a:gd name="T67" fmla="*/ 608 h 1486"/>
                  <a:gd name="T68" fmla="*/ 3281 w 7025"/>
                  <a:gd name="T69" fmla="*/ 610 h 1486"/>
                  <a:gd name="T70" fmla="*/ 300 w 7025"/>
                  <a:gd name="T71" fmla="*/ 549 h 1486"/>
                  <a:gd name="T72" fmla="*/ 7025 w 7025"/>
                  <a:gd name="T73" fmla="*/ 509 h 1486"/>
                  <a:gd name="T74" fmla="*/ 4194 w 7025"/>
                  <a:gd name="T75" fmla="*/ 502 h 1486"/>
                  <a:gd name="T76" fmla="*/ 4194 w 7025"/>
                  <a:gd name="T77" fmla="*/ 502 h 1486"/>
                  <a:gd name="T78" fmla="*/ 3298 w 7025"/>
                  <a:gd name="T79" fmla="*/ 565 h 1486"/>
                  <a:gd name="T80" fmla="*/ 4036 w 7025"/>
                  <a:gd name="T81" fmla="*/ 454 h 1486"/>
                  <a:gd name="T82" fmla="*/ 3953 w 7025"/>
                  <a:gd name="T83" fmla="*/ 644 h 1486"/>
                  <a:gd name="T84" fmla="*/ 4036 w 7025"/>
                  <a:gd name="T85" fmla="*/ 454 h 1486"/>
                  <a:gd name="T86" fmla="*/ 3329 w 7025"/>
                  <a:gd name="T87" fmla="*/ 473 h 1486"/>
                  <a:gd name="T88" fmla="*/ 4040 w 7025"/>
                  <a:gd name="T89" fmla="*/ 390 h 1486"/>
                  <a:gd name="T90" fmla="*/ 4043 w 7025"/>
                  <a:gd name="T91" fmla="*/ 447 h 1486"/>
                  <a:gd name="T92" fmla="*/ 1808 w 7025"/>
                  <a:gd name="T93" fmla="*/ 369 h 1486"/>
                  <a:gd name="T94" fmla="*/ 4048 w 7025"/>
                  <a:gd name="T95" fmla="*/ 326 h 1486"/>
                  <a:gd name="T96" fmla="*/ 4050 w 7025"/>
                  <a:gd name="T97" fmla="*/ 381 h 1486"/>
                  <a:gd name="T98" fmla="*/ 4641 w 7025"/>
                  <a:gd name="T99" fmla="*/ 452 h 1486"/>
                  <a:gd name="T100" fmla="*/ 4802 w 7025"/>
                  <a:gd name="T101" fmla="*/ 172 h 1486"/>
                  <a:gd name="T102" fmla="*/ 4852 w 7025"/>
                  <a:gd name="T103" fmla="*/ 0 h 1486"/>
                  <a:gd name="T104" fmla="*/ 4852 w 7025"/>
                  <a:gd name="T105" fmla="*/ 0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486">
                    <a:moveTo>
                      <a:pt x="2" y="1453"/>
                    </a:moveTo>
                    <a:lnTo>
                      <a:pt x="0" y="1453"/>
                    </a:lnTo>
                    <a:lnTo>
                      <a:pt x="0" y="1453"/>
                    </a:lnTo>
                    <a:lnTo>
                      <a:pt x="0" y="1486"/>
                    </a:lnTo>
                    <a:lnTo>
                      <a:pt x="2" y="1486"/>
                    </a:lnTo>
                    <a:lnTo>
                      <a:pt x="2" y="1453"/>
                    </a:lnTo>
                    <a:moveTo>
                      <a:pt x="5665" y="1325"/>
                    </a:moveTo>
                    <a:lnTo>
                      <a:pt x="5665" y="1325"/>
                    </a:lnTo>
                    <a:lnTo>
                      <a:pt x="5665" y="1328"/>
                    </a:lnTo>
                    <a:lnTo>
                      <a:pt x="5665" y="1401"/>
                    </a:lnTo>
                    <a:lnTo>
                      <a:pt x="5665" y="1401"/>
                    </a:lnTo>
                    <a:lnTo>
                      <a:pt x="5665" y="1325"/>
                    </a:lnTo>
                    <a:moveTo>
                      <a:pt x="3712" y="1221"/>
                    </a:moveTo>
                    <a:lnTo>
                      <a:pt x="3709" y="1221"/>
                    </a:lnTo>
                    <a:lnTo>
                      <a:pt x="3709" y="1224"/>
                    </a:lnTo>
                    <a:lnTo>
                      <a:pt x="3709" y="1269"/>
                    </a:lnTo>
                    <a:lnTo>
                      <a:pt x="3712" y="1269"/>
                    </a:lnTo>
                    <a:lnTo>
                      <a:pt x="3712" y="1221"/>
                    </a:lnTo>
                    <a:moveTo>
                      <a:pt x="5830" y="1207"/>
                    </a:moveTo>
                    <a:lnTo>
                      <a:pt x="5830" y="1207"/>
                    </a:lnTo>
                    <a:lnTo>
                      <a:pt x="5828" y="1207"/>
                    </a:lnTo>
                    <a:lnTo>
                      <a:pt x="5828" y="1209"/>
                    </a:lnTo>
                    <a:lnTo>
                      <a:pt x="5828" y="1278"/>
                    </a:lnTo>
                    <a:lnTo>
                      <a:pt x="5830" y="1278"/>
                    </a:lnTo>
                    <a:lnTo>
                      <a:pt x="5830" y="1207"/>
                    </a:lnTo>
                    <a:moveTo>
                      <a:pt x="1688" y="1131"/>
                    </a:moveTo>
                    <a:lnTo>
                      <a:pt x="1688" y="1131"/>
                    </a:lnTo>
                    <a:lnTo>
                      <a:pt x="1688" y="1134"/>
                    </a:lnTo>
                    <a:lnTo>
                      <a:pt x="1688" y="1134"/>
                    </a:lnTo>
                    <a:lnTo>
                      <a:pt x="1688" y="1134"/>
                    </a:lnTo>
                    <a:lnTo>
                      <a:pt x="1688" y="1131"/>
                    </a:lnTo>
                    <a:lnTo>
                      <a:pt x="1688" y="1131"/>
                    </a:lnTo>
                    <a:lnTo>
                      <a:pt x="1688" y="1131"/>
                    </a:lnTo>
                    <a:moveTo>
                      <a:pt x="5856" y="1127"/>
                    </a:moveTo>
                    <a:lnTo>
                      <a:pt x="5854" y="1127"/>
                    </a:lnTo>
                    <a:lnTo>
                      <a:pt x="5854" y="1129"/>
                    </a:lnTo>
                    <a:lnTo>
                      <a:pt x="5854" y="1183"/>
                    </a:lnTo>
                    <a:lnTo>
                      <a:pt x="5854" y="1183"/>
                    </a:lnTo>
                    <a:lnTo>
                      <a:pt x="5854" y="1181"/>
                    </a:lnTo>
                    <a:lnTo>
                      <a:pt x="5856" y="1181"/>
                    </a:lnTo>
                    <a:lnTo>
                      <a:pt x="5856" y="1127"/>
                    </a:lnTo>
                    <a:moveTo>
                      <a:pt x="6322" y="1127"/>
                    </a:moveTo>
                    <a:lnTo>
                      <a:pt x="6322" y="1127"/>
                    </a:lnTo>
                    <a:lnTo>
                      <a:pt x="6320" y="1127"/>
                    </a:lnTo>
                    <a:lnTo>
                      <a:pt x="6320" y="1129"/>
                    </a:lnTo>
                    <a:lnTo>
                      <a:pt x="6320" y="1162"/>
                    </a:lnTo>
                    <a:lnTo>
                      <a:pt x="6322" y="1162"/>
                    </a:lnTo>
                    <a:lnTo>
                      <a:pt x="6322" y="1127"/>
                    </a:lnTo>
                    <a:moveTo>
                      <a:pt x="1447" y="1124"/>
                    </a:moveTo>
                    <a:lnTo>
                      <a:pt x="1444" y="1124"/>
                    </a:lnTo>
                    <a:lnTo>
                      <a:pt x="1444" y="1124"/>
                    </a:lnTo>
                    <a:lnTo>
                      <a:pt x="1444" y="1127"/>
                    </a:lnTo>
                    <a:lnTo>
                      <a:pt x="1444" y="1153"/>
                    </a:lnTo>
                    <a:lnTo>
                      <a:pt x="1447" y="1153"/>
                    </a:lnTo>
                    <a:lnTo>
                      <a:pt x="1447" y="1124"/>
                    </a:lnTo>
                    <a:moveTo>
                      <a:pt x="1463" y="1084"/>
                    </a:moveTo>
                    <a:lnTo>
                      <a:pt x="1461" y="1084"/>
                    </a:lnTo>
                    <a:lnTo>
                      <a:pt x="1461" y="1084"/>
                    </a:lnTo>
                    <a:lnTo>
                      <a:pt x="1461" y="1108"/>
                    </a:lnTo>
                    <a:lnTo>
                      <a:pt x="1463" y="1108"/>
                    </a:lnTo>
                    <a:lnTo>
                      <a:pt x="1463" y="1105"/>
                    </a:lnTo>
                    <a:lnTo>
                      <a:pt x="1463" y="1105"/>
                    </a:lnTo>
                    <a:lnTo>
                      <a:pt x="1463" y="1084"/>
                    </a:lnTo>
                    <a:moveTo>
                      <a:pt x="2861" y="1063"/>
                    </a:moveTo>
                    <a:lnTo>
                      <a:pt x="2858" y="1063"/>
                    </a:lnTo>
                    <a:lnTo>
                      <a:pt x="2858" y="1063"/>
                    </a:lnTo>
                    <a:lnTo>
                      <a:pt x="2858" y="1063"/>
                    </a:lnTo>
                    <a:lnTo>
                      <a:pt x="2858" y="1193"/>
                    </a:lnTo>
                    <a:lnTo>
                      <a:pt x="2861" y="1193"/>
                    </a:lnTo>
                    <a:lnTo>
                      <a:pt x="2861" y="1063"/>
                    </a:lnTo>
                    <a:moveTo>
                      <a:pt x="5932" y="1041"/>
                    </a:moveTo>
                    <a:lnTo>
                      <a:pt x="5930" y="1041"/>
                    </a:lnTo>
                    <a:lnTo>
                      <a:pt x="5930" y="1041"/>
                    </a:lnTo>
                    <a:lnTo>
                      <a:pt x="5930" y="1044"/>
                    </a:lnTo>
                    <a:lnTo>
                      <a:pt x="5930" y="1082"/>
                    </a:lnTo>
                    <a:lnTo>
                      <a:pt x="5932" y="1082"/>
                    </a:lnTo>
                    <a:lnTo>
                      <a:pt x="5932" y="1041"/>
                    </a:lnTo>
                    <a:moveTo>
                      <a:pt x="2877" y="1011"/>
                    </a:moveTo>
                    <a:lnTo>
                      <a:pt x="2875" y="1013"/>
                    </a:lnTo>
                    <a:lnTo>
                      <a:pt x="2875" y="1013"/>
                    </a:lnTo>
                    <a:lnTo>
                      <a:pt x="2875" y="1046"/>
                    </a:lnTo>
                    <a:lnTo>
                      <a:pt x="2877" y="1046"/>
                    </a:lnTo>
                    <a:lnTo>
                      <a:pt x="2877" y="1044"/>
                    </a:lnTo>
                    <a:lnTo>
                      <a:pt x="2877" y="1044"/>
                    </a:lnTo>
                    <a:lnTo>
                      <a:pt x="2877" y="1011"/>
                    </a:lnTo>
                    <a:moveTo>
                      <a:pt x="3771" y="992"/>
                    </a:moveTo>
                    <a:lnTo>
                      <a:pt x="3769" y="992"/>
                    </a:lnTo>
                    <a:lnTo>
                      <a:pt x="3769" y="994"/>
                    </a:lnTo>
                    <a:lnTo>
                      <a:pt x="3769" y="1176"/>
                    </a:lnTo>
                    <a:lnTo>
                      <a:pt x="3771" y="1176"/>
                    </a:lnTo>
                    <a:lnTo>
                      <a:pt x="3771" y="992"/>
                    </a:lnTo>
                    <a:moveTo>
                      <a:pt x="5949" y="989"/>
                    </a:moveTo>
                    <a:lnTo>
                      <a:pt x="5946" y="989"/>
                    </a:lnTo>
                    <a:lnTo>
                      <a:pt x="5946" y="992"/>
                    </a:lnTo>
                    <a:lnTo>
                      <a:pt x="5946" y="1025"/>
                    </a:lnTo>
                    <a:lnTo>
                      <a:pt x="5949" y="1025"/>
                    </a:lnTo>
                    <a:lnTo>
                      <a:pt x="5949" y="1022"/>
                    </a:lnTo>
                    <a:lnTo>
                      <a:pt x="5949" y="1022"/>
                    </a:lnTo>
                    <a:lnTo>
                      <a:pt x="5949" y="989"/>
                    </a:lnTo>
                    <a:moveTo>
                      <a:pt x="6339" y="935"/>
                    </a:moveTo>
                    <a:lnTo>
                      <a:pt x="6339" y="935"/>
                    </a:lnTo>
                    <a:lnTo>
                      <a:pt x="6339" y="935"/>
                    </a:lnTo>
                    <a:lnTo>
                      <a:pt x="6339" y="937"/>
                    </a:lnTo>
                    <a:lnTo>
                      <a:pt x="6339" y="1110"/>
                    </a:lnTo>
                    <a:lnTo>
                      <a:pt x="6339" y="1110"/>
                    </a:lnTo>
                    <a:lnTo>
                      <a:pt x="6339" y="1108"/>
                    </a:lnTo>
                    <a:lnTo>
                      <a:pt x="6339" y="1108"/>
                    </a:lnTo>
                    <a:lnTo>
                      <a:pt x="6339" y="935"/>
                    </a:lnTo>
                    <a:moveTo>
                      <a:pt x="3844" y="928"/>
                    </a:moveTo>
                    <a:lnTo>
                      <a:pt x="3844" y="928"/>
                    </a:lnTo>
                    <a:lnTo>
                      <a:pt x="3844" y="930"/>
                    </a:lnTo>
                    <a:lnTo>
                      <a:pt x="3844" y="947"/>
                    </a:lnTo>
                    <a:lnTo>
                      <a:pt x="3844" y="947"/>
                    </a:lnTo>
                    <a:lnTo>
                      <a:pt x="3844" y="928"/>
                    </a:lnTo>
                    <a:moveTo>
                      <a:pt x="6391" y="878"/>
                    </a:moveTo>
                    <a:lnTo>
                      <a:pt x="6388" y="878"/>
                    </a:lnTo>
                    <a:lnTo>
                      <a:pt x="6388" y="878"/>
                    </a:lnTo>
                    <a:lnTo>
                      <a:pt x="6388" y="880"/>
                    </a:lnTo>
                    <a:lnTo>
                      <a:pt x="6388" y="887"/>
                    </a:lnTo>
                    <a:lnTo>
                      <a:pt x="6388" y="887"/>
                    </a:lnTo>
                    <a:lnTo>
                      <a:pt x="6388" y="887"/>
                    </a:lnTo>
                    <a:lnTo>
                      <a:pt x="6391" y="887"/>
                    </a:lnTo>
                    <a:lnTo>
                      <a:pt x="6391" y="878"/>
                    </a:lnTo>
                    <a:moveTo>
                      <a:pt x="6398" y="850"/>
                    </a:moveTo>
                    <a:lnTo>
                      <a:pt x="6396" y="850"/>
                    </a:lnTo>
                    <a:lnTo>
                      <a:pt x="6396" y="852"/>
                    </a:lnTo>
                    <a:lnTo>
                      <a:pt x="6396" y="871"/>
                    </a:lnTo>
                    <a:lnTo>
                      <a:pt x="6398" y="871"/>
                    </a:lnTo>
                    <a:lnTo>
                      <a:pt x="6398" y="869"/>
                    </a:lnTo>
                    <a:lnTo>
                      <a:pt x="6398" y="869"/>
                    </a:lnTo>
                    <a:lnTo>
                      <a:pt x="6398" y="850"/>
                    </a:lnTo>
                    <a:moveTo>
                      <a:pt x="3099" y="762"/>
                    </a:moveTo>
                    <a:lnTo>
                      <a:pt x="3099" y="762"/>
                    </a:lnTo>
                    <a:lnTo>
                      <a:pt x="3099" y="762"/>
                    </a:lnTo>
                    <a:lnTo>
                      <a:pt x="3099" y="764"/>
                    </a:lnTo>
                    <a:lnTo>
                      <a:pt x="3099" y="932"/>
                    </a:lnTo>
                    <a:lnTo>
                      <a:pt x="3099" y="932"/>
                    </a:lnTo>
                    <a:lnTo>
                      <a:pt x="3099" y="762"/>
                    </a:lnTo>
                    <a:moveTo>
                      <a:pt x="1009" y="753"/>
                    </a:moveTo>
                    <a:lnTo>
                      <a:pt x="1007" y="753"/>
                    </a:lnTo>
                    <a:lnTo>
                      <a:pt x="1007" y="755"/>
                    </a:lnTo>
                    <a:lnTo>
                      <a:pt x="1007" y="781"/>
                    </a:lnTo>
                    <a:lnTo>
                      <a:pt x="1009" y="781"/>
                    </a:lnTo>
                    <a:lnTo>
                      <a:pt x="1009" y="753"/>
                    </a:lnTo>
                    <a:moveTo>
                      <a:pt x="5133" y="731"/>
                    </a:moveTo>
                    <a:lnTo>
                      <a:pt x="5131" y="731"/>
                    </a:lnTo>
                    <a:lnTo>
                      <a:pt x="5131" y="734"/>
                    </a:lnTo>
                    <a:lnTo>
                      <a:pt x="5131" y="925"/>
                    </a:lnTo>
                    <a:lnTo>
                      <a:pt x="5133" y="925"/>
                    </a:lnTo>
                    <a:lnTo>
                      <a:pt x="5133" y="731"/>
                    </a:lnTo>
                    <a:moveTo>
                      <a:pt x="3140" y="655"/>
                    </a:moveTo>
                    <a:lnTo>
                      <a:pt x="3137" y="655"/>
                    </a:lnTo>
                    <a:lnTo>
                      <a:pt x="3137" y="658"/>
                    </a:lnTo>
                    <a:lnTo>
                      <a:pt x="3137" y="724"/>
                    </a:lnTo>
                    <a:lnTo>
                      <a:pt x="3137" y="724"/>
                    </a:lnTo>
                    <a:lnTo>
                      <a:pt x="3137" y="724"/>
                    </a:lnTo>
                    <a:lnTo>
                      <a:pt x="3140" y="724"/>
                    </a:lnTo>
                    <a:lnTo>
                      <a:pt x="3140" y="655"/>
                    </a:lnTo>
                    <a:moveTo>
                      <a:pt x="96" y="615"/>
                    </a:moveTo>
                    <a:lnTo>
                      <a:pt x="94" y="615"/>
                    </a:lnTo>
                    <a:lnTo>
                      <a:pt x="94" y="618"/>
                    </a:lnTo>
                    <a:lnTo>
                      <a:pt x="94" y="1406"/>
                    </a:lnTo>
                    <a:lnTo>
                      <a:pt x="96" y="1406"/>
                    </a:lnTo>
                    <a:lnTo>
                      <a:pt x="96" y="615"/>
                    </a:lnTo>
                    <a:moveTo>
                      <a:pt x="5253" y="608"/>
                    </a:moveTo>
                    <a:lnTo>
                      <a:pt x="5251" y="608"/>
                    </a:lnTo>
                    <a:lnTo>
                      <a:pt x="5251" y="610"/>
                    </a:lnTo>
                    <a:lnTo>
                      <a:pt x="5251" y="684"/>
                    </a:lnTo>
                    <a:lnTo>
                      <a:pt x="5253" y="684"/>
                    </a:lnTo>
                    <a:lnTo>
                      <a:pt x="5253" y="608"/>
                    </a:lnTo>
                    <a:moveTo>
                      <a:pt x="3284" y="582"/>
                    </a:moveTo>
                    <a:lnTo>
                      <a:pt x="3281" y="582"/>
                    </a:lnTo>
                    <a:lnTo>
                      <a:pt x="3281" y="582"/>
                    </a:lnTo>
                    <a:lnTo>
                      <a:pt x="3281" y="582"/>
                    </a:lnTo>
                    <a:lnTo>
                      <a:pt x="3281" y="610"/>
                    </a:lnTo>
                    <a:lnTo>
                      <a:pt x="3284" y="610"/>
                    </a:lnTo>
                    <a:lnTo>
                      <a:pt x="3284" y="582"/>
                    </a:lnTo>
                    <a:moveTo>
                      <a:pt x="302" y="547"/>
                    </a:moveTo>
                    <a:lnTo>
                      <a:pt x="300" y="547"/>
                    </a:lnTo>
                    <a:lnTo>
                      <a:pt x="300" y="549"/>
                    </a:lnTo>
                    <a:lnTo>
                      <a:pt x="300" y="570"/>
                    </a:lnTo>
                    <a:lnTo>
                      <a:pt x="302" y="570"/>
                    </a:lnTo>
                    <a:lnTo>
                      <a:pt x="302" y="547"/>
                    </a:lnTo>
                    <a:moveTo>
                      <a:pt x="7025" y="509"/>
                    </a:moveTo>
                    <a:lnTo>
                      <a:pt x="7025" y="509"/>
                    </a:lnTo>
                    <a:lnTo>
                      <a:pt x="7025" y="511"/>
                    </a:lnTo>
                    <a:lnTo>
                      <a:pt x="7025" y="1046"/>
                    </a:lnTo>
                    <a:lnTo>
                      <a:pt x="7025" y="1046"/>
                    </a:lnTo>
                    <a:lnTo>
                      <a:pt x="7025" y="509"/>
                    </a:lnTo>
                    <a:moveTo>
                      <a:pt x="4194" y="502"/>
                    </a:moveTo>
                    <a:lnTo>
                      <a:pt x="4192" y="502"/>
                    </a:lnTo>
                    <a:lnTo>
                      <a:pt x="4192" y="504"/>
                    </a:lnTo>
                    <a:lnTo>
                      <a:pt x="4161" y="544"/>
                    </a:lnTo>
                    <a:lnTo>
                      <a:pt x="4161" y="547"/>
                    </a:lnTo>
                    <a:lnTo>
                      <a:pt x="4194" y="502"/>
                    </a:lnTo>
                    <a:moveTo>
                      <a:pt x="3300" y="502"/>
                    </a:moveTo>
                    <a:lnTo>
                      <a:pt x="3298" y="502"/>
                    </a:lnTo>
                    <a:lnTo>
                      <a:pt x="3298" y="502"/>
                    </a:lnTo>
                    <a:lnTo>
                      <a:pt x="3298" y="502"/>
                    </a:lnTo>
                    <a:lnTo>
                      <a:pt x="3298" y="565"/>
                    </a:lnTo>
                    <a:lnTo>
                      <a:pt x="3300" y="565"/>
                    </a:lnTo>
                    <a:lnTo>
                      <a:pt x="3300" y="563"/>
                    </a:lnTo>
                    <a:lnTo>
                      <a:pt x="3300" y="563"/>
                    </a:lnTo>
                    <a:lnTo>
                      <a:pt x="3300" y="502"/>
                    </a:lnTo>
                    <a:moveTo>
                      <a:pt x="4036" y="454"/>
                    </a:moveTo>
                    <a:lnTo>
                      <a:pt x="4036" y="454"/>
                    </a:lnTo>
                    <a:lnTo>
                      <a:pt x="4036" y="454"/>
                    </a:lnTo>
                    <a:lnTo>
                      <a:pt x="4036" y="457"/>
                    </a:lnTo>
                    <a:lnTo>
                      <a:pt x="4036" y="490"/>
                    </a:lnTo>
                    <a:lnTo>
                      <a:pt x="3953" y="644"/>
                    </a:lnTo>
                    <a:lnTo>
                      <a:pt x="3953" y="880"/>
                    </a:lnTo>
                    <a:lnTo>
                      <a:pt x="3955" y="880"/>
                    </a:lnTo>
                    <a:lnTo>
                      <a:pt x="3955" y="641"/>
                    </a:lnTo>
                    <a:lnTo>
                      <a:pt x="4036" y="487"/>
                    </a:lnTo>
                    <a:lnTo>
                      <a:pt x="4036" y="454"/>
                    </a:lnTo>
                    <a:moveTo>
                      <a:pt x="3329" y="433"/>
                    </a:moveTo>
                    <a:lnTo>
                      <a:pt x="3326" y="433"/>
                    </a:lnTo>
                    <a:lnTo>
                      <a:pt x="3326" y="435"/>
                    </a:lnTo>
                    <a:lnTo>
                      <a:pt x="3326" y="473"/>
                    </a:lnTo>
                    <a:lnTo>
                      <a:pt x="3329" y="473"/>
                    </a:lnTo>
                    <a:lnTo>
                      <a:pt x="3329" y="471"/>
                    </a:lnTo>
                    <a:lnTo>
                      <a:pt x="3329" y="471"/>
                    </a:lnTo>
                    <a:lnTo>
                      <a:pt x="3329" y="433"/>
                    </a:lnTo>
                    <a:moveTo>
                      <a:pt x="4043" y="390"/>
                    </a:moveTo>
                    <a:lnTo>
                      <a:pt x="4040" y="390"/>
                    </a:lnTo>
                    <a:lnTo>
                      <a:pt x="4040" y="390"/>
                    </a:lnTo>
                    <a:lnTo>
                      <a:pt x="4040" y="393"/>
                    </a:lnTo>
                    <a:lnTo>
                      <a:pt x="4040" y="447"/>
                    </a:lnTo>
                    <a:lnTo>
                      <a:pt x="4043" y="447"/>
                    </a:lnTo>
                    <a:lnTo>
                      <a:pt x="4043" y="447"/>
                    </a:lnTo>
                    <a:lnTo>
                      <a:pt x="4043" y="447"/>
                    </a:lnTo>
                    <a:lnTo>
                      <a:pt x="4043" y="390"/>
                    </a:lnTo>
                    <a:moveTo>
                      <a:pt x="1811" y="369"/>
                    </a:moveTo>
                    <a:lnTo>
                      <a:pt x="1808" y="369"/>
                    </a:lnTo>
                    <a:lnTo>
                      <a:pt x="1808" y="369"/>
                    </a:lnTo>
                    <a:lnTo>
                      <a:pt x="1808" y="1084"/>
                    </a:lnTo>
                    <a:lnTo>
                      <a:pt x="1811" y="1084"/>
                    </a:lnTo>
                    <a:lnTo>
                      <a:pt x="1811" y="369"/>
                    </a:lnTo>
                    <a:moveTo>
                      <a:pt x="4050" y="326"/>
                    </a:moveTo>
                    <a:lnTo>
                      <a:pt x="4048" y="326"/>
                    </a:lnTo>
                    <a:lnTo>
                      <a:pt x="4048" y="329"/>
                    </a:lnTo>
                    <a:lnTo>
                      <a:pt x="4048" y="383"/>
                    </a:lnTo>
                    <a:lnTo>
                      <a:pt x="4050" y="383"/>
                    </a:lnTo>
                    <a:lnTo>
                      <a:pt x="4050" y="381"/>
                    </a:lnTo>
                    <a:lnTo>
                      <a:pt x="4050" y="381"/>
                    </a:lnTo>
                    <a:lnTo>
                      <a:pt x="4050" y="326"/>
                    </a:lnTo>
                    <a:moveTo>
                      <a:pt x="4703" y="232"/>
                    </a:moveTo>
                    <a:lnTo>
                      <a:pt x="4703" y="232"/>
                    </a:lnTo>
                    <a:lnTo>
                      <a:pt x="4703" y="234"/>
                    </a:lnTo>
                    <a:lnTo>
                      <a:pt x="4641" y="452"/>
                    </a:lnTo>
                    <a:lnTo>
                      <a:pt x="4643" y="452"/>
                    </a:lnTo>
                    <a:lnTo>
                      <a:pt x="4703" y="232"/>
                    </a:lnTo>
                    <a:moveTo>
                      <a:pt x="4804" y="172"/>
                    </a:moveTo>
                    <a:lnTo>
                      <a:pt x="4802" y="172"/>
                    </a:lnTo>
                    <a:lnTo>
                      <a:pt x="4802" y="172"/>
                    </a:lnTo>
                    <a:lnTo>
                      <a:pt x="4802" y="172"/>
                    </a:lnTo>
                    <a:lnTo>
                      <a:pt x="4802" y="184"/>
                    </a:lnTo>
                    <a:lnTo>
                      <a:pt x="4804" y="184"/>
                    </a:lnTo>
                    <a:lnTo>
                      <a:pt x="4804" y="172"/>
                    </a:lnTo>
                    <a:moveTo>
                      <a:pt x="4852" y="0"/>
                    </a:moveTo>
                    <a:lnTo>
                      <a:pt x="4852" y="0"/>
                    </a:lnTo>
                    <a:lnTo>
                      <a:pt x="4852" y="2"/>
                    </a:lnTo>
                    <a:lnTo>
                      <a:pt x="4852" y="125"/>
                    </a:lnTo>
                    <a:lnTo>
                      <a:pt x="4852" y="125"/>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4" name="Freeform 96"/>
              <p:cNvSpPr>
                <a:spLocks noEditPoints="1"/>
              </p:cNvSpPr>
              <p:nvPr/>
            </p:nvSpPr>
            <p:spPr bwMode="auto">
              <a:xfrm>
                <a:off x="2" y="1705"/>
                <a:ext cx="7025" cy="1648"/>
              </a:xfrm>
              <a:custGeom>
                <a:avLst/>
                <a:gdLst>
                  <a:gd name="T0" fmla="*/ 2 w 7025"/>
                  <a:gd name="T1" fmla="*/ 1489 h 1648"/>
                  <a:gd name="T2" fmla="*/ 5663 w 7025"/>
                  <a:gd name="T3" fmla="*/ 1404 h 1648"/>
                  <a:gd name="T4" fmla="*/ 3710 w 7025"/>
                  <a:gd name="T5" fmla="*/ 1224 h 1648"/>
                  <a:gd name="T6" fmla="*/ 5831 w 7025"/>
                  <a:gd name="T7" fmla="*/ 1210 h 1648"/>
                  <a:gd name="T8" fmla="*/ 5831 w 7025"/>
                  <a:gd name="T9" fmla="*/ 1210 h 1648"/>
                  <a:gd name="T10" fmla="*/ 1688 w 7025"/>
                  <a:gd name="T11" fmla="*/ 1134 h 1648"/>
                  <a:gd name="T12" fmla="*/ 5854 w 7025"/>
                  <a:gd name="T13" fmla="*/ 1130 h 1648"/>
                  <a:gd name="T14" fmla="*/ 5857 w 7025"/>
                  <a:gd name="T15" fmla="*/ 1184 h 1648"/>
                  <a:gd name="T16" fmla="*/ 6320 w 7025"/>
                  <a:gd name="T17" fmla="*/ 1130 h 1648"/>
                  <a:gd name="T18" fmla="*/ 1445 w 7025"/>
                  <a:gd name="T19" fmla="*/ 1127 h 1648"/>
                  <a:gd name="T20" fmla="*/ 1447 w 7025"/>
                  <a:gd name="T21" fmla="*/ 1127 h 1648"/>
                  <a:gd name="T22" fmla="*/ 1464 w 7025"/>
                  <a:gd name="T23" fmla="*/ 1108 h 1648"/>
                  <a:gd name="T24" fmla="*/ 2859 w 7025"/>
                  <a:gd name="T25" fmla="*/ 1063 h 1648"/>
                  <a:gd name="T26" fmla="*/ 2861 w 7025"/>
                  <a:gd name="T27" fmla="*/ 1063 h 1648"/>
                  <a:gd name="T28" fmla="*/ 5930 w 7025"/>
                  <a:gd name="T29" fmla="*/ 1085 h 1648"/>
                  <a:gd name="T30" fmla="*/ 2875 w 7025"/>
                  <a:gd name="T31" fmla="*/ 1014 h 1648"/>
                  <a:gd name="T32" fmla="*/ 2878 w 7025"/>
                  <a:gd name="T33" fmla="*/ 1011 h 1648"/>
                  <a:gd name="T34" fmla="*/ 3771 w 7025"/>
                  <a:gd name="T35" fmla="*/ 1179 h 1648"/>
                  <a:gd name="T36" fmla="*/ 5947 w 7025"/>
                  <a:gd name="T37" fmla="*/ 1025 h 1648"/>
                  <a:gd name="T38" fmla="*/ 6339 w 7025"/>
                  <a:gd name="T39" fmla="*/ 935 h 1648"/>
                  <a:gd name="T40" fmla="*/ 6339 w 7025"/>
                  <a:gd name="T41" fmla="*/ 1111 h 1648"/>
                  <a:gd name="T42" fmla="*/ 3842 w 7025"/>
                  <a:gd name="T43" fmla="*/ 928 h 1648"/>
                  <a:gd name="T44" fmla="*/ 6389 w 7025"/>
                  <a:gd name="T45" fmla="*/ 879 h 1648"/>
                  <a:gd name="T46" fmla="*/ 6389 w 7025"/>
                  <a:gd name="T47" fmla="*/ 890 h 1648"/>
                  <a:gd name="T48" fmla="*/ 6396 w 7025"/>
                  <a:gd name="T49" fmla="*/ 850 h 1648"/>
                  <a:gd name="T50" fmla="*/ 6398 w 7025"/>
                  <a:gd name="T51" fmla="*/ 869 h 1648"/>
                  <a:gd name="T52" fmla="*/ 3097 w 7025"/>
                  <a:gd name="T53" fmla="*/ 765 h 1648"/>
                  <a:gd name="T54" fmla="*/ 1007 w 7025"/>
                  <a:gd name="T55" fmla="*/ 753 h 1648"/>
                  <a:gd name="T56" fmla="*/ 5131 w 7025"/>
                  <a:gd name="T57" fmla="*/ 732 h 1648"/>
                  <a:gd name="T58" fmla="*/ 5131 w 7025"/>
                  <a:gd name="T59" fmla="*/ 732 h 1648"/>
                  <a:gd name="T60" fmla="*/ 3138 w 7025"/>
                  <a:gd name="T61" fmla="*/ 727 h 1648"/>
                  <a:gd name="T62" fmla="*/ 94 w 7025"/>
                  <a:gd name="T63" fmla="*/ 618 h 1648"/>
                  <a:gd name="T64" fmla="*/ 5254 w 7025"/>
                  <a:gd name="T65" fmla="*/ 609 h 1648"/>
                  <a:gd name="T66" fmla="*/ 5254 w 7025"/>
                  <a:gd name="T67" fmla="*/ 609 h 1648"/>
                  <a:gd name="T68" fmla="*/ 3282 w 7025"/>
                  <a:gd name="T69" fmla="*/ 613 h 1648"/>
                  <a:gd name="T70" fmla="*/ 300 w 7025"/>
                  <a:gd name="T71" fmla="*/ 550 h 1648"/>
                  <a:gd name="T72" fmla="*/ 7023 w 7025"/>
                  <a:gd name="T73" fmla="*/ 509 h 1648"/>
                  <a:gd name="T74" fmla="*/ 7025 w 7025"/>
                  <a:gd name="T75" fmla="*/ 1648 h 1648"/>
                  <a:gd name="T76" fmla="*/ 4159 w 7025"/>
                  <a:gd name="T77" fmla="*/ 550 h 1648"/>
                  <a:gd name="T78" fmla="*/ 3298 w 7025"/>
                  <a:gd name="T79" fmla="*/ 502 h 1648"/>
                  <a:gd name="T80" fmla="*/ 3301 w 7025"/>
                  <a:gd name="T81" fmla="*/ 564 h 1648"/>
                  <a:gd name="T82" fmla="*/ 4034 w 7025"/>
                  <a:gd name="T83" fmla="*/ 457 h 1648"/>
                  <a:gd name="T84" fmla="*/ 3956 w 7025"/>
                  <a:gd name="T85" fmla="*/ 642 h 1648"/>
                  <a:gd name="T86" fmla="*/ 3327 w 7025"/>
                  <a:gd name="T87" fmla="*/ 436 h 1648"/>
                  <a:gd name="T88" fmla="*/ 3329 w 7025"/>
                  <a:gd name="T89" fmla="*/ 434 h 1648"/>
                  <a:gd name="T90" fmla="*/ 4041 w 7025"/>
                  <a:gd name="T91" fmla="*/ 450 h 1648"/>
                  <a:gd name="T92" fmla="*/ 1809 w 7025"/>
                  <a:gd name="T93" fmla="*/ 370 h 1648"/>
                  <a:gd name="T94" fmla="*/ 1809 w 7025"/>
                  <a:gd name="T95" fmla="*/ 370 h 1648"/>
                  <a:gd name="T96" fmla="*/ 4050 w 7025"/>
                  <a:gd name="T97" fmla="*/ 384 h 1648"/>
                  <a:gd name="T98" fmla="*/ 4703 w 7025"/>
                  <a:gd name="T99" fmla="*/ 232 h 1648"/>
                  <a:gd name="T100" fmla="*/ 4805 w 7025"/>
                  <a:gd name="T101" fmla="*/ 173 h 1648"/>
                  <a:gd name="T102" fmla="*/ 4805 w 7025"/>
                  <a:gd name="T103" fmla="*/ 187 h 1648"/>
                  <a:gd name="T104" fmla="*/ 4850 w 7025"/>
                  <a:gd name="T105" fmla="*/ 1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48">
                    <a:moveTo>
                      <a:pt x="2" y="1454"/>
                    </a:moveTo>
                    <a:lnTo>
                      <a:pt x="0" y="1454"/>
                    </a:lnTo>
                    <a:lnTo>
                      <a:pt x="0" y="1456"/>
                    </a:lnTo>
                    <a:lnTo>
                      <a:pt x="0" y="1489"/>
                    </a:lnTo>
                    <a:lnTo>
                      <a:pt x="2" y="1489"/>
                    </a:lnTo>
                    <a:lnTo>
                      <a:pt x="2" y="1454"/>
                    </a:lnTo>
                    <a:close/>
                    <a:moveTo>
                      <a:pt x="5665" y="1326"/>
                    </a:moveTo>
                    <a:lnTo>
                      <a:pt x="5663" y="1326"/>
                    </a:lnTo>
                    <a:lnTo>
                      <a:pt x="5663" y="1328"/>
                    </a:lnTo>
                    <a:lnTo>
                      <a:pt x="5663" y="1404"/>
                    </a:lnTo>
                    <a:lnTo>
                      <a:pt x="5665" y="1404"/>
                    </a:lnTo>
                    <a:lnTo>
                      <a:pt x="5665" y="1326"/>
                    </a:lnTo>
                    <a:close/>
                    <a:moveTo>
                      <a:pt x="3710" y="1222"/>
                    </a:moveTo>
                    <a:lnTo>
                      <a:pt x="3710" y="1222"/>
                    </a:lnTo>
                    <a:lnTo>
                      <a:pt x="3710" y="1224"/>
                    </a:lnTo>
                    <a:lnTo>
                      <a:pt x="3710" y="1272"/>
                    </a:lnTo>
                    <a:lnTo>
                      <a:pt x="3710" y="1272"/>
                    </a:lnTo>
                    <a:lnTo>
                      <a:pt x="3710" y="1222"/>
                    </a:lnTo>
                    <a:close/>
                    <a:moveTo>
                      <a:pt x="5831" y="1210"/>
                    </a:moveTo>
                    <a:lnTo>
                      <a:pt x="5831" y="1210"/>
                    </a:lnTo>
                    <a:lnTo>
                      <a:pt x="5828" y="1210"/>
                    </a:lnTo>
                    <a:lnTo>
                      <a:pt x="5828" y="1210"/>
                    </a:lnTo>
                    <a:lnTo>
                      <a:pt x="5828" y="1281"/>
                    </a:lnTo>
                    <a:lnTo>
                      <a:pt x="5831" y="1281"/>
                    </a:lnTo>
                    <a:lnTo>
                      <a:pt x="5831" y="1210"/>
                    </a:lnTo>
                    <a:close/>
                    <a:moveTo>
                      <a:pt x="1688" y="1132"/>
                    </a:moveTo>
                    <a:lnTo>
                      <a:pt x="1686" y="1132"/>
                    </a:lnTo>
                    <a:lnTo>
                      <a:pt x="1686" y="1134"/>
                    </a:lnTo>
                    <a:lnTo>
                      <a:pt x="1686" y="1134"/>
                    </a:lnTo>
                    <a:lnTo>
                      <a:pt x="1688" y="1134"/>
                    </a:lnTo>
                    <a:lnTo>
                      <a:pt x="1688" y="1134"/>
                    </a:lnTo>
                    <a:lnTo>
                      <a:pt x="1688" y="1134"/>
                    </a:lnTo>
                    <a:lnTo>
                      <a:pt x="1688" y="1132"/>
                    </a:lnTo>
                    <a:close/>
                    <a:moveTo>
                      <a:pt x="5857" y="1130"/>
                    </a:moveTo>
                    <a:lnTo>
                      <a:pt x="5854" y="1130"/>
                    </a:lnTo>
                    <a:lnTo>
                      <a:pt x="5854" y="1130"/>
                    </a:lnTo>
                    <a:lnTo>
                      <a:pt x="5854" y="1184"/>
                    </a:lnTo>
                    <a:lnTo>
                      <a:pt x="5854" y="1184"/>
                    </a:lnTo>
                    <a:lnTo>
                      <a:pt x="5854" y="1184"/>
                    </a:lnTo>
                    <a:lnTo>
                      <a:pt x="5857" y="1184"/>
                    </a:lnTo>
                    <a:lnTo>
                      <a:pt x="5857" y="1130"/>
                    </a:lnTo>
                    <a:close/>
                    <a:moveTo>
                      <a:pt x="6323" y="1130"/>
                    </a:moveTo>
                    <a:lnTo>
                      <a:pt x="6320" y="1130"/>
                    </a:lnTo>
                    <a:lnTo>
                      <a:pt x="6320" y="1130"/>
                    </a:lnTo>
                    <a:lnTo>
                      <a:pt x="6320" y="1130"/>
                    </a:lnTo>
                    <a:lnTo>
                      <a:pt x="6320" y="1165"/>
                    </a:lnTo>
                    <a:lnTo>
                      <a:pt x="6323" y="1165"/>
                    </a:lnTo>
                    <a:lnTo>
                      <a:pt x="6323" y="1130"/>
                    </a:lnTo>
                    <a:close/>
                    <a:moveTo>
                      <a:pt x="1447" y="1127"/>
                    </a:moveTo>
                    <a:lnTo>
                      <a:pt x="1445" y="1127"/>
                    </a:lnTo>
                    <a:lnTo>
                      <a:pt x="1445" y="1127"/>
                    </a:lnTo>
                    <a:lnTo>
                      <a:pt x="1445" y="1127"/>
                    </a:lnTo>
                    <a:lnTo>
                      <a:pt x="1445" y="1156"/>
                    </a:lnTo>
                    <a:lnTo>
                      <a:pt x="1447" y="1156"/>
                    </a:lnTo>
                    <a:lnTo>
                      <a:pt x="1447" y="1127"/>
                    </a:lnTo>
                    <a:close/>
                    <a:moveTo>
                      <a:pt x="1464" y="1085"/>
                    </a:moveTo>
                    <a:lnTo>
                      <a:pt x="1461" y="1085"/>
                    </a:lnTo>
                    <a:lnTo>
                      <a:pt x="1461" y="1087"/>
                    </a:lnTo>
                    <a:lnTo>
                      <a:pt x="1461" y="1108"/>
                    </a:lnTo>
                    <a:lnTo>
                      <a:pt x="1464" y="1108"/>
                    </a:lnTo>
                    <a:lnTo>
                      <a:pt x="1464" y="1108"/>
                    </a:lnTo>
                    <a:lnTo>
                      <a:pt x="1464" y="1108"/>
                    </a:lnTo>
                    <a:lnTo>
                      <a:pt x="1464" y="1085"/>
                    </a:lnTo>
                    <a:close/>
                    <a:moveTo>
                      <a:pt x="2861" y="1063"/>
                    </a:moveTo>
                    <a:lnTo>
                      <a:pt x="2859" y="1063"/>
                    </a:lnTo>
                    <a:lnTo>
                      <a:pt x="2859" y="1063"/>
                    </a:lnTo>
                    <a:lnTo>
                      <a:pt x="2859" y="1066"/>
                    </a:lnTo>
                    <a:lnTo>
                      <a:pt x="2859" y="1196"/>
                    </a:lnTo>
                    <a:lnTo>
                      <a:pt x="2861" y="1196"/>
                    </a:lnTo>
                    <a:lnTo>
                      <a:pt x="2861" y="1063"/>
                    </a:lnTo>
                    <a:close/>
                    <a:moveTo>
                      <a:pt x="5930" y="1042"/>
                    </a:moveTo>
                    <a:lnTo>
                      <a:pt x="5930" y="1042"/>
                    </a:lnTo>
                    <a:lnTo>
                      <a:pt x="5930" y="1042"/>
                    </a:lnTo>
                    <a:lnTo>
                      <a:pt x="5930" y="1044"/>
                    </a:lnTo>
                    <a:lnTo>
                      <a:pt x="5930" y="1085"/>
                    </a:lnTo>
                    <a:lnTo>
                      <a:pt x="5930" y="1085"/>
                    </a:lnTo>
                    <a:lnTo>
                      <a:pt x="5930" y="1042"/>
                    </a:lnTo>
                    <a:close/>
                    <a:moveTo>
                      <a:pt x="2878" y="1011"/>
                    </a:moveTo>
                    <a:lnTo>
                      <a:pt x="2875" y="1014"/>
                    </a:lnTo>
                    <a:lnTo>
                      <a:pt x="2875" y="1014"/>
                    </a:lnTo>
                    <a:lnTo>
                      <a:pt x="2875" y="1047"/>
                    </a:lnTo>
                    <a:lnTo>
                      <a:pt x="2878" y="1047"/>
                    </a:lnTo>
                    <a:lnTo>
                      <a:pt x="2878" y="1044"/>
                    </a:lnTo>
                    <a:lnTo>
                      <a:pt x="2878" y="1044"/>
                    </a:lnTo>
                    <a:lnTo>
                      <a:pt x="2878" y="1011"/>
                    </a:lnTo>
                    <a:close/>
                    <a:moveTo>
                      <a:pt x="3771" y="995"/>
                    </a:moveTo>
                    <a:lnTo>
                      <a:pt x="3769" y="995"/>
                    </a:lnTo>
                    <a:lnTo>
                      <a:pt x="3769" y="995"/>
                    </a:lnTo>
                    <a:lnTo>
                      <a:pt x="3769" y="1179"/>
                    </a:lnTo>
                    <a:lnTo>
                      <a:pt x="3771" y="1179"/>
                    </a:lnTo>
                    <a:lnTo>
                      <a:pt x="3771" y="995"/>
                    </a:lnTo>
                    <a:close/>
                    <a:moveTo>
                      <a:pt x="5949" y="990"/>
                    </a:moveTo>
                    <a:lnTo>
                      <a:pt x="5947" y="990"/>
                    </a:lnTo>
                    <a:lnTo>
                      <a:pt x="5947" y="992"/>
                    </a:lnTo>
                    <a:lnTo>
                      <a:pt x="5947" y="1025"/>
                    </a:lnTo>
                    <a:lnTo>
                      <a:pt x="5947" y="1025"/>
                    </a:lnTo>
                    <a:lnTo>
                      <a:pt x="5947" y="1023"/>
                    </a:lnTo>
                    <a:lnTo>
                      <a:pt x="5949" y="1023"/>
                    </a:lnTo>
                    <a:lnTo>
                      <a:pt x="5949" y="990"/>
                    </a:lnTo>
                    <a:close/>
                    <a:moveTo>
                      <a:pt x="6339" y="935"/>
                    </a:moveTo>
                    <a:lnTo>
                      <a:pt x="6339" y="935"/>
                    </a:lnTo>
                    <a:lnTo>
                      <a:pt x="6337" y="935"/>
                    </a:lnTo>
                    <a:lnTo>
                      <a:pt x="6337" y="938"/>
                    </a:lnTo>
                    <a:lnTo>
                      <a:pt x="6337" y="1111"/>
                    </a:lnTo>
                    <a:lnTo>
                      <a:pt x="6339" y="1111"/>
                    </a:lnTo>
                    <a:lnTo>
                      <a:pt x="6339" y="1111"/>
                    </a:lnTo>
                    <a:lnTo>
                      <a:pt x="6339" y="1111"/>
                    </a:lnTo>
                    <a:lnTo>
                      <a:pt x="6339" y="935"/>
                    </a:lnTo>
                    <a:close/>
                    <a:moveTo>
                      <a:pt x="3845" y="928"/>
                    </a:moveTo>
                    <a:lnTo>
                      <a:pt x="3842" y="928"/>
                    </a:lnTo>
                    <a:lnTo>
                      <a:pt x="3842" y="931"/>
                    </a:lnTo>
                    <a:lnTo>
                      <a:pt x="3842" y="950"/>
                    </a:lnTo>
                    <a:lnTo>
                      <a:pt x="3845" y="950"/>
                    </a:lnTo>
                    <a:lnTo>
                      <a:pt x="3845" y="928"/>
                    </a:lnTo>
                    <a:close/>
                    <a:moveTo>
                      <a:pt x="6389" y="879"/>
                    </a:moveTo>
                    <a:lnTo>
                      <a:pt x="6389" y="879"/>
                    </a:lnTo>
                    <a:lnTo>
                      <a:pt x="6389" y="879"/>
                    </a:lnTo>
                    <a:lnTo>
                      <a:pt x="6389" y="881"/>
                    </a:lnTo>
                    <a:lnTo>
                      <a:pt x="6389" y="890"/>
                    </a:lnTo>
                    <a:lnTo>
                      <a:pt x="6389" y="890"/>
                    </a:lnTo>
                    <a:lnTo>
                      <a:pt x="6389" y="890"/>
                    </a:lnTo>
                    <a:lnTo>
                      <a:pt x="6389" y="890"/>
                    </a:lnTo>
                    <a:lnTo>
                      <a:pt x="6389" y="879"/>
                    </a:lnTo>
                    <a:close/>
                    <a:moveTo>
                      <a:pt x="6398" y="850"/>
                    </a:moveTo>
                    <a:lnTo>
                      <a:pt x="6396" y="850"/>
                    </a:lnTo>
                    <a:lnTo>
                      <a:pt x="6396" y="853"/>
                    </a:lnTo>
                    <a:lnTo>
                      <a:pt x="6396" y="872"/>
                    </a:lnTo>
                    <a:lnTo>
                      <a:pt x="6396" y="872"/>
                    </a:lnTo>
                    <a:lnTo>
                      <a:pt x="6396" y="869"/>
                    </a:lnTo>
                    <a:lnTo>
                      <a:pt x="6398" y="869"/>
                    </a:lnTo>
                    <a:lnTo>
                      <a:pt x="6398" y="850"/>
                    </a:lnTo>
                    <a:close/>
                    <a:moveTo>
                      <a:pt x="3100" y="763"/>
                    </a:moveTo>
                    <a:lnTo>
                      <a:pt x="3100" y="763"/>
                    </a:lnTo>
                    <a:lnTo>
                      <a:pt x="3097" y="763"/>
                    </a:lnTo>
                    <a:lnTo>
                      <a:pt x="3097" y="765"/>
                    </a:lnTo>
                    <a:lnTo>
                      <a:pt x="3097" y="935"/>
                    </a:lnTo>
                    <a:lnTo>
                      <a:pt x="3100" y="935"/>
                    </a:lnTo>
                    <a:lnTo>
                      <a:pt x="3100" y="763"/>
                    </a:lnTo>
                    <a:close/>
                    <a:moveTo>
                      <a:pt x="1010" y="753"/>
                    </a:moveTo>
                    <a:lnTo>
                      <a:pt x="1007" y="753"/>
                    </a:lnTo>
                    <a:lnTo>
                      <a:pt x="1007" y="756"/>
                    </a:lnTo>
                    <a:lnTo>
                      <a:pt x="1007" y="784"/>
                    </a:lnTo>
                    <a:lnTo>
                      <a:pt x="1010" y="784"/>
                    </a:lnTo>
                    <a:lnTo>
                      <a:pt x="1010" y="753"/>
                    </a:lnTo>
                    <a:close/>
                    <a:moveTo>
                      <a:pt x="5131" y="732"/>
                    </a:moveTo>
                    <a:lnTo>
                      <a:pt x="5131" y="732"/>
                    </a:lnTo>
                    <a:lnTo>
                      <a:pt x="5131" y="734"/>
                    </a:lnTo>
                    <a:lnTo>
                      <a:pt x="5131" y="928"/>
                    </a:lnTo>
                    <a:lnTo>
                      <a:pt x="5131" y="928"/>
                    </a:lnTo>
                    <a:lnTo>
                      <a:pt x="5131" y="732"/>
                    </a:lnTo>
                    <a:close/>
                    <a:moveTo>
                      <a:pt x="3138" y="658"/>
                    </a:moveTo>
                    <a:lnTo>
                      <a:pt x="3138" y="658"/>
                    </a:lnTo>
                    <a:lnTo>
                      <a:pt x="3138" y="658"/>
                    </a:lnTo>
                    <a:lnTo>
                      <a:pt x="3138" y="727"/>
                    </a:lnTo>
                    <a:lnTo>
                      <a:pt x="3138" y="727"/>
                    </a:lnTo>
                    <a:lnTo>
                      <a:pt x="3138" y="725"/>
                    </a:lnTo>
                    <a:lnTo>
                      <a:pt x="3138" y="725"/>
                    </a:lnTo>
                    <a:lnTo>
                      <a:pt x="3138" y="658"/>
                    </a:lnTo>
                    <a:close/>
                    <a:moveTo>
                      <a:pt x="97" y="618"/>
                    </a:moveTo>
                    <a:lnTo>
                      <a:pt x="94" y="618"/>
                    </a:lnTo>
                    <a:lnTo>
                      <a:pt x="94" y="618"/>
                    </a:lnTo>
                    <a:lnTo>
                      <a:pt x="94" y="1409"/>
                    </a:lnTo>
                    <a:lnTo>
                      <a:pt x="97" y="1409"/>
                    </a:lnTo>
                    <a:lnTo>
                      <a:pt x="97" y="618"/>
                    </a:lnTo>
                    <a:close/>
                    <a:moveTo>
                      <a:pt x="5254" y="609"/>
                    </a:moveTo>
                    <a:lnTo>
                      <a:pt x="5251" y="609"/>
                    </a:lnTo>
                    <a:lnTo>
                      <a:pt x="5251" y="611"/>
                    </a:lnTo>
                    <a:lnTo>
                      <a:pt x="5251" y="687"/>
                    </a:lnTo>
                    <a:lnTo>
                      <a:pt x="5254" y="687"/>
                    </a:lnTo>
                    <a:lnTo>
                      <a:pt x="5254" y="609"/>
                    </a:lnTo>
                    <a:close/>
                    <a:moveTo>
                      <a:pt x="3282" y="583"/>
                    </a:moveTo>
                    <a:lnTo>
                      <a:pt x="3282" y="583"/>
                    </a:lnTo>
                    <a:lnTo>
                      <a:pt x="3282" y="583"/>
                    </a:lnTo>
                    <a:lnTo>
                      <a:pt x="3282" y="585"/>
                    </a:lnTo>
                    <a:lnTo>
                      <a:pt x="3282" y="613"/>
                    </a:lnTo>
                    <a:lnTo>
                      <a:pt x="3282" y="613"/>
                    </a:lnTo>
                    <a:lnTo>
                      <a:pt x="3282" y="583"/>
                    </a:lnTo>
                    <a:close/>
                    <a:moveTo>
                      <a:pt x="303" y="547"/>
                    </a:moveTo>
                    <a:lnTo>
                      <a:pt x="300" y="547"/>
                    </a:lnTo>
                    <a:lnTo>
                      <a:pt x="300" y="550"/>
                    </a:lnTo>
                    <a:lnTo>
                      <a:pt x="300" y="573"/>
                    </a:lnTo>
                    <a:lnTo>
                      <a:pt x="303" y="573"/>
                    </a:lnTo>
                    <a:lnTo>
                      <a:pt x="303" y="547"/>
                    </a:lnTo>
                    <a:close/>
                    <a:moveTo>
                      <a:pt x="7025" y="509"/>
                    </a:moveTo>
                    <a:lnTo>
                      <a:pt x="7023" y="509"/>
                    </a:lnTo>
                    <a:lnTo>
                      <a:pt x="7023" y="512"/>
                    </a:lnTo>
                    <a:lnTo>
                      <a:pt x="7023" y="1049"/>
                    </a:lnTo>
                    <a:lnTo>
                      <a:pt x="7025" y="1049"/>
                    </a:lnTo>
                    <a:lnTo>
                      <a:pt x="7025" y="1648"/>
                    </a:lnTo>
                    <a:lnTo>
                      <a:pt x="7025" y="1648"/>
                    </a:lnTo>
                    <a:lnTo>
                      <a:pt x="7025" y="509"/>
                    </a:lnTo>
                    <a:close/>
                    <a:moveTo>
                      <a:pt x="4192" y="505"/>
                    </a:moveTo>
                    <a:lnTo>
                      <a:pt x="4192" y="505"/>
                    </a:lnTo>
                    <a:lnTo>
                      <a:pt x="4192" y="505"/>
                    </a:lnTo>
                    <a:lnTo>
                      <a:pt x="4159" y="550"/>
                    </a:lnTo>
                    <a:lnTo>
                      <a:pt x="4159" y="550"/>
                    </a:lnTo>
                    <a:lnTo>
                      <a:pt x="4192" y="505"/>
                    </a:lnTo>
                    <a:close/>
                    <a:moveTo>
                      <a:pt x="3301" y="502"/>
                    </a:moveTo>
                    <a:lnTo>
                      <a:pt x="3298" y="502"/>
                    </a:lnTo>
                    <a:lnTo>
                      <a:pt x="3298" y="502"/>
                    </a:lnTo>
                    <a:lnTo>
                      <a:pt x="3298" y="505"/>
                    </a:lnTo>
                    <a:lnTo>
                      <a:pt x="3298" y="566"/>
                    </a:lnTo>
                    <a:lnTo>
                      <a:pt x="3298" y="566"/>
                    </a:lnTo>
                    <a:lnTo>
                      <a:pt x="3298" y="564"/>
                    </a:lnTo>
                    <a:lnTo>
                      <a:pt x="3301" y="564"/>
                    </a:lnTo>
                    <a:lnTo>
                      <a:pt x="3301" y="502"/>
                    </a:lnTo>
                    <a:close/>
                    <a:moveTo>
                      <a:pt x="4036" y="455"/>
                    </a:moveTo>
                    <a:lnTo>
                      <a:pt x="4034" y="455"/>
                    </a:lnTo>
                    <a:lnTo>
                      <a:pt x="4034" y="455"/>
                    </a:lnTo>
                    <a:lnTo>
                      <a:pt x="4034" y="457"/>
                    </a:lnTo>
                    <a:lnTo>
                      <a:pt x="4034" y="490"/>
                    </a:lnTo>
                    <a:lnTo>
                      <a:pt x="3953" y="644"/>
                    </a:lnTo>
                    <a:lnTo>
                      <a:pt x="3953" y="883"/>
                    </a:lnTo>
                    <a:lnTo>
                      <a:pt x="3956" y="883"/>
                    </a:lnTo>
                    <a:lnTo>
                      <a:pt x="3956" y="642"/>
                    </a:lnTo>
                    <a:lnTo>
                      <a:pt x="4036" y="490"/>
                    </a:lnTo>
                    <a:lnTo>
                      <a:pt x="4036" y="455"/>
                    </a:lnTo>
                    <a:close/>
                    <a:moveTo>
                      <a:pt x="3329" y="434"/>
                    </a:moveTo>
                    <a:lnTo>
                      <a:pt x="3327" y="434"/>
                    </a:lnTo>
                    <a:lnTo>
                      <a:pt x="3327" y="436"/>
                    </a:lnTo>
                    <a:lnTo>
                      <a:pt x="3327" y="474"/>
                    </a:lnTo>
                    <a:lnTo>
                      <a:pt x="3327" y="474"/>
                    </a:lnTo>
                    <a:lnTo>
                      <a:pt x="3327" y="471"/>
                    </a:lnTo>
                    <a:lnTo>
                      <a:pt x="3329" y="471"/>
                    </a:lnTo>
                    <a:lnTo>
                      <a:pt x="3329" y="434"/>
                    </a:lnTo>
                    <a:close/>
                    <a:moveTo>
                      <a:pt x="4043" y="391"/>
                    </a:moveTo>
                    <a:lnTo>
                      <a:pt x="4041" y="391"/>
                    </a:lnTo>
                    <a:lnTo>
                      <a:pt x="4041" y="391"/>
                    </a:lnTo>
                    <a:lnTo>
                      <a:pt x="4041" y="393"/>
                    </a:lnTo>
                    <a:lnTo>
                      <a:pt x="4041" y="450"/>
                    </a:lnTo>
                    <a:lnTo>
                      <a:pt x="4043" y="450"/>
                    </a:lnTo>
                    <a:lnTo>
                      <a:pt x="4043" y="448"/>
                    </a:lnTo>
                    <a:lnTo>
                      <a:pt x="4043" y="448"/>
                    </a:lnTo>
                    <a:lnTo>
                      <a:pt x="4043" y="391"/>
                    </a:lnTo>
                    <a:close/>
                    <a:moveTo>
                      <a:pt x="1809" y="370"/>
                    </a:moveTo>
                    <a:lnTo>
                      <a:pt x="1809" y="370"/>
                    </a:lnTo>
                    <a:lnTo>
                      <a:pt x="1809" y="372"/>
                    </a:lnTo>
                    <a:lnTo>
                      <a:pt x="1809" y="1087"/>
                    </a:lnTo>
                    <a:lnTo>
                      <a:pt x="1809" y="1087"/>
                    </a:lnTo>
                    <a:lnTo>
                      <a:pt x="1809" y="370"/>
                    </a:lnTo>
                    <a:close/>
                    <a:moveTo>
                      <a:pt x="4050" y="327"/>
                    </a:moveTo>
                    <a:lnTo>
                      <a:pt x="4048" y="327"/>
                    </a:lnTo>
                    <a:lnTo>
                      <a:pt x="4048" y="329"/>
                    </a:lnTo>
                    <a:lnTo>
                      <a:pt x="4048" y="384"/>
                    </a:lnTo>
                    <a:lnTo>
                      <a:pt x="4050" y="384"/>
                    </a:lnTo>
                    <a:lnTo>
                      <a:pt x="4050" y="381"/>
                    </a:lnTo>
                    <a:lnTo>
                      <a:pt x="4050" y="381"/>
                    </a:lnTo>
                    <a:lnTo>
                      <a:pt x="4050" y="327"/>
                    </a:lnTo>
                    <a:close/>
                    <a:moveTo>
                      <a:pt x="4703" y="232"/>
                    </a:moveTo>
                    <a:lnTo>
                      <a:pt x="4703" y="232"/>
                    </a:lnTo>
                    <a:lnTo>
                      <a:pt x="4701" y="235"/>
                    </a:lnTo>
                    <a:lnTo>
                      <a:pt x="4641" y="455"/>
                    </a:lnTo>
                    <a:lnTo>
                      <a:pt x="4644" y="452"/>
                    </a:lnTo>
                    <a:lnTo>
                      <a:pt x="4703" y="232"/>
                    </a:lnTo>
                    <a:close/>
                    <a:moveTo>
                      <a:pt x="4805" y="173"/>
                    </a:moveTo>
                    <a:lnTo>
                      <a:pt x="4802" y="173"/>
                    </a:lnTo>
                    <a:lnTo>
                      <a:pt x="4802" y="173"/>
                    </a:lnTo>
                    <a:lnTo>
                      <a:pt x="4802" y="175"/>
                    </a:lnTo>
                    <a:lnTo>
                      <a:pt x="4802" y="187"/>
                    </a:lnTo>
                    <a:lnTo>
                      <a:pt x="4805" y="187"/>
                    </a:lnTo>
                    <a:lnTo>
                      <a:pt x="4805" y="173"/>
                    </a:lnTo>
                    <a:close/>
                    <a:moveTo>
                      <a:pt x="4852" y="0"/>
                    </a:moveTo>
                    <a:lnTo>
                      <a:pt x="4850" y="0"/>
                    </a:lnTo>
                    <a:lnTo>
                      <a:pt x="4850" y="3"/>
                    </a:lnTo>
                    <a:lnTo>
                      <a:pt x="4850" y="128"/>
                    </a:lnTo>
                    <a:lnTo>
                      <a:pt x="4852" y="128"/>
                    </a:lnTo>
                    <a:lnTo>
                      <a:pt x="4852" y="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5" name="Freeform 97"/>
              <p:cNvSpPr>
                <a:spLocks noEditPoints="1"/>
              </p:cNvSpPr>
              <p:nvPr/>
            </p:nvSpPr>
            <p:spPr bwMode="auto">
              <a:xfrm>
                <a:off x="2" y="1705"/>
                <a:ext cx="7025" cy="1648"/>
              </a:xfrm>
              <a:custGeom>
                <a:avLst/>
                <a:gdLst>
                  <a:gd name="T0" fmla="*/ 2 w 7025"/>
                  <a:gd name="T1" fmla="*/ 1489 h 1648"/>
                  <a:gd name="T2" fmla="*/ 5663 w 7025"/>
                  <a:gd name="T3" fmla="*/ 1404 h 1648"/>
                  <a:gd name="T4" fmla="*/ 3710 w 7025"/>
                  <a:gd name="T5" fmla="*/ 1224 h 1648"/>
                  <a:gd name="T6" fmla="*/ 5831 w 7025"/>
                  <a:gd name="T7" fmla="*/ 1210 h 1648"/>
                  <a:gd name="T8" fmla="*/ 5831 w 7025"/>
                  <a:gd name="T9" fmla="*/ 1210 h 1648"/>
                  <a:gd name="T10" fmla="*/ 1688 w 7025"/>
                  <a:gd name="T11" fmla="*/ 1134 h 1648"/>
                  <a:gd name="T12" fmla="*/ 5854 w 7025"/>
                  <a:gd name="T13" fmla="*/ 1130 h 1648"/>
                  <a:gd name="T14" fmla="*/ 5857 w 7025"/>
                  <a:gd name="T15" fmla="*/ 1184 h 1648"/>
                  <a:gd name="T16" fmla="*/ 6320 w 7025"/>
                  <a:gd name="T17" fmla="*/ 1130 h 1648"/>
                  <a:gd name="T18" fmla="*/ 1445 w 7025"/>
                  <a:gd name="T19" fmla="*/ 1127 h 1648"/>
                  <a:gd name="T20" fmla="*/ 1447 w 7025"/>
                  <a:gd name="T21" fmla="*/ 1127 h 1648"/>
                  <a:gd name="T22" fmla="*/ 1464 w 7025"/>
                  <a:gd name="T23" fmla="*/ 1108 h 1648"/>
                  <a:gd name="T24" fmla="*/ 2859 w 7025"/>
                  <a:gd name="T25" fmla="*/ 1063 h 1648"/>
                  <a:gd name="T26" fmla="*/ 2861 w 7025"/>
                  <a:gd name="T27" fmla="*/ 1063 h 1648"/>
                  <a:gd name="T28" fmla="*/ 5930 w 7025"/>
                  <a:gd name="T29" fmla="*/ 1085 h 1648"/>
                  <a:gd name="T30" fmla="*/ 2875 w 7025"/>
                  <a:gd name="T31" fmla="*/ 1014 h 1648"/>
                  <a:gd name="T32" fmla="*/ 2878 w 7025"/>
                  <a:gd name="T33" fmla="*/ 1011 h 1648"/>
                  <a:gd name="T34" fmla="*/ 3771 w 7025"/>
                  <a:gd name="T35" fmla="*/ 1179 h 1648"/>
                  <a:gd name="T36" fmla="*/ 5947 w 7025"/>
                  <a:gd name="T37" fmla="*/ 1025 h 1648"/>
                  <a:gd name="T38" fmla="*/ 6339 w 7025"/>
                  <a:gd name="T39" fmla="*/ 935 h 1648"/>
                  <a:gd name="T40" fmla="*/ 6339 w 7025"/>
                  <a:gd name="T41" fmla="*/ 1111 h 1648"/>
                  <a:gd name="T42" fmla="*/ 3842 w 7025"/>
                  <a:gd name="T43" fmla="*/ 928 h 1648"/>
                  <a:gd name="T44" fmla="*/ 6389 w 7025"/>
                  <a:gd name="T45" fmla="*/ 879 h 1648"/>
                  <a:gd name="T46" fmla="*/ 6389 w 7025"/>
                  <a:gd name="T47" fmla="*/ 890 h 1648"/>
                  <a:gd name="T48" fmla="*/ 6396 w 7025"/>
                  <a:gd name="T49" fmla="*/ 850 h 1648"/>
                  <a:gd name="T50" fmla="*/ 6398 w 7025"/>
                  <a:gd name="T51" fmla="*/ 869 h 1648"/>
                  <a:gd name="T52" fmla="*/ 3097 w 7025"/>
                  <a:gd name="T53" fmla="*/ 765 h 1648"/>
                  <a:gd name="T54" fmla="*/ 1007 w 7025"/>
                  <a:gd name="T55" fmla="*/ 753 h 1648"/>
                  <a:gd name="T56" fmla="*/ 5131 w 7025"/>
                  <a:gd name="T57" fmla="*/ 732 h 1648"/>
                  <a:gd name="T58" fmla="*/ 5131 w 7025"/>
                  <a:gd name="T59" fmla="*/ 732 h 1648"/>
                  <a:gd name="T60" fmla="*/ 3138 w 7025"/>
                  <a:gd name="T61" fmla="*/ 727 h 1648"/>
                  <a:gd name="T62" fmla="*/ 94 w 7025"/>
                  <a:gd name="T63" fmla="*/ 618 h 1648"/>
                  <a:gd name="T64" fmla="*/ 5254 w 7025"/>
                  <a:gd name="T65" fmla="*/ 609 h 1648"/>
                  <a:gd name="T66" fmla="*/ 5254 w 7025"/>
                  <a:gd name="T67" fmla="*/ 609 h 1648"/>
                  <a:gd name="T68" fmla="*/ 3282 w 7025"/>
                  <a:gd name="T69" fmla="*/ 613 h 1648"/>
                  <a:gd name="T70" fmla="*/ 300 w 7025"/>
                  <a:gd name="T71" fmla="*/ 550 h 1648"/>
                  <a:gd name="T72" fmla="*/ 7023 w 7025"/>
                  <a:gd name="T73" fmla="*/ 509 h 1648"/>
                  <a:gd name="T74" fmla="*/ 7025 w 7025"/>
                  <a:gd name="T75" fmla="*/ 1648 h 1648"/>
                  <a:gd name="T76" fmla="*/ 4159 w 7025"/>
                  <a:gd name="T77" fmla="*/ 550 h 1648"/>
                  <a:gd name="T78" fmla="*/ 3298 w 7025"/>
                  <a:gd name="T79" fmla="*/ 502 h 1648"/>
                  <a:gd name="T80" fmla="*/ 3301 w 7025"/>
                  <a:gd name="T81" fmla="*/ 564 h 1648"/>
                  <a:gd name="T82" fmla="*/ 4034 w 7025"/>
                  <a:gd name="T83" fmla="*/ 457 h 1648"/>
                  <a:gd name="T84" fmla="*/ 3956 w 7025"/>
                  <a:gd name="T85" fmla="*/ 642 h 1648"/>
                  <a:gd name="T86" fmla="*/ 3327 w 7025"/>
                  <a:gd name="T87" fmla="*/ 436 h 1648"/>
                  <a:gd name="T88" fmla="*/ 3329 w 7025"/>
                  <a:gd name="T89" fmla="*/ 434 h 1648"/>
                  <a:gd name="T90" fmla="*/ 4041 w 7025"/>
                  <a:gd name="T91" fmla="*/ 450 h 1648"/>
                  <a:gd name="T92" fmla="*/ 1809 w 7025"/>
                  <a:gd name="T93" fmla="*/ 370 h 1648"/>
                  <a:gd name="T94" fmla="*/ 1809 w 7025"/>
                  <a:gd name="T95" fmla="*/ 370 h 1648"/>
                  <a:gd name="T96" fmla="*/ 4050 w 7025"/>
                  <a:gd name="T97" fmla="*/ 384 h 1648"/>
                  <a:gd name="T98" fmla="*/ 4703 w 7025"/>
                  <a:gd name="T99" fmla="*/ 232 h 1648"/>
                  <a:gd name="T100" fmla="*/ 4805 w 7025"/>
                  <a:gd name="T101" fmla="*/ 173 h 1648"/>
                  <a:gd name="T102" fmla="*/ 4805 w 7025"/>
                  <a:gd name="T103" fmla="*/ 187 h 1648"/>
                  <a:gd name="T104" fmla="*/ 4850 w 7025"/>
                  <a:gd name="T105" fmla="*/ 128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48">
                    <a:moveTo>
                      <a:pt x="2" y="1454"/>
                    </a:moveTo>
                    <a:lnTo>
                      <a:pt x="0" y="1454"/>
                    </a:lnTo>
                    <a:lnTo>
                      <a:pt x="0" y="1456"/>
                    </a:lnTo>
                    <a:lnTo>
                      <a:pt x="0" y="1489"/>
                    </a:lnTo>
                    <a:lnTo>
                      <a:pt x="2" y="1489"/>
                    </a:lnTo>
                    <a:lnTo>
                      <a:pt x="2" y="1454"/>
                    </a:lnTo>
                    <a:moveTo>
                      <a:pt x="5665" y="1326"/>
                    </a:moveTo>
                    <a:lnTo>
                      <a:pt x="5663" y="1326"/>
                    </a:lnTo>
                    <a:lnTo>
                      <a:pt x="5663" y="1328"/>
                    </a:lnTo>
                    <a:lnTo>
                      <a:pt x="5663" y="1404"/>
                    </a:lnTo>
                    <a:lnTo>
                      <a:pt x="5665" y="1404"/>
                    </a:lnTo>
                    <a:lnTo>
                      <a:pt x="5665" y="1326"/>
                    </a:lnTo>
                    <a:moveTo>
                      <a:pt x="3710" y="1222"/>
                    </a:moveTo>
                    <a:lnTo>
                      <a:pt x="3710" y="1222"/>
                    </a:lnTo>
                    <a:lnTo>
                      <a:pt x="3710" y="1224"/>
                    </a:lnTo>
                    <a:lnTo>
                      <a:pt x="3710" y="1272"/>
                    </a:lnTo>
                    <a:lnTo>
                      <a:pt x="3710" y="1272"/>
                    </a:lnTo>
                    <a:lnTo>
                      <a:pt x="3710" y="1222"/>
                    </a:lnTo>
                    <a:moveTo>
                      <a:pt x="5831" y="1210"/>
                    </a:moveTo>
                    <a:lnTo>
                      <a:pt x="5831" y="1210"/>
                    </a:lnTo>
                    <a:lnTo>
                      <a:pt x="5828" y="1210"/>
                    </a:lnTo>
                    <a:lnTo>
                      <a:pt x="5828" y="1210"/>
                    </a:lnTo>
                    <a:lnTo>
                      <a:pt x="5828" y="1281"/>
                    </a:lnTo>
                    <a:lnTo>
                      <a:pt x="5831" y="1281"/>
                    </a:lnTo>
                    <a:lnTo>
                      <a:pt x="5831" y="1210"/>
                    </a:lnTo>
                    <a:moveTo>
                      <a:pt x="1688" y="1132"/>
                    </a:moveTo>
                    <a:lnTo>
                      <a:pt x="1686" y="1132"/>
                    </a:lnTo>
                    <a:lnTo>
                      <a:pt x="1686" y="1134"/>
                    </a:lnTo>
                    <a:lnTo>
                      <a:pt x="1686" y="1134"/>
                    </a:lnTo>
                    <a:lnTo>
                      <a:pt x="1688" y="1134"/>
                    </a:lnTo>
                    <a:lnTo>
                      <a:pt x="1688" y="1134"/>
                    </a:lnTo>
                    <a:lnTo>
                      <a:pt x="1688" y="1134"/>
                    </a:lnTo>
                    <a:lnTo>
                      <a:pt x="1688" y="1132"/>
                    </a:lnTo>
                    <a:moveTo>
                      <a:pt x="5857" y="1130"/>
                    </a:moveTo>
                    <a:lnTo>
                      <a:pt x="5854" y="1130"/>
                    </a:lnTo>
                    <a:lnTo>
                      <a:pt x="5854" y="1130"/>
                    </a:lnTo>
                    <a:lnTo>
                      <a:pt x="5854" y="1184"/>
                    </a:lnTo>
                    <a:lnTo>
                      <a:pt x="5854" y="1184"/>
                    </a:lnTo>
                    <a:lnTo>
                      <a:pt x="5854" y="1184"/>
                    </a:lnTo>
                    <a:lnTo>
                      <a:pt x="5857" y="1184"/>
                    </a:lnTo>
                    <a:lnTo>
                      <a:pt x="5857" y="1130"/>
                    </a:lnTo>
                    <a:moveTo>
                      <a:pt x="6323" y="1130"/>
                    </a:moveTo>
                    <a:lnTo>
                      <a:pt x="6320" y="1130"/>
                    </a:lnTo>
                    <a:lnTo>
                      <a:pt x="6320" y="1130"/>
                    </a:lnTo>
                    <a:lnTo>
                      <a:pt x="6320" y="1130"/>
                    </a:lnTo>
                    <a:lnTo>
                      <a:pt x="6320" y="1165"/>
                    </a:lnTo>
                    <a:lnTo>
                      <a:pt x="6323" y="1165"/>
                    </a:lnTo>
                    <a:lnTo>
                      <a:pt x="6323" y="1130"/>
                    </a:lnTo>
                    <a:moveTo>
                      <a:pt x="1447" y="1127"/>
                    </a:moveTo>
                    <a:lnTo>
                      <a:pt x="1445" y="1127"/>
                    </a:lnTo>
                    <a:lnTo>
                      <a:pt x="1445" y="1127"/>
                    </a:lnTo>
                    <a:lnTo>
                      <a:pt x="1445" y="1127"/>
                    </a:lnTo>
                    <a:lnTo>
                      <a:pt x="1445" y="1156"/>
                    </a:lnTo>
                    <a:lnTo>
                      <a:pt x="1447" y="1156"/>
                    </a:lnTo>
                    <a:lnTo>
                      <a:pt x="1447" y="1127"/>
                    </a:lnTo>
                    <a:moveTo>
                      <a:pt x="1464" y="1085"/>
                    </a:moveTo>
                    <a:lnTo>
                      <a:pt x="1461" y="1085"/>
                    </a:lnTo>
                    <a:lnTo>
                      <a:pt x="1461" y="1087"/>
                    </a:lnTo>
                    <a:lnTo>
                      <a:pt x="1461" y="1108"/>
                    </a:lnTo>
                    <a:lnTo>
                      <a:pt x="1464" y="1108"/>
                    </a:lnTo>
                    <a:lnTo>
                      <a:pt x="1464" y="1108"/>
                    </a:lnTo>
                    <a:lnTo>
                      <a:pt x="1464" y="1108"/>
                    </a:lnTo>
                    <a:lnTo>
                      <a:pt x="1464" y="1085"/>
                    </a:lnTo>
                    <a:moveTo>
                      <a:pt x="2861" y="1063"/>
                    </a:moveTo>
                    <a:lnTo>
                      <a:pt x="2859" y="1063"/>
                    </a:lnTo>
                    <a:lnTo>
                      <a:pt x="2859" y="1063"/>
                    </a:lnTo>
                    <a:lnTo>
                      <a:pt x="2859" y="1066"/>
                    </a:lnTo>
                    <a:lnTo>
                      <a:pt x="2859" y="1196"/>
                    </a:lnTo>
                    <a:lnTo>
                      <a:pt x="2861" y="1196"/>
                    </a:lnTo>
                    <a:lnTo>
                      <a:pt x="2861" y="1063"/>
                    </a:lnTo>
                    <a:moveTo>
                      <a:pt x="5930" y="1042"/>
                    </a:moveTo>
                    <a:lnTo>
                      <a:pt x="5930" y="1042"/>
                    </a:lnTo>
                    <a:lnTo>
                      <a:pt x="5930" y="1042"/>
                    </a:lnTo>
                    <a:lnTo>
                      <a:pt x="5930" y="1044"/>
                    </a:lnTo>
                    <a:lnTo>
                      <a:pt x="5930" y="1085"/>
                    </a:lnTo>
                    <a:lnTo>
                      <a:pt x="5930" y="1085"/>
                    </a:lnTo>
                    <a:lnTo>
                      <a:pt x="5930" y="1042"/>
                    </a:lnTo>
                    <a:moveTo>
                      <a:pt x="2878" y="1011"/>
                    </a:moveTo>
                    <a:lnTo>
                      <a:pt x="2875" y="1014"/>
                    </a:lnTo>
                    <a:lnTo>
                      <a:pt x="2875" y="1014"/>
                    </a:lnTo>
                    <a:lnTo>
                      <a:pt x="2875" y="1047"/>
                    </a:lnTo>
                    <a:lnTo>
                      <a:pt x="2878" y="1047"/>
                    </a:lnTo>
                    <a:lnTo>
                      <a:pt x="2878" y="1044"/>
                    </a:lnTo>
                    <a:lnTo>
                      <a:pt x="2878" y="1044"/>
                    </a:lnTo>
                    <a:lnTo>
                      <a:pt x="2878" y="1011"/>
                    </a:lnTo>
                    <a:moveTo>
                      <a:pt x="3771" y="995"/>
                    </a:moveTo>
                    <a:lnTo>
                      <a:pt x="3769" y="995"/>
                    </a:lnTo>
                    <a:lnTo>
                      <a:pt x="3769" y="995"/>
                    </a:lnTo>
                    <a:lnTo>
                      <a:pt x="3769" y="1179"/>
                    </a:lnTo>
                    <a:lnTo>
                      <a:pt x="3771" y="1179"/>
                    </a:lnTo>
                    <a:lnTo>
                      <a:pt x="3771" y="995"/>
                    </a:lnTo>
                    <a:moveTo>
                      <a:pt x="5949" y="990"/>
                    </a:moveTo>
                    <a:lnTo>
                      <a:pt x="5947" y="990"/>
                    </a:lnTo>
                    <a:lnTo>
                      <a:pt x="5947" y="992"/>
                    </a:lnTo>
                    <a:lnTo>
                      <a:pt x="5947" y="1025"/>
                    </a:lnTo>
                    <a:lnTo>
                      <a:pt x="5947" y="1025"/>
                    </a:lnTo>
                    <a:lnTo>
                      <a:pt x="5947" y="1023"/>
                    </a:lnTo>
                    <a:lnTo>
                      <a:pt x="5949" y="1023"/>
                    </a:lnTo>
                    <a:lnTo>
                      <a:pt x="5949" y="990"/>
                    </a:lnTo>
                    <a:moveTo>
                      <a:pt x="6339" y="935"/>
                    </a:moveTo>
                    <a:lnTo>
                      <a:pt x="6339" y="935"/>
                    </a:lnTo>
                    <a:lnTo>
                      <a:pt x="6337" y="935"/>
                    </a:lnTo>
                    <a:lnTo>
                      <a:pt x="6337" y="938"/>
                    </a:lnTo>
                    <a:lnTo>
                      <a:pt x="6337" y="1111"/>
                    </a:lnTo>
                    <a:lnTo>
                      <a:pt x="6339" y="1111"/>
                    </a:lnTo>
                    <a:lnTo>
                      <a:pt x="6339" y="1111"/>
                    </a:lnTo>
                    <a:lnTo>
                      <a:pt x="6339" y="1111"/>
                    </a:lnTo>
                    <a:lnTo>
                      <a:pt x="6339" y="935"/>
                    </a:lnTo>
                    <a:moveTo>
                      <a:pt x="3845" y="928"/>
                    </a:moveTo>
                    <a:lnTo>
                      <a:pt x="3842" y="928"/>
                    </a:lnTo>
                    <a:lnTo>
                      <a:pt x="3842" y="931"/>
                    </a:lnTo>
                    <a:lnTo>
                      <a:pt x="3842" y="950"/>
                    </a:lnTo>
                    <a:lnTo>
                      <a:pt x="3845" y="950"/>
                    </a:lnTo>
                    <a:lnTo>
                      <a:pt x="3845" y="928"/>
                    </a:lnTo>
                    <a:moveTo>
                      <a:pt x="6389" y="879"/>
                    </a:moveTo>
                    <a:lnTo>
                      <a:pt x="6389" y="879"/>
                    </a:lnTo>
                    <a:lnTo>
                      <a:pt x="6389" y="879"/>
                    </a:lnTo>
                    <a:lnTo>
                      <a:pt x="6389" y="881"/>
                    </a:lnTo>
                    <a:lnTo>
                      <a:pt x="6389" y="890"/>
                    </a:lnTo>
                    <a:lnTo>
                      <a:pt x="6389" y="890"/>
                    </a:lnTo>
                    <a:lnTo>
                      <a:pt x="6389" y="890"/>
                    </a:lnTo>
                    <a:lnTo>
                      <a:pt x="6389" y="890"/>
                    </a:lnTo>
                    <a:lnTo>
                      <a:pt x="6389" y="879"/>
                    </a:lnTo>
                    <a:moveTo>
                      <a:pt x="6398" y="850"/>
                    </a:moveTo>
                    <a:lnTo>
                      <a:pt x="6396" y="850"/>
                    </a:lnTo>
                    <a:lnTo>
                      <a:pt x="6396" y="853"/>
                    </a:lnTo>
                    <a:lnTo>
                      <a:pt x="6396" y="872"/>
                    </a:lnTo>
                    <a:lnTo>
                      <a:pt x="6396" y="872"/>
                    </a:lnTo>
                    <a:lnTo>
                      <a:pt x="6396" y="869"/>
                    </a:lnTo>
                    <a:lnTo>
                      <a:pt x="6398" y="869"/>
                    </a:lnTo>
                    <a:lnTo>
                      <a:pt x="6398" y="850"/>
                    </a:lnTo>
                    <a:moveTo>
                      <a:pt x="3100" y="763"/>
                    </a:moveTo>
                    <a:lnTo>
                      <a:pt x="3100" y="763"/>
                    </a:lnTo>
                    <a:lnTo>
                      <a:pt x="3097" y="763"/>
                    </a:lnTo>
                    <a:lnTo>
                      <a:pt x="3097" y="765"/>
                    </a:lnTo>
                    <a:lnTo>
                      <a:pt x="3097" y="935"/>
                    </a:lnTo>
                    <a:lnTo>
                      <a:pt x="3100" y="935"/>
                    </a:lnTo>
                    <a:lnTo>
                      <a:pt x="3100" y="763"/>
                    </a:lnTo>
                    <a:moveTo>
                      <a:pt x="1010" y="753"/>
                    </a:moveTo>
                    <a:lnTo>
                      <a:pt x="1007" y="753"/>
                    </a:lnTo>
                    <a:lnTo>
                      <a:pt x="1007" y="756"/>
                    </a:lnTo>
                    <a:lnTo>
                      <a:pt x="1007" y="784"/>
                    </a:lnTo>
                    <a:lnTo>
                      <a:pt x="1010" y="784"/>
                    </a:lnTo>
                    <a:lnTo>
                      <a:pt x="1010" y="753"/>
                    </a:lnTo>
                    <a:moveTo>
                      <a:pt x="5131" y="732"/>
                    </a:moveTo>
                    <a:lnTo>
                      <a:pt x="5131" y="732"/>
                    </a:lnTo>
                    <a:lnTo>
                      <a:pt x="5131" y="734"/>
                    </a:lnTo>
                    <a:lnTo>
                      <a:pt x="5131" y="928"/>
                    </a:lnTo>
                    <a:lnTo>
                      <a:pt x="5131" y="928"/>
                    </a:lnTo>
                    <a:lnTo>
                      <a:pt x="5131" y="732"/>
                    </a:lnTo>
                    <a:moveTo>
                      <a:pt x="3138" y="658"/>
                    </a:moveTo>
                    <a:lnTo>
                      <a:pt x="3138" y="658"/>
                    </a:lnTo>
                    <a:lnTo>
                      <a:pt x="3138" y="658"/>
                    </a:lnTo>
                    <a:lnTo>
                      <a:pt x="3138" y="727"/>
                    </a:lnTo>
                    <a:lnTo>
                      <a:pt x="3138" y="727"/>
                    </a:lnTo>
                    <a:lnTo>
                      <a:pt x="3138" y="725"/>
                    </a:lnTo>
                    <a:lnTo>
                      <a:pt x="3138" y="725"/>
                    </a:lnTo>
                    <a:lnTo>
                      <a:pt x="3138" y="658"/>
                    </a:lnTo>
                    <a:moveTo>
                      <a:pt x="97" y="618"/>
                    </a:moveTo>
                    <a:lnTo>
                      <a:pt x="94" y="618"/>
                    </a:lnTo>
                    <a:lnTo>
                      <a:pt x="94" y="618"/>
                    </a:lnTo>
                    <a:lnTo>
                      <a:pt x="94" y="1409"/>
                    </a:lnTo>
                    <a:lnTo>
                      <a:pt x="97" y="1409"/>
                    </a:lnTo>
                    <a:lnTo>
                      <a:pt x="97" y="618"/>
                    </a:lnTo>
                    <a:moveTo>
                      <a:pt x="5254" y="609"/>
                    </a:moveTo>
                    <a:lnTo>
                      <a:pt x="5251" y="609"/>
                    </a:lnTo>
                    <a:lnTo>
                      <a:pt x="5251" y="611"/>
                    </a:lnTo>
                    <a:lnTo>
                      <a:pt x="5251" y="687"/>
                    </a:lnTo>
                    <a:lnTo>
                      <a:pt x="5254" y="687"/>
                    </a:lnTo>
                    <a:lnTo>
                      <a:pt x="5254" y="609"/>
                    </a:lnTo>
                    <a:moveTo>
                      <a:pt x="3282" y="583"/>
                    </a:moveTo>
                    <a:lnTo>
                      <a:pt x="3282" y="583"/>
                    </a:lnTo>
                    <a:lnTo>
                      <a:pt x="3282" y="583"/>
                    </a:lnTo>
                    <a:lnTo>
                      <a:pt x="3282" y="585"/>
                    </a:lnTo>
                    <a:lnTo>
                      <a:pt x="3282" y="613"/>
                    </a:lnTo>
                    <a:lnTo>
                      <a:pt x="3282" y="613"/>
                    </a:lnTo>
                    <a:lnTo>
                      <a:pt x="3282" y="583"/>
                    </a:lnTo>
                    <a:moveTo>
                      <a:pt x="303" y="547"/>
                    </a:moveTo>
                    <a:lnTo>
                      <a:pt x="300" y="547"/>
                    </a:lnTo>
                    <a:lnTo>
                      <a:pt x="300" y="550"/>
                    </a:lnTo>
                    <a:lnTo>
                      <a:pt x="300" y="573"/>
                    </a:lnTo>
                    <a:lnTo>
                      <a:pt x="303" y="573"/>
                    </a:lnTo>
                    <a:lnTo>
                      <a:pt x="303" y="547"/>
                    </a:lnTo>
                    <a:moveTo>
                      <a:pt x="7025" y="509"/>
                    </a:moveTo>
                    <a:lnTo>
                      <a:pt x="7023" y="509"/>
                    </a:lnTo>
                    <a:lnTo>
                      <a:pt x="7023" y="512"/>
                    </a:lnTo>
                    <a:lnTo>
                      <a:pt x="7023" y="1049"/>
                    </a:lnTo>
                    <a:lnTo>
                      <a:pt x="7025" y="1049"/>
                    </a:lnTo>
                    <a:lnTo>
                      <a:pt x="7025" y="1648"/>
                    </a:lnTo>
                    <a:lnTo>
                      <a:pt x="7025" y="1648"/>
                    </a:lnTo>
                    <a:lnTo>
                      <a:pt x="7025" y="509"/>
                    </a:lnTo>
                    <a:moveTo>
                      <a:pt x="4192" y="505"/>
                    </a:moveTo>
                    <a:lnTo>
                      <a:pt x="4192" y="505"/>
                    </a:lnTo>
                    <a:lnTo>
                      <a:pt x="4192" y="505"/>
                    </a:lnTo>
                    <a:lnTo>
                      <a:pt x="4159" y="550"/>
                    </a:lnTo>
                    <a:lnTo>
                      <a:pt x="4159" y="550"/>
                    </a:lnTo>
                    <a:lnTo>
                      <a:pt x="4192" y="505"/>
                    </a:lnTo>
                    <a:moveTo>
                      <a:pt x="3301" y="502"/>
                    </a:moveTo>
                    <a:lnTo>
                      <a:pt x="3298" y="502"/>
                    </a:lnTo>
                    <a:lnTo>
                      <a:pt x="3298" y="502"/>
                    </a:lnTo>
                    <a:lnTo>
                      <a:pt x="3298" y="505"/>
                    </a:lnTo>
                    <a:lnTo>
                      <a:pt x="3298" y="566"/>
                    </a:lnTo>
                    <a:lnTo>
                      <a:pt x="3298" y="566"/>
                    </a:lnTo>
                    <a:lnTo>
                      <a:pt x="3298" y="564"/>
                    </a:lnTo>
                    <a:lnTo>
                      <a:pt x="3301" y="564"/>
                    </a:lnTo>
                    <a:lnTo>
                      <a:pt x="3301" y="502"/>
                    </a:lnTo>
                    <a:moveTo>
                      <a:pt x="4036" y="455"/>
                    </a:moveTo>
                    <a:lnTo>
                      <a:pt x="4034" y="455"/>
                    </a:lnTo>
                    <a:lnTo>
                      <a:pt x="4034" y="455"/>
                    </a:lnTo>
                    <a:lnTo>
                      <a:pt x="4034" y="457"/>
                    </a:lnTo>
                    <a:lnTo>
                      <a:pt x="4034" y="490"/>
                    </a:lnTo>
                    <a:lnTo>
                      <a:pt x="3953" y="644"/>
                    </a:lnTo>
                    <a:lnTo>
                      <a:pt x="3953" y="883"/>
                    </a:lnTo>
                    <a:lnTo>
                      <a:pt x="3956" y="883"/>
                    </a:lnTo>
                    <a:lnTo>
                      <a:pt x="3956" y="642"/>
                    </a:lnTo>
                    <a:lnTo>
                      <a:pt x="4036" y="490"/>
                    </a:lnTo>
                    <a:lnTo>
                      <a:pt x="4036" y="455"/>
                    </a:lnTo>
                    <a:moveTo>
                      <a:pt x="3329" y="434"/>
                    </a:moveTo>
                    <a:lnTo>
                      <a:pt x="3327" y="434"/>
                    </a:lnTo>
                    <a:lnTo>
                      <a:pt x="3327" y="436"/>
                    </a:lnTo>
                    <a:lnTo>
                      <a:pt x="3327" y="474"/>
                    </a:lnTo>
                    <a:lnTo>
                      <a:pt x="3327" y="474"/>
                    </a:lnTo>
                    <a:lnTo>
                      <a:pt x="3327" y="471"/>
                    </a:lnTo>
                    <a:lnTo>
                      <a:pt x="3329" y="471"/>
                    </a:lnTo>
                    <a:lnTo>
                      <a:pt x="3329" y="434"/>
                    </a:lnTo>
                    <a:moveTo>
                      <a:pt x="4043" y="391"/>
                    </a:moveTo>
                    <a:lnTo>
                      <a:pt x="4041" y="391"/>
                    </a:lnTo>
                    <a:lnTo>
                      <a:pt x="4041" y="391"/>
                    </a:lnTo>
                    <a:lnTo>
                      <a:pt x="4041" y="393"/>
                    </a:lnTo>
                    <a:lnTo>
                      <a:pt x="4041" y="450"/>
                    </a:lnTo>
                    <a:lnTo>
                      <a:pt x="4043" y="450"/>
                    </a:lnTo>
                    <a:lnTo>
                      <a:pt x="4043" y="448"/>
                    </a:lnTo>
                    <a:lnTo>
                      <a:pt x="4043" y="448"/>
                    </a:lnTo>
                    <a:lnTo>
                      <a:pt x="4043" y="391"/>
                    </a:lnTo>
                    <a:moveTo>
                      <a:pt x="1809" y="370"/>
                    </a:moveTo>
                    <a:lnTo>
                      <a:pt x="1809" y="370"/>
                    </a:lnTo>
                    <a:lnTo>
                      <a:pt x="1809" y="372"/>
                    </a:lnTo>
                    <a:lnTo>
                      <a:pt x="1809" y="1087"/>
                    </a:lnTo>
                    <a:lnTo>
                      <a:pt x="1809" y="1087"/>
                    </a:lnTo>
                    <a:lnTo>
                      <a:pt x="1809" y="370"/>
                    </a:lnTo>
                    <a:moveTo>
                      <a:pt x="4050" y="327"/>
                    </a:moveTo>
                    <a:lnTo>
                      <a:pt x="4048" y="327"/>
                    </a:lnTo>
                    <a:lnTo>
                      <a:pt x="4048" y="329"/>
                    </a:lnTo>
                    <a:lnTo>
                      <a:pt x="4048" y="384"/>
                    </a:lnTo>
                    <a:lnTo>
                      <a:pt x="4050" y="384"/>
                    </a:lnTo>
                    <a:lnTo>
                      <a:pt x="4050" y="381"/>
                    </a:lnTo>
                    <a:lnTo>
                      <a:pt x="4050" y="381"/>
                    </a:lnTo>
                    <a:lnTo>
                      <a:pt x="4050" y="327"/>
                    </a:lnTo>
                    <a:moveTo>
                      <a:pt x="4703" y="232"/>
                    </a:moveTo>
                    <a:lnTo>
                      <a:pt x="4703" y="232"/>
                    </a:lnTo>
                    <a:lnTo>
                      <a:pt x="4701" y="235"/>
                    </a:lnTo>
                    <a:lnTo>
                      <a:pt x="4641" y="455"/>
                    </a:lnTo>
                    <a:lnTo>
                      <a:pt x="4644" y="452"/>
                    </a:lnTo>
                    <a:lnTo>
                      <a:pt x="4703" y="232"/>
                    </a:lnTo>
                    <a:moveTo>
                      <a:pt x="4805" y="173"/>
                    </a:moveTo>
                    <a:lnTo>
                      <a:pt x="4802" y="173"/>
                    </a:lnTo>
                    <a:lnTo>
                      <a:pt x="4802" y="173"/>
                    </a:lnTo>
                    <a:lnTo>
                      <a:pt x="4802" y="175"/>
                    </a:lnTo>
                    <a:lnTo>
                      <a:pt x="4802" y="187"/>
                    </a:lnTo>
                    <a:lnTo>
                      <a:pt x="4805" y="187"/>
                    </a:lnTo>
                    <a:lnTo>
                      <a:pt x="4805" y="173"/>
                    </a:lnTo>
                    <a:moveTo>
                      <a:pt x="4852" y="0"/>
                    </a:moveTo>
                    <a:lnTo>
                      <a:pt x="4850" y="0"/>
                    </a:lnTo>
                    <a:lnTo>
                      <a:pt x="4850" y="3"/>
                    </a:lnTo>
                    <a:lnTo>
                      <a:pt x="4850" y="128"/>
                    </a:lnTo>
                    <a:lnTo>
                      <a:pt x="4852" y="128"/>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6" name="Freeform 98"/>
              <p:cNvSpPr>
                <a:spLocks noEditPoints="1"/>
              </p:cNvSpPr>
              <p:nvPr/>
            </p:nvSpPr>
            <p:spPr bwMode="auto">
              <a:xfrm>
                <a:off x="4" y="1703"/>
                <a:ext cx="7025" cy="1650"/>
              </a:xfrm>
              <a:custGeom>
                <a:avLst/>
                <a:gdLst>
                  <a:gd name="T0" fmla="*/ 0 w 7025"/>
                  <a:gd name="T1" fmla="*/ 1491 h 1650"/>
                  <a:gd name="T2" fmla="*/ 5663 w 7025"/>
                  <a:gd name="T3" fmla="*/ 1406 h 1650"/>
                  <a:gd name="T4" fmla="*/ 3708 w 7025"/>
                  <a:gd name="T5" fmla="*/ 1224 h 1650"/>
                  <a:gd name="T6" fmla="*/ 5829 w 7025"/>
                  <a:gd name="T7" fmla="*/ 1210 h 1650"/>
                  <a:gd name="T8" fmla="*/ 5831 w 7025"/>
                  <a:gd name="T9" fmla="*/ 1210 h 1650"/>
                  <a:gd name="T10" fmla="*/ 1689 w 7025"/>
                  <a:gd name="T11" fmla="*/ 1136 h 1650"/>
                  <a:gd name="T12" fmla="*/ 5855 w 7025"/>
                  <a:gd name="T13" fmla="*/ 1129 h 1650"/>
                  <a:gd name="T14" fmla="*/ 5855 w 7025"/>
                  <a:gd name="T15" fmla="*/ 1184 h 1650"/>
                  <a:gd name="T16" fmla="*/ 6321 w 7025"/>
                  <a:gd name="T17" fmla="*/ 1132 h 1650"/>
                  <a:gd name="T18" fmla="*/ 1445 w 7025"/>
                  <a:gd name="T19" fmla="*/ 1127 h 1650"/>
                  <a:gd name="T20" fmla="*/ 1447 w 7025"/>
                  <a:gd name="T21" fmla="*/ 1127 h 1650"/>
                  <a:gd name="T22" fmla="*/ 1464 w 7025"/>
                  <a:gd name="T23" fmla="*/ 1110 h 1650"/>
                  <a:gd name="T24" fmla="*/ 2859 w 7025"/>
                  <a:gd name="T25" fmla="*/ 1063 h 1650"/>
                  <a:gd name="T26" fmla="*/ 2859 w 7025"/>
                  <a:gd name="T27" fmla="*/ 1063 h 1650"/>
                  <a:gd name="T28" fmla="*/ 5928 w 7025"/>
                  <a:gd name="T29" fmla="*/ 1087 h 1650"/>
                  <a:gd name="T30" fmla="*/ 2876 w 7025"/>
                  <a:gd name="T31" fmla="*/ 1013 h 1650"/>
                  <a:gd name="T32" fmla="*/ 2878 w 7025"/>
                  <a:gd name="T33" fmla="*/ 1013 h 1650"/>
                  <a:gd name="T34" fmla="*/ 3769 w 7025"/>
                  <a:gd name="T35" fmla="*/ 1181 h 1650"/>
                  <a:gd name="T36" fmla="*/ 5947 w 7025"/>
                  <a:gd name="T37" fmla="*/ 1025 h 1650"/>
                  <a:gd name="T38" fmla="*/ 6340 w 7025"/>
                  <a:gd name="T39" fmla="*/ 937 h 1650"/>
                  <a:gd name="T40" fmla="*/ 6340 w 7025"/>
                  <a:gd name="T41" fmla="*/ 1113 h 1650"/>
                  <a:gd name="T42" fmla="*/ 3843 w 7025"/>
                  <a:gd name="T43" fmla="*/ 928 h 1650"/>
                  <a:gd name="T44" fmla="*/ 6389 w 7025"/>
                  <a:gd name="T45" fmla="*/ 878 h 1650"/>
                  <a:gd name="T46" fmla="*/ 6389 w 7025"/>
                  <a:gd name="T47" fmla="*/ 892 h 1650"/>
                  <a:gd name="T48" fmla="*/ 6396 w 7025"/>
                  <a:gd name="T49" fmla="*/ 850 h 1650"/>
                  <a:gd name="T50" fmla="*/ 6396 w 7025"/>
                  <a:gd name="T51" fmla="*/ 869 h 1650"/>
                  <a:gd name="T52" fmla="*/ 3098 w 7025"/>
                  <a:gd name="T53" fmla="*/ 765 h 1650"/>
                  <a:gd name="T54" fmla="*/ 1008 w 7025"/>
                  <a:gd name="T55" fmla="*/ 753 h 1650"/>
                  <a:gd name="T56" fmla="*/ 5131 w 7025"/>
                  <a:gd name="T57" fmla="*/ 731 h 1650"/>
                  <a:gd name="T58" fmla="*/ 5131 w 7025"/>
                  <a:gd name="T59" fmla="*/ 731 h 1650"/>
                  <a:gd name="T60" fmla="*/ 3138 w 7025"/>
                  <a:gd name="T61" fmla="*/ 727 h 1650"/>
                  <a:gd name="T62" fmla="*/ 95 w 7025"/>
                  <a:gd name="T63" fmla="*/ 618 h 1650"/>
                  <a:gd name="T64" fmla="*/ 5252 w 7025"/>
                  <a:gd name="T65" fmla="*/ 611 h 1650"/>
                  <a:gd name="T66" fmla="*/ 5252 w 7025"/>
                  <a:gd name="T67" fmla="*/ 611 h 1650"/>
                  <a:gd name="T68" fmla="*/ 3280 w 7025"/>
                  <a:gd name="T69" fmla="*/ 615 h 1650"/>
                  <a:gd name="T70" fmla="*/ 301 w 7025"/>
                  <a:gd name="T71" fmla="*/ 549 h 1650"/>
                  <a:gd name="T72" fmla="*/ 7023 w 7025"/>
                  <a:gd name="T73" fmla="*/ 509 h 1650"/>
                  <a:gd name="T74" fmla="*/ 4193 w 7025"/>
                  <a:gd name="T75" fmla="*/ 504 h 1650"/>
                  <a:gd name="T76" fmla="*/ 4193 w 7025"/>
                  <a:gd name="T77" fmla="*/ 504 h 1650"/>
                  <a:gd name="T78" fmla="*/ 3299 w 7025"/>
                  <a:gd name="T79" fmla="*/ 566 h 1650"/>
                  <a:gd name="T80" fmla="*/ 4036 w 7025"/>
                  <a:gd name="T81" fmla="*/ 454 h 1650"/>
                  <a:gd name="T82" fmla="*/ 3954 w 7025"/>
                  <a:gd name="T83" fmla="*/ 644 h 1650"/>
                  <a:gd name="T84" fmla="*/ 4036 w 7025"/>
                  <a:gd name="T85" fmla="*/ 454 h 1650"/>
                  <a:gd name="T86" fmla="*/ 3327 w 7025"/>
                  <a:gd name="T87" fmla="*/ 473 h 1650"/>
                  <a:gd name="T88" fmla="*/ 4041 w 7025"/>
                  <a:gd name="T89" fmla="*/ 391 h 1650"/>
                  <a:gd name="T90" fmla="*/ 4041 w 7025"/>
                  <a:gd name="T91" fmla="*/ 447 h 1650"/>
                  <a:gd name="T92" fmla="*/ 1807 w 7025"/>
                  <a:gd name="T93" fmla="*/ 372 h 1650"/>
                  <a:gd name="T94" fmla="*/ 4048 w 7025"/>
                  <a:gd name="T95" fmla="*/ 329 h 1650"/>
                  <a:gd name="T96" fmla="*/ 4051 w 7025"/>
                  <a:gd name="T97" fmla="*/ 381 h 1650"/>
                  <a:gd name="T98" fmla="*/ 4642 w 7025"/>
                  <a:gd name="T99" fmla="*/ 454 h 1650"/>
                  <a:gd name="T100" fmla="*/ 4803 w 7025"/>
                  <a:gd name="T101" fmla="*/ 173 h 1650"/>
                  <a:gd name="T102" fmla="*/ 4852 w 7025"/>
                  <a:gd name="T103" fmla="*/ 0 h 1650"/>
                  <a:gd name="T104" fmla="*/ 4852 w 7025"/>
                  <a:gd name="T105" fmla="*/ 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50">
                    <a:moveTo>
                      <a:pt x="0" y="1454"/>
                    </a:moveTo>
                    <a:lnTo>
                      <a:pt x="0" y="1454"/>
                    </a:lnTo>
                    <a:lnTo>
                      <a:pt x="0" y="1456"/>
                    </a:lnTo>
                    <a:lnTo>
                      <a:pt x="0" y="1491"/>
                    </a:lnTo>
                    <a:lnTo>
                      <a:pt x="0" y="1491"/>
                    </a:lnTo>
                    <a:lnTo>
                      <a:pt x="0" y="1454"/>
                    </a:lnTo>
                    <a:close/>
                    <a:moveTo>
                      <a:pt x="5666" y="1326"/>
                    </a:moveTo>
                    <a:lnTo>
                      <a:pt x="5663" y="1326"/>
                    </a:lnTo>
                    <a:lnTo>
                      <a:pt x="5663" y="1328"/>
                    </a:lnTo>
                    <a:lnTo>
                      <a:pt x="5663" y="1406"/>
                    </a:lnTo>
                    <a:lnTo>
                      <a:pt x="5666" y="1406"/>
                    </a:lnTo>
                    <a:lnTo>
                      <a:pt x="5666" y="1326"/>
                    </a:lnTo>
                    <a:close/>
                    <a:moveTo>
                      <a:pt x="3710" y="1224"/>
                    </a:moveTo>
                    <a:lnTo>
                      <a:pt x="3708" y="1224"/>
                    </a:lnTo>
                    <a:lnTo>
                      <a:pt x="3708" y="1224"/>
                    </a:lnTo>
                    <a:lnTo>
                      <a:pt x="3708" y="1274"/>
                    </a:lnTo>
                    <a:lnTo>
                      <a:pt x="3710" y="1274"/>
                    </a:lnTo>
                    <a:lnTo>
                      <a:pt x="3710" y="1224"/>
                    </a:lnTo>
                    <a:close/>
                    <a:moveTo>
                      <a:pt x="5831" y="1210"/>
                    </a:moveTo>
                    <a:lnTo>
                      <a:pt x="5829" y="1210"/>
                    </a:lnTo>
                    <a:lnTo>
                      <a:pt x="5829" y="1210"/>
                    </a:lnTo>
                    <a:lnTo>
                      <a:pt x="5829" y="1212"/>
                    </a:lnTo>
                    <a:lnTo>
                      <a:pt x="5829" y="1283"/>
                    </a:lnTo>
                    <a:lnTo>
                      <a:pt x="5831" y="1283"/>
                    </a:lnTo>
                    <a:lnTo>
                      <a:pt x="5831" y="1210"/>
                    </a:lnTo>
                    <a:close/>
                    <a:moveTo>
                      <a:pt x="1689" y="1132"/>
                    </a:moveTo>
                    <a:lnTo>
                      <a:pt x="1686" y="1132"/>
                    </a:lnTo>
                    <a:lnTo>
                      <a:pt x="1686" y="1134"/>
                    </a:lnTo>
                    <a:lnTo>
                      <a:pt x="1686" y="1136"/>
                    </a:lnTo>
                    <a:lnTo>
                      <a:pt x="1689" y="1136"/>
                    </a:lnTo>
                    <a:lnTo>
                      <a:pt x="1689" y="1134"/>
                    </a:lnTo>
                    <a:lnTo>
                      <a:pt x="1689" y="1134"/>
                    </a:lnTo>
                    <a:lnTo>
                      <a:pt x="1689" y="1132"/>
                    </a:lnTo>
                    <a:close/>
                    <a:moveTo>
                      <a:pt x="5855" y="1129"/>
                    </a:moveTo>
                    <a:lnTo>
                      <a:pt x="5855" y="1129"/>
                    </a:lnTo>
                    <a:lnTo>
                      <a:pt x="5855" y="1132"/>
                    </a:lnTo>
                    <a:lnTo>
                      <a:pt x="5855" y="1186"/>
                    </a:lnTo>
                    <a:lnTo>
                      <a:pt x="5855" y="1186"/>
                    </a:lnTo>
                    <a:lnTo>
                      <a:pt x="5855" y="1184"/>
                    </a:lnTo>
                    <a:lnTo>
                      <a:pt x="5855" y="1184"/>
                    </a:lnTo>
                    <a:lnTo>
                      <a:pt x="5855" y="1129"/>
                    </a:lnTo>
                    <a:close/>
                    <a:moveTo>
                      <a:pt x="6323" y="1129"/>
                    </a:moveTo>
                    <a:lnTo>
                      <a:pt x="6321" y="1129"/>
                    </a:lnTo>
                    <a:lnTo>
                      <a:pt x="6321" y="1129"/>
                    </a:lnTo>
                    <a:lnTo>
                      <a:pt x="6321" y="1132"/>
                    </a:lnTo>
                    <a:lnTo>
                      <a:pt x="6321" y="1167"/>
                    </a:lnTo>
                    <a:lnTo>
                      <a:pt x="6323" y="1167"/>
                    </a:lnTo>
                    <a:lnTo>
                      <a:pt x="6323" y="1129"/>
                    </a:lnTo>
                    <a:close/>
                    <a:moveTo>
                      <a:pt x="1447" y="1127"/>
                    </a:moveTo>
                    <a:lnTo>
                      <a:pt x="1445" y="1127"/>
                    </a:lnTo>
                    <a:lnTo>
                      <a:pt x="1445" y="1127"/>
                    </a:lnTo>
                    <a:lnTo>
                      <a:pt x="1445" y="1129"/>
                    </a:lnTo>
                    <a:lnTo>
                      <a:pt x="1445" y="1158"/>
                    </a:lnTo>
                    <a:lnTo>
                      <a:pt x="1447" y="1158"/>
                    </a:lnTo>
                    <a:lnTo>
                      <a:pt x="1447" y="1127"/>
                    </a:lnTo>
                    <a:close/>
                    <a:moveTo>
                      <a:pt x="1464" y="1084"/>
                    </a:moveTo>
                    <a:lnTo>
                      <a:pt x="1462" y="1084"/>
                    </a:lnTo>
                    <a:lnTo>
                      <a:pt x="1462" y="1087"/>
                    </a:lnTo>
                    <a:lnTo>
                      <a:pt x="1462" y="1110"/>
                    </a:lnTo>
                    <a:lnTo>
                      <a:pt x="1464" y="1110"/>
                    </a:lnTo>
                    <a:lnTo>
                      <a:pt x="1464" y="1108"/>
                    </a:lnTo>
                    <a:lnTo>
                      <a:pt x="1464" y="1108"/>
                    </a:lnTo>
                    <a:lnTo>
                      <a:pt x="1464" y="1084"/>
                    </a:lnTo>
                    <a:close/>
                    <a:moveTo>
                      <a:pt x="2859" y="1063"/>
                    </a:moveTo>
                    <a:lnTo>
                      <a:pt x="2859" y="1063"/>
                    </a:lnTo>
                    <a:lnTo>
                      <a:pt x="2859" y="1063"/>
                    </a:lnTo>
                    <a:lnTo>
                      <a:pt x="2859" y="1065"/>
                    </a:lnTo>
                    <a:lnTo>
                      <a:pt x="2859" y="1198"/>
                    </a:lnTo>
                    <a:lnTo>
                      <a:pt x="2859" y="1198"/>
                    </a:lnTo>
                    <a:lnTo>
                      <a:pt x="2859" y="1063"/>
                    </a:lnTo>
                    <a:close/>
                    <a:moveTo>
                      <a:pt x="5930" y="1042"/>
                    </a:moveTo>
                    <a:lnTo>
                      <a:pt x="5930" y="1042"/>
                    </a:lnTo>
                    <a:lnTo>
                      <a:pt x="5928" y="1042"/>
                    </a:lnTo>
                    <a:lnTo>
                      <a:pt x="5928" y="1044"/>
                    </a:lnTo>
                    <a:lnTo>
                      <a:pt x="5928" y="1087"/>
                    </a:lnTo>
                    <a:lnTo>
                      <a:pt x="5930" y="1087"/>
                    </a:lnTo>
                    <a:lnTo>
                      <a:pt x="5930" y="1042"/>
                    </a:lnTo>
                    <a:close/>
                    <a:moveTo>
                      <a:pt x="2878" y="1013"/>
                    </a:moveTo>
                    <a:lnTo>
                      <a:pt x="2876" y="1013"/>
                    </a:lnTo>
                    <a:lnTo>
                      <a:pt x="2876" y="1013"/>
                    </a:lnTo>
                    <a:lnTo>
                      <a:pt x="2876" y="1046"/>
                    </a:lnTo>
                    <a:lnTo>
                      <a:pt x="2876" y="1046"/>
                    </a:lnTo>
                    <a:lnTo>
                      <a:pt x="2876" y="1044"/>
                    </a:lnTo>
                    <a:lnTo>
                      <a:pt x="2878" y="1044"/>
                    </a:lnTo>
                    <a:lnTo>
                      <a:pt x="2878" y="1013"/>
                    </a:lnTo>
                    <a:close/>
                    <a:moveTo>
                      <a:pt x="3769" y="994"/>
                    </a:moveTo>
                    <a:lnTo>
                      <a:pt x="3769" y="994"/>
                    </a:lnTo>
                    <a:lnTo>
                      <a:pt x="3769" y="997"/>
                    </a:lnTo>
                    <a:lnTo>
                      <a:pt x="3769" y="1181"/>
                    </a:lnTo>
                    <a:lnTo>
                      <a:pt x="3769" y="1181"/>
                    </a:lnTo>
                    <a:lnTo>
                      <a:pt x="3769" y="994"/>
                    </a:lnTo>
                    <a:close/>
                    <a:moveTo>
                      <a:pt x="5949" y="990"/>
                    </a:moveTo>
                    <a:lnTo>
                      <a:pt x="5947" y="990"/>
                    </a:lnTo>
                    <a:lnTo>
                      <a:pt x="5947" y="992"/>
                    </a:lnTo>
                    <a:lnTo>
                      <a:pt x="5947" y="1025"/>
                    </a:lnTo>
                    <a:lnTo>
                      <a:pt x="5947" y="1025"/>
                    </a:lnTo>
                    <a:lnTo>
                      <a:pt x="5947" y="1023"/>
                    </a:lnTo>
                    <a:lnTo>
                      <a:pt x="5949" y="1023"/>
                    </a:lnTo>
                    <a:lnTo>
                      <a:pt x="5949" y="990"/>
                    </a:lnTo>
                    <a:close/>
                    <a:moveTo>
                      <a:pt x="6340" y="937"/>
                    </a:moveTo>
                    <a:lnTo>
                      <a:pt x="6340" y="937"/>
                    </a:lnTo>
                    <a:lnTo>
                      <a:pt x="6337" y="937"/>
                    </a:lnTo>
                    <a:lnTo>
                      <a:pt x="6337" y="937"/>
                    </a:lnTo>
                    <a:lnTo>
                      <a:pt x="6337" y="1113"/>
                    </a:lnTo>
                    <a:lnTo>
                      <a:pt x="6340" y="1113"/>
                    </a:lnTo>
                    <a:lnTo>
                      <a:pt x="6340" y="1110"/>
                    </a:lnTo>
                    <a:lnTo>
                      <a:pt x="6340" y="1110"/>
                    </a:lnTo>
                    <a:lnTo>
                      <a:pt x="6340" y="937"/>
                    </a:lnTo>
                    <a:close/>
                    <a:moveTo>
                      <a:pt x="3845" y="928"/>
                    </a:moveTo>
                    <a:lnTo>
                      <a:pt x="3843" y="928"/>
                    </a:lnTo>
                    <a:lnTo>
                      <a:pt x="3843" y="930"/>
                    </a:lnTo>
                    <a:lnTo>
                      <a:pt x="3843" y="952"/>
                    </a:lnTo>
                    <a:lnTo>
                      <a:pt x="3845" y="952"/>
                    </a:lnTo>
                    <a:lnTo>
                      <a:pt x="3845" y="928"/>
                    </a:lnTo>
                    <a:close/>
                    <a:moveTo>
                      <a:pt x="6389" y="878"/>
                    </a:moveTo>
                    <a:lnTo>
                      <a:pt x="6389" y="878"/>
                    </a:lnTo>
                    <a:lnTo>
                      <a:pt x="6387" y="878"/>
                    </a:lnTo>
                    <a:lnTo>
                      <a:pt x="6387" y="881"/>
                    </a:lnTo>
                    <a:lnTo>
                      <a:pt x="6387" y="892"/>
                    </a:lnTo>
                    <a:lnTo>
                      <a:pt x="6389" y="892"/>
                    </a:lnTo>
                    <a:lnTo>
                      <a:pt x="6389" y="890"/>
                    </a:lnTo>
                    <a:lnTo>
                      <a:pt x="6389" y="890"/>
                    </a:lnTo>
                    <a:lnTo>
                      <a:pt x="6389" y="878"/>
                    </a:lnTo>
                    <a:close/>
                    <a:moveTo>
                      <a:pt x="6396" y="850"/>
                    </a:moveTo>
                    <a:lnTo>
                      <a:pt x="6396" y="850"/>
                    </a:lnTo>
                    <a:lnTo>
                      <a:pt x="6396" y="852"/>
                    </a:lnTo>
                    <a:lnTo>
                      <a:pt x="6396" y="871"/>
                    </a:lnTo>
                    <a:lnTo>
                      <a:pt x="6396" y="871"/>
                    </a:lnTo>
                    <a:lnTo>
                      <a:pt x="6396" y="869"/>
                    </a:lnTo>
                    <a:lnTo>
                      <a:pt x="6396" y="869"/>
                    </a:lnTo>
                    <a:lnTo>
                      <a:pt x="6396" y="850"/>
                    </a:lnTo>
                    <a:close/>
                    <a:moveTo>
                      <a:pt x="3100" y="762"/>
                    </a:moveTo>
                    <a:lnTo>
                      <a:pt x="3100" y="762"/>
                    </a:lnTo>
                    <a:lnTo>
                      <a:pt x="3098" y="762"/>
                    </a:lnTo>
                    <a:lnTo>
                      <a:pt x="3098" y="765"/>
                    </a:lnTo>
                    <a:lnTo>
                      <a:pt x="3098" y="937"/>
                    </a:lnTo>
                    <a:lnTo>
                      <a:pt x="3100" y="937"/>
                    </a:lnTo>
                    <a:lnTo>
                      <a:pt x="3100" y="762"/>
                    </a:lnTo>
                    <a:close/>
                    <a:moveTo>
                      <a:pt x="1008" y="753"/>
                    </a:moveTo>
                    <a:lnTo>
                      <a:pt x="1008" y="753"/>
                    </a:lnTo>
                    <a:lnTo>
                      <a:pt x="1008" y="755"/>
                    </a:lnTo>
                    <a:lnTo>
                      <a:pt x="1008" y="786"/>
                    </a:lnTo>
                    <a:lnTo>
                      <a:pt x="1008" y="786"/>
                    </a:lnTo>
                    <a:lnTo>
                      <a:pt x="1008" y="753"/>
                    </a:lnTo>
                    <a:close/>
                    <a:moveTo>
                      <a:pt x="5131" y="731"/>
                    </a:moveTo>
                    <a:lnTo>
                      <a:pt x="5129" y="731"/>
                    </a:lnTo>
                    <a:lnTo>
                      <a:pt x="5129" y="734"/>
                    </a:lnTo>
                    <a:lnTo>
                      <a:pt x="5129" y="930"/>
                    </a:lnTo>
                    <a:lnTo>
                      <a:pt x="5131" y="930"/>
                    </a:lnTo>
                    <a:lnTo>
                      <a:pt x="5131" y="731"/>
                    </a:lnTo>
                    <a:close/>
                    <a:moveTo>
                      <a:pt x="3138" y="658"/>
                    </a:moveTo>
                    <a:lnTo>
                      <a:pt x="3136" y="658"/>
                    </a:lnTo>
                    <a:lnTo>
                      <a:pt x="3136" y="660"/>
                    </a:lnTo>
                    <a:lnTo>
                      <a:pt x="3136" y="727"/>
                    </a:lnTo>
                    <a:lnTo>
                      <a:pt x="3138" y="727"/>
                    </a:lnTo>
                    <a:lnTo>
                      <a:pt x="3138" y="724"/>
                    </a:lnTo>
                    <a:lnTo>
                      <a:pt x="3138" y="724"/>
                    </a:lnTo>
                    <a:lnTo>
                      <a:pt x="3138" y="658"/>
                    </a:lnTo>
                    <a:close/>
                    <a:moveTo>
                      <a:pt x="97" y="618"/>
                    </a:moveTo>
                    <a:lnTo>
                      <a:pt x="95" y="618"/>
                    </a:lnTo>
                    <a:lnTo>
                      <a:pt x="95" y="620"/>
                    </a:lnTo>
                    <a:lnTo>
                      <a:pt x="95" y="1411"/>
                    </a:lnTo>
                    <a:lnTo>
                      <a:pt x="97" y="1411"/>
                    </a:lnTo>
                    <a:lnTo>
                      <a:pt x="97" y="618"/>
                    </a:lnTo>
                    <a:close/>
                    <a:moveTo>
                      <a:pt x="5252" y="611"/>
                    </a:moveTo>
                    <a:lnTo>
                      <a:pt x="5252" y="611"/>
                    </a:lnTo>
                    <a:lnTo>
                      <a:pt x="5252" y="611"/>
                    </a:lnTo>
                    <a:lnTo>
                      <a:pt x="5252" y="689"/>
                    </a:lnTo>
                    <a:lnTo>
                      <a:pt x="5252" y="689"/>
                    </a:lnTo>
                    <a:lnTo>
                      <a:pt x="5252" y="611"/>
                    </a:lnTo>
                    <a:close/>
                    <a:moveTo>
                      <a:pt x="3282" y="582"/>
                    </a:moveTo>
                    <a:lnTo>
                      <a:pt x="3282" y="582"/>
                    </a:lnTo>
                    <a:lnTo>
                      <a:pt x="3280" y="582"/>
                    </a:lnTo>
                    <a:lnTo>
                      <a:pt x="3280" y="585"/>
                    </a:lnTo>
                    <a:lnTo>
                      <a:pt x="3280" y="615"/>
                    </a:lnTo>
                    <a:lnTo>
                      <a:pt x="3282" y="615"/>
                    </a:lnTo>
                    <a:lnTo>
                      <a:pt x="3282" y="582"/>
                    </a:lnTo>
                    <a:close/>
                    <a:moveTo>
                      <a:pt x="303" y="547"/>
                    </a:moveTo>
                    <a:lnTo>
                      <a:pt x="301" y="547"/>
                    </a:lnTo>
                    <a:lnTo>
                      <a:pt x="301" y="549"/>
                    </a:lnTo>
                    <a:lnTo>
                      <a:pt x="301" y="575"/>
                    </a:lnTo>
                    <a:lnTo>
                      <a:pt x="303" y="575"/>
                    </a:lnTo>
                    <a:lnTo>
                      <a:pt x="303" y="547"/>
                    </a:lnTo>
                    <a:close/>
                    <a:moveTo>
                      <a:pt x="7025" y="509"/>
                    </a:moveTo>
                    <a:lnTo>
                      <a:pt x="7023" y="509"/>
                    </a:lnTo>
                    <a:lnTo>
                      <a:pt x="7023" y="511"/>
                    </a:lnTo>
                    <a:lnTo>
                      <a:pt x="7023" y="1650"/>
                    </a:lnTo>
                    <a:lnTo>
                      <a:pt x="7025" y="1650"/>
                    </a:lnTo>
                    <a:lnTo>
                      <a:pt x="7025" y="509"/>
                    </a:lnTo>
                    <a:close/>
                    <a:moveTo>
                      <a:pt x="4193" y="504"/>
                    </a:moveTo>
                    <a:lnTo>
                      <a:pt x="4193" y="504"/>
                    </a:lnTo>
                    <a:lnTo>
                      <a:pt x="4190" y="507"/>
                    </a:lnTo>
                    <a:lnTo>
                      <a:pt x="4157" y="552"/>
                    </a:lnTo>
                    <a:lnTo>
                      <a:pt x="4159" y="552"/>
                    </a:lnTo>
                    <a:lnTo>
                      <a:pt x="4193" y="504"/>
                    </a:lnTo>
                    <a:close/>
                    <a:moveTo>
                      <a:pt x="3299" y="502"/>
                    </a:moveTo>
                    <a:lnTo>
                      <a:pt x="3299" y="502"/>
                    </a:lnTo>
                    <a:lnTo>
                      <a:pt x="3299" y="502"/>
                    </a:lnTo>
                    <a:lnTo>
                      <a:pt x="3299" y="504"/>
                    </a:lnTo>
                    <a:lnTo>
                      <a:pt x="3299" y="566"/>
                    </a:lnTo>
                    <a:lnTo>
                      <a:pt x="3299" y="566"/>
                    </a:lnTo>
                    <a:lnTo>
                      <a:pt x="3299" y="563"/>
                    </a:lnTo>
                    <a:lnTo>
                      <a:pt x="3299" y="563"/>
                    </a:lnTo>
                    <a:lnTo>
                      <a:pt x="3299" y="502"/>
                    </a:lnTo>
                    <a:close/>
                    <a:moveTo>
                      <a:pt x="4036" y="454"/>
                    </a:moveTo>
                    <a:lnTo>
                      <a:pt x="4034" y="454"/>
                    </a:lnTo>
                    <a:lnTo>
                      <a:pt x="4034" y="454"/>
                    </a:lnTo>
                    <a:lnTo>
                      <a:pt x="4034" y="457"/>
                    </a:lnTo>
                    <a:lnTo>
                      <a:pt x="4034" y="492"/>
                    </a:lnTo>
                    <a:lnTo>
                      <a:pt x="3954" y="644"/>
                    </a:lnTo>
                    <a:lnTo>
                      <a:pt x="3954" y="885"/>
                    </a:lnTo>
                    <a:lnTo>
                      <a:pt x="3954" y="885"/>
                    </a:lnTo>
                    <a:lnTo>
                      <a:pt x="3954" y="642"/>
                    </a:lnTo>
                    <a:lnTo>
                      <a:pt x="4036" y="490"/>
                    </a:lnTo>
                    <a:lnTo>
                      <a:pt x="4036" y="454"/>
                    </a:lnTo>
                    <a:close/>
                    <a:moveTo>
                      <a:pt x="3330" y="436"/>
                    </a:moveTo>
                    <a:lnTo>
                      <a:pt x="3327" y="436"/>
                    </a:lnTo>
                    <a:lnTo>
                      <a:pt x="3327" y="436"/>
                    </a:lnTo>
                    <a:lnTo>
                      <a:pt x="3327" y="473"/>
                    </a:lnTo>
                    <a:lnTo>
                      <a:pt x="3327" y="473"/>
                    </a:lnTo>
                    <a:lnTo>
                      <a:pt x="3327" y="471"/>
                    </a:lnTo>
                    <a:lnTo>
                      <a:pt x="3330" y="471"/>
                    </a:lnTo>
                    <a:lnTo>
                      <a:pt x="3330" y="436"/>
                    </a:lnTo>
                    <a:close/>
                    <a:moveTo>
                      <a:pt x="4041" y="391"/>
                    </a:moveTo>
                    <a:lnTo>
                      <a:pt x="4041" y="391"/>
                    </a:lnTo>
                    <a:lnTo>
                      <a:pt x="4041" y="391"/>
                    </a:lnTo>
                    <a:lnTo>
                      <a:pt x="4041" y="393"/>
                    </a:lnTo>
                    <a:lnTo>
                      <a:pt x="4041" y="450"/>
                    </a:lnTo>
                    <a:lnTo>
                      <a:pt x="4041" y="450"/>
                    </a:lnTo>
                    <a:lnTo>
                      <a:pt x="4041" y="447"/>
                    </a:lnTo>
                    <a:lnTo>
                      <a:pt x="4041" y="447"/>
                    </a:lnTo>
                    <a:lnTo>
                      <a:pt x="4041" y="391"/>
                    </a:lnTo>
                    <a:close/>
                    <a:moveTo>
                      <a:pt x="1809" y="369"/>
                    </a:moveTo>
                    <a:lnTo>
                      <a:pt x="1807" y="369"/>
                    </a:lnTo>
                    <a:lnTo>
                      <a:pt x="1807" y="372"/>
                    </a:lnTo>
                    <a:lnTo>
                      <a:pt x="1807" y="1089"/>
                    </a:lnTo>
                    <a:lnTo>
                      <a:pt x="1809" y="1089"/>
                    </a:lnTo>
                    <a:lnTo>
                      <a:pt x="1809" y="369"/>
                    </a:lnTo>
                    <a:close/>
                    <a:moveTo>
                      <a:pt x="4051" y="329"/>
                    </a:moveTo>
                    <a:lnTo>
                      <a:pt x="4048" y="329"/>
                    </a:lnTo>
                    <a:lnTo>
                      <a:pt x="4048" y="329"/>
                    </a:lnTo>
                    <a:lnTo>
                      <a:pt x="4048" y="383"/>
                    </a:lnTo>
                    <a:lnTo>
                      <a:pt x="4048" y="383"/>
                    </a:lnTo>
                    <a:lnTo>
                      <a:pt x="4048" y="381"/>
                    </a:lnTo>
                    <a:lnTo>
                      <a:pt x="4051" y="381"/>
                    </a:lnTo>
                    <a:lnTo>
                      <a:pt x="4051" y="329"/>
                    </a:lnTo>
                    <a:close/>
                    <a:moveTo>
                      <a:pt x="4703" y="232"/>
                    </a:moveTo>
                    <a:lnTo>
                      <a:pt x="4701" y="232"/>
                    </a:lnTo>
                    <a:lnTo>
                      <a:pt x="4701" y="234"/>
                    </a:lnTo>
                    <a:lnTo>
                      <a:pt x="4642" y="454"/>
                    </a:lnTo>
                    <a:lnTo>
                      <a:pt x="4642" y="454"/>
                    </a:lnTo>
                    <a:lnTo>
                      <a:pt x="4703" y="232"/>
                    </a:lnTo>
                    <a:close/>
                    <a:moveTo>
                      <a:pt x="4803" y="173"/>
                    </a:moveTo>
                    <a:lnTo>
                      <a:pt x="4803" y="173"/>
                    </a:lnTo>
                    <a:lnTo>
                      <a:pt x="4803" y="173"/>
                    </a:lnTo>
                    <a:lnTo>
                      <a:pt x="4803" y="175"/>
                    </a:lnTo>
                    <a:lnTo>
                      <a:pt x="4803" y="189"/>
                    </a:lnTo>
                    <a:lnTo>
                      <a:pt x="4803" y="189"/>
                    </a:lnTo>
                    <a:lnTo>
                      <a:pt x="4803" y="173"/>
                    </a:lnTo>
                    <a:close/>
                    <a:moveTo>
                      <a:pt x="4852" y="0"/>
                    </a:moveTo>
                    <a:lnTo>
                      <a:pt x="4850" y="0"/>
                    </a:lnTo>
                    <a:lnTo>
                      <a:pt x="4850" y="2"/>
                    </a:lnTo>
                    <a:lnTo>
                      <a:pt x="4850" y="130"/>
                    </a:lnTo>
                    <a:lnTo>
                      <a:pt x="4852" y="130"/>
                    </a:lnTo>
                    <a:lnTo>
                      <a:pt x="4852" y="0"/>
                    </a:lnTo>
                    <a:close/>
                  </a:path>
                </a:pathLst>
              </a:custGeom>
              <a:solidFill>
                <a:srgbClr val="D7D7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7" name="Freeform 99"/>
              <p:cNvSpPr>
                <a:spLocks noEditPoints="1"/>
              </p:cNvSpPr>
              <p:nvPr/>
            </p:nvSpPr>
            <p:spPr bwMode="auto">
              <a:xfrm>
                <a:off x="4" y="1703"/>
                <a:ext cx="7025" cy="1650"/>
              </a:xfrm>
              <a:custGeom>
                <a:avLst/>
                <a:gdLst>
                  <a:gd name="T0" fmla="*/ 0 w 7025"/>
                  <a:gd name="T1" fmla="*/ 1491 h 1650"/>
                  <a:gd name="T2" fmla="*/ 5663 w 7025"/>
                  <a:gd name="T3" fmla="*/ 1406 h 1650"/>
                  <a:gd name="T4" fmla="*/ 3708 w 7025"/>
                  <a:gd name="T5" fmla="*/ 1224 h 1650"/>
                  <a:gd name="T6" fmla="*/ 5829 w 7025"/>
                  <a:gd name="T7" fmla="*/ 1210 h 1650"/>
                  <a:gd name="T8" fmla="*/ 5831 w 7025"/>
                  <a:gd name="T9" fmla="*/ 1210 h 1650"/>
                  <a:gd name="T10" fmla="*/ 1689 w 7025"/>
                  <a:gd name="T11" fmla="*/ 1136 h 1650"/>
                  <a:gd name="T12" fmla="*/ 5855 w 7025"/>
                  <a:gd name="T13" fmla="*/ 1129 h 1650"/>
                  <a:gd name="T14" fmla="*/ 5855 w 7025"/>
                  <a:gd name="T15" fmla="*/ 1184 h 1650"/>
                  <a:gd name="T16" fmla="*/ 6321 w 7025"/>
                  <a:gd name="T17" fmla="*/ 1132 h 1650"/>
                  <a:gd name="T18" fmla="*/ 1445 w 7025"/>
                  <a:gd name="T19" fmla="*/ 1127 h 1650"/>
                  <a:gd name="T20" fmla="*/ 1447 w 7025"/>
                  <a:gd name="T21" fmla="*/ 1127 h 1650"/>
                  <a:gd name="T22" fmla="*/ 1464 w 7025"/>
                  <a:gd name="T23" fmla="*/ 1110 h 1650"/>
                  <a:gd name="T24" fmla="*/ 2859 w 7025"/>
                  <a:gd name="T25" fmla="*/ 1063 h 1650"/>
                  <a:gd name="T26" fmla="*/ 2859 w 7025"/>
                  <a:gd name="T27" fmla="*/ 1063 h 1650"/>
                  <a:gd name="T28" fmla="*/ 5928 w 7025"/>
                  <a:gd name="T29" fmla="*/ 1087 h 1650"/>
                  <a:gd name="T30" fmla="*/ 2876 w 7025"/>
                  <a:gd name="T31" fmla="*/ 1013 h 1650"/>
                  <a:gd name="T32" fmla="*/ 2878 w 7025"/>
                  <a:gd name="T33" fmla="*/ 1013 h 1650"/>
                  <a:gd name="T34" fmla="*/ 3769 w 7025"/>
                  <a:gd name="T35" fmla="*/ 1181 h 1650"/>
                  <a:gd name="T36" fmla="*/ 5947 w 7025"/>
                  <a:gd name="T37" fmla="*/ 1025 h 1650"/>
                  <a:gd name="T38" fmla="*/ 6340 w 7025"/>
                  <a:gd name="T39" fmla="*/ 937 h 1650"/>
                  <a:gd name="T40" fmla="*/ 6340 w 7025"/>
                  <a:gd name="T41" fmla="*/ 1113 h 1650"/>
                  <a:gd name="T42" fmla="*/ 3843 w 7025"/>
                  <a:gd name="T43" fmla="*/ 928 h 1650"/>
                  <a:gd name="T44" fmla="*/ 6389 w 7025"/>
                  <a:gd name="T45" fmla="*/ 878 h 1650"/>
                  <a:gd name="T46" fmla="*/ 6389 w 7025"/>
                  <a:gd name="T47" fmla="*/ 892 h 1650"/>
                  <a:gd name="T48" fmla="*/ 6396 w 7025"/>
                  <a:gd name="T49" fmla="*/ 850 h 1650"/>
                  <a:gd name="T50" fmla="*/ 6396 w 7025"/>
                  <a:gd name="T51" fmla="*/ 869 h 1650"/>
                  <a:gd name="T52" fmla="*/ 3098 w 7025"/>
                  <a:gd name="T53" fmla="*/ 765 h 1650"/>
                  <a:gd name="T54" fmla="*/ 1008 w 7025"/>
                  <a:gd name="T55" fmla="*/ 753 h 1650"/>
                  <a:gd name="T56" fmla="*/ 5131 w 7025"/>
                  <a:gd name="T57" fmla="*/ 731 h 1650"/>
                  <a:gd name="T58" fmla="*/ 5131 w 7025"/>
                  <a:gd name="T59" fmla="*/ 731 h 1650"/>
                  <a:gd name="T60" fmla="*/ 3138 w 7025"/>
                  <a:gd name="T61" fmla="*/ 727 h 1650"/>
                  <a:gd name="T62" fmla="*/ 95 w 7025"/>
                  <a:gd name="T63" fmla="*/ 618 h 1650"/>
                  <a:gd name="T64" fmla="*/ 5252 w 7025"/>
                  <a:gd name="T65" fmla="*/ 611 h 1650"/>
                  <a:gd name="T66" fmla="*/ 5252 w 7025"/>
                  <a:gd name="T67" fmla="*/ 611 h 1650"/>
                  <a:gd name="T68" fmla="*/ 3280 w 7025"/>
                  <a:gd name="T69" fmla="*/ 615 h 1650"/>
                  <a:gd name="T70" fmla="*/ 301 w 7025"/>
                  <a:gd name="T71" fmla="*/ 549 h 1650"/>
                  <a:gd name="T72" fmla="*/ 7023 w 7025"/>
                  <a:gd name="T73" fmla="*/ 509 h 1650"/>
                  <a:gd name="T74" fmla="*/ 4193 w 7025"/>
                  <a:gd name="T75" fmla="*/ 504 h 1650"/>
                  <a:gd name="T76" fmla="*/ 4193 w 7025"/>
                  <a:gd name="T77" fmla="*/ 504 h 1650"/>
                  <a:gd name="T78" fmla="*/ 3299 w 7025"/>
                  <a:gd name="T79" fmla="*/ 566 h 1650"/>
                  <a:gd name="T80" fmla="*/ 4036 w 7025"/>
                  <a:gd name="T81" fmla="*/ 454 h 1650"/>
                  <a:gd name="T82" fmla="*/ 3954 w 7025"/>
                  <a:gd name="T83" fmla="*/ 644 h 1650"/>
                  <a:gd name="T84" fmla="*/ 4036 w 7025"/>
                  <a:gd name="T85" fmla="*/ 454 h 1650"/>
                  <a:gd name="T86" fmla="*/ 3327 w 7025"/>
                  <a:gd name="T87" fmla="*/ 473 h 1650"/>
                  <a:gd name="T88" fmla="*/ 4041 w 7025"/>
                  <a:gd name="T89" fmla="*/ 391 h 1650"/>
                  <a:gd name="T90" fmla="*/ 4041 w 7025"/>
                  <a:gd name="T91" fmla="*/ 447 h 1650"/>
                  <a:gd name="T92" fmla="*/ 1807 w 7025"/>
                  <a:gd name="T93" fmla="*/ 372 h 1650"/>
                  <a:gd name="T94" fmla="*/ 4048 w 7025"/>
                  <a:gd name="T95" fmla="*/ 329 h 1650"/>
                  <a:gd name="T96" fmla="*/ 4051 w 7025"/>
                  <a:gd name="T97" fmla="*/ 381 h 1650"/>
                  <a:gd name="T98" fmla="*/ 4642 w 7025"/>
                  <a:gd name="T99" fmla="*/ 454 h 1650"/>
                  <a:gd name="T100" fmla="*/ 4803 w 7025"/>
                  <a:gd name="T101" fmla="*/ 173 h 1650"/>
                  <a:gd name="T102" fmla="*/ 4852 w 7025"/>
                  <a:gd name="T103" fmla="*/ 0 h 1650"/>
                  <a:gd name="T104" fmla="*/ 4852 w 7025"/>
                  <a:gd name="T105" fmla="*/ 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25" h="1650">
                    <a:moveTo>
                      <a:pt x="0" y="1454"/>
                    </a:moveTo>
                    <a:lnTo>
                      <a:pt x="0" y="1454"/>
                    </a:lnTo>
                    <a:lnTo>
                      <a:pt x="0" y="1456"/>
                    </a:lnTo>
                    <a:lnTo>
                      <a:pt x="0" y="1491"/>
                    </a:lnTo>
                    <a:lnTo>
                      <a:pt x="0" y="1491"/>
                    </a:lnTo>
                    <a:lnTo>
                      <a:pt x="0" y="1454"/>
                    </a:lnTo>
                    <a:moveTo>
                      <a:pt x="5666" y="1326"/>
                    </a:moveTo>
                    <a:lnTo>
                      <a:pt x="5663" y="1326"/>
                    </a:lnTo>
                    <a:lnTo>
                      <a:pt x="5663" y="1328"/>
                    </a:lnTo>
                    <a:lnTo>
                      <a:pt x="5663" y="1406"/>
                    </a:lnTo>
                    <a:lnTo>
                      <a:pt x="5666" y="1406"/>
                    </a:lnTo>
                    <a:lnTo>
                      <a:pt x="5666" y="1326"/>
                    </a:lnTo>
                    <a:moveTo>
                      <a:pt x="3710" y="1224"/>
                    </a:moveTo>
                    <a:lnTo>
                      <a:pt x="3708" y="1224"/>
                    </a:lnTo>
                    <a:lnTo>
                      <a:pt x="3708" y="1224"/>
                    </a:lnTo>
                    <a:lnTo>
                      <a:pt x="3708" y="1274"/>
                    </a:lnTo>
                    <a:lnTo>
                      <a:pt x="3710" y="1274"/>
                    </a:lnTo>
                    <a:lnTo>
                      <a:pt x="3710" y="1224"/>
                    </a:lnTo>
                    <a:moveTo>
                      <a:pt x="5831" y="1210"/>
                    </a:moveTo>
                    <a:lnTo>
                      <a:pt x="5829" y="1210"/>
                    </a:lnTo>
                    <a:lnTo>
                      <a:pt x="5829" y="1210"/>
                    </a:lnTo>
                    <a:lnTo>
                      <a:pt x="5829" y="1212"/>
                    </a:lnTo>
                    <a:lnTo>
                      <a:pt x="5829" y="1283"/>
                    </a:lnTo>
                    <a:lnTo>
                      <a:pt x="5831" y="1283"/>
                    </a:lnTo>
                    <a:lnTo>
                      <a:pt x="5831" y="1210"/>
                    </a:lnTo>
                    <a:moveTo>
                      <a:pt x="1689" y="1132"/>
                    </a:moveTo>
                    <a:lnTo>
                      <a:pt x="1686" y="1132"/>
                    </a:lnTo>
                    <a:lnTo>
                      <a:pt x="1686" y="1134"/>
                    </a:lnTo>
                    <a:lnTo>
                      <a:pt x="1686" y="1136"/>
                    </a:lnTo>
                    <a:lnTo>
                      <a:pt x="1689" y="1136"/>
                    </a:lnTo>
                    <a:lnTo>
                      <a:pt x="1689" y="1134"/>
                    </a:lnTo>
                    <a:lnTo>
                      <a:pt x="1689" y="1134"/>
                    </a:lnTo>
                    <a:lnTo>
                      <a:pt x="1689" y="1132"/>
                    </a:lnTo>
                    <a:moveTo>
                      <a:pt x="5855" y="1129"/>
                    </a:moveTo>
                    <a:lnTo>
                      <a:pt x="5855" y="1129"/>
                    </a:lnTo>
                    <a:lnTo>
                      <a:pt x="5855" y="1132"/>
                    </a:lnTo>
                    <a:lnTo>
                      <a:pt x="5855" y="1186"/>
                    </a:lnTo>
                    <a:lnTo>
                      <a:pt x="5855" y="1186"/>
                    </a:lnTo>
                    <a:lnTo>
                      <a:pt x="5855" y="1184"/>
                    </a:lnTo>
                    <a:lnTo>
                      <a:pt x="5855" y="1184"/>
                    </a:lnTo>
                    <a:lnTo>
                      <a:pt x="5855" y="1129"/>
                    </a:lnTo>
                    <a:moveTo>
                      <a:pt x="6323" y="1129"/>
                    </a:moveTo>
                    <a:lnTo>
                      <a:pt x="6321" y="1129"/>
                    </a:lnTo>
                    <a:lnTo>
                      <a:pt x="6321" y="1129"/>
                    </a:lnTo>
                    <a:lnTo>
                      <a:pt x="6321" y="1132"/>
                    </a:lnTo>
                    <a:lnTo>
                      <a:pt x="6321" y="1167"/>
                    </a:lnTo>
                    <a:lnTo>
                      <a:pt x="6323" y="1167"/>
                    </a:lnTo>
                    <a:lnTo>
                      <a:pt x="6323" y="1129"/>
                    </a:lnTo>
                    <a:moveTo>
                      <a:pt x="1447" y="1127"/>
                    </a:moveTo>
                    <a:lnTo>
                      <a:pt x="1445" y="1127"/>
                    </a:lnTo>
                    <a:lnTo>
                      <a:pt x="1445" y="1127"/>
                    </a:lnTo>
                    <a:lnTo>
                      <a:pt x="1445" y="1129"/>
                    </a:lnTo>
                    <a:lnTo>
                      <a:pt x="1445" y="1158"/>
                    </a:lnTo>
                    <a:lnTo>
                      <a:pt x="1447" y="1158"/>
                    </a:lnTo>
                    <a:lnTo>
                      <a:pt x="1447" y="1127"/>
                    </a:lnTo>
                    <a:moveTo>
                      <a:pt x="1464" y="1084"/>
                    </a:moveTo>
                    <a:lnTo>
                      <a:pt x="1462" y="1084"/>
                    </a:lnTo>
                    <a:lnTo>
                      <a:pt x="1462" y="1087"/>
                    </a:lnTo>
                    <a:lnTo>
                      <a:pt x="1462" y="1110"/>
                    </a:lnTo>
                    <a:lnTo>
                      <a:pt x="1464" y="1110"/>
                    </a:lnTo>
                    <a:lnTo>
                      <a:pt x="1464" y="1108"/>
                    </a:lnTo>
                    <a:lnTo>
                      <a:pt x="1464" y="1108"/>
                    </a:lnTo>
                    <a:lnTo>
                      <a:pt x="1464" y="1084"/>
                    </a:lnTo>
                    <a:moveTo>
                      <a:pt x="2859" y="1063"/>
                    </a:moveTo>
                    <a:lnTo>
                      <a:pt x="2859" y="1063"/>
                    </a:lnTo>
                    <a:lnTo>
                      <a:pt x="2859" y="1063"/>
                    </a:lnTo>
                    <a:lnTo>
                      <a:pt x="2859" y="1065"/>
                    </a:lnTo>
                    <a:lnTo>
                      <a:pt x="2859" y="1198"/>
                    </a:lnTo>
                    <a:lnTo>
                      <a:pt x="2859" y="1198"/>
                    </a:lnTo>
                    <a:lnTo>
                      <a:pt x="2859" y="1063"/>
                    </a:lnTo>
                    <a:moveTo>
                      <a:pt x="5930" y="1042"/>
                    </a:moveTo>
                    <a:lnTo>
                      <a:pt x="5930" y="1042"/>
                    </a:lnTo>
                    <a:lnTo>
                      <a:pt x="5928" y="1042"/>
                    </a:lnTo>
                    <a:lnTo>
                      <a:pt x="5928" y="1044"/>
                    </a:lnTo>
                    <a:lnTo>
                      <a:pt x="5928" y="1087"/>
                    </a:lnTo>
                    <a:lnTo>
                      <a:pt x="5930" y="1087"/>
                    </a:lnTo>
                    <a:lnTo>
                      <a:pt x="5930" y="1042"/>
                    </a:lnTo>
                    <a:moveTo>
                      <a:pt x="2878" y="1013"/>
                    </a:moveTo>
                    <a:lnTo>
                      <a:pt x="2876" y="1013"/>
                    </a:lnTo>
                    <a:lnTo>
                      <a:pt x="2876" y="1013"/>
                    </a:lnTo>
                    <a:lnTo>
                      <a:pt x="2876" y="1046"/>
                    </a:lnTo>
                    <a:lnTo>
                      <a:pt x="2876" y="1046"/>
                    </a:lnTo>
                    <a:lnTo>
                      <a:pt x="2876" y="1044"/>
                    </a:lnTo>
                    <a:lnTo>
                      <a:pt x="2878" y="1044"/>
                    </a:lnTo>
                    <a:lnTo>
                      <a:pt x="2878" y="1013"/>
                    </a:lnTo>
                    <a:moveTo>
                      <a:pt x="3769" y="994"/>
                    </a:moveTo>
                    <a:lnTo>
                      <a:pt x="3769" y="994"/>
                    </a:lnTo>
                    <a:lnTo>
                      <a:pt x="3769" y="997"/>
                    </a:lnTo>
                    <a:lnTo>
                      <a:pt x="3769" y="1181"/>
                    </a:lnTo>
                    <a:lnTo>
                      <a:pt x="3769" y="1181"/>
                    </a:lnTo>
                    <a:lnTo>
                      <a:pt x="3769" y="994"/>
                    </a:lnTo>
                    <a:moveTo>
                      <a:pt x="5949" y="990"/>
                    </a:moveTo>
                    <a:lnTo>
                      <a:pt x="5947" y="990"/>
                    </a:lnTo>
                    <a:lnTo>
                      <a:pt x="5947" y="992"/>
                    </a:lnTo>
                    <a:lnTo>
                      <a:pt x="5947" y="1025"/>
                    </a:lnTo>
                    <a:lnTo>
                      <a:pt x="5947" y="1025"/>
                    </a:lnTo>
                    <a:lnTo>
                      <a:pt x="5947" y="1023"/>
                    </a:lnTo>
                    <a:lnTo>
                      <a:pt x="5949" y="1023"/>
                    </a:lnTo>
                    <a:lnTo>
                      <a:pt x="5949" y="990"/>
                    </a:lnTo>
                    <a:moveTo>
                      <a:pt x="6340" y="937"/>
                    </a:moveTo>
                    <a:lnTo>
                      <a:pt x="6340" y="937"/>
                    </a:lnTo>
                    <a:lnTo>
                      <a:pt x="6337" y="937"/>
                    </a:lnTo>
                    <a:lnTo>
                      <a:pt x="6337" y="937"/>
                    </a:lnTo>
                    <a:lnTo>
                      <a:pt x="6337" y="1113"/>
                    </a:lnTo>
                    <a:lnTo>
                      <a:pt x="6340" y="1113"/>
                    </a:lnTo>
                    <a:lnTo>
                      <a:pt x="6340" y="1110"/>
                    </a:lnTo>
                    <a:lnTo>
                      <a:pt x="6340" y="1110"/>
                    </a:lnTo>
                    <a:lnTo>
                      <a:pt x="6340" y="937"/>
                    </a:lnTo>
                    <a:moveTo>
                      <a:pt x="3845" y="928"/>
                    </a:moveTo>
                    <a:lnTo>
                      <a:pt x="3843" y="928"/>
                    </a:lnTo>
                    <a:lnTo>
                      <a:pt x="3843" y="930"/>
                    </a:lnTo>
                    <a:lnTo>
                      <a:pt x="3843" y="952"/>
                    </a:lnTo>
                    <a:lnTo>
                      <a:pt x="3845" y="952"/>
                    </a:lnTo>
                    <a:lnTo>
                      <a:pt x="3845" y="928"/>
                    </a:lnTo>
                    <a:moveTo>
                      <a:pt x="6389" y="878"/>
                    </a:moveTo>
                    <a:lnTo>
                      <a:pt x="6389" y="878"/>
                    </a:lnTo>
                    <a:lnTo>
                      <a:pt x="6387" y="878"/>
                    </a:lnTo>
                    <a:lnTo>
                      <a:pt x="6387" y="881"/>
                    </a:lnTo>
                    <a:lnTo>
                      <a:pt x="6387" y="892"/>
                    </a:lnTo>
                    <a:lnTo>
                      <a:pt x="6389" y="892"/>
                    </a:lnTo>
                    <a:lnTo>
                      <a:pt x="6389" y="890"/>
                    </a:lnTo>
                    <a:lnTo>
                      <a:pt x="6389" y="890"/>
                    </a:lnTo>
                    <a:lnTo>
                      <a:pt x="6389" y="878"/>
                    </a:lnTo>
                    <a:moveTo>
                      <a:pt x="6396" y="850"/>
                    </a:moveTo>
                    <a:lnTo>
                      <a:pt x="6396" y="850"/>
                    </a:lnTo>
                    <a:lnTo>
                      <a:pt x="6396" y="852"/>
                    </a:lnTo>
                    <a:lnTo>
                      <a:pt x="6396" y="871"/>
                    </a:lnTo>
                    <a:lnTo>
                      <a:pt x="6396" y="871"/>
                    </a:lnTo>
                    <a:lnTo>
                      <a:pt x="6396" y="869"/>
                    </a:lnTo>
                    <a:lnTo>
                      <a:pt x="6396" y="869"/>
                    </a:lnTo>
                    <a:lnTo>
                      <a:pt x="6396" y="850"/>
                    </a:lnTo>
                    <a:moveTo>
                      <a:pt x="3100" y="762"/>
                    </a:moveTo>
                    <a:lnTo>
                      <a:pt x="3100" y="762"/>
                    </a:lnTo>
                    <a:lnTo>
                      <a:pt x="3098" y="762"/>
                    </a:lnTo>
                    <a:lnTo>
                      <a:pt x="3098" y="765"/>
                    </a:lnTo>
                    <a:lnTo>
                      <a:pt x="3098" y="937"/>
                    </a:lnTo>
                    <a:lnTo>
                      <a:pt x="3100" y="937"/>
                    </a:lnTo>
                    <a:lnTo>
                      <a:pt x="3100" y="762"/>
                    </a:lnTo>
                    <a:moveTo>
                      <a:pt x="1008" y="753"/>
                    </a:moveTo>
                    <a:lnTo>
                      <a:pt x="1008" y="753"/>
                    </a:lnTo>
                    <a:lnTo>
                      <a:pt x="1008" y="755"/>
                    </a:lnTo>
                    <a:lnTo>
                      <a:pt x="1008" y="786"/>
                    </a:lnTo>
                    <a:lnTo>
                      <a:pt x="1008" y="786"/>
                    </a:lnTo>
                    <a:lnTo>
                      <a:pt x="1008" y="753"/>
                    </a:lnTo>
                    <a:moveTo>
                      <a:pt x="5131" y="731"/>
                    </a:moveTo>
                    <a:lnTo>
                      <a:pt x="5129" y="731"/>
                    </a:lnTo>
                    <a:lnTo>
                      <a:pt x="5129" y="734"/>
                    </a:lnTo>
                    <a:lnTo>
                      <a:pt x="5129" y="930"/>
                    </a:lnTo>
                    <a:lnTo>
                      <a:pt x="5131" y="930"/>
                    </a:lnTo>
                    <a:lnTo>
                      <a:pt x="5131" y="731"/>
                    </a:lnTo>
                    <a:moveTo>
                      <a:pt x="3138" y="658"/>
                    </a:moveTo>
                    <a:lnTo>
                      <a:pt x="3136" y="658"/>
                    </a:lnTo>
                    <a:lnTo>
                      <a:pt x="3136" y="660"/>
                    </a:lnTo>
                    <a:lnTo>
                      <a:pt x="3136" y="727"/>
                    </a:lnTo>
                    <a:lnTo>
                      <a:pt x="3138" y="727"/>
                    </a:lnTo>
                    <a:lnTo>
                      <a:pt x="3138" y="724"/>
                    </a:lnTo>
                    <a:lnTo>
                      <a:pt x="3138" y="724"/>
                    </a:lnTo>
                    <a:lnTo>
                      <a:pt x="3138" y="658"/>
                    </a:lnTo>
                    <a:moveTo>
                      <a:pt x="97" y="618"/>
                    </a:moveTo>
                    <a:lnTo>
                      <a:pt x="95" y="618"/>
                    </a:lnTo>
                    <a:lnTo>
                      <a:pt x="95" y="620"/>
                    </a:lnTo>
                    <a:lnTo>
                      <a:pt x="95" y="1411"/>
                    </a:lnTo>
                    <a:lnTo>
                      <a:pt x="97" y="1411"/>
                    </a:lnTo>
                    <a:lnTo>
                      <a:pt x="97" y="618"/>
                    </a:lnTo>
                    <a:moveTo>
                      <a:pt x="5252" y="611"/>
                    </a:moveTo>
                    <a:lnTo>
                      <a:pt x="5252" y="611"/>
                    </a:lnTo>
                    <a:lnTo>
                      <a:pt x="5252" y="611"/>
                    </a:lnTo>
                    <a:lnTo>
                      <a:pt x="5252" y="689"/>
                    </a:lnTo>
                    <a:lnTo>
                      <a:pt x="5252" y="689"/>
                    </a:lnTo>
                    <a:lnTo>
                      <a:pt x="5252" y="611"/>
                    </a:lnTo>
                    <a:moveTo>
                      <a:pt x="3282" y="582"/>
                    </a:moveTo>
                    <a:lnTo>
                      <a:pt x="3282" y="582"/>
                    </a:lnTo>
                    <a:lnTo>
                      <a:pt x="3280" y="582"/>
                    </a:lnTo>
                    <a:lnTo>
                      <a:pt x="3280" y="585"/>
                    </a:lnTo>
                    <a:lnTo>
                      <a:pt x="3280" y="615"/>
                    </a:lnTo>
                    <a:lnTo>
                      <a:pt x="3282" y="615"/>
                    </a:lnTo>
                    <a:lnTo>
                      <a:pt x="3282" y="582"/>
                    </a:lnTo>
                    <a:moveTo>
                      <a:pt x="303" y="547"/>
                    </a:moveTo>
                    <a:lnTo>
                      <a:pt x="301" y="547"/>
                    </a:lnTo>
                    <a:lnTo>
                      <a:pt x="301" y="549"/>
                    </a:lnTo>
                    <a:lnTo>
                      <a:pt x="301" y="575"/>
                    </a:lnTo>
                    <a:lnTo>
                      <a:pt x="303" y="575"/>
                    </a:lnTo>
                    <a:lnTo>
                      <a:pt x="303" y="547"/>
                    </a:lnTo>
                    <a:moveTo>
                      <a:pt x="7025" y="509"/>
                    </a:moveTo>
                    <a:lnTo>
                      <a:pt x="7023" y="509"/>
                    </a:lnTo>
                    <a:lnTo>
                      <a:pt x="7023" y="511"/>
                    </a:lnTo>
                    <a:lnTo>
                      <a:pt x="7023" y="1650"/>
                    </a:lnTo>
                    <a:lnTo>
                      <a:pt x="7025" y="1650"/>
                    </a:lnTo>
                    <a:lnTo>
                      <a:pt x="7025" y="509"/>
                    </a:lnTo>
                    <a:moveTo>
                      <a:pt x="4193" y="504"/>
                    </a:moveTo>
                    <a:lnTo>
                      <a:pt x="4193" y="504"/>
                    </a:lnTo>
                    <a:lnTo>
                      <a:pt x="4190" y="507"/>
                    </a:lnTo>
                    <a:lnTo>
                      <a:pt x="4157" y="552"/>
                    </a:lnTo>
                    <a:lnTo>
                      <a:pt x="4159" y="552"/>
                    </a:lnTo>
                    <a:lnTo>
                      <a:pt x="4193" y="504"/>
                    </a:lnTo>
                    <a:moveTo>
                      <a:pt x="3299" y="502"/>
                    </a:moveTo>
                    <a:lnTo>
                      <a:pt x="3299" y="502"/>
                    </a:lnTo>
                    <a:lnTo>
                      <a:pt x="3299" y="502"/>
                    </a:lnTo>
                    <a:lnTo>
                      <a:pt x="3299" y="504"/>
                    </a:lnTo>
                    <a:lnTo>
                      <a:pt x="3299" y="566"/>
                    </a:lnTo>
                    <a:lnTo>
                      <a:pt x="3299" y="566"/>
                    </a:lnTo>
                    <a:lnTo>
                      <a:pt x="3299" y="563"/>
                    </a:lnTo>
                    <a:lnTo>
                      <a:pt x="3299" y="563"/>
                    </a:lnTo>
                    <a:lnTo>
                      <a:pt x="3299" y="502"/>
                    </a:lnTo>
                    <a:moveTo>
                      <a:pt x="4036" y="454"/>
                    </a:moveTo>
                    <a:lnTo>
                      <a:pt x="4034" y="454"/>
                    </a:lnTo>
                    <a:lnTo>
                      <a:pt x="4034" y="454"/>
                    </a:lnTo>
                    <a:lnTo>
                      <a:pt x="4034" y="457"/>
                    </a:lnTo>
                    <a:lnTo>
                      <a:pt x="4034" y="492"/>
                    </a:lnTo>
                    <a:lnTo>
                      <a:pt x="3954" y="644"/>
                    </a:lnTo>
                    <a:lnTo>
                      <a:pt x="3954" y="885"/>
                    </a:lnTo>
                    <a:lnTo>
                      <a:pt x="3954" y="885"/>
                    </a:lnTo>
                    <a:lnTo>
                      <a:pt x="3954" y="642"/>
                    </a:lnTo>
                    <a:lnTo>
                      <a:pt x="4036" y="490"/>
                    </a:lnTo>
                    <a:lnTo>
                      <a:pt x="4036" y="454"/>
                    </a:lnTo>
                    <a:moveTo>
                      <a:pt x="3330" y="436"/>
                    </a:moveTo>
                    <a:lnTo>
                      <a:pt x="3327" y="436"/>
                    </a:lnTo>
                    <a:lnTo>
                      <a:pt x="3327" y="436"/>
                    </a:lnTo>
                    <a:lnTo>
                      <a:pt x="3327" y="473"/>
                    </a:lnTo>
                    <a:lnTo>
                      <a:pt x="3327" y="473"/>
                    </a:lnTo>
                    <a:lnTo>
                      <a:pt x="3327" y="471"/>
                    </a:lnTo>
                    <a:lnTo>
                      <a:pt x="3330" y="471"/>
                    </a:lnTo>
                    <a:lnTo>
                      <a:pt x="3330" y="436"/>
                    </a:lnTo>
                    <a:moveTo>
                      <a:pt x="4041" y="391"/>
                    </a:moveTo>
                    <a:lnTo>
                      <a:pt x="4041" y="391"/>
                    </a:lnTo>
                    <a:lnTo>
                      <a:pt x="4041" y="391"/>
                    </a:lnTo>
                    <a:lnTo>
                      <a:pt x="4041" y="393"/>
                    </a:lnTo>
                    <a:lnTo>
                      <a:pt x="4041" y="450"/>
                    </a:lnTo>
                    <a:lnTo>
                      <a:pt x="4041" y="450"/>
                    </a:lnTo>
                    <a:lnTo>
                      <a:pt x="4041" y="447"/>
                    </a:lnTo>
                    <a:lnTo>
                      <a:pt x="4041" y="447"/>
                    </a:lnTo>
                    <a:lnTo>
                      <a:pt x="4041" y="391"/>
                    </a:lnTo>
                    <a:moveTo>
                      <a:pt x="1809" y="369"/>
                    </a:moveTo>
                    <a:lnTo>
                      <a:pt x="1807" y="369"/>
                    </a:lnTo>
                    <a:lnTo>
                      <a:pt x="1807" y="372"/>
                    </a:lnTo>
                    <a:lnTo>
                      <a:pt x="1807" y="1089"/>
                    </a:lnTo>
                    <a:lnTo>
                      <a:pt x="1809" y="1089"/>
                    </a:lnTo>
                    <a:lnTo>
                      <a:pt x="1809" y="369"/>
                    </a:lnTo>
                    <a:moveTo>
                      <a:pt x="4051" y="329"/>
                    </a:moveTo>
                    <a:lnTo>
                      <a:pt x="4048" y="329"/>
                    </a:lnTo>
                    <a:lnTo>
                      <a:pt x="4048" y="329"/>
                    </a:lnTo>
                    <a:lnTo>
                      <a:pt x="4048" y="383"/>
                    </a:lnTo>
                    <a:lnTo>
                      <a:pt x="4048" y="383"/>
                    </a:lnTo>
                    <a:lnTo>
                      <a:pt x="4048" y="381"/>
                    </a:lnTo>
                    <a:lnTo>
                      <a:pt x="4051" y="381"/>
                    </a:lnTo>
                    <a:lnTo>
                      <a:pt x="4051" y="329"/>
                    </a:lnTo>
                    <a:moveTo>
                      <a:pt x="4703" y="232"/>
                    </a:moveTo>
                    <a:lnTo>
                      <a:pt x="4701" y="232"/>
                    </a:lnTo>
                    <a:lnTo>
                      <a:pt x="4701" y="234"/>
                    </a:lnTo>
                    <a:lnTo>
                      <a:pt x="4642" y="454"/>
                    </a:lnTo>
                    <a:lnTo>
                      <a:pt x="4642" y="454"/>
                    </a:lnTo>
                    <a:lnTo>
                      <a:pt x="4703" y="232"/>
                    </a:lnTo>
                    <a:moveTo>
                      <a:pt x="4803" y="173"/>
                    </a:moveTo>
                    <a:lnTo>
                      <a:pt x="4803" y="173"/>
                    </a:lnTo>
                    <a:lnTo>
                      <a:pt x="4803" y="173"/>
                    </a:lnTo>
                    <a:lnTo>
                      <a:pt x="4803" y="175"/>
                    </a:lnTo>
                    <a:lnTo>
                      <a:pt x="4803" y="189"/>
                    </a:lnTo>
                    <a:lnTo>
                      <a:pt x="4803" y="189"/>
                    </a:lnTo>
                    <a:lnTo>
                      <a:pt x="4803" y="173"/>
                    </a:lnTo>
                    <a:moveTo>
                      <a:pt x="4852" y="0"/>
                    </a:moveTo>
                    <a:lnTo>
                      <a:pt x="4850" y="0"/>
                    </a:lnTo>
                    <a:lnTo>
                      <a:pt x="4850" y="2"/>
                    </a:lnTo>
                    <a:lnTo>
                      <a:pt x="4850" y="130"/>
                    </a:lnTo>
                    <a:lnTo>
                      <a:pt x="4852" y="130"/>
                    </a:lnTo>
                    <a:lnTo>
                      <a:pt x="48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8" name="Freeform 100"/>
              <p:cNvSpPr>
                <a:spLocks noEditPoints="1"/>
              </p:cNvSpPr>
              <p:nvPr/>
            </p:nvSpPr>
            <p:spPr bwMode="auto">
              <a:xfrm>
                <a:off x="4" y="1703"/>
                <a:ext cx="7028" cy="1650"/>
              </a:xfrm>
              <a:custGeom>
                <a:avLst/>
                <a:gdLst>
                  <a:gd name="T0" fmla="*/ 3 w 7028"/>
                  <a:gd name="T1" fmla="*/ 1491 h 1650"/>
                  <a:gd name="T2" fmla="*/ 5666 w 7028"/>
                  <a:gd name="T3" fmla="*/ 1406 h 1650"/>
                  <a:gd name="T4" fmla="*/ 3710 w 7028"/>
                  <a:gd name="T5" fmla="*/ 1224 h 1650"/>
                  <a:gd name="T6" fmla="*/ 5831 w 7028"/>
                  <a:gd name="T7" fmla="*/ 1207 h 1650"/>
                  <a:gd name="T8" fmla="*/ 5834 w 7028"/>
                  <a:gd name="T9" fmla="*/ 1207 h 1650"/>
                  <a:gd name="T10" fmla="*/ 1667 w 7028"/>
                  <a:gd name="T11" fmla="*/ 1158 h 1650"/>
                  <a:gd name="T12" fmla="*/ 1689 w 7028"/>
                  <a:gd name="T13" fmla="*/ 1134 h 1650"/>
                  <a:gd name="T14" fmla="*/ 5857 w 7028"/>
                  <a:gd name="T15" fmla="*/ 1127 h 1650"/>
                  <a:gd name="T16" fmla="*/ 5857 w 7028"/>
                  <a:gd name="T17" fmla="*/ 1181 h 1650"/>
                  <a:gd name="T18" fmla="*/ 6323 w 7028"/>
                  <a:gd name="T19" fmla="*/ 1127 h 1650"/>
                  <a:gd name="T20" fmla="*/ 1447 w 7028"/>
                  <a:gd name="T21" fmla="*/ 1125 h 1650"/>
                  <a:gd name="T22" fmla="*/ 1447 w 7028"/>
                  <a:gd name="T23" fmla="*/ 1158 h 1650"/>
                  <a:gd name="T24" fmla="*/ 1464 w 7028"/>
                  <a:gd name="T25" fmla="*/ 1108 h 1650"/>
                  <a:gd name="T26" fmla="*/ 2861 w 7028"/>
                  <a:gd name="T27" fmla="*/ 1061 h 1650"/>
                  <a:gd name="T28" fmla="*/ 2861 w 7028"/>
                  <a:gd name="T29" fmla="*/ 1198 h 1650"/>
                  <a:gd name="T30" fmla="*/ 5930 w 7028"/>
                  <a:gd name="T31" fmla="*/ 1042 h 1650"/>
                  <a:gd name="T32" fmla="*/ 2878 w 7028"/>
                  <a:gd name="T33" fmla="*/ 1011 h 1650"/>
                  <a:gd name="T34" fmla="*/ 2878 w 7028"/>
                  <a:gd name="T35" fmla="*/ 1044 h 1650"/>
                  <a:gd name="T36" fmla="*/ 3769 w 7028"/>
                  <a:gd name="T37" fmla="*/ 1181 h 1650"/>
                  <a:gd name="T38" fmla="*/ 5949 w 7028"/>
                  <a:gd name="T39" fmla="*/ 990 h 1650"/>
                  <a:gd name="T40" fmla="*/ 5952 w 7028"/>
                  <a:gd name="T41" fmla="*/ 990 h 1650"/>
                  <a:gd name="T42" fmla="*/ 6340 w 7028"/>
                  <a:gd name="T43" fmla="*/ 1110 h 1650"/>
                  <a:gd name="T44" fmla="*/ 3847 w 7028"/>
                  <a:gd name="T45" fmla="*/ 928 h 1650"/>
                  <a:gd name="T46" fmla="*/ 3847 w 7028"/>
                  <a:gd name="T47" fmla="*/ 928 h 1650"/>
                  <a:gd name="T48" fmla="*/ 6387 w 7028"/>
                  <a:gd name="T49" fmla="*/ 892 h 1650"/>
                  <a:gd name="T50" fmla="*/ 6389 w 7028"/>
                  <a:gd name="T51" fmla="*/ 878 h 1650"/>
                  <a:gd name="T52" fmla="*/ 6392 w 7028"/>
                  <a:gd name="T53" fmla="*/ 878 h 1650"/>
                  <a:gd name="T54" fmla="*/ 6399 w 7028"/>
                  <a:gd name="T55" fmla="*/ 869 h 1650"/>
                  <a:gd name="T56" fmla="*/ 3100 w 7028"/>
                  <a:gd name="T57" fmla="*/ 762 h 1650"/>
                  <a:gd name="T58" fmla="*/ 3103 w 7028"/>
                  <a:gd name="T59" fmla="*/ 762 h 1650"/>
                  <a:gd name="T60" fmla="*/ 1010 w 7028"/>
                  <a:gd name="T61" fmla="*/ 786 h 1650"/>
                  <a:gd name="T62" fmla="*/ 5131 w 7028"/>
                  <a:gd name="T63" fmla="*/ 930 h 1650"/>
                  <a:gd name="T64" fmla="*/ 3138 w 7028"/>
                  <a:gd name="T65" fmla="*/ 658 h 1650"/>
                  <a:gd name="T66" fmla="*/ 3140 w 7028"/>
                  <a:gd name="T67" fmla="*/ 656 h 1650"/>
                  <a:gd name="T68" fmla="*/ 97 w 7028"/>
                  <a:gd name="T69" fmla="*/ 1411 h 1650"/>
                  <a:gd name="T70" fmla="*/ 5252 w 7028"/>
                  <a:gd name="T71" fmla="*/ 689 h 1650"/>
                  <a:gd name="T72" fmla="*/ 3282 w 7028"/>
                  <a:gd name="T73" fmla="*/ 580 h 1650"/>
                  <a:gd name="T74" fmla="*/ 303 w 7028"/>
                  <a:gd name="T75" fmla="*/ 547 h 1650"/>
                  <a:gd name="T76" fmla="*/ 303 w 7028"/>
                  <a:gd name="T77" fmla="*/ 547 h 1650"/>
                  <a:gd name="T78" fmla="*/ 7028 w 7028"/>
                  <a:gd name="T79" fmla="*/ 1650 h 1650"/>
                  <a:gd name="T80" fmla="*/ 4159 w 7028"/>
                  <a:gd name="T81" fmla="*/ 552 h 1650"/>
                  <a:gd name="T82" fmla="*/ 3299 w 7028"/>
                  <a:gd name="T83" fmla="*/ 499 h 1650"/>
                  <a:gd name="T84" fmla="*/ 3301 w 7028"/>
                  <a:gd name="T85" fmla="*/ 561 h 1650"/>
                  <a:gd name="T86" fmla="*/ 4036 w 7028"/>
                  <a:gd name="T87" fmla="*/ 454 h 1650"/>
                  <a:gd name="T88" fmla="*/ 3956 w 7028"/>
                  <a:gd name="T89" fmla="*/ 642 h 1650"/>
                  <a:gd name="T90" fmla="*/ 3330 w 7028"/>
                  <a:gd name="T91" fmla="*/ 436 h 1650"/>
                  <a:gd name="T92" fmla="*/ 3330 w 7028"/>
                  <a:gd name="T93" fmla="*/ 433 h 1650"/>
                  <a:gd name="T94" fmla="*/ 4041 w 7028"/>
                  <a:gd name="T95" fmla="*/ 447 h 1650"/>
                  <a:gd name="T96" fmla="*/ 1811 w 7028"/>
                  <a:gd name="T97" fmla="*/ 367 h 1650"/>
                  <a:gd name="T98" fmla="*/ 1811 w 7028"/>
                  <a:gd name="T99" fmla="*/ 367 h 1650"/>
                  <a:gd name="T100" fmla="*/ 4051 w 7028"/>
                  <a:gd name="T101" fmla="*/ 381 h 1650"/>
                  <a:gd name="T102" fmla="*/ 4703 w 7028"/>
                  <a:gd name="T103" fmla="*/ 230 h 1650"/>
                  <a:gd name="T104" fmla="*/ 4805 w 7028"/>
                  <a:gd name="T105" fmla="*/ 170 h 1650"/>
                  <a:gd name="T106" fmla="*/ 4805 w 7028"/>
                  <a:gd name="T107" fmla="*/ 189 h 1650"/>
                  <a:gd name="T108" fmla="*/ 4852 w 7028"/>
                  <a:gd name="T109" fmla="*/ 13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8" h="1650">
                    <a:moveTo>
                      <a:pt x="3" y="1451"/>
                    </a:moveTo>
                    <a:lnTo>
                      <a:pt x="0" y="1451"/>
                    </a:lnTo>
                    <a:lnTo>
                      <a:pt x="0" y="1454"/>
                    </a:lnTo>
                    <a:lnTo>
                      <a:pt x="0" y="1491"/>
                    </a:lnTo>
                    <a:lnTo>
                      <a:pt x="3" y="1491"/>
                    </a:lnTo>
                    <a:lnTo>
                      <a:pt x="3" y="1451"/>
                    </a:lnTo>
                    <a:close/>
                    <a:moveTo>
                      <a:pt x="5668" y="1326"/>
                    </a:moveTo>
                    <a:lnTo>
                      <a:pt x="5666" y="1326"/>
                    </a:lnTo>
                    <a:lnTo>
                      <a:pt x="5666" y="1326"/>
                    </a:lnTo>
                    <a:lnTo>
                      <a:pt x="5666" y="1406"/>
                    </a:lnTo>
                    <a:lnTo>
                      <a:pt x="5668" y="1406"/>
                    </a:lnTo>
                    <a:lnTo>
                      <a:pt x="5668" y="1326"/>
                    </a:lnTo>
                    <a:close/>
                    <a:moveTo>
                      <a:pt x="3713" y="1222"/>
                    </a:moveTo>
                    <a:lnTo>
                      <a:pt x="3710" y="1222"/>
                    </a:lnTo>
                    <a:lnTo>
                      <a:pt x="3710" y="1224"/>
                    </a:lnTo>
                    <a:lnTo>
                      <a:pt x="3710" y="1274"/>
                    </a:lnTo>
                    <a:lnTo>
                      <a:pt x="3713" y="1274"/>
                    </a:lnTo>
                    <a:lnTo>
                      <a:pt x="3713" y="1222"/>
                    </a:lnTo>
                    <a:close/>
                    <a:moveTo>
                      <a:pt x="5834" y="1207"/>
                    </a:moveTo>
                    <a:lnTo>
                      <a:pt x="5831" y="1207"/>
                    </a:lnTo>
                    <a:lnTo>
                      <a:pt x="5831" y="1207"/>
                    </a:lnTo>
                    <a:lnTo>
                      <a:pt x="5831" y="1210"/>
                    </a:lnTo>
                    <a:lnTo>
                      <a:pt x="5831" y="1283"/>
                    </a:lnTo>
                    <a:lnTo>
                      <a:pt x="5834" y="1283"/>
                    </a:lnTo>
                    <a:lnTo>
                      <a:pt x="5834" y="1207"/>
                    </a:lnTo>
                    <a:close/>
                    <a:moveTo>
                      <a:pt x="1667" y="1155"/>
                    </a:moveTo>
                    <a:lnTo>
                      <a:pt x="1667" y="1155"/>
                    </a:lnTo>
                    <a:lnTo>
                      <a:pt x="1665" y="1155"/>
                    </a:lnTo>
                    <a:lnTo>
                      <a:pt x="1665" y="1158"/>
                    </a:lnTo>
                    <a:lnTo>
                      <a:pt x="1667" y="1158"/>
                    </a:lnTo>
                    <a:lnTo>
                      <a:pt x="1667" y="1155"/>
                    </a:lnTo>
                    <a:close/>
                    <a:moveTo>
                      <a:pt x="1691" y="1132"/>
                    </a:moveTo>
                    <a:lnTo>
                      <a:pt x="1689" y="1132"/>
                    </a:lnTo>
                    <a:lnTo>
                      <a:pt x="1689" y="1132"/>
                    </a:lnTo>
                    <a:lnTo>
                      <a:pt x="1689" y="1134"/>
                    </a:lnTo>
                    <a:lnTo>
                      <a:pt x="1689" y="1134"/>
                    </a:lnTo>
                    <a:lnTo>
                      <a:pt x="1689" y="1132"/>
                    </a:lnTo>
                    <a:lnTo>
                      <a:pt x="1691" y="1132"/>
                    </a:lnTo>
                    <a:lnTo>
                      <a:pt x="1691" y="1132"/>
                    </a:lnTo>
                    <a:close/>
                    <a:moveTo>
                      <a:pt x="5857" y="1127"/>
                    </a:moveTo>
                    <a:lnTo>
                      <a:pt x="5855" y="1127"/>
                    </a:lnTo>
                    <a:lnTo>
                      <a:pt x="5855" y="1129"/>
                    </a:lnTo>
                    <a:lnTo>
                      <a:pt x="5855" y="1184"/>
                    </a:lnTo>
                    <a:lnTo>
                      <a:pt x="5857" y="1184"/>
                    </a:lnTo>
                    <a:lnTo>
                      <a:pt x="5857" y="1181"/>
                    </a:lnTo>
                    <a:lnTo>
                      <a:pt x="5857" y="1181"/>
                    </a:lnTo>
                    <a:lnTo>
                      <a:pt x="5857" y="1127"/>
                    </a:lnTo>
                    <a:close/>
                    <a:moveTo>
                      <a:pt x="6325" y="1127"/>
                    </a:moveTo>
                    <a:lnTo>
                      <a:pt x="6323" y="1127"/>
                    </a:lnTo>
                    <a:lnTo>
                      <a:pt x="6323" y="1127"/>
                    </a:lnTo>
                    <a:lnTo>
                      <a:pt x="6323" y="1129"/>
                    </a:lnTo>
                    <a:lnTo>
                      <a:pt x="6323" y="1167"/>
                    </a:lnTo>
                    <a:lnTo>
                      <a:pt x="6325" y="1167"/>
                    </a:lnTo>
                    <a:lnTo>
                      <a:pt x="6325" y="1127"/>
                    </a:lnTo>
                    <a:close/>
                    <a:moveTo>
                      <a:pt x="1447" y="1125"/>
                    </a:moveTo>
                    <a:lnTo>
                      <a:pt x="1447" y="1125"/>
                    </a:lnTo>
                    <a:lnTo>
                      <a:pt x="1447" y="1125"/>
                    </a:lnTo>
                    <a:lnTo>
                      <a:pt x="1447" y="1127"/>
                    </a:lnTo>
                    <a:lnTo>
                      <a:pt x="1447" y="1158"/>
                    </a:lnTo>
                    <a:lnTo>
                      <a:pt x="1447" y="1158"/>
                    </a:lnTo>
                    <a:lnTo>
                      <a:pt x="1447" y="1125"/>
                    </a:lnTo>
                    <a:close/>
                    <a:moveTo>
                      <a:pt x="1466" y="1082"/>
                    </a:moveTo>
                    <a:lnTo>
                      <a:pt x="1464" y="1082"/>
                    </a:lnTo>
                    <a:lnTo>
                      <a:pt x="1464" y="1084"/>
                    </a:lnTo>
                    <a:lnTo>
                      <a:pt x="1464" y="1108"/>
                    </a:lnTo>
                    <a:lnTo>
                      <a:pt x="1464" y="1108"/>
                    </a:lnTo>
                    <a:lnTo>
                      <a:pt x="1464" y="1106"/>
                    </a:lnTo>
                    <a:lnTo>
                      <a:pt x="1466" y="1106"/>
                    </a:lnTo>
                    <a:lnTo>
                      <a:pt x="1466" y="1082"/>
                    </a:lnTo>
                    <a:close/>
                    <a:moveTo>
                      <a:pt x="2861" y="1061"/>
                    </a:moveTo>
                    <a:lnTo>
                      <a:pt x="2861" y="1061"/>
                    </a:lnTo>
                    <a:lnTo>
                      <a:pt x="2859" y="1061"/>
                    </a:lnTo>
                    <a:lnTo>
                      <a:pt x="2859" y="1063"/>
                    </a:lnTo>
                    <a:lnTo>
                      <a:pt x="2859" y="1198"/>
                    </a:lnTo>
                    <a:lnTo>
                      <a:pt x="2861" y="1198"/>
                    </a:lnTo>
                    <a:lnTo>
                      <a:pt x="2861" y="1061"/>
                    </a:lnTo>
                    <a:close/>
                    <a:moveTo>
                      <a:pt x="5933" y="1039"/>
                    </a:moveTo>
                    <a:lnTo>
                      <a:pt x="5933" y="1039"/>
                    </a:lnTo>
                    <a:lnTo>
                      <a:pt x="5930" y="1039"/>
                    </a:lnTo>
                    <a:lnTo>
                      <a:pt x="5930" y="1042"/>
                    </a:lnTo>
                    <a:lnTo>
                      <a:pt x="5930" y="1087"/>
                    </a:lnTo>
                    <a:lnTo>
                      <a:pt x="5933" y="1087"/>
                    </a:lnTo>
                    <a:lnTo>
                      <a:pt x="5933" y="1039"/>
                    </a:lnTo>
                    <a:close/>
                    <a:moveTo>
                      <a:pt x="2878" y="1011"/>
                    </a:moveTo>
                    <a:lnTo>
                      <a:pt x="2878" y="1011"/>
                    </a:lnTo>
                    <a:lnTo>
                      <a:pt x="2878" y="1013"/>
                    </a:lnTo>
                    <a:lnTo>
                      <a:pt x="2878" y="1044"/>
                    </a:lnTo>
                    <a:lnTo>
                      <a:pt x="2878" y="1044"/>
                    </a:lnTo>
                    <a:lnTo>
                      <a:pt x="2878" y="1044"/>
                    </a:lnTo>
                    <a:lnTo>
                      <a:pt x="2878" y="1044"/>
                    </a:lnTo>
                    <a:lnTo>
                      <a:pt x="2878" y="1011"/>
                    </a:lnTo>
                    <a:close/>
                    <a:moveTo>
                      <a:pt x="3772" y="992"/>
                    </a:moveTo>
                    <a:lnTo>
                      <a:pt x="3769" y="992"/>
                    </a:lnTo>
                    <a:lnTo>
                      <a:pt x="3769" y="994"/>
                    </a:lnTo>
                    <a:lnTo>
                      <a:pt x="3769" y="1181"/>
                    </a:lnTo>
                    <a:lnTo>
                      <a:pt x="3772" y="1181"/>
                    </a:lnTo>
                    <a:lnTo>
                      <a:pt x="3772" y="992"/>
                    </a:lnTo>
                    <a:close/>
                    <a:moveTo>
                      <a:pt x="5952" y="990"/>
                    </a:moveTo>
                    <a:lnTo>
                      <a:pt x="5949" y="990"/>
                    </a:lnTo>
                    <a:lnTo>
                      <a:pt x="5949" y="990"/>
                    </a:lnTo>
                    <a:lnTo>
                      <a:pt x="5949" y="1023"/>
                    </a:lnTo>
                    <a:lnTo>
                      <a:pt x="5949" y="1023"/>
                    </a:lnTo>
                    <a:lnTo>
                      <a:pt x="5949" y="1023"/>
                    </a:lnTo>
                    <a:lnTo>
                      <a:pt x="5952" y="1023"/>
                    </a:lnTo>
                    <a:lnTo>
                      <a:pt x="5952" y="990"/>
                    </a:lnTo>
                    <a:close/>
                    <a:moveTo>
                      <a:pt x="6342" y="935"/>
                    </a:moveTo>
                    <a:lnTo>
                      <a:pt x="6342" y="935"/>
                    </a:lnTo>
                    <a:lnTo>
                      <a:pt x="6340" y="935"/>
                    </a:lnTo>
                    <a:lnTo>
                      <a:pt x="6340" y="937"/>
                    </a:lnTo>
                    <a:lnTo>
                      <a:pt x="6340" y="1110"/>
                    </a:lnTo>
                    <a:lnTo>
                      <a:pt x="6342" y="1110"/>
                    </a:lnTo>
                    <a:lnTo>
                      <a:pt x="6342" y="1108"/>
                    </a:lnTo>
                    <a:lnTo>
                      <a:pt x="6342" y="1108"/>
                    </a:lnTo>
                    <a:lnTo>
                      <a:pt x="6342" y="935"/>
                    </a:lnTo>
                    <a:close/>
                    <a:moveTo>
                      <a:pt x="3847" y="928"/>
                    </a:moveTo>
                    <a:lnTo>
                      <a:pt x="3845" y="928"/>
                    </a:lnTo>
                    <a:lnTo>
                      <a:pt x="3845" y="928"/>
                    </a:lnTo>
                    <a:lnTo>
                      <a:pt x="3845" y="952"/>
                    </a:lnTo>
                    <a:lnTo>
                      <a:pt x="3847" y="952"/>
                    </a:lnTo>
                    <a:lnTo>
                      <a:pt x="3847" y="928"/>
                    </a:lnTo>
                    <a:close/>
                    <a:moveTo>
                      <a:pt x="6387" y="892"/>
                    </a:moveTo>
                    <a:lnTo>
                      <a:pt x="6387" y="892"/>
                    </a:lnTo>
                    <a:lnTo>
                      <a:pt x="6384" y="892"/>
                    </a:lnTo>
                    <a:lnTo>
                      <a:pt x="6384" y="892"/>
                    </a:lnTo>
                    <a:lnTo>
                      <a:pt x="6387" y="892"/>
                    </a:lnTo>
                    <a:lnTo>
                      <a:pt x="6387" y="892"/>
                    </a:lnTo>
                    <a:close/>
                    <a:moveTo>
                      <a:pt x="6392" y="878"/>
                    </a:moveTo>
                    <a:lnTo>
                      <a:pt x="6389" y="878"/>
                    </a:lnTo>
                    <a:lnTo>
                      <a:pt x="6389" y="878"/>
                    </a:lnTo>
                    <a:lnTo>
                      <a:pt x="6389" y="878"/>
                    </a:lnTo>
                    <a:lnTo>
                      <a:pt x="6389" y="890"/>
                    </a:lnTo>
                    <a:lnTo>
                      <a:pt x="6389" y="890"/>
                    </a:lnTo>
                    <a:lnTo>
                      <a:pt x="6392" y="888"/>
                    </a:lnTo>
                    <a:lnTo>
                      <a:pt x="6392" y="888"/>
                    </a:lnTo>
                    <a:lnTo>
                      <a:pt x="6392" y="878"/>
                    </a:lnTo>
                    <a:close/>
                    <a:moveTo>
                      <a:pt x="6399" y="850"/>
                    </a:moveTo>
                    <a:lnTo>
                      <a:pt x="6396" y="850"/>
                    </a:lnTo>
                    <a:lnTo>
                      <a:pt x="6396" y="850"/>
                    </a:lnTo>
                    <a:lnTo>
                      <a:pt x="6396" y="869"/>
                    </a:lnTo>
                    <a:lnTo>
                      <a:pt x="6399" y="869"/>
                    </a:lnTo>
                    <a:lnTo>
                      <a:pt x="6399" y="869"/>
                    </a:lnTo>
                    <a:lnTo>
                      <a:pt x="6399" y="869"/>
                    </a:lnTo>
                    <a:lnTo>
                      <a:pt x="6399" y="850"/>
                    </a:lnTo>
                    <a:close/>
                    <a:moveTo>
                      <a:pt x="3103" y="762"/>
                    </a:moveTo>
                    <a:lnTo>
                      <a:pt x="3100" y="762"/>
                    </a:lnTo>
                    <a:lnTo>
                      <a:pt x="3100" y="762"/>
                    </a:lnTo>
                    <a:lnTo>
                      <a:pt x="3100" y="762"/>
                    </a:lnTo>
                    <a:lnTo>
                      <a:pt x="3100" y="937"/>
                    </a:lnTo>
                    <a:lnTo>
                      <a:pt x="3103" y="937"/>
                    </a:lnTo>
                    <a:lnTo>
                      <a:pt x="3103" y="762"/>
                    </a:lnTo>
                    <a:close/>
                    <a:moveTo>
                      <a:pt x="1010" y="753"/>
                    </a:moveTo>
                    <a:lnTo>
                      <a:pt x="1008" y="753"/>
                    </a:lnTo>
                    <a:lnTo>
                      <a:pt x="1008" y="753"/>
                    </a:lnTo>
                    <a:lnTo>
                      <a:pt x="1008" y="786"/>
                    </a:lnTo>
                    <a:lnTo>
                      <a:pt x="1010" y="786"/>
                    </a:lnTo>
                    <a:lnTo>
                      <a:pt x="1010" y="753"/>
                    </a:lnTo>
                    <a:close/>
                    <a:moveTo>
                      <a:pt x="5134" y="731"/>
                    </a:moveTo>
                    <a:lnTo>
                      <a:pt x="5131" y="731"/>
                    </a:lnTo>
                    <a:lnTo>
                      <a:pt x="5131" y="731"/>
                    </a:lnTo>
                    <a:lnTo>
                      <a:pt x="5131" y="930"/>
                    </a:lnTo>
                    <a:lnTo>
                      <a:pt x="5134" y="930"/>
                    </a:lnTo>
                    <a:lnTo>
                      <a:pt x="5134" y="731"/>
                    </a:lnTo>
                    <a:close/>
                    <a:moveTo>
                      <a:pt x="3140" y="656"/>
                    </a:moveTo>
                    <a:lnTo>
                      <a:pt x="3138" y="656"/>
                    </a:lnTo>
                    <a:lnTo>
                      <a:pt x="3138" y="658"/>
                    </a:lnTo>
                    <a:lnTo>
                      <a:pt x="3138" y="724"/>
                    </a:lnTo>
                    <a:lnTo>
                      <a:pt x="3138" y="724"/>
                    </a:lnTo>
                    <a:lnTo>
                      <a:pt x="3138" y="722"/>
                    </a:lnTo>
                    <a:lnTo>
                      <a:pt x="3140" y="722"/>
                    </a:lnTo>
                    <a:lnTo>
                      <a:pt x="3140" y="656"/>
                    </a:lnTo>
                    <a:close/>
                    <a:moveTo>
                      <a:pt x="97" y="615"/>
                    </a:moveTo>
                    <a:lnTo>
                      <a:pt x="97" y="615"/>
                    </a:lnTo>
                    <a:lnTo>
                      <a:pt x="97" y="618"/>
                    </a:lnTo>
                    <a:lnTo>
                      <a:pt x="97" y="1411"/>
                    </a:lnTo>
                    <a:lnTo>
                      <a:pt x="97" y="1411"/>
                    </a:lnTo>
                    <a:lnTo>
                      <a:pt x="97" y="615"/>
                    </a:lnTo>
                    <a:close/>
                    <a:moveTo>
                      <a:pt x="5254" y="608"/>
                    </a:moveTo>
                    <a:lnTo>
                      <a:pt x="5252" y="608"/>
                    </a:lnTo>
                    <a:lnTo>
                      <a:pt x="5252" y="611"/>
                    </a:lnTo>
                    <a:lnTo>
                      <a:pt x="5252" y="689"/>
                    </a:lnTo>
                    <a:lnTo>
                      <a:pt x="5254" y="689"/>
                    </a:lnTo>
                    <a:lnTo>
                      <a:pt x="5254" y="608"/>
                    </a:lnTo>
                    <a:close/>
                    <a:moveTo>
                      <a:pt x="3285" y="580"/>
                    </a:moveTo>
                    <a:lnTo>
                      <a:pt x="3282" y="580"/>
                    </a:lnTo>
                    <a:lnTo>
                      <a:pt x="3282" y="580"/>
                    </a:lnTo>
                    <a:lnTo>
                      <a:pt x="3282" y="582"/>
                    </a:lnTo>
                    <a:lnTo>
                      <a:pt x="3282" y="615"/>
                    </a:lnTo>
                    <a:lnTo>
                      <a:pt x="3285" y="615"/>
                    </a:lnTo>
                    <a:lnTo>
                      <a:pt x="3285" y="580"/>
                    </a:lnTo>
                    <a:close/>
                    <a:moveTo>
                      <a:pt x="303" y="547"/>
                    </a:moveTo>
                    <a:lnTo>
                      <a:pt x="303" y="547"/>
                    </a:lnTo>
                    <a:lnTo>
                      <a:pt x="303" y="547"/>
                    </a:lnTo>
                    <a:lnTo>
                      <a:pt x="303" y="575"/>
                    </a:lnTo>
                    <a:lnTo>
                      <a:pt x="303" y="575"/>
                    </a:lnTo>
                    <a:lnTo>
                      <a:pt x="303" y="547"/>
                    </a:lnTo>
                    <a:close/>
                    <a:moveTo>
                      <a:pt x="7028" y="507"/>
                    </a:moveTo>
                    <a:lnTo>
                      <a:pt x="7025" y="507"/>
                    </a:lnTo>
                    <a:lnTo>
                      <a:pt x="7025" y="509"/>
                    </a:lnTo>
                    <a:lnTo>
                      <a:pt x="7025" y="1650"/>
                    </a:lnTo>
                    <a:lnTo>
                      <a:pt x="7028" y="1650"/>
                    </a:lnTo>
                    <a:lnTo>
                      <a:pt x="7028" y="507"/>
                    </a:lnTo>
                    <a:close/>
                    <a:moveTo>
                      <a:pt x="4195" y="502"/>
                    </a:moveTo>
                    <a:lnTo>
                      <a:pt x="4195" y="502"/>
                    </a:lnTo>
                    <a:lnTo>
                      <a:pt x="4193" y="504"/>
                    </a:lnTo>
                    <a:lnTo>
                      <a:pt x="4159" y="552"/>
                    </a:lnTo>
                    <a:lnTo>
                      <a:pt x="4159" y="552"/>
                    </a:lnTo>
                    <a:lnTo>
                      <a:pt x="4195" y="502"/>
                    </a:lnTo>
                    <a:close/>
                    <a:moveTo>
                      <a:pt x="3301" y="499"/>
                    </a:moveTo>
                    <a:lnTo>
                      <a:pt x="3301" y="499"/>
                    </a:lnTo>
                    <a:lnTo>
                      <a:pt x="3299" y="499"/>
                    </a:lnTo>
                    <a:lnTo>
                      <a:pt x="3299" y="502"/>
                    </a:lnTo>
                    <a:lnTo>
                      <a:pt x="3299" y="563"/>
                    </a:lnTo>
                    <a:lnTo>
                      <a:pt x="3301" y="563"/>
                    </a:lnTo>
                    <a:lnTo>
                      <a:pt x="3301" y="561"/>
                    </a:lnTo>
                    <a:lnTo>
                      <a:pt x="3301" y="561"/>
                    </a:lnTo>
                    <a:lnTo>
                      <a:pt x="3301" y="499"/>
                    </a:lnTo>
                    <a:close/>
                    <a:moveTo>
                      <a:pt x="4039" y="452"/>
                    </a:moveTo>
                    <a:lnTo>
                      <a:pt x="4036" y="452"/>
                    </a:lnTo>
                    <a:lnTo>
                      <a:pt x="4036" y="452"/>
                    </a:lnTo>
                    <a:lnTo>
                      <a:pt x="4036" y="454"/>
                    </a:lnTo>
                    <a:lnTo>
                      <a:pt x="4036" y="490"/>
                    </a:lnTo>
                    <a:lnTo>
                      <a:pt x="3954" y="642"/>
                    </a:lnTo>
                    <a:lnTo>
                      <a:pt x="3954" y="885"/>
                    </a:lnTo>
                    <a:lnTo>
                      <a:pt x="3956" y="885"/>
                    </a:lnTo>
                    <a:lnTo>
                      <a:pt x="3956" y="642"/>
                    </a:lnTo>
                    <a:lnTo>
                      <a:pt x="4039" y="488"/>
                    </a:lnTo>
                    <a:lnTo>
                      <a:pt x="4039" y="452"/>
                    </a:lnTo>
                    <a:close/>
                    <a:moveTo>
                      <a:pt x="3330" y="433"/>
                    </a:moveTo>
                    <a:lnTo>
                      <a:pt x="3330" y="433"/>
                    </a:lnTo>
                    <a:lnTo>
                      <a:pt x="3330" y="436"/>
                    </a:lnTo>
                    <a:lnTo>
                      <a:pt x="3330" y="471"/>
                    </a:lnTo>
                    <a:lnTo>
                      <a:pt x="3330" y="471"/>
                    </a:lnTo>
                    <a:lnTo>
                      <a:pt x="3330" y="471"/>
                    </a:lnTo>
                    <a:lnTo>
                      <a:pt x="3330" y="471"/>
                    </a:lnTo>
                    <a:lnTo>
                      <a:pt x="3330" y="433"/>
                    </a:lnTo>
                    <a:close/>
                    <a:moveTo>
                      <a:pt x="4044" y="391"/>
                    </a:moveTo>
                    <a:lnTo>
                      <a:pt x="4044" y="391"/>
                    </a:lnTo>
                    <a:lnTo>
                      <a:pt x="4041" y="391"/>
                    </a:lnTo>
                    <a:lnTo>
                      <a:pt x="4041" y="391"/>
                    </a:lnTo>
                    <a:lnTo>
                      <a:pt x="4041" y="447"/>
                    </a:lnTo>
                    <a:lnTo>
                      <a:pt x="4044" y="447"/>
                    </a:lnTo>
                    <a:lnTo>
                      <a:pt x="4044" y="445"/>
                    </a:lnTo>
                    <a:lnTo>
                      <a:pt x="4044" y="445"/>
                    </a:lnTo>
                    <a:lnTo>
                      <a:pt x="4044" y="391"/>
                    </a:lnTo>
                    <a:close/>
                    <a:moveTo>
                      <a:pt x="1811" y="367"/>
                    </a:moveTo>
                    <a:lnTo>
                      <a:pt x="1809" y="367"/>
                    </a:lnTo>
                    <a:lnTo>
                      <a:pt x="1809" y="369"/>
                    </a:lnTo>
                    <a:lnTo>
                      <a:pt x="1809" y="1089"/>
                    </a:lnTo>
                    <a:lnTo>
                      <a:pt x="1811" y="1089"/>
                    </a:lnTo>
                    <a:lnTo>
                      <a:pt x="1811" y="367"/>
                    </a:lnTo>
                    <a:close/>
                    <a:moveTo>
                      <a:pt x="4051" y="327"/>
                    </a:moveTo>
                    <a:lnTo>
                      <a:pt x="4051" y="327"/>
                    </a:lnTo>
                    <a:lnTo>
                      <a:pt x="4051" y="329"/>
                    </a:lnTo>
                    <a:lnTo>
                      <a:pt x="4051" y="381"/>
                    </a:lnTo>
                    <a:lnTo>
                      <a:pt x="4051" y="381"/>
                    </a:lnTo>
                    <a:lnTo>
                      <a:pt x="4051" y="381"/>
                    </a:lnTo>
                    <a:lnTo>
                      <a:pt x="4051" y="381"/>
                    </a:lnTo>
                    <a:lnTo>
                      <a:pt x="4051" y="327"/>
                    </a:lnTo>
                    <a:close/>
                    <a:moveTo>
                      <a:pt x="4706" y="230"/>
                    </a:moveTo>
                    <a:lnTo>
                      <a:pt x="4703" y="230"/>
                    </a:lnTo>
                    <a:lnTo>
                      <a:pt x="4703" y="232"/>
                    </a:lnTo>
                    <a:lnTo>
                      <a:pt x="4642" y="454"/>
                    </a:lnTo>
                    <a:lnTo>
                      <a:pt x="4644" y="452"/>
                    </a:lnTo>
                    <a:lnTo>
                      <a:pt x="4706" y="230"/>
                    </a:lnTo>
                    <a:close/>
                    <a:moveTo>
                      <a:pt x="4805" y="170"/>
                    </a:moveTo>
                    <a:lnTo>
                      <a:pt x="4805" y="170"/>
                    </a:lnTo>
                    <a:lnTo>
                      <a:pt x="4803" y="170"/>
                    </a:lnTo>
                    <a:lnTo>
                      <a:pt x="4803" y="173"/>
                    </a:lnTo>
                    <a:lnTo>
                      <a:pt x="4803" y="189"/>
                    </a:lnTo>
                    <a:lnTo>
                      <a:pt x="4805" y="189"/>
                    </a:lnTo>
                    <a:lnTo>
                      <a:pt x="4805" y="170"/>
                    </a:lnTo>
                    <a:close/>
                    <a:moveTo>
                      <a:pt x="4855" y="0"/>
                    </a:moveTo>
                    <a:lnTo>
                      <a:pt x="4852" y="0"/>
                    </a:lnTo>
                    <a:lnTo>
                      <a:pt x="4852" y="0"/>
                    </a:lnTo>
                    <a:lnTo>
                      <a:pt x="4852" y="130"/>
                    </a:lnTo>
                    <a:lnTo>
                      <a:pt x="4855" y="130"/>
                    </a:lnTo>
                    <a:lnTo>
                      <a:pt x="4855" y="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79" name="Freeform 101"/>
              <p:cNvSpPr>
                <a:spLocks noEditPoints="1"/>
              </p:cNvSpPr>
              <p:nvPr/>
            </p:nvSpPr>
            <p:spPr bwMode="auto">
              <a:xfrm>
                <a:off x="4" y="1703"/>
                <a:ext cx="7028" cy="1650"/>
              </a:xfrm>
              <a:custGeom>
                <a:avLst/>
                <a:gdLst>
                  <a:gd name="T0" fmla="*/ 3 w 7028"/>
                  <a:gd name="T1" fmla="*/ 1491 h 1650"/>
                  <a:gd name="T2" fmla="*/ 5666 w 7028"/>
                  <a:gd name="T3" fmla="*/ 1406 h 1650"/>
                  <a:gd name="T4" fmla="*/ 3710 w 7028"/>
                  <a:gd name="T5" fmla="*/ 1224 h 1650"/>
                  <a:gd name="T6" fmla="*/ 5831 w 7028"/>
                  <a:gd name="T7" fmla="*/ 1207 h 1650"/>
                  <a:gd name="T8" fmla="*/ 5834 w 7028"/>
                  <a:gd name="T9" fmla="*/ 1207 h 1650"/>
                  <a:gd name="T10" fmla="*/ 1667 w 7028"/>
                  <a:gd name="T11" fmla="*/ 1158 h 1650"/>
                  <a:gd name="T12" fmla="*/ 1689 w 7028"/>
                  <a:gd name="T13" fmla="*/ 1134 h 1650"/>
                  <a:gd name="T14" fmla="*/ 5857 w 7028"/>
                  <a:gd name="T15" fmla="*/ 1127 h 1650"/>
                  <a:gd name="T16" fmla="*/ 5857 w 7028"/>
                  <a:gd name="T17" fmla="*/ 1181 h 1650"/>
                  <a:gd name="T18" fmla="*/ 6323 w 7028"/>
                  <a:gd name="T19" fmla="*/ 1127 h 1650"/>
                  <a:gd name="T20" fmla="*/ 1447 w 7028"/>
                  <a:gd name="T21" fmla="*/ 1125 h 1650"/>
                  <a:gd name="T22" fmla="*/ 1447 w 7028"/>
                  <a:gd name="T23" fmla="*/ 1158 h 1650"/>
                  <a:gd name="T24" fmla="*/ 1464 w 7028"/>
                  <a:gd name="T25" fmla="*/ 1108 h 1650"/>
                  <a:gd name="T26" fmla="*/ 2861 w 7028"/>
                  <a:gd name="T27" fmla="*/ 1061 h 1650"/>
                  <a:gd name="T28" fmla="*/ 2861 w 7028"/>
                  <a:gd name="T29" fmla="*/ 1198 h 1650"/>
                  <a:gd name="T30" fmla="*/ 5930 w 7028"/>
                  <a:gd name="T31" fmla="*/ 1042 h 1650"/>
                  <a:gd name="T32" fmla="*/ 2878 w 7028"/>
                  <a:gd name="T33" fmla="*/ 1011 h 1650"/>
                  <a:gd name="T34" fmla="*/ 2878 w 7028"/>
                  <a:gd name="T35" fmla="*/ 1044 h 1650"/>
                  <a:gd name="T36" fmla="*/ 3769 w 7028"/>
                  <a:gd name="T37" fmla="*/ 1181 h 1650"/>
                  <a:gd name="T38" fmla="*/ 5949 w 7028"/>
                  <a:gd name="T39" fmla="*/ 990 h 1650"/>
                  <a:gd name="T40" fmla="*/ 5952 w 7028"/>
                  <a:gd name="T41" fmla="*/ 990 h 1650"/>
                  <a:gd name="T42" fmla="*/ 6340 w 7028"/>
                  <a:gd name="T43" fmla="*/ 1110 h 1650"/>
                  <a:gd name="T44" fmla="*/ 3847 w 7028"/>
                  <a:gd name="T45" fmla="*/ 928 h 1650"/>
                  <a:gd name="T46" fmla="*/ 3847 w 7028"/>
                  <a:gd name="T47" fmla="*/ 928 h 1650"/>
                  <a:gd name="T48" fmla="*/ 6387 w 7028"/>
                  <a:gd name="T49" fmla="*/ 892 h 1650"/>
                  <a:gd name="T50" fmla="*/ 6389 w 7028"/>
                  <a:gd name="T51" fmla="*/ 878 h 1650"/>
                  <a:gd name="T52" fmla="*/ 6392 w 7028"/>
                  <a:gd name="T53" fmla="*/ 878 h 1650"/>
                  <a:gd name="T54" fmla="*/ 6399 w 7028"/>
                  <a:gd name="T55" fmla="*/ 869 h 1650"/>
                  <a:gd name="T56" fmla="*/ 3100 w 7028"/>
                  <a:gd name="T57" fmla="*/ 762 h 1650"/>
                  <a:gd name="T58" fmla="*/ 3103 w 7028"/>
                  <a:gd name="T59" fmla="*/ 762 h 1650"/>
                  <a:gd name="T60" fmla="*/ 1010 w 7028"/>
                  <a:gd name="T61" fmla="*/ 786 h 1650"/>
                  <a:gd name="T62" fmla="*/ 5131 w 7028"/>
                  <a:gd name="T63" fmla="*/ 930 h 1650"/>
                  <a:gd name="T64" fmla="*/ 3138 w 7028"/>
                  <a:gd name="T65" fmla="*/ 658 h 1650"/>
                  <a:gd name="T66" fmla="*/ 3140 w 7028"/>
                  <a:gd name="T67" fmla="*/ 656 h 1650"/>
                  <a:gd name="T68" fmla="*/ 97 w 7028"/>
                  <a:gd name="T69" fmla="*/ 1411 h 1650"/>
                  <a:gd name="T70" fmla="*/ 5252 w 7028"/>
                  <a:gd name="T71" fmla="*/ 689 h 1650"/>
                  <a:gd name="T72" fmla="*/ 3282 w 7028"/>
                  <a:gd name="T73" fmla="*/ 580 h 1650"/>
                  <a:gd name="T74" fmla="*/ 303 w 7028"/>
                  <a:gd name="T75" fmla="*/ 547 h 1650"/>
                  <a:gd name="T76" fmla="*/ 303 w 7028"/>
                  <a:gd name="T77" fmla="*/ 547 h 1650"/>
                  <a:gd name="T78" fmla="*/ 7028 w 7028"/>
                  <a:gd name="T79" fmla="*/ 1650 h 1650"/>
                  <a:gd name="T80" fmla="*/ 4159 w 7028"/>
                  <a:gd name="T81" fmla="*/ 552 h 1650"/>
                  <a:gd name="T82" fmla="*/ 3299 w 7028"/>
                  <a:gd name="T83" fmla="*/ 499 h 1650"/>
                  <a:gd name="T84" fmla="*/ 3301 w 7028"/>
                  <a:gd name="T85" fmla="*/ 561 h 1650"/>
                  <a:gd name="T86" fmla="*/ 4036 w 7028"/>
                  <a:gd name="T87" fmla="*/ 454 h 1650"/>
                  <a:gd name="T88" fmla="*/ 3956 w 7028"/>
                  <a:gd name="T89" fmla="*/ 642 h 1650"/>
                  <a:gd name="T90" fmla="*/ 3330 w 7028"/>
                  <a:gd name="T91" fmla="*/ 436 h 1650"/>
                  <a:gd name="T92" fmla="*/ 3330 w 7028"/>
                  <a:gd name="T93" fmla="*/ 433 h 1650"/>
                  <a:gd name="T94" fmla="*/ 4041 w 7028"/>
                  <a:gd name="T95" fmla="*/ 447 h 1650"/>
                  <a:gd name="T96" fmla="*/ 1811 w 7028"/>
                  <a:gd name="T97" fmla="*/ 367 h 1650"/>
                  <a:gd name="T98" fmla="*/ 1811 w 7028"/>
                  <a:gd name="T99" fmla="*/ 367 h 1650"/>
                  <a:gd name="T100" fmla="*/ 4051 w 7028"/>
                  <a:gd name="T101" fmla="*/ 381 h 1650"/>
                  <a:gd name="T102" fmla="*/ 4703 w 7028"/>
                  <a:gd name="T103" fmla="*/ 230 h 1650"/>
                  <a:gd name="T104" fmla="*/ 4805 w 7028"/>
                  <a:gd name="T105" fmla="*/ 170 h 1650"/>
                  <a:gd name="T106" fmla="*/ 4805 w 7028"/>
                  <a:gd name="T107" fmla="*/ 189 h 1650"/>
                  <a:gd name="T108" fmla="*/ 4852 w 7028"/>
                  <a:gd name="T109" fmla="*/ 13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8" h="1650">
                    <a:moveTo>
                      <a:pt x="3" y="1451"/>
                    </a:moveTo>
                    <a:lnTo>
                      <a:pt x="0" y="1451"/>
                    </a:lnTo>
                    <a:lnTo>
                      <a:pt x="0" y="1454"/>
                    </a:lnTo>
                    <a:lnTo>
                      <a:pt x="0" y="1491"/>
                    </a:lnTo>
                    <a:lnTo>
                      <a:pt x="3" y="1491"/>
                    </a:lnTo>
                    <a:lnTo>
                      <a:pt x="3" y="1451"/>
                    </a:lnTo>
                    <a:moveTo>
                      <a:pt x="5668" y="1326"/>
                    </a:moveTo>
                    <a:lnTo>
                      <a:pt x="5666" y="1326"/>
                    </a:lnTo>
                    <a:lnTo>
                      <a:pt x="5666" y="1326"/>
                    </a:lnTo>
                    <a:lnTo>
                      <a:pt x="5666" y="1406"/>
                    </a:lnTo>
                    <a:lnTo>
                      <a:pt x="5668" y="1406"/>
                    </a:lnTo>
                    <a:lnTo>
                      <a:pt x="5668" y="1326"/>
                    </a:lnTo>
                    <a:moveTo>
                      <a:pt x="3713" y="1222"/>
                    </a:moveTo>
                    <a:lnTo>
                      <a:pt x="3710" y="1222"/>
                    </a:lnTo>
                    <a:lnTo>
                      <a:pt x="3710" y="1224"/>
                    </a:lnTo>
                    <a:lnTo>
                      <a:pt x="3710" y="1274"/>
                    </a:lnTo>
                    <a:lnTo>
                      <a:pt x="3713" y="1274"/>
                    </a:lnTo>
                    <a:lnTo>
                      <a:pt x="3713" y="1222"/>
                    </a:lnTo>
                    <a:moveTo>
                      <a:pt x="5834" y="1207"/>
                    </a:moveTo>
                    <a:lnTo>
                      <a:pt x="5831" y="1207"/>
                    </a:lnTo>
                    <a:lnTo>
                      <a:pt x="5831" y="1207"/>
                    </a:lnTo>
                    <a:lnTo>
                      <a:pt x="5831" y="1210"/>
                    </a:lnTo>
                    <a:lnTo>
                      <a:pt x="5831" y="1283"/>
                    </a:lnTo>
                    <a:lnTo>
                      <a:pt x="5834" y="1283"/>
                    </a:lnTo>
                    <a:lnTo>
                      <a:pt x="5834" y="1207"/>
                    </a:lnTo>
                    <a:moveTo>
                      <a:pt x="1667" y="1155"/>
                    </a:moveTo>
                    <a:lnTo>
                      <a:pt x="1667" y="1155"/>
                    </a:lnTo>
                    <a:lnTo>
                      <a:pt x="1665" y="1155"/>
                    </a:lnTo>
                    <a:lnTo>
                      <a:pt x="1665" y="1158"/>
                    </a:lnTo>
                    <a:lnTo>
                      <a:pt x="1667" y="1158"/>
                    </a:lnTo>
                    <a:lnTo>
                      <a:pt x="1667" y="1155"/>
                    </a:lnTo>
                    <a:moveTo>
                      <a:pt x="1691" y="1132"/>
                    </a:moveTo>
                    <a:lnTo>
                      <a:pt x="1689" y="1132"/>
                    </a:lnTo>
                    <a:lnTo>
                      <a:pt x="1689" y="1132"/>
                    </a:lnTo>
                    <a:lnTo>
                      <a:pt x="1689" y="1134"/>
                    </a:lnTo>
                    <a:lnTo>
                      <a:pt x="1689" y="1134"/>
                    </a:lnTo>
                    <a:lnTo>
                      <a:pt x="1689" y="1132"/>
                    </a:lnTo>
                    <a:lnTo>
                      <a:pt x="1691" y="1132"/>
                    </a:lnTo>
                    <a:lnTo>
                      <a:pt x="1691" y="1132"/>
                    </a:lnTo>
                    <a:moveTo>
                      <a:pt x="5857" y="1127"/>
                    </a:moveTo>
                    <a:lnTo>
                      <a:pt x="5855" y="1127"/>
                    </a:lnTo>
                    <a:lnTo>
                      <a:pt x="5855" y="1129"/>
                    </a:lnTo>
                    <a:lnTo>
                      <a:pt x="5855" y="1184"/>
                    </a:lnTo>
                    <a:lnTo>
                      <a:pt x="5857" y="1184"/>
                    </a:lnTo>
                    <a:lnTo>
                      <a:pt x="5857" y="1181"/>
                    </a:lnTo>
                    <a:lnTo>
                      <a:pt x="5857" y="1181"/>
                    </a:lnTo>
                    <a:lnTo>
                      <a:pt x="5857" y="1127"/>
                    </a:lnTo>
                    <a:moveTo>
                      <a:pt x="6325" y="1127"/>
                    </a:moveTo>
                    <a:lnTo>
                      <a:pt x="6323" y="1127"/>
                    </a:lnTo>
                    <a:lnTo>
                      <a:pt x="6323" y="1127"/>
                    </a:lnTo>
                    <a:lnTo>
                      <a:pt x="6323" y="1129"/>
                    </a:lnTo>
                    <a:lnTo>
                      <a:pt x="6323" y="1167"/>
                    </a:lnTo>
                    <a:lnTo>
                      <a:pt x="6325" y="1167"/>
                    </a:lnTo>
                    <a:lnTo>
                      <a:pt x="6325" y="1127"/>
                    </a:lnTo>
                    <a:moveTo>
                      <a:pt x="1447" y="1125"/>
                    </a:moveTo>
                    <a:lnTo>
                      <a:pt x="1447" y="1125"/>
                    </a:lnTo>
                    <a:lnTo>
                      <a:pt x="1447" y="1125"/>
                    </a:lnTo>
                    <a:lnTo>
                      <a:pt x="1447" y="1127"/>
                    </a:lnTo>
                    <a:lnTo>
                      <a:pt x="1447" y="1158"/>
                    </a:lnTo>
                    <a:lnTo>
                      <a:pt x="1447" y="1158"/>
                    </a:lnTo>
                    <a:lnTo>
                      <a:pt x="1447" y="1125"/>
                    </a:lnTo>
                    <a:moveTo>
                      <a:pt x="1466" y="1082"/>
                    </a:moveTo>
                    <a:lnTo>
                      <a:pt x="1464" y="1082"/>
                    </a:lnTo>
                    <a:lnTo>
                      <a:pt x="1464" y="1084"/>
                    </a:lnTo>
                    <a:lnTo>
                      <a:pt x="1464" y="1108"/>
                    </a:lnTo>
                    <a:lnTo>
                      <a:pt x="1464" y="1108"/>
                    </a:lnTo>
                    <a:lnTo>
                      <a:pt x="1464" y="1106"/>
                    </a:lnTo>
                    <a:lnTo>
                      <a:pt x="1466" y="1106"/>
                    </a:lnTo>
                    <a:lnTo>
                      <a:pt x="1466" y="1082"/>
                    </a:lnTo>
                    <a:moveTo>
                      <a:pt x="2861" y="1061"/>
                    </a:moveTo>
                    <a:lnTo>
                      <a:pt x="2861" y="1061"/>
                    </a:lnTo>
                    <a:lnTo>
                      <a:pt x="2859" y="1061"/>
                    </a:lnTo>
                    <a:lnTo>
                      <a:pt x="2859" y="1063"/>
                    </a:lnTo>
                    <a:lnTo>
                      <a:pt x="2859" y="1198"/>
                    </a:lnTo>
                    <a:lnTo>
                      <a:pt x="2861" y="1198"/>
                    </a:lnTo>
                    <a:lnTo>
                      <a:pt x="2861" y="1061"/>
                    </a:lnTo>
                    <a:moveTo>
                      <a:pt x="5933" y="1039"/>
                    </a:moveTo>
                    <a:lnTo>
                      <a:pt x="5933" y="1039"/>
                    </a:lnTo>
                    <a:lnTo>
                      <a:pt x="5930" y="1039"/>
                    </a:lnTo>
                    <a:lnTo>
                      <a:pt x="5930" y="1042"/>
                    </a:lnTo>
                    <a:lnTo>
                      <a:pt x="5930" y="1087"/>
                    </a:lnTo>
                    <a:lnTo>
                      <a:pt x="5933" y="1087"/>
                    </a:lnTo>
                    <a:lnTo>
                      <a:pt x="5933" y="1039"/>
                    </a:lnTo>
                    <a:moveTo>
                      <a:pt x="2878" y="1011"/>
                    </a:moveTo>
                    <a:lnTo>
                      <a:pt x="2878" y="1011"/>
                    </a:lnTo>
                    <a:lnTo>
                      <a:pt x="2878" y="1013"/>
                    </a:lnTo>
                    <a:lnTo>
                      <a:pt x="2878" y="1044"/>
                    </a:lnTo>
                    <a:lnTo>
                      <a:pt x="2878" y="1044"/>
                    </a:lnTo>
                    <a:lnTo>
                      <a:pt x="2878" y="1044"/>
                    </a:lnTo>
                    <a:lnTo>
                      <a:pt x="2878" y="1044"/>
                    </a:lnTo>
                    <a:lnTo>
                      <a:pt x="2878" y="1011"/>
                    </a:lnTo>
                    <a:moveTo>
                      <a:pt x="3772" y="992"/>
                    </a:moveTo>
                    <a:lnTo>
                      <a:pt x="3769" y="992"/>
                    </a:lnTo>
                    <a:lnTo>
                      <a:pt x="3769" y="994"/>
                    </a:lnTo>
                    <a:lnTo>
                      <a:pt x="3769" y="1181"/>
                    </a:lnTo>
                    <a:lnTo>
                      <a:pt x="3772" y="1181"/>
                    </a:lnTo>
                    <a:lnTo>
                      <a:pt x="3772" y="992"/>
                    </a:lnTo>
                    <a:moveTo>
                      <a:pt x="5952" y="990"/>
                    </a:moveTo>
                    <a:lnTo>
                      <a:pt x="5949" y="990"/>
                    </a:lnTo>
                    <a:lnTo>
                      <a:pt x="5949" y="990"/>
                    </a:lnTo>
                    <a:lnTo>
                      <a:pt x="5949" y="1023"/>
                    </a:lnTo>
                    <a:lnTo>
                      <a:pt x="5949" y="1023"/>
                    </a:lnTo>
                    <a:lnTo>
                      <a:pt x="5949" y="1023"/>
                    </a:lnTo>
                    <a:lnTo>
                      <a:pt x="5952" y="1023"/>
                    </a:lnTo>
                    <a:lnTo>
                      <a:pt x="5952" y="990"/>
                    </a:lnTo>
                    <a:moveTo>
                      <a:pt x="6342" y="935"/>
                    </a:moveTo>
                    <a:lnTo>
                      <a:pt x="6342" y="935"/>
                    </a:lnTo>
                    <a:lnTo>
                      <a:pt x="6340" y="935"/>
                    </a:lnTo>
                    <a:lnTo>
                      <a:pt x="6340" y="937"/>
                    </a:lnTo>
                    <a:lnTo>
                      <a:pt x="6340" y="1110"/>
                    </a:lnTo>
                    <a:lnTo>
                      <a:pt x="6342" y="1110"/>
                    </a:lnTo>
                    <a:lnTo>
                      <a:pt x="6342" y="1108"/>
                    </a:lnTo>
                    <a:lnTo>
                      <a:pt x="6342" y="1108"/>
                    </a:lnTo>
                    <a:lnTo>
                      <a:pt x="6342" y="935"/>
                    </a:lnTo>
                    <a:moveTo>
                      <a:pt x="3847" y="928"/>
                    </a:moveTo>
                    <a:lnTo>
                      <a:pt x="3845" y="928"/>
                    </a:lnTo>
                    <a:lnTo>
                      <a:pt x="3845" y="928"/>
                    </a:lnTo>
                    <a:lnTo>
                      <a:pt x="3845" y="952"/>
                    </a:lnTo>
                    <a:lnTo>
                      <a:pt x="3847" y="952"/>
                    </a:lnTo>
                    <a:lnTo>
                      <a:pt x="3847" y="928"/>
                    </a:lnTo>
                    <a:moveTo>
                      <a:pt x="6387" y="892"/>
                    </a:moveTo>
                    <a:lnTo>
                      <a:pt x="6387" y="892"/>
                    </a:lnTo>
                    <a:lnTo>
                      <a:pt x="6384" y="892"/>
                    </a:lnTo>
                    <a:lnTo>
                      <a:pt x="6384" y="892"/>
                    </a:lnTo>
                    <a:lnTo>
                      <a:pt x="6387" y="892"/>
                    </a:lnTo>
                    <a:lnTo>
                      <a:pt x="6387" y="892"/>
                    </a:lnTo>
                    <a:moveTo>
                      <a:pt x="6392" y="878"/>
                    </a:moveTo>
                    <a:lnTo>
                      <a:pt x="6389" y="878"/>
                    </a:lnTo>
                    <a:lnTo>
                      <a:pt x="6389" y="878"/>
                    </a:lnTo>
                    <a:lnTo>
                      <a:pt x="6389" y="878"/>
                    </a:lnTo>
                    <a:lnTo>
                      <a:pt x="6389" y="890"/>
                    </a:lnTo>
                    <a:lnTo>
                      <a:pt x="6389" y="890"/>
                    </a:lnTo>
                    <a:lnTo>
                      <a:pt x="6392" y="888"/>
                    </a:lnTo>
                    <a:lnTo>
                      <a:pt x="6392" y="888"/>
                    </a:lnTo>
                    <a:lnTo>
                      <a:pt x="6392" y="878"/>
                    </a:lnTo>
                    <a:moveTo>
                      <a:pt x="6399" y="850"/>
                    </a:moveTo>
                    <a:lnTo>
                      <a:pt x="6396" y="850"/>
                    </a:lnTo>
                    <a:lnTo>
                      <a:pt x="6396" y="850"/>
                    </a:lnTo>
                    <a:lnTo>
                      <a:pt x="6396" y="869"/>
                    </a:lnTo>
                    <a:lnTo>
                      <a:pt x="6399" y="869"/>
                    </a:lnTo>
                    <a:lnTo>
                      <a:pt x="6399" y="869"/>
                    </a:lnTo>
                    <a:lnTo>
                      <a:pt x="6399" y="869"/>
                    </a:lnTo>
                    <a:lnTo>
                      <a:pt x="6399" y="850"/>
                    </a:lnTo>
                    <a:moveTo>
                      <a:pt x="3103" y="762"/>
                    </a:moveTo>
                    <a:lnTo>
                      <a:pt x="3100" y="762"/>
                    </a:lnTo>
                    <a:lnTo>
                      <a:pt x="3100" y="762"/>
                    </a:lnTo>
                    <a:lnTo>
                      <a:pt x="3100" y="762"/>
                    </a:lnTo>
                    <a:lnTo>
                      <a:pt x="3100" y="937"/>
                    </a:lnTo>
                    <a:lnTo>
                      <a:pt x="3103" y="937"/>
                    </a:lnTo>
                    <a:lnTo>
                      <a:pt x="3103" y="762"/>
                    </a:lnTo>
                    <a:moveTo>
                      <a:pt x="1010" y="753"/>
                    </a:moveTo>
                    <a:lnTo>
                      <a:pt x="1008" y="753"/>
                    </a:lnTo>
                    <a:lnTo>
                      <a:pt x="1008" y="753"/>
                    </a:lnTo>
                    <a:lnTo>
                      <a:pt x="1008" y="786"/>
                    </a:lnTo>
                    <a:lnTo>
                      <a:pt x="1010" y="786"/>
                    </a:lnTo>
                    <a:lnTo>
                      <a:pt x="1010" y="753"/>
                    </a:lnTo>
                    <a:moveTo>
                      <a:pt x="5134" y="731"/>
                    </a:moveTo>
                    <a:lnTo>
                      <a:pt x="5131" y="731"/>
                    </a:lnTo>
                    <a:lnTo>
                      <a:pt x="5131" y="731"/>
                    </a:lnTo>
                    <a:lnTo>
                      <a:pt x="5131" y="930"/>
                    </a:lnTo>
                    <a:lnTo>
                      <a:pt x="5134" y="930"/>
                    </a:lnTo>
                    <a:lnTo>
                      <a:pt x="5134" y="731"/>
                    </a:lnTo>
                    <a:moveTo>
                      <a:pt x="3140" y="656"/>
                    </a:moveTo>
                    <a:lnTo>
                      <a:pt x="3138" y="656"/>
                    </a:lnTo>
                    <a:lnTo>
                      <a:pt x="3138" y="658"/>
                    </a:lnTo>
                    <a:lnTo>
                      <a:pt x="3138" y="724"/>
                    </a:lnTo>
                    <a:lnTo>
                      <a:pt x="3138" y="724"/>
                    </a:lnTo>
                    <a:lnTo>
                      <a:pt x="3138" y="722"/>
                    </a:lnTo>
                    <a:lnTo>
                      <a:pt x="3140" y="722"/>
                    </a:lnTo>
                    <a:lnTo>
                      <a:pt x="3140" y="656"/>
                    </a:lnTo>
                    <a:moveTo>
                      <a:pt x="97" y="615"/>
                    </a:moveTo>
                    <a:lnTo>
                      <a:pt x="97" y="615"/>
                    </a:lnTo>
                    <a:lnTo>
                      <a:pt x="97" y="618"/>
                    </a:lnTo>
                    <a:lnTo>
                      <a:pt x="97" y="1411"/>
                    </a:lnTo>
                    <a:lnTo>
                      <a:pt x="97" y="1411"/>
                    </a:lnTo>
                    <a:lnTo>
                      <a:pt x="97" y="615"/>
                    </a:lnTo>
                    <a:moveTo>
                      <a:pt x="5254" y="608"/>
                    </a:moveTo>
                    <a:lnTo>
                      <a:pt x="5252" y="608"/>
                    </a:lnTo>
                    <a:lnTo>
                      <a:pt x="5252" y="611"/>
                    </a:lnTo>
                    <a:lnTo>
                      <a:pt x="5252" y="689"/>
                    </a:lnTo>
                    <a:lnTo>
                      <a:pt x="5254" y="689"/>
                    </a:lnTo>
                    <a:lnTo>
                      <a:pt x="5254" y="608"/>
                    </a:lnTo>
                    <a:moveTo>
                      <a:pt x="3285" y="580"/>
                    </a:moveTo>
                    <a:lnTo>
                      <a:pt x="3282" y="580"/>
                    </a:lnTo>
                    <a:lnTo>
                      <a:pt x="3282" y="580"/>
                    </a:lnTo>
                    <a:lnTo>
                      <a:pt x="3282" y="582"/>
                    </a:lnTo>
                    <a:lnTo>
                      <a:pt x="3282" y="615"/>
                    </a:lnTo>
                    <a:lnTo>
                      <a:pt x="3285" y="615"/>
                    </a:lnTo>
                    <a:lnTo>
                      <a:pt x="3285" y="580"/>
                    </a:lnTo>
                    <a:moveTo>
                      <a:pt x="303" y="547"/>
                    </a:moveTo>
                    <a:lnTo>
                      <a:pt x="303" y="547"/>
                    </a:lnTo>
                    <a:lnTo>
                      <a:pt x="303" y="547"/>
                    </a:lnTo>
                    <a:lnTo>
                      <a:pt x="303" y="575"/>
                    </a:lnTo>
                    <a:lnTo>
                      <a:pt x="303" y="575"/>
                    </a:lnTo>
                    <a:lnTo>
                      <a:pt x="303" y="547"/>
                    </a:lnTo>
                    <a:moveTo>
                      <a:pt x="7028" y="507"/>
                    </a:moveTo>
                    <a:lnTo>
                      <a:pt x="7025" y="507"/>
                    </a:lnTo>
                    <a:lnTo>
                      <a:pt x="7025" y="509"/>
                    </a:lnTo>
                    <a:lnTo>
                      <a:pt x="7025" y="1650"/>
                    </a:lnTo>
                    <a:lnTo>
                      <a:pt x="7028" y="1650"/>
                    </a:lnTo>
                    <a:lnTo>
                      <a:pt x="7028" y="507"/>
                    </a:lnTo>
                    <a:moveTo>
                      <a:pt x="4195" y="502"/>
                    </a:moveTo>
                    <a:lnTo>
                      <a:pt x="4195" y="502"/>
                    </a:lnTo>
                    <a:lnTo>
                      <a:pt x="4193" y="504"/>
                    </a:lnTo>
                    <a:lnTo>
                      <a:pt x="4159" y="552"/>
                    </a:lnTo>
                    <a:lnTo>
                      <a:pt x="4159" y="552"/>
                    </a:lnTo>
                    <a:lnTo>
                      <a:pt x="4195" y="502"/>
                    </a:lnTo>
                    <a:moveTo>
                      <a:pt x="3301" y="499"/>
                    </a:moveTo>
                    <a:lnTo>
                      <a:pt x="3301" y="499"/>
                    </a:lnTo>
                    <a:lnTo>
                      <a:pt x="3299" y="499"/>
                    </a:lnTo>
                    <a:lnTo>
                      <a:pt x="3299" y="502"/>
                    </a:lnTo>
                    <a:lnTo>
                      <a:pt x="3299" y="563"/>
                    </a:lnTo>
                    <a:lnTo>
                      <a:pt x="3301" y="563"/>
                    </a:lnTo>
                    <a:lnTo>
                      <a:pt x="3301" y="561"/>
                    </a:lnTo>
                    <a:lnTo>
                      <a:pt x="3301" y="561"/>
                    </a:lnTo>
                    <a:lnTo>
                      <a:pt x="3301" y="499"/>
                    </a:lnTo>
                    <a:moveTo>
                      <a:pt x="4039" y="452"/>
                    </a:moveTo>
                    <a:lnTo>
                      <a:pt x="4036" y="452"/>
                    </a:lnTo>
                    <a:lnTo>
                      <a:pt x="4036" y="452"/>
                    </a:lnTo>
                    <a:lnTo>
                      <a:pt x="4036" y="454"/>
                    </a:lnTo>
                    <a:lnTo>
                      <a:pt x="4036" y="490"/>
                    </a:lnTo>
                    <a:lnTo>
                      <a:pt x="3954" y="642"/>
                    </a:lnTo>
                    <a:lnTo>
                      <a:pt x="3954" y="885"/>
                    </a:lnTo>
                    <a:lnTo>
                      <a:pt x="3956" y="885"/>
                    </a:lnTo>
                    <a:lnTo>
                      <a:pt x="3956" y="642"/>
                    </a:lnTo>
                    <a:lnTo>
                      <a:pt x="4039" y="488"/>
                    </a:lnTo>
                    <a:lnTo>
                      <a:pt x="4039" y="452"/>
                    </a:lnTo>
                    <a:moveTo>
                      <a:pt x="3330" y="433"/>
                    </a:moveTo>
                    <a:lnTo>
                      <a:pt x="3330" y="433"/>
                    </a:lnTo>
                    <a:lnTo>
                      <a:pt x="3330" y="436"/>
                    </a:lnTo>
                    <a:lnTo>
                      <a:pt x="3330" y="471"/>
                    </a:lnTo>
                    <a:lnTo>
                      <a:pt x="3330" y="471"/>
                    </a:lnTo>
                    <a:lnTo>
                      <a:pt x="3330" y="471"/>
                    </a:lnTo>
                    <a:lnTo>
                      <a:pt x="3330" y="471"/>
                    </a:lnTo>
                    <a:lnTo>
                      <a:pt x="3330" y="433"/>
                    </a:lnTo>
                    <a:moveTo>
                      <a:pt x="4044" y="391"/>
                    </a:moveTo>
                    <a:lnTo>
                      <a:pt x="4044" y="391"/>
                    </a:lnTo>
                    <a:lnTo>
                      <a:pt x="4041" y="391"/>
                    </a:lnTo>
                    <a:lnTo>
                      <a:pt x="4041" y="391"/>
                    </a:lnTo>
                    <a:lnTo>
                      <a:pt x="4041" y="447"/>
                    </a:lnTo>
                    <a:lnTo>
                      <a:pt x="4044" y="447"/>
                    </a:lnTo>
                    <a:lnTo>
                      <a:pt x="4044" y="445"/>
                    </a:lnTo>
                    <a:lnTo>
                      <a:pt x="4044" y="445"/>
                    </a:lnTo>
                    <a:lnTo>
                      <a:pt x="4044" y="391"/>
                    </a:lnTo>
                    <a:moveTo>
                      <a:pt x="1811" y="367"/>
                    </a:moveTo>
                    <a:lnTo>
                      <a:pt x="1809" y="367"/>
                    </a:lnTo>
                    <a:lnTo>
                      <a:pt x="1809" y="369"/>
                    </a:lnTo>
                    <a:lnTo>
                      <a:pt x="1809" y="1089"/>
                    </a:lnTo>
                    <a:lnTo>
                      <a:pt x="1811" y="1089"/>
                    </a:lnTo>
                    <a:lnTo>
                      <a:pt x="1811" y="367"/>
                    </a:lnTo>
                    <a:moveTo>
                      <a:pt x="4051" y="327"/>
                    </a:moveTo>
                    <a:lnTo>
                      <a:pt x="4051" y="327"/>
                    </a:lnTo>
                    <a:lnTo>
                      <a:pt x="4051" y="329"/>
                    </a:lnTo>
                    <a:lnTo>
                      <a:pt x="4051" y="381"/>
                    </a:lnTo>
                    <a:lnTo>
                      <a:pt x="4051" y="381"/>
                    </a:lnTo>
                    <a:lnTo>
                      <a:pt x="4051" y="381"/>
                    </a:lnTo>
                    <a:lnTo>
                      <a:pt x="4051" y="381"/>
                    </a:lnTo>
                    <a:lnTo>
                      <a:pt x="4051" y="327"/>
                    </a:lnTo>
                    <a:moveTo>
                      <a:pt x="4706" y="230"/>
                    </a:moveTo>
                    <a:lnTo>
                      <a:pt x="4703" y="230"/>
                    </a:lnTo>
                    <a:lnTo>
                      <a:pt x="4703" y="232"/>
                    </a:lnTo>
                    <a:lnTo>
                      <a:pt x="4642" y="454"/>
                    </a:lnTo>
                    <a:lnTo>
                      <a:pt x="4644" y="452"/>
                    </a:lnTo>
                    <a:lnTo>
                      <a:pt x="4706" y="230"/>
                    </a:lnTo>
                    <a:moveTo>
                      <a:pt x="4805" y="170"/>
                    </a:moveTo>
                    <a:lnTo>
                      <a:pt x="4805" y="170"/>
                    </a:lnTo>
                    <a:lnTo>
                      <a:pt x="4803" y="170"/>
                    </a:lnTo>
                    <a:lnTo>
                      <a:pt x="4803" y="173"/>
                    </a:lnTo>
                    <a:lnTo>
                      <a:pt x="4803" y="189"/>
                    </a:lnTo>
                    <a:lnTo>
                      <a:pt x="4805" y="189"/>
                    </a:lnTo>
                    <a:lnTo>
                      <a:pt x="4805" y="170"/>
                    </a:lnTo>
                    <a:moveTo>
                      <a:pt x="4855" y="0"/>
                    </a:moveTo>
                    <a:lnTo>
                      <a:pt x="4852" y="0"/>
                    </a:lnTo>
                    <a:lnTo>
                      <a:pt x="4852" y="0"/>
                    </a:lnTo>
                    <a:lnTo>
                      <a:pt x="4852" y="130"/>
                    </a:lnTo>
                    <a:lnTo>
                      <a:pt x="4855" y="130"/>
                    </a:lnTo>
                    <a:lnTo>
                      <a:pt x="48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0" name="Freeform 102"/>
              <p:cNvSpPr>
                <a:spLocks noEditPoints="1"/>
              </p:cNvSpPr>
              <p:nvPr/>
            </p:nvSpPr>
            <p:spPr bwMode="auto">
              <a:xfrm>
                <a:off x="7" y="1701"/>
                <a:ext cx="7027" cy="1652"/>
              </a:xfrm>
              <a:custGeom>
                <a:avLst/>
                <a:gdLst>
                  <a:gd name="T0" fmla="*/ 2 w 7027"/>
                  <a:gd name="T1" fmla="*/ 1493 h 1652"/>
                  <a:gd name="T2" fmla="*/ 5665 w 7027"/>
                  <a:gd name="T3" fmla="*/ 1408 h 1652"/>
                  <a:gd name="T4" fmla="*/ 3710 w 7027"/>
                  <a:gd name="T5" fmla="*/ 1224 h 1652"/>
                  <a:gd name="T6" fmla="*/ 5831 w 7027"/>
                  <a:gd name="T7" fmla="*/ 1207 h 1652"/>
                  <a:gd name="T8" fmla="*/ 5831 w 7027"/>
                  <a:gd name="T9" fmla="*/ 1207 h 1652"/>
                  <a:gd name="T10" fmla="*/ 1664 w 7027"/>
                  <a:gd name="T11" fmla="*/ 1160 h 1652"/>
                  <a:gd name="T12" fmla="*/ 1688 w 7027"/>
                  <a:gd name="T13" fmla="*/ 1134 h 1652"/>
                  <a:gd name="T14" fmla="*/ 1690 w 7027"/>
                  <a:gd name="T15" fmla="*/ 1131 h 1652"/>
                  <a:gd name="T16" fmla="*/ 5857 w 7027"/>
                  <a:gd name="T17" fmla="*/ 1183 h 1652"/>
                  <a:gd name="T18" fmla="*/ 6322 w 7027"/>
                  <a:gd name="T19" fmla="*/ 1127 h 1652"/>
                  <a:gd name="T20" fmla="*/ 6322 w 7027"/>
                  <a:gd name="T21" fmla="*/ 1127 h 1652"/>
                  <a:gd name="T22" fmla="*/ 1444 w 7027"/>
                  <a:gd name="T23" fmla="*/ 1160 h 1652"/>
                  <a:gd name="T24" fmla="*/ 1463 w 7027"/>
                  <a:gd name="T25" fmla="*/ 1084 h 1652"/>
                  <a:gd name="T26" fmla="*/ 1463 w 7027"/>
                  <a:gd name="T27" fmla="*/ 1084 h 1652"/>
                  <a:gd name="T28" fmla="*/ 2858 w 7027"/>
                  <a:gd name="T29" fmla="*/ 1200 h 1652"/>
                  <a:gd name="T30" fmla="*/ 5930 w 7027"/>
                  <a:gd name="T31" fmla="*/ 1041 h 1652"/>
                  <a:gd name="T32" fmla="*/ 2877 w 7027"/>
                  <a:gd name="T33" fmla="*/ 1010 h 1652"/>
                  <a:gd name="T34" fmla="*/ 2877 w 7027"/>
                  <a:gd name="T35" fmla="*/ 1044 h 1652"/>
                  <a:gd name="T36" fmla="*/ 3769 w 7027"/>
                  <a:gd name="T37" fmla="*/ 994 h 1652"/>
                  <a:gd name="T38" fmla="*/ 5949 w 7027"/>
                  <a:gd name="T39" fmla="*/ 989 h 1652"/>
                  <a:gd name="T40" fmla="*/ 5949 w 7027"/>
                  <a:gd name="T41" fmla="*/ 1022 h 1652"/>
                  <a:gd name="T42" fmla="*/ 6339 w 7027"/>
                  <a:gd name="T43" fmla="*/ 937 h 1652"/>
                  <a:gd name="T44" fmla="*/ 6341 w 7027"/>
                  <a:gd name="T45" fmla="*/ 935 h 1652"/>
                  <a:gd name="T46" fmla="*/ 3847 w 7027"/>
                  <a:gd name="T47" fmla="*/ 954 h 1652"/>
                  <a:gd name="T48" fmla="*/ 6384 w 7027"/>
                  <a:gd name="T49" fmla="*/ 894 h 1652"/>
                  <a:gd name="T50" fmla="*/ 6389 w 7027"/>
                  <a:gd name="T51" fmla="*/ 878 h 1652"/>
                  <a:gd name="T52" fmla="*/ 6389 w 7027"/>
                  <a:gd name="T53" fmla="*/ 887 h 1652"/>
                  <a:gd name="T54" fmla="*/ 6396 w 7027"/>
                  <a:gd name="T55" fmla="*/ 852 h 1652"/>
                  <a:gd name="T56" fmla="*/ 6398 w 7027"/>
                  <a:gd name="T57" fmla="*/ 850 h 1652"/>
                  <a:gd name="T58" fmla="*/ 3100 w 7027"/>
                  <a:gd name="T59" fmla="*/ 939 h 1652"/>
                  <a:gd name="T60" fmla="*/ 1007 w 7027"/>
                  <a:gd name="T61" fmla="*/ 755 h 1652"/>
                  <a:gd name="T62" fmla="*/ 5131 w 7027"/>
                  <a:gd name="T63" fmla="*/ 731 h 1652"/>
                  <a:gd name="T64" fmla="*/ 3140 w 7027"/>
                  <a:gd name="T65" fmla="*/ 655 h 1652"/>
                  <a:gd name="T66" fmla="*/ 3137 w 7027"/>
                  <a:gd name="T67" fmla="*/ 722 h 1652"/>
                  <a:gd name="T68" fmla="*/ 94 w 7027"/>
                  <a:gd name="T69" fmla="*/ 617 h 1652"/>
                  <a:gd name="T70" fmla="*/ 5251 w 7027"/>
                  <a:gd name="T71" fmla="*/ 608 h 1652"/>
                  <a:gd name="T72" fmla="*/ 3284 w 7027"/>
                  <a:gd name="T73" fmla="*/ 582 h 1652"/>
                  <a:gd name="T74" fmla="*/ 3284 w 7027"/>
                  <a:gd name="T75" fmla="*/ 617 h 1652"/>
                  <a:gd name="T76" fmla="*/ 300 w 7027"/>
                  <a:gd name="T77" fmla="*/ 577 h 1652"/>
                  <a:gd name="T78" fmla="*/ 7025 w 7027"/>
                  <a:gd name="T79" fmla="*/ 509 h 1652"/>
                  <a:gd name="T80" fmla="*/ 4194 w 7027"/>
                  <a:gd name="T81" fmla="*/ 501 h 1652"/>
                  <a:gd name="T82" fmla="*/ 3300 w 7027"/>
                  <a:gd name="T83" fmla="*/ 499 h 1652"/>
                  <a:gd name="T84" fmla="*/ 3300 w 7027"/>
                  <a:gd name="T85" fmla="*/ 563 h 1652"/>
                  <a:gd name="T86" fmla="*/ 4036 w 7027"/>
                  <a:gd name="T87" fmla="*/ 454 h 1652"/>
                  <a:gd name="T88" fmla="*/ 3953 w 7027"/>
                  <a:gd name="T89" fmla="*/ 887 h 1652"/>
                  <a:gd name="T90" fmla="*/ 3329 w 7027"/>
                  <a:gd name="T91" fmla="*/ 433 h 1652"/>
                  <a:gd name="T92" fmla="*/ 3329 w 7027"/>
                  <a:gd name="T93" fmla="*/ 471 h 1652"/>
                  <a:gd name="T94" fmla="*/ 4041 w 7027"/>
                  <a:gd name="T95" fmla="*/ 390 h 1652"/>
                  <a:gd name="T96" fmla="*/ 4043 w 7027"/>
                  <a:gd name="T97" fmla="*/ 445 h 1652"/>
                  <a:gd name="T98" fmla="*/ 1808 w 7027"/>
                  <a:gd name="T99" fmla="*/ 1091 h 1652"/>
                  <a:gd name="T100" fmla="*/ 4048 w 7027"/>
                  <a:gd name="T101" fmla="*/ 329 h 1652"/>
                  <a:gd name="T102" fmla="*/ 4050 w 7027"/>
                  <a:gd name="T103" fmla="*/ 326 h 1652"/>
                  <a:gd name="T104" fmla="*/ 2028 w 7027"/>
                  <a:gd name="T105" fmla="*/ 293 h 1652"/>
                  <a:gd name="T106" fmla="*/ 4644 w 7027"/>
                  <a:gd name="T107" fmla="*/ 454 h 1652"/>
                  <a:gd name="T108" fmla="*/ 4802 w 7027"/>
                  <a:gd name="T109" fmla="*/ 172 h 1652"/>
                  <a:gd name="T110" fmla="*/ 4852 w 7027"/>
                  <a:gd name="T111" fmla="*/ 0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52">
                    <a:moveTo>
                      <a:pt x="2" y="1451"/>
                    </a:moveTo>
                    <a:lnTo>
                      <a:pt x="0" y="1451"/>
                    </a:lnTo>
                    <a:lnTo>
                      <a:pt x="0" y="1453"/>
                    </a:lnTo>
                    <a:lnTo>
                      <a:pt x="0" y="1493"/>
                    </a:lnTo>
                    <a:lnTo>
                      <a:pt x="2" y="1493"/>
                    </a:lnTo>
                    <a:lnTo>
                      <a:pt x="2" y="1451"/>
                    </a:lnTo>
                    <a:close/>
                    <a:moveTo>
                      <a:pt x="5667" y="1325"/>
                    </a:moveTo>
                    <a:lnTo>
                      <a:pt x="5665" y="1325"/>
                    </a:lnTo>
                    <a:lnTo>
                      <a:pt x="5665" y="1328"/>
                    </a:lnTo>
                    <a:lnTo>
                      <a:pt x="5665" y="1408"/>
                    </a:lnTo>
                    <a:lnTo>
                      <a:pt x="5667" y="1408"/>
                    </a:lnTo>
                    <a:lnTo>
                      <a:pt x="5667" y="1325"/>
                    </a:lnTo>
                    <a:close/>
                    <a:moveTo>
                      <a:pt x="3712" y="1221"/>
                    </a:moveTo>
                    <a:lnTo>
                      <a:pt x="3710" y="1221"/>
                    </a:lnTo>
                    <a:lnTo>
                      <a:pt x="3710" y="1224"/>
                    </a:lnTo>
                    <a:lnTo>
                      <a:pt x="3710" y="1276"/>
                    </a:lnTo>
                    <a:lnTo>
                      <a:pt x="3712" y="1276"/>
                    </a:lnTo>
                    <a:lnTo>
                      <a:pt x="3712" y="1221"/>
                    </a:lnTo>
                    <a:close/>
                    <a:moveTo>
                      <a:pt x="5831" y="1207"/>
                    </a:moveTo>
                    <a:lnTo>
                      <a:pt x="5831" y="1207"/>
                    </a:lnTo>
                    <a:lnTo>
                      <a:pt x="5831" y="1207"/>
                    </a:lnTo>
                    <a:lnTo>
                      <a:pt x="5831" y="1209"/>
                    </a:lnTo>
                    <a:lnTo>
                      <a:pt x="5831" y="1285"/>
                    </a:lnTo>
                    <a:lnTo>
                      <a:pt x="5831" y="1285"/>
                    </a:lnTo>
                    <a:lnTo>
                      <a:pt x="5831" y="1207"/>
                    </a:lnTo>
                    <a:close/>
                    <a:moveTo>
                      <a:pt x="1667" y="1155"/>
                    </a:moveTo>
                    <a:lnTo>
                      <a:pt x="1664" y="1155"/>
                    </a:lnTo>
                    <a:lnTo>
                      <a:pt x="1664" y="1155"/>
                    </a:lnTo>
                    <a:lnTo>
                      <a:pt x="1664" y="1157"/>
                    </a:lnTo>
                    <a:lnTo>
                      <a:pt x="1664" y="1160"/>
                    </a:lnTo>
                    <a:lnTo>
                      <a:pt x="1667" y="1160"/>
                    </a:lnTo>
                    <a:lnTo>
                      <a:pt x="1667" y="1155"/>
                    </a:lnTo>
                    <a:close/>
                    <a:moveTo>
                      <a:pt x="1690" y="1131"/>
                    </a:moveTo>
                    <a:lnTo>
                      <a:pt x="1688" y="1131"/>
                    </a:lnTo>
                    <a:lnTo>
                      <a:pt x="1688" y="1134"/>
                    </a:lnTo>
                    <a:lnTo>
                      <a:pt x="1688" y="1134"/>
                    </a:lnTo>
                    <a:lnTo>
                      <a:pt x="1688" y="1134"/>
                    </a:lnTo>
                    <a:lnTo>
                      <a:pt x="1688" y="1131"/>
                    </a:lnTo>
                    <a:lnTo>
                      <a:pt x="1690" y="1131"/>
                    </a:lnTo>
                    <a:lnTo>
                      <a:pt x="1690" y="1131"/>
                    </a:lnTo>
                    <a:close/>
                    <a:moveTo>
                      <a:pt x="5857" y="1127"/>
                    </a:moveTo>
                    <a:lnTo>
                      <a:pt x="5854" y="1127"/>
                    </a:lnTo>
                    <a:lnTo>
                      <a:pt x="5854" y="1129"/>
                    </a:lnTo>
                    <a:lnTo>
                      <a:pt x="5854" y="1183"/>
                    </a:lnTo>
                    <a:lnTo>
                      <a:pt x="5857" y="1183"/>
                    </a:lnTo>
                    <a:lnTo>
                      <a:pt x="5857" y="1181"/>
                    </a:lnTo>
                    <a:lnTo>
                      <a:pt x="5857" y="1181"/>
                    </a:lnTo>
                    <a:lnTo>
                      <a:pt x="5857" y="1127"/>
                    </a:lnTo>
                    <a:close/>
                    <a:moveTo>
                      <a:pt x="6322" y="1127"/>
                    </a:moveTo>
                    <a:lnTo>
                      <a:pt x="6322" y="1127"/>
                    </a:lnTo>
                    <a:lnTo>
                      <a:pt x="6322" y="1127"/>
                    </a:lnTo>
                    <a:lnTo>
                      <a:pt x="6322" y="1129"/>
                    </a:lnTo>
                    <a:lnTo>
                      <a:pt x="6322" y="1169"/>
                    </a:lnTo>
                    <a:lnTo>
                      <a:pt x="6322" y="1169"/>
                    </a:lnTo>
                    <a:lnTo>
                      <a:pt x="6322" y="1127"/>
                    </a:lnTo>
                    <a:close/>
                    <a:moveTo>
                      <a:pt x="1447" y="1124"/>
                    </a:moveTo>
                    <a:lnTo>
                      <a:pt x="1447" y="1124"/>
                    </a:lnTo>
                    <a:lnTo>
                      <a:pt x="1444" y="1124"/>
                    </a:lnTo>
                    <a:lnTo>
                      <a:pt x="1444" y="1127"/>
                    </a:lnTo>
                    <a:lnTo>
                      <a:pt x="1444" y="1160"/>
                    </a:lnTo>
                    <a:lnTo>
                      <a:pt x="1447" y="1160"/>
                    </a:lnTo>
                    <a:lnTo>
                      <a:pt x="1447" y="1124"/>
                    </a:lnTo>
                    <a:close/>
                    <a:moveTo>
                      <a:pt x="1463" y="1084"/>
                    </a:moveTo>
                    <a:lnTo>
                      <a:pt x="1463" y="1084"/>
                    </a:lnTo>
                    <a:lnTo>
                      <a:pt x="1463" y="1084"/>
                    </a:lnTo>
                    <a:lnTo>
                      <a:pt x="1463" y="1108"/>
                    </a:lnTo>
                    <a:lnTo>
                      <a:pt x="1463" y="1108"/>
                    </a:lnTo>
                    <a:lnTo>
                      <a:pt x="1463" y="1105"/>
                    </a:lnTo>
                    <a:lnTo>
                      <a:pt x="1463" y="1105"/>
                    </a:lnTo>
                    <a:lnTo>
                      <a:pt x="1463" y="1084"/>
                    </a:lnTo>
                    <a:close/>
                    <a:moveTo>
                      <a:pt x="2861" y="1063"/>
                    </a:moveTo>
                    <a:lnTo>
                      <a:pt x="2858" y="1063"/>
                    </a:lnTo>
                    <a:lnTo>
                      <a:pt x="2858" y="1063"/>
                    </a:lnTo>
                    <a:lnTo>
                      <a:pt x="2858" y="1063"/>
                    </a:lnTo>
                    <a:lnTo>
                      <a:pt x="2858" y="1200"/>
                    </a:lnTo>
                    <a:lnTo>
                      <a:pt x="2861" y="1200"/>
                    </a:lnTo>
                    <a:lnTo>
                      <a:pt x="2861" y="1063"/>
                    </a:lnTo>
                    <a:close/>
                    <a:moveTo>
                      <a:pt x="5932" y="1041"/>
                    </a:moveTo>
                    <a:lnTo>
                      <a:pt x="5932" y="1041"/>
                    </a:lnTo>
                    <a:lnTo>
                      <a:pt x="5930" y="1041"/>
                    </a:lnTo>
                    <a:lnTo>
                      <a:pt x="5930" y="1041"/>
                    </a:lnTo>
                    <a:lnTo>
                      <a:pt x="5930" y="1089"/>
                    </a:lnTo>
                    <a:lnTo>
                      <a:pt x="5932" y="1089"/>
                    </a:lnTo>
                    <a:lnTo>
                      <a:pt x="5932" y="1041"/>
                    </a:lnTo>
                    <a:close/>
                    <a:moveTo>
                      <a:pt x="2877" y="1010"/>
                    </a:moveTo>
                    <a:lnTo>
                      <a:pt x="2875" y="1010"/>
                    </a:lnTo>
                    <a:lnTo>
                      <a:pt x="2875" y="1013"/>
                    </a:lnTo>
                    <a:lnTo>
                      <a:pt x="2875" y="1046"/>
                    </a:lnTo>
                    <a:lnTo>
                      <a:pt x="2877" y="1046"/>
                    </a:lnTo>
                    <a:lnTo>
                      <a:pt x="2877" y="1044"/>
                    </a:lnTo>
                    <a:lnTo>
                      <a:pt x="2877" y="1044"/>
                    </a:lnTo>
                    <a:lnTo>
                      <a:pt x="2877" y="1010"/>
                    </a:lnTo>
                    <a:close/>
                    <a:moveTo>
                      <a:pt x="3771" y="992"/>
                    </a:moveTo>
                    <a:lnTo>
                      <a:pt x="3769" y="992"/>
                    </a:lnTo>
                    <a:lnTo>
                      <a:pt x="3769" y="994"/>
                    </a:lnTo>
                    <a:lnTo>
                      <a:pt x="3769" y="1183"/>
                    </a:lnTo>
                    <a:lnTo>
                      <a:pt x="3771" y="1183"/>
                    </a:lnTo>
                    <a:lnTo>
                      <a:pt x="3771" y="992"/>
                    </a:lnTo>
                    <a:close/>
                    <a:moveTo>
                      <a:pt x="5949" y="989"/>
                    </a:moveTo>
                    <a:lnTo>
                      <a:pt x="5949" y="989"/>
                    </a:lnTo>
                    <a:lnTo>
                      <a:pt x="5949" y="992"/>
                    </a:lnTo>
                    <a:lnTo>
                      <a:pt x="5949" y="1025"/>
                    </a:lnTo>
                    <a:lnTo>
                      <a:pt x="5949" y="1025"/>
                    </a:lnTo>
                    <a:lnTo>
                      <a:pt x="5949" y="1022"/>
                    </a:lnTo>
                    <a:lnTo>
                      <a:pt x="5949" y="1022"/>
                    </a:lnTo>
                    <a:lnTo>
                      <a:pt x="5949" y="989"/>
                    </a:lnTo>
                    <a:close/>
                    <a:moveTo>
                      <a:pt x="6341" y="935"/>
                    </a:moveTo>
                    <a:lnTo>
                      <a:pt x="6339" y="935"/>
                    </a:lnTo>
                    <a:lnTo>
                      <a:pt x="6339" y="935"/>
                    </a:lnTo>
                    <a:lnTo>
                      <a:pt x="6339" y="937"/>
                    </a:lnTo>
                    <a:lnTo>
                      <a:pt x="6339" y="1110"/>
                    </a:lnTo>
                    <a:lnTo>
                      <a:pt x="6339" y="1110"/>
                    </a:lnTo>
                    <a:lnTo>
                      <a:pt x="6339" y="1108"/>
                    </a:lnTo>
                    <a:lnTo>
                      <a:pt x="6341" y="1108"/>
                    </a:lnTo>
                    <a:lnTo>
                      <a:pt x="6341" y="935"/>
                    </a:lnTo>
                    <a:close/>
                    <a:moveTo>
                      <a:pt x="3847" y="928"/>
                    </a:moveTo>
                    <a:lnTo>
                      <a:pt x="3844" y="928"/>
                    </a:lnTo>
                    <a:lnTo>
                      <a:pt x="3844" y="930"/>
                    </a:lnTo>
                    <a:lnTo>
                      <a:pt x="3844" y="954"/>
                    </a:lnTo>
                    <a:lnTo>
                      <a:pt x="3847" y="954"/>
                    </a:lnTo>
                    <a:lnTo>
                      <a:pt x="3847" y="928"/>
                    </a:lnTo>
                    <a:close/>
                    <a:moveTo>
                      <a:pt x="6386" y="894"/>
                    </a:moveTo>
                    <a:lnTo>
                      <a:pt x="6384" y="894"/>
                    </a:lnTo>
                    <a:lnTo>
                      <a:pt x="6384" y="894"/>
                    </a:lnTo>
                    <a:lnTo>
                      <a:pt x="6384" y="894"/>
                    </a:lnTo>
                    <a:lnTo>
                      <a:pt x="6384" y="894"/>
                    </a:lnTo>
                    <a:lnTo>
                      <a:pt x="6384" y="894"/>
                    </a:lnTo>
                    <a:lnTo>
                      <a:pt x="6386" y="894"/>
                    </a:lnTo>
                    <a:close/>
                    <a:moveTo>
                      <a:pt x="6391" y="878"/>
                    </a:moveTo>
                    <a:lnTo>
                      <a:pt x="6389" y="878"/>
                    </a:lnTo>
                    <a:lnTo>
                      <a:pt x="6389" y="878"/>
                    </a:lnTo>
                    <a:lnTo>
                      <a:pt x="6389" y="880"/>
                    </a:lnTo>
                    <a:lnTo>
                      <a:pt x="6389" y="890"/>
                    </a:lnTo>
                    <a:lnTo>
                      <a:pt x="6389" y="890"/>
                    </a:lnTo>
                    <a:lnTo>
                      <a:pt x="6389" y="887"/>
                    </a:lnTo>
                    <a:lnTo>
                      <a:pt x="6391" y="887"/>
                    </a:lnTo>
                    <a:lnTo>
                      <a:pt x="6391" y="878"/>
                    </a:lnTo>
                    <a:close/>
                    <a:moveTo>
                      <a:pt x="6398" y="850"/>
                    </a:moveTo>
                    <a:lnTo>
                      <a:pt x="6396" y="850"/>
                    </a:lnTo>
                    <a:lnTo>
                      <a:pt x="6396" y="852"/>
                    </a:lnTo>
                    <a:lnTo>
                      <a:pt x="6396" y="871"/>
                    </a:lnTo>
                    <a:lnTo>
                      <a:pt x="6398" y="871"/>
                    </a:lnTo>
                    <a:lnTo>
                      <a:pt x="6398" y="868"/>
                    </a:lnTo>
                    <a:lnTo>
                      <a:pt x="6398" y="868"/>
                    </a:lnTo>
                    <a:lnTo>
                      <a:pt x="6398" y="850"/>
                    </a:lnTo>
                    <a:close/>
                    <a:moveTo>
                      <a:pt x="3100" y="762"/>
                    </a:moveTo>
                    <a:lnTo>
                      <a:pt x="3100" y="762"/>
                    </a:lnTo>
                    <a:lnTo>
                      <a:pt x="3100" y="762"/>
                    </a:lnTo>
                    <a:lnTo>
                      <a:pt x="3100" y="764"/>
                    </a:lnTo>
                    <a:lnTo>
                      <a:pt x="3100" y="939"/>
                    </a:lnTo>
                    <a:lnTo>
                      <a:pt x="3100" y="939"/>
                    </a:lnTo>
                    <a:lnTo>
                      <a:pt x="3100" y="762"/>
                    </a:lnTo>
                    <a:close/>
                    <a:moveTo>
                      <a:pt x="1009" y="752"/>
                    </a:moveTo>
                    <a:lnTo>
                      <a:pt x="1007" y="752"/>
                    </a:lnTo>
                    <a:lnTo>
                      <a:pt x="1007" y="755"/>
                    </a:lnTo>
                    <a:lnTo>
                      <a:pt x="1007" y="788"/>
                    </a:lnTo>
                    <a:lnTo>
                      <a:pt x="1009" y="788"/>
                    </a:lnTo>
                    <a:lnTo>
                      <a:pt x="1009" y="752"/>
                    </a:lnTo>
                    <a:close/>
                    <a:moveTo>
                      <a:pt x="5133" y="731"/>
                    </a:moveTo>
                    <a:lnTo>
                      <a:pt x="5131" y="731"/>
                    </a:lnTo>
                    <a:lnTo>
                      <a:pt x="5131" y="733"/>
                    </a:lnTo>
                    <a:lnTo>
                      <a:pt x="5131" y="932"/>
                    </a:lnTo>
                    <a:lnTo>
                      <a:pt x="5133" y="932"/>
                    </a:lnTo>
                    <a:lnTo>
                      <a:pt x="5133" y="731"/>
                    </a:lnTo>
                    <a:close/>
                    <a:moveTo>
                      <a:pt x="3140" y="655"/>
                    </a:moveTo>
                    <a:lnTo>
                      <a:pt x="3137" y="655"/>
                    </a:lnTo>
                    <a:lnTo>
                      <a:pt x="3137" y="658"/>
                    </a:lnTo>
                    <a:lnTo>
                      <a:pt x="3137" y="724"/>
                    </a:lnTo>
                    <a:lnTo>
                      <a:pt x="3137" y="724"/>
                    </a:lnTo>
                    <a:lnTo>
                      <a:pt x="3137" y="722"/>
                    </a:lnTo>
                    <a:lnTo>
                      <a:pt x="3140" y="722"/>
                    </a:lnTo>
                    <a:lnTo>
                      <a:pt x="3140" y="655"/>
                    </a:lnTo>
                    <a:close/>
                    <a:moveTo>
                      <a:pt x="97" y="615"/>
                    </a:moveTo>
                    <a:lnTo>
                      <a:pt x="94" y="615"/>
                    </a:lnTo>
                    <a:lnTo>
                      <a:pt x="94" y="617"/>
                    </a:lnTo>
                    <a:lnTo>
                      <a:pt x="94" y="1413"/>
                    </a:lnTo>
                    <a:lnTo>
                      <a:pt x="97" y="1413"/>
                    </a:lnTo>
                    <a:lnTo>
                      <a:pt x="97" y="615"/>
                    </a:lnTo>
                    <a:close/>
                    <a:moveTo>
                      <a:pt x="5254" y="608"/>
                    </a:moveTo>
                    <a:lnTo>
                      <a:pt x="5251" y="608"/>
                    </a:lnTo>
                    <a:lnTo>
                      <a:pt x="5251" y="610"/>
                    </a:lnTo>
                    <a:lnTo>
                      <a:pt x="5251" y="691"/>
                    </a:lnTo>
                    <a:lnTo>
                      <a:pt x="5254" y="691"/>
                    </a:lnTo>
                    <a:lnTo>
                      <a:pt x="5254" y="608"/>
                    </a:lnTo>
                    <a:close/>
                    <a:moveTo>
                      <a:pt x="3284" y="582"/>
                    </a:moveTo>
                    <a:lnTo>
                      <a:pt x="3282" y="582"/>
                    </a:lnTo>
                    <a:lnTo>
                      <a:pt x="3282" y="582"/>
                    </a:lnTo>
                    <a:lnTo>
                      <a:pt x="3282" y="582"/>
                    </a:lnTo>
                    <a:lnTo>
                      <a:pt x="3282" y="617"/>
                    </a:lnTo>
                    <a:lnTo>
                      <a:pt x="3284" y="617"/>
                    </a:lnTo>
                    <a:lnTo>
                      <a:pt x="3284" y="582"/>
                    </a:lnTo>
                    <a:close/>
                    <a:moveTo>
                      <a:pt x="302" y="546"/>
                    </a:moveTo>
                    <a:lnTo>
                      <a:pt x="300" y="546"/>
                    </a:lnTo>
                    <a:lnTo>
                      <a:pt x="300" y="549"/>
                    </a:lnTo>
                    <a:lnTo>
                      <a:pt x="300" y="577"/>
                    </a:lnTo>
                    <a:lnTo>
                      <a:pt x="302" y="577"/>
                    </a:lnTo>
                    <a:lnTo>
                      <a:pt x="302" y="546"/>
                    </a:lnTo>
                    <a:close/>
                    <a:moveTo>
                      <a:pt x="7027" y="509"/>
                    </a:moveTo>
                    <a:lnTo>
                      <a:pt x="7025" y="509"/>
                    </a:lnTo>
                    <a:lnTo>
                      <a:pt x="7025" y="509"/>
                    </a:lnTo>
                    <a:lnTo>
                      <a:pt x="7025" y="1652"/>
                    </a:lnTo>
                    <a:lnTo>
                      <a:pt x="7027" y="1652"/>
                    </a:lnTo>
                    <a:lnTo>
                      <a:pt x="7027" y="509"/>
                    </a:lnTo>
                    <a:close/>
                    <a:moveTo>
                      <a:pt x="4194" y="501"/>
                    </a:moveTo>
                    <a:lnTo>
                      <a:pt x="4194" y="501"/>
                    </a:lnTo>
                    <a:lnTo>
                      <a:pt x="4192" y="504"/>
                    </a:lnTo>
                    <a:lnTo>
                      <a:pt x="4156" y="554"/>
                    </a:lnTo>
                    <a:lnTo>
                      <a:pt x="4156" y="554"/>
                    </a:lnTo>
                    <a:lnTo>
                      <a:pt x="4194" y="501"/>
                    </a:lnTo>
                    <a:close/>
                    <a:moveTo>
                      <a:pt x="3300" y="499"/>
                    </a:moveTo>
                    <a:lnTo>
                      <a:pt x="3300" y="499"/>
                    </a:lnTo>
                    <a:lnTo>
                      <a:pt x="3298" y="499"/>
                    </a:lnTo>
                    <a:lnTo>
                      <a:pt x="3298" y="501"/>
                    </a:lnTo>
                    <a:lnTo>
                      <a:pt x="3298" y="563"/>
                    </a:lnTo>
                    <a:lnTo>
                      <a:pt x="3300" y="563"/>
                    </a:lnTo>
                    <a:lnTo>
                      <a:pt x="3300" y="563"/>
                    </a:lnTo>
                    <a:lnTo>
                      <a:pt x="3300" y="563"/>
                    </a:lnTo>
                    <a:lnTo>
                      <a:pt x="3300" y="499"/>
                    </a:lnTo>
                    <a:close/>
                    <a:moveTo>
                      <a:pt x="4038" y="454"/>
                    </a:moveTo>
                    <a:lnTo>
                      <a:pt x="4036" y="454"/>
                    </a:lnTo>
                    <a:lnTo>
                      <a:pt x="4036" y="454"/>
                    </a:lnTo>
                    <a:lnTo>
                      <a:pt x="4036" y="454"/>
                    </a:lnTo>
                    <a:lnTo>
                      <a:pt x="4036" y="490"/>
                    </a:lnTo>
                    <a:lnTo>
                      <a:pt x="3953" y="644"/>
                    </a:lnTo>
                    <a:lnTo>
                      <a:pt x="3953" y="887"/>
                    </a:lnTo>
                    <a:lnTo>
                      <a:pt x="3955" y="887"/>
                    </a:lnTo>
                    <a:lnTo>
                      <a:pt x="3955" y="641"/>
                    </a:lnTo>
                    <a:lnTo>
                      <a:pt x="4038" y="487"/>
                    </a:lnTo>
                    <a:lnTo>
                      <a:pt x="4038" y="454"/>
                    </a:lnTo>
                    <a:close/>
                    <a:moveTo>
                      <a:pt x="3329" y="433"/>
                    </a:moveTo>
                    <a:lnTo>
                      <a:pt x="3327" y="433"/>
                    </a:lnTo>
                    <a:lnTo>
                      <a:pt x="3327" y="435"/>
                    </a:lnTo>
                    <a:lnTo>
                      <a:pt x="3327" y="473"/>
                    </a:lnTo>
                    <a:lnTo>
                      <a:pt x="3329" y="473"/>
                    </a:lnTo>
                    <a:lnTo>
                      <a:pt x="3329" y="471"/>
                    </a:lnTo>
                    <a:lnTo>
                      <a:pt x="3329" y="471"/>
                    </a:lnTo>
                    <a:lnTo>
                      <a:pt x="3329" y="433"/>
                    </a:lnTo>
                    <a:close/>
                    <a:moveTo>
                      <a:pt x="4043" y="390"/>
                    </a:moveTo>
                    <a:lnTo>
                      <a:pt x="4041" y="390"/>
                    </a:lnTo>
                    <a:lnTo>
                      <a:pt x="4041" y="390"/>
                    </a:lnTo>
                    <a:lnTo>
                      <a:pt x="4041" y="393"/>
                    </a:lnTo>
                    <a:lnTo>
                      <a:pt x="4041" y="447"/>
                    </a:lnTo>
                    <a:lnTo>
                      <a:pt x="4043" y="447"/>
                    </a:lnTo>
                    <a:lnTo>
                      <a:pt x="4043" y="445"/>
                    </a:lnTo>
                    <a:lnTo>
                      <a:pt x="4043" y="445"/>
                    </a:lnTo>
                    <a:lnTo>
                      <a:pt x="4043" y="390"/>
                    </a:lnTo>
                    <a:close/>
                    <a:moveTo>
                      <a:pt x="1811" y="367"/>
                    </a:moveTo>
                    <a:lnTo>
                      <a:pt x="1808" y="367"/>
                    </a:lnTo>
                    <a:lnTo>
                      <a:pt x="1808" y="369"/>
                    </a:lnTo>
                    <a:lnTo>
                      <a:pt x="1808" y="1091"/>
                    </a:lnTo>
                    <a:lnTo>
                      <a:pt x="1811" y="1091"/>
                    </a:lnTo>
                    <a:lnTo>
                      <a:pt x="1811" y="367"/>
                    </a:lnTo>
                    <a:close/>
                    <a:moveTo>
                      <a:pt x="4050" y="326"/>
                    </a:moveTo>
                    <a:lnTo>
                      <a:pt x="4048" y="326"/>
                    </a:lnTo>
                    <a:lnTo>
                      <a:pt x="4048" y="329"/>
                    </a:lnTo>
                    <a:lnTo>
                      <a:pt x="4048" y="383"/>
                    </a:lnTo>
                    <a:lnTo>
                      <a:pt x="4050" y="383"/>
                    </a:lnTo>
                    <a:lnTo>
                      <a:pt x="4050" y="381"/>
                    </a:lnTo>
                    <a:lnTo>
                      <a:pt x="4050" y="381"/>
                    </a:lnTo>
                    <a:lnTo>
                      <a:pt x="4050" y="326"/>
                    </a:lnTo>
                    <a:close/>
                    <a:moveTo>
                      <a:pt x="2028" y="293"/>
                    </a:moveTo>
                    <a:lnTo>
                      <a:pt x="2028" y="293"/>
                    </a:lnTo>
                    <a:lnTo>
                      <a:pt x="2028" y="293"/>
                    </a:lnTo>
                    <a:lnTo>
                      <a:pt x="2028" y="293"/>
                    </a:lnTo>
                    <a:lnTo>
                      <a:pt x="2028" y="293"/>
                    </a:lnTo>
                    <a:close/>
                    <a:moveTo>
                      <a:pt x="4703" y="232"/>
                    </a:moveTo>
                    <a:lnTo>
                      <a:pt x="4703" y="232"/>
                    </a:lnTo>
                    <a:lnTo>
                      <a:pt x="4703" y="232"/>
                    </a:lnTo>
                    <a:lnTo>
                      <a:pt x="4641" y="454"/>
                    </a:lnTo>
                    <a:lnTo>
                      <a:pt x="4644" y="454"/>
                    </a:lnTo>
                    <a:lnTo>
                      <a:pt x="4703" y="232"/>
                    </a:lnTo>
                    <a:close/>
                    <a:moveTo>
                      <a:pt x="4804" y="172"/>
                    </a:moveTo>
                    <a:lnTo>
                      <a:pt x="4802" y="172"/>
                    </a:lnTo>
                    <a:lnTo>
                      <a:pt x="4802" y="172"/>
                    </a:lnTo>
                    <a:lnTo>
                      <a:pt x="4802" y="172"/>
                    </a:lnTo>
                    <a:lnTo>
                      <a:pt x="4802" y="191"/>
                    </a:lnTo>
                    <a:lnTo>
                      <a:pt x="4804" y="191"/>
                    </a:lnTo>
                    <a:lnTo>
                      <a:pt x="4804" y="172"/>
                    </a:lnTo>
                    <a:close/>
                    <a:moveTo>
                      <a:pt x="4854" y="0"/>
                    </a:moveTo>
                    <a:lnTo>
                      <a:pt x="4852" y="0"/>
                    </a:lnTo>
                    <a:lnTo>
                      <a:pt x="4852" y="2"/>
                    </a:lnTo>
                    <a:lnTo>
                      <a:pt x="4852" y="132"/>
                    </a:lnTo>
                    <a:lnTo>
                      <a:pt x="4854" y="132"/>
                    </a:lnTo>
                    <a:lnTo>
                      <a:pt x="4854" y="0"/>
                    </a:lnTo>
                    <a:close/>
                  </a:path>
                </a:pathLst>
              </a:custGeom>
              <a:solidFill>
                <a:srgbClr val="D5D4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1" name="Freeform 103"/>
              <p:cNvSpPr>
                <a:spLocks noEditPoints="1"/>
              </p:cNvSpPr>
              <p:nvPr/>
            </p:nvSpPr>
            <p:spPr bwMode="auto">
              <a:xfrm>
                <a:off x="7" y="1701"/>
                <a:ext cx="7027" cy="1652"/>
              </a:xfrm>
              <a:custGeom>
                <a:avLst/>
                <a:gdLst>
                  <a:gd name="T0" fmla="*/ 2 w 7027"/>
                  <a:gd name="T1" fmla="*/ 1493 h 1652"/>
                  <a:gd name="T2" fmla="*/ 5665 w 7027"/>
                  <a:gd name="T3" fmla="*/ 1408 h 1652"/>
                  <a:gd name="T4" fmla="*/ 3710 w 7027"/>
                  <a:gd name="T5" fmla="*/ 1224 h 1652"/>
                  <a:gd name="T6" fmla="*/ 5831 w 7027"/>
                  <a:gd name="T7" fmla="*/ 1207 h 1652"/>
                  <a:gd name="T8" fmla="*/ 5831 w 7027"/>
                  <a:gd name="T9" fmla="*/ 1207 h 1652"/>
                  <a:gd name="T10" fmla="*/ 1664 w 7027"/>
                  <a:gd name="T11" fmla="*/ 1160 h 1652"/>
                  <a:gd name="T12" fmla="*/ 1688 w 7027"/>
                  <a:gd name="T13" fmla="*/ 1134 h 1652"/>
                  <a:gd name="T14" fmla="*/ 1690 w 7027"/>
                  <a:gd name="T15" fmla="*/ 1131 h 1652"/>
                  <a:gd name="T16" fmla="*/ 5857 w 7027"/>
                  <a:gd name="T17" fmla="*/ 1183 h 1652"/>
                  <a:gd name="T18" fmla="*/ 6322 w 7027"/>
                  <a:gd name="T19" fmla="*/ 1127 h 1652"/>
                  <a:gd name="T20" fmla="*/ 6322 w 7027"/>
                  <a:gd name="T21" fmla="*/ 1127 h 1652"/>
                  <a:gd name="T22" fmla="*/ 1444 w 7027"/>
                  <a:gd name="T23" fmla="*/ 1160 h 1652"/>
                  <a:gd name="T24" fmla="*/ 1463 w 7027"/>
                  <a:gd name="T25" fmla="*/ 1084 h 1652"/>
                  <a:gd name="T26" fmla="*/ 1463 w 7027"/>
                  <a:gd name="T27" fmla="*/ 1084 h 1652"/>
                  <a:gd name="T28" fmla="*/ 2858 w 7027"/>
                  <a:gd name="T29" fmla="*/ 1200 h 1652"/>
                  <a:gd name="T30" fmla="*/ 5930 w 7027"/>
                  <a:gd name="T31" fmla="*/ 1041 h 1652"/>
                  <a:gd name="T32" fmla="*/ 2877 w 7027"/>
                  <a:gd name="T33" fmla="*/ 1010 h 1652"/>
                  <a:gd name="T34" fmla="*/ 2877 w 7027"/>
                  <a:gd name="T35" fmla="*/ 1044 h 1652"/>
                  <a:gd name="T36" fmla="*/ 3769 w 7027"/>
                  <a:gd name="T37" fmla="*/ 994 h 1652"/>
                  <a:gd name="T38" fmla="*/ 5949 w 7027"/>
                  <a:gd name="T39" fmla="*/ 989 h 1652"/>
                  <a:gd name="T40" fmla="*/ 5949 w 7027"/>
                  <a:gd name="T41" fmla="*/ 1022 h 1652"/>
                  <a:gd name="T42" fmla="*/ 6339 w 7027"/>
                  <a:gd name="T43" fmla="*/ 937 h 1652"/>
                  <a:gd name="T44" fmla="*/ 6341 w 7027"/>
                  <a:gd name="T45" fmla="*/ 935 h 1652"/>
                  <a:gd name="T46" fmla="*/ 3847 w 7027"/>
                  <a:gd name="T47" fmla="*/ 954 h 1652"/>
                  <a:gd name="T48" fmla="*/ 6384 w 7027"/>
                  <a:gd name="T49" fmla="*/ 894 h 1652"/>
                  <a:gd name="T50" fmla="*/ 6389 w 7027"/>
                  <a:gd name="T51" fmla="*/ 878 h 1652"/>
                  <a:gd name="T52" fmla="*/ 6389 w 7027"/>
                  <a:gd name="T53" fmla="*/ 887 h 1652"/>
                  <a:gd name="T54" fmla="*/ 6396 w 7027"/>
                  <a:gd name="T55" fmla="*/ 852 h 1652"/>
                  <a:gd name="T56" fmla="*/ 6398 w 7027"/>
                  <a:gd name="T57" fmla="*/ 850 h 1652"/>
                  <a:gd name="T58" fmla="*/ 3100 w 7027"/>
                  <a:gd name="T59" fmla="*/ 939 h 1652"/>
                  <a:gd name="T60" fmla="*/ 1007 w 7027"/>
                  <a:gd name="T61" fmla="*/ 755 h 1652"/>
                  <a:gd name="T62" fmla="*/ 5131 w 7027"/>
                  <a:gd name="T63" fmla="*/ 731 h 1652"/>
                  <a:gd name="T64" fmla="*/ 3140 w 7027"/>
                  <a:gd name="T65" fmla="*/ 655 h 1652"/>
                  <a:gd name="T66" fmla="*/ 3137 w 7027"/>
                  <a:gd name="T67" fmla="*/ 722 h 1652"/>
                  <a:gd name="T68" fmla="*/ 94 w 7027"/>
                  <a:gd name="T69" fmla="*/ 617 h 1652"/>
                  <a:gd name="T70" fmla="*/ 5251 w 7027"/>
                  <a:gd name="T71" fmla="*/ 608 h 1652"/>
                  <a:gd name="T72" fmla="*/ 3284 w 7027"/>
                  <a:gd name="T73" fmla="*/ 582 h 1652"/>
                  <a:gd name="T74" fmla="*/ 3284 w 7027"/>
                  <a:gd name="T75" fmla="*/ 617 h 1652"/>
                  <a:gd name="T76" fmla="*/ 300 w 7027"/>
                  <a:gd name="T77" fmla="*/ 577 h 1652"/>
                  <a:gd name="T78" fmla="*/ 7025 w 7027"/>
                  <a:gd name="T79" fmla="*/ 509 h 1652"/>
                  <a:gd name="T80" fmla="*/ 4194 w 7027"/>
                  <a:gd name="T81" fmla="*/ 501 h 1652"/>
                  <a:gd name="T82" fmla="*/ 3300 w 7027"/>
                  <a:gd name="T83" fmla="*/ 499 h 1652"/>
                  <a:gd name="T84" fmla="*/ 3300 w 7027"/>
                  <a:gd name="T85" fmla="*/ 563 h 1652"/>
                  <a:gd name="T86" fmla="*/ 4036 w 7027"/>
                  <a:gd name="T87" fmla="*/ 454 h 1652"/>
                  <a:gd name="T88" fmla="*/ 3953 w 7027"/>
                  <a:gd name="T89" fmla="*/ 887 h 1652"/>
                  <a:gd name="T90" fmla="*/ 3329 w 7027"/>
                  <a:gd name="T91" fmla="*/ 433 h 1652"/>
                  <a:gd name="T92" fmla="*/ 3329 w 7027"/>
                  <a:gd name="T93" fmla="*/ 471 h 1652"/>
                  <a:gd name="T94" fmla="*/ 4041 w 7027"/>
                  <a:gd name="T95" fmla="*/ 390 h 1652"/>
                  <a:gd name="T96" fmla="*/ 4043 w 7027"/>
                  <a:gd name="T97" fmla="*/ 445 h 1652"/>
                  <a:gd name="T98" fmla="*/ 1808 w 7027"/>
                  <a:gd name="T99" fmla="*/ 1091 h 1652"/>
                  <a:gd name="T100" fmla="*/ 4048 w 7027"/>
                  <a:gd name="T101" fmla="*/ 329 h 1652"/>
                  <a:gd name="T102" fmla="*/ 4050 w 7027"/>
                  <a:gd name="T103" fmla="*/ 326 h 1652"/>
                  <a:gd name="T104" fmla="*/ 2028 w 7027"/>
                  <a:gd name="T105" fmla="*/ 293 h 1652"/>
                  <a:gd name="T106" fmla="*/ 4644 w 7027"/>
                  <a:gd name="T107" fmla="*/ 454 h 1652"/>
                  <a:gd name="T108" fmla="*/ 4802 w 7027"/>
                  <a:gd name="T109" fmla="*/ 172 h 1652"/>
                  <a:gd name="T110" fmla="*/ 4852 w 7027"/>
                  <a:gd name="T111" fmla="*/ 0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52">
                    <a:moveTo>
                      <a:pt x="2" y="1451"/>
                    </a:moveTo>
                    <a:lnTo>
                      <a:pt x="0" y="1451"/>
                    </a:lnTo>
                    <a:lnTo>
                      <a:pt x="0" y="1453"/>
                    </a:lnTo>
                    <a:lnTo>
                      <a:pt x="0" y="1493"/>
                    </a:lnTo>
                    <a:lnTo>
                      <a:pt x="2" y="1493"/>
                    </a:lnTo>
                    <a:lnTo>
                      <a:pt x="2" y="1451"/>
                    </a:lnTo>
                    <a:moveTo>
                      <a:pt x="5667" y="1325"/>
                    </a:moveTo>
                    <a:lnTo>
                      <a:pt x="5665" y="1325"/>
                    </a:lnTo>
                    <a:lnTo>
                      <a:pt x="5665" y="1328"/>
                    </a:lnTo>
                    <a:lnTo>
                      <a:pt x="5665" y="1408"/>
                    </a:lnTo>
                    <a:lnTo>
                      <a:pt x="5667" y="1408"/>
                    </a:lnTo>
                    <a:lnTo>
                      <a:pt x="5667" y="1325"/>
                    </a:lnTo>
                    <a:moveTo>
                      <a:pt x="3712" y="1221"/>
                    </a:moveTo>
                    <a:lnTo>
                      <a:pt x="3710" y="1221"/>
                    </a:lnTo>
                    <a:lnTo>
                      <a:pt x="3710" y="1224"/>
                    </a:lnTo>
                    <a:lnTo>
                      <a:pt x="3710" y="1276"/>
                    </a:lnTo>
                    <a:lnTo>
                      <a:pt x="3712" y="1276"/>
                    </a:lnTo>
                    <a:lnTo>
                      <a:pt x="3712" y="1221"/>
                    </a:lnTo>
                    <a:moveTo>
                      <a:pt x="5831" y="1207"/>
                    </a:moveTo>
                    <a:lnTo>
                      <a:pt x="5831" y="1207"/>
                    </a:lnTo>
                    <a:lnTo>
                      <a:pt x="5831" y="1207"/>
                    </a:lnTo>
                    <a:lnTo>
                      <a:pt x="5831" y="1209"/>
                    </a:lnTo>
                    <a:lnTo>
                      <a:pt x="5831" y="1285"/>
                    </a:lnTo>
                    <a:lnTo>
                      <a:pt x="5831" y="1285"/>
                    </a:lnTo>
                    <a:lnTo>
                      <a:pt x="5831" y="1207"/>
                    </a:lnTo>
                    <a:moveTo>
                      <a:pt x="1667" y="1155"/>
                    </a:moveTo>
                    <a:lnTo>
                      <a:pt x="1664" y="1155"/>
                    </a:lnTo>
                    <a:lnTo>
                      <a:pt x="1664" y="1155"/>
                    </a:lnTo>
                    <a:lnTo>
                      <a:pt x="1664" y="1157"/>
                    </a:lnTo>
                    <a:lnTo>
                      <a:pt x="1664" y="1160"/>
                    </a:lnTo>
                    <a:lnTo>
                      <a:pt x="1667" y="1160"/>
                    </a:lnTo>
                    <a:lnTo>
                      <a:pt x="1667" y="1155"/>
                    </a:lnTo>
                    <a:moveTo>
                      <a:pt x="1690" y="1131"/>
                    </a:moveTo>
                    <a:lnTo>
                      <a:pt x="1688" y="1131"/>
                    </a:lnTo>
                    <a:lnTo>
                      <a:pt x="1688" y="1134"/>
                    </a:lnTo>
                    <a:lnTo>
                      <a:pt x="1688" y="1134"/>
                    </a:lnTo>
                    <a:lnTo>
                      <a:pt x="1688" y="1134"/>
                    </a:lnTo>
                    <a:lnTo>
                      <a:pt x="1688" y="1131"/>
                    </a:lnTo>
                    <a:lnTo>
                      <a:pt x="1690" y="1131"/>
                    </a:lnTo>
                    <a:lnTo>
                      <a:pt x="1690" y="1131"/>
                    </a:lnTo>
                    <a:moveTo>
                      <a:pt x="5857" y="1127"/>
                    </a:moveTo>
                    <a:lnTo>
                      <a:pt x="5854" y="1127"/>
                    </a:lnTo>
                    <a:lnTo>
                      <a:pt x="5854" y="1129"/>
                    </a:lnTo>
                    <a:lnTo>
                      <a:pt x="5854" y="1183"/>
                    </a:lnTo>
                    <a:lnTo>
                      <a:pt x="5857" y="1183"/>
                    </a:lnTo>
                    <a:lnTo>
                      <a:pt x="5857" y="1181"/>
                    </a:lnTo>
                    <a:lnTo>
                      <a:pt x="5857" y="1181"/>
                    </a:lnTo>
                    <a:lnTo>
                      <a:pt x="5857" y="1127"/>
                    </a:lnTo>
                    <a:moveTo>
                      <a:pt x="6322" y="1127"/>
                    </a:moveTo>
                    <a:lnTo>
                      <a:pt x="6322" y="1127"/>
                    </a:lnTo>
                    <a:lnTo>
                      <a:pt x="6322" y="1127"/>
                    </a:lnTo>
                    <a:lnTo>
                      <a:pt x="6322" y="1129"/>
                    </a:lnTo>
                    <a:lnTo>
                      <a:pt x="6322" y="1169"/>
                    </a:lnTo>
                    <a:lnTo>
                      <a:pt x="6322" y="1169"/>
                    </a:lnTo>
                    <a:lnTo>
                      <a:pt x="6322" y="1127"/>
                    </a:lnTo>
                    <a:moveTo>
                      <a:pt x="1447" y="1124"/>
                    </a:moveTo>
                    <a:lnTo>
                      <a:pt x="1447" y="1124"/>
                    </a:lnTo>
                    <a:lnTo>
                      <a:pt x="1444" y="1124"/>
                    </a:lnTo>
                    <a:lnTo>
                      <a:pt x="1444" y="1127"/>
                    </a:lnTo>
                    <a:lnTo>
                      <a:pt x="1444" y="1160"/>
                    </a:lnTo>
                    <a:lnTo>
                      <a:pt x="1447" y="1160"/>
                    </a:lnTo>
                    <a:lnTo>
                      <a:pt x="1447" y="1124"/>
                    </a:lnTo>
                    <a:moveTo>
                      <a:pt x="1463" y="1084"/>
                    </a:moveTo>
                    <a:lnTo>
                      <a:pt x="1463" y="1084"/>
                    </a:lnTo>
                    <a:lnTo>
                      <a:pt x="1463" y="1084"/>
                    </a:lnTo>
                    <a:lnTo>
                      <a:pt x="1463" y="1108"/>
                    </a:lnTo>
                    <a:lnTo>
                      <a:pt x="1463" y="1108"/>
                    </a:lnTo>
                    <a:lnTo>
                      <a:pt x="1463" y="1105"/>
                    </a:lnTo>
                    <a:lnTo>
                      <a:pt x="1463" y="1105"/>
                    </a:lnTo>
                    <a:lnTo>
                      <a:pt x="1463" y="1084"/>
                    </a:lnTo>
                    <a:moveTo>
                      <a:pt x="2861" y="1063"/>
                    </a:moveTo>
                    <a:lnTo>
                      <a:pt x="2858" y="1063"/>
                    </a:lnTo>
                    <a:lnTo>
                      <a:pt x="2858" y="1063"/>
                    </a:lnTo>
                    <a:lnTo>
                      <a:pt x="2858" y="1063"/>
                    </a:lnTo>
                    <a:lnTo>
                      <a:pt x="2858" y="1200"/>
                    </a:lnTo>
                    <a:lnTo>
                      <a:pt x="2861" y="1200"/>
                    </a:lnTo>
                    <a:lnTo>
                      <a:pt x="2861" y="1063"/>
                    </a:lnTo>
                    <a:moveTo>
                      <a:pt x="5932" y="1041"/>
                    </a:moveTo>
                    <a:lnTo>
                      <a:pt x="5932" y="1041"/>
                    </a:lnTo>
                    <a:lnTo>
                      <a:pt x="5930" y="1041"/>
                    </a:lnTo>
                    <a:lnTo>
                      <a:pt x="5930" y="1041"/>
                    </a:lnTo>
                    <a:lnTo>
                      <a:pt x="5930" y="1089"/>
                    </a:lnTo>
                    <a:lnTo>
                      <a:pt x="5932" y="1089"/>
                    </a:lnTo>
                    <a:lnTo>
                      <a:pt x="5932" y="1041"/>
                    </a:lnTo>
                    <a:moveTo>
                      <a:pt x="2877" y="1010"/>
                    </a:moveTo>
                    <a:lnTo>
                      <a:pt x="2875" y="1010"/>
                    </a:lnTo>
                    <a:lnTo>
                      <a:pt x="2875" y="1013"/>
                    </a:lnTo>
                    <a:lnTo>
                      <a:pt x="2875" y="1046"/>
                    </a:lnTo>
                    <a:lnTo>
                      <a:pt x="2877" y="1046"/>
                    </a:lnTo>
                    <a:lnTo>
                      <a:pt x="2877" y="1044"/>
                    </a:lnTo>
                    <a:lnTo>
                      <a:pt x="2877" y="1044"/>
                    </a:lnTo>
                    <a:lnTo>
                      <a:pt x="2877" y="1010"/>
                    </a:lnTo>
                    <a:moveTo>
                      <a:pt x="3771" y="992"/>
                    </a:moveTo>
                    <a:lnTo>
                      <a:pt x="3769" y="992"/>
                    </a:lnTo>
                    <a:lnTo>
                      <a:pt x="3769" y="994"/>
                    </a:lnTo>
                    <a:lnTo>
                      <a:pt x="3769" y="1183"/>
                    </a:lnTo>
                    <a:lnTo>
                      <a:pt x="3771" y="1183"/>
                    </a:lnTo>
                    <a:lnTo>
                      <a:pt x="3771" y="992"/>
                    </a:lnTo>
                    <a:moveTo>
                      <a:pt x="5949" y="989"/>
                    </a:moveTo>
                    <a:lnTo>
                      <a:pt x="5949" y="989"/>
                    </a:lnTo>
                    <a:lnTo>
                      <a:pt x="5949" y="992"/>
                    </a:lnTo>
                    <a:lnTo>
                      <a:pt x="5949" y="1025"/>
                    </a:lnTo>
                    <a:lnTo>
                      <a:pt x="5949" y="1025"/>
                    </a:lnTo>
                    <a:lnTo>
                      <a:pt x="5949" y="1022"/>
                    </a:lnTo>
                    <a:lnTo>
                      <a:pt x="5949" y="1022"/>
                    </a:lnTo>
                    <a:lnTo>
                      <a:pt x="5949" y="989"/>
                    </a:lnTo>
                    <a:moveTo>
                      <a:pt x="6341" y="935"/>
                    </a:moveTo>
                    <a:lnTo>
                      <a:pt x="6339" y="935"/>
                    </a:lnTo>
                    <a:lnTo>
                      <a:pt x="6339" y="935"/>
                    </a:lnTo>
                    <a:lnTo>
                      <a:pt x="6339" y="937"/>
                    </a:lnTo>
                    <a:lnTo>
                      <a:pt x="6339" y="1110"/>
                    </a:lnTo>
                    <a:lnTo>
                      <a:pt x="6339" y="1110"/>
                    </a:lnTo>
                    <a:lnTo>
                      <a:pt x="6339" y="1108"/>
                    </a:lnTo>
                    <a:lnTo>
                      <a:pt x="6341" y="1108"/>
                    </a:lnTo>
                    <a:lnTo>
                      <a:pt x="6341" y="935"/>
                    </a:lnTo>
                    <a:moveTo>
                      <a:pt x="3847" y="928"/>
                    </a:moveTo>
                    <a:lnTo>
                      <a:pt x="3844" y="928"/>
                    </a:lnTo>
                    <a:lnTo>
                      <a:pt x="3844" y="930"/>
                    </a:lnTo>
                    <a:lnTo>
                      <a:pt x="3844" y="954"/>
                    </a:lnTo>
                    <a:lnTo>
                      <a:pt x="3847" y="954"/>
                    </a:lnTo>
                    <a:lnTo>
                      <a:pt x="3847" y="928"/>
                    </a:lnTo>
                    <a:moveTo>
                      <a:pt x="6386" y="894"/>
                    </a:moveTo>
                    <a:lnTo>
                      <a:pt x="6384" y="894"/>
                    </a:lnTo>
                    <a:lnTo>
                      <a:pt x="6384" y="894"/>
                    </a:lnTo>
                    <a:lnTo>
                      <a:pt x="6384" y="894"/>
                    </a:lnTo>
                    <a:lnTo>
                      <a:pt x="6384" y="894"/>
                    </a:lnTo>
                    <a:lnTo>
                      <a:pt x="6384" y="894"/>
                    </a:lnTo>
                    <a:lnTo>
                      <a:pt x="6386" y="894"/>
                    </a:lnTo>
                    <a:moveTo>
                      <a:pt x="6391" y="878"/>
                    </a:moveTo>
                    <a:lnTo>
                      <a:pt x="6389" y="878"/>
                    </a:lnTo>
                    <a:lnTo>
                      <a:pt x="6389" y="878"/>
                    </a:lnTo>
                    <a:lnTo>
                      <a:pt x="6389" y="880"/>
                    </a:lnTo>
                    <a:lnTo>
                      <a:pt x="6389" y="890"/>
                    </a:lnTo>
                    <a:lnTo>
                      <a:pt x="6389" y="890"/>
                    </a:lnTo>
                    <a:lnTo>
                      <a:pt x="6389" y="887"/>
                    </a:lnTo>
                    <a:lnTo>
                      <a:pt x="6391" y="887"/>
                    </a:lnTo>
                    <a:lnTo>
                      <a:pt x="6391" y="878"/>
                    </a:lnTo>
                    <a:moveTo>
                      <a:pt x="6398" y="850"/>
                    </a:moveTo>
                    <a:lnTo>
                      <a:pt x="6396" y="850"/>
                    </a:lnTo>
                    <a:lnTo>
                      <a:pt x="6396" y="852"/>
                    </a:lnTo>
                    <a:lnTo>
                      <a:pt x="6396" y="871"/>
                    </a:lnTo>
                    <a:lnTo>
                      <a:pt x="6398" y="871"/>
                    </a:lnTo>
                    <a:lnTo>
                      <a:pt x="6398" y="868"/>
                    </a:lnTo>
                    <a:lnTo>
                      <a:pt x="6398" y="868"/>
                    </a:lnTo>
                    <a:lnTo>
                      <a:pt x="6398" y="850"/>
                    </a:lnTo>
                    <a:moveTo>
                      <a:pt x="3100" y="762"/>
                    </a:moveTo>
                    <a:lnTo>
                      <a:pt x="3100" y="762"/>
                    </a:lnTo>
                    <a:lnTo>
                      <a:pt x="3100" y="762"/>
                    </a:lnTo>
                    <a:lnTo>
                      <a:pt x="3100" y="764"/>
                    </a:lnTo>
                    <a:lnTo>
                      <a:pt x="3100" y="939"/>
                    </a:lnTo>
                    <a:lnTo>
                      <a:pt x="3100" y="939"/>
                    </a:lnTo>
                    <a:lnTo>
                      <a:pt x="3100" y="762"/>
                    </a:lnTo>
                    <a:moveTo>
                      <a:pt x="1009" y="752"/>
                    </a:moveTo>
                    <a:lnTo>
                      <a:pt x="1007" y="752"/>
                    </a:lnTo>
                    <a:lnTo>
                      <a:pt x="1007" y="755"/>
                    </a:lnTo>
                    <a:lnTo>
                      <a:pt x="1007" y="788"/>
                    </a:lnTo>
                    <a:lnTo>
                      <a:pt x="1009" y="788"/>
                    </a:lnTo>
                    <a:lnTo>
                      <a:pt x="1009" y="752"/>
                    </a:lnTo>
                    <a:moveTo>
                      <a:pt x="5133" y="731"/>
                    </a:moveTo>
                    <a:lnTo>
                      <a:pt x="5131" y="731"/>
                    </a:lnTo>
                    <a:lnTo>
                      <a:pt x="5131" y="733"/>
                    </a:lnTo>
                    <a:lnTo>
                      <a:pt x="5131" y="932"/>
                    </a:lnTo>
                    <a:lnTo>
                      <a:pt x="5133" y="932"/>
                    </a:lnTo>
                    <a:lnTo>
                      <a:pt x="5133" y="731"/>
                    </a:lnTo>
                    <a:moveTo>
                      <a:pt x="3140" y="655"/>
                    </a:moveTo>
                    <a:lnTo>
                      <a:pt x="3137" y="655"/>
                    </a:lnTo>
                    <a:lnTo>
                      <a:pt x="3137" y="658"/>
                    </a:lnTo>
                    <a:lnTo>
                      <a:pt x="3137" y="724"/>
                    </a:lnTo>
                    <a:lnTo>
                      <a:pt x="3137" y="724"/>
                    </a:lnTo>
                    <a:lnTo>
                      <a:pt x="3137" y="722"/>
                    </a:lnTo>
                    <a:lnTo>
                      <a:pt x="3140" y="722"/>
                    </a:lnTo>
                    <a:lnTo>
                      <a:pt x="3140" y="655"/>
                    </a:lnTo>
                    <a:moveTo>
                      <a:pt x="97" y="615"/>
                    </a:moveTo>
                    <a:lnTo>
                      <a:pt x="94" y="615"/>
                    </a:lnTo>
                    <a:lnTo>
                      <a:pt x="94" y="617"/>
                    </a:lnTo>
                    <a:lnTo>
                      <a:pt x="94" y="1413"/>
                    </a:lnTo>
                    <a:lnTo>
                      <a:pt x="97" y="1413"/>
                    </a:lnTo>
                    <a:lnTo>
                      <a:pt x="97" y="615"/>
                    </a:lnTo>
                    <a:moveTo>
                      <a:pt x="5254" y="608"/>
                    </a:moveTo>
                    <a:lnTo>
                      <a:pt x="5251" y="608"/>
                    </a:lnTo>
                    <a:lnTo>
                      <a:pt x="5251" y="610"/>
                    </a:lnTo>
                    <a:lnTo>
                      <a:pt x="5251" y="691"/>
                    </a:lnTo>
                    <a:lnTo>
                      <a:pt x="5254" y="691"/>
                    </a:lnTo>
                    <a:lnTo>
                      <a:pt x="5254" y="608"/>
                    </a:lnTo>
                    <a:moveTo>
                      <a:pt x="3284" y="582"/>
                    </a:moveTo>
                    <a:lnTo>
                      <a:pt x="3282" y="582"/>
                    </a:lnTo>
                    <a:lnTo>
                      <a:pt x="3282" y="582"/>
                    </a:lnTo>
                    <a:lnTo>
                      <a:pt x="3282" y="582"/>
                    </a:lnTo>
                    <a:lnTo>
                      <a:pt x="3282" y="617"/>
                    </a:lnTo>
                    <a:lnTo>
                      <a:pt x="3284" y="617"/>
                    </a:lnTo>
                    <a:lnTo>
                      <a:pt x="3284" y="582"/>
                    </a:lnTo>
                    <a:moveTo>
                      <a:pt x="302" y="546"/>
                    </a:moveTo>
                    <a:lnTo>
                      <a:pt x="300" y="546"/>
                    </a:lnTo>
                    <a:lnTo>
                      <a:pt x="300" y="549"/>
                    </a:lnTo>
                    <a:lnTo>
                      <a:pt x="300" y="577"/>
                    </a:lnTo>
                    <a:lnTo>
                      <a:pt x="302" y="577"/>
                    </a:lnTo>
                    <a:lnTo>
                      <a:pt x="302" y="546"/>
                    </a:lnTo>
                    <a:moveTo>
                      <a:pt x="7027" y="509"/>
                    </a:moveTo>
                    <a:lnTo>
                      <a:pt x="7025" y="509"/>
                    </a:lnTo>
                    <a:lnTo>
                      <a:pt x="7025" y="509"/>
                    </a:lnTo>
                    <a:lnTo>
                      <a:pt x="7025" y="1652"/>
                    </a:lnTo>
                    <a:lnTo>
                      <a:pt x="7027" y="1652"/>
                    </a:lnTo>
                    <a:lnTo>
                      <a:pt x="7027" y="509"/>
                    </a:lnTo>
                    <a:moveTo>
                      <a:pt x="4194" y="501"/>
                    </a:moveTo>
                    <a:lnTo>
                      <a:pt x="4194" y="501"/>
                    </a:lnTo>
                    <a:lnTo>
                      <a:pt x="4192" y="504"/>
                    </a:lnTo>
                    <a:lnTo>
                      <a:pt x="4156" y="554"/>
                    </a:lnTo>
                    <a:lnTo>
                      <a:pt x="4156" y="554"/>
                    </a:lnTo>
                    <a:lnTo>
                      <a:pt x="4194" y="501"/>
                    </a:lnTo>
                    <a:moveTo>
                      <a:pt x="3300" y="499"/>
                    </a:moveTo>
                    <a:lnTo>
                      <a:pt x="3300" y="499"/>
                    </a:lnTo>
                    <a:lnTo>
                      <a:pt x="3298" y="499"/>
                    </a:lnTo>
                    <a:lnTo>
                      <a:pt x="3298" y="501"/>
                    </a:lnTo>
                    <a:lnTo>
                      <a:pt x="3298" y="563"/>
                    </a:lnTo>
                    <a:lnTo>
                      <a:pt x="3300" y="563"/>
                    </a:lnTo>
                    <a:lnTo>
                      <a:pt x="3300" y="563"/>
                    </a:lnTo>
                    <a:lnTo>
                      <a:pt x="3300" y="563"/>
                    </a:lnTo>
                    <a:lnTo>
                      <a:pt x="3300" y="499"/>
                    </a:lnTo>
                    <a:moveTo>
                      <a:pt x="4038" y="454"/>
                    </a:moveTo>
                    <a:lnTo>
                      <a:pt x="4036" y="454"/>
                    </a:lnTo>
                    <a:lnTo>
                      <a:pt x="4036" y="454"/>
                    </a:lnTo>
                    <a:lnTo>
                      <a:pt x="4036" y="454"/>
                    </a:lnTo>
                    <a:lnTo>
                      <a:pt x="4036" y="490"/>
                    </a:lnTo>
                    <a:lnTo>
                      <a:pt x="3953" y="644"/>
                    </a:lnTo>
                    <a:lnTo>
                      <a:pt x="3953" y="887"/>
                    </a:lnTo>
                    <a:lnTo>
                      <a:pt x="3955" y="887"/>
                    </a:lnTo>
                    <a:lnTo>
                      <a:pt x="3955" y="641"/>
                    </a:lnTo>
                    <a:lnTo>
                      <a:pt x="4038" y="487"/>
                    </a:lnTo>
                    <a:lnTo>
                      <a:pt x="4038" y="454"/>
                    </a:lnTo>
                    <a:moveTo>
                      <a:pt x="3329" y="433"/>
                    </a:moveTo>
                    <a:lnTo>
                      <a:pt x="3327" y="433"/>
                    </a:lnTo>
                    <a:lnTo>
                      <a:pt x="3327" y="435"/>
                    </a:lnTo>
                    <a:lnTo>
                      <a:pt x="3327" y="473"/>
                    </a:lnTo>
                    <a:lnTo>
                      <a:pt x="3329" y="473"/>
                    </a:lnTo>
                    <a:lnTo>
                      <a:pt x="3329" y="471"/>
                    </a:lnTo>
                    <a:lnTo>
                      <a:pt x="3329" y="471"/>
                    </a:lnTo>
                    <a:lnTo>
                      <a:pt x="3329" y="433"/>
                    </a:lnTo>
                    <a:moveTo>
                      <a:pt x="4043" y="390"/>
                    </a:moveTo>
                    <a:lnTo>
                      <a:pt x="4041" y="390"/>
                    </a:lnTo>
                    <a:lnTo>
                      <a:pt x="4041" y="390"/>
                    </a:lnTo>
                    <a:lnTo>
                      <a:pt x="4041" y="393"/>
                    </a:lnTo>
                    <a:lnTo>
                      <a:pt x="4041" y="447"/>
                    </a:lnTo>
                    <a:lnTo>
                      <a:pt x="4043" y="447"/>
                    </a:lnTo>
                    <a:lnTo>
                      <a:pt x="4043" y="445"/>
                    </a:lnTo>
                    <a:lnTo>
                      <a:pt x="4043" y="445"/>
                    </a:lnTo>
                    <a:lnTo>
                      <a:pt x="4043" y="390"/>
                    </a:lnTo>
                    <a:moveTo>
                      <a:pt x="1811" y="367"/>
                    </a:moveTo>
                    <a:lnTo>
                      <a:pt x="1808" y="367"/>
                    </a:lnTo>
                    <a:lnTo>
                      <a:pt x="1808" y="369"/>
                    </a:lnTo>
                    <a:lnTo>
                      <a:pt x="1808" y="1091"/>
                    </a:lnTo>
                    <a:lnTo>
                      <a:pt x="1811" y="1091"/>
                    </a:lnTo>
                    <a:lnTo>
                      <a:pt x="1811" y="367"/>
                    </a:lnTo>
                    <a:moveTo>
                      <a:pt x="4050" y="326"/>
                    </a:moveTo>
                    <a:lnTo>
                      <a:pt x="4048" y="326"/>
                    </a:lnTo>
                    <a:lnTo>
                      <a:pt x="4048" y="329"/>
                    </a:lnTo>
                    <a:lnTo>
                      <a:pt x="4048" y="383"/>
                    </a:lnTo>
                    <a:lnTo>
                      <a:pt x="4050" y="383"/>
                    </a:lnTo>
                    <a:lnTo>
                      <a:pt x="4050" y="381"/>
                    </a:lnTo>
                    <a:lnTo>
                      <a:pt x="4050" y="381"/>
                    </a:lnTo>
                    <a:lnTo>
                      <a:pt x="4050" y="326"/>
                    </a:lnTo>
                    <a:moveTo>
                      <a:pt x="2028" y="293"/>
                    </a:moveTo>
                    <a:lnTo>
                      <a:pt x="2028" y="293"/>
                    </a:lnTo>
                    <a:lnTo>
                      <a:pt x="2028" y="293"/>
                    </a:lnTo>
                    <a:lnTo>
                      <a:pt x="2028" y="293"/>
                    </a:lnTo>
                    <a:lnTo>
                      <a:pt x="2028" y="293"/>
                    </a:lnTo>
                    <a:moveTo>
                      <a:pt x="4703" y="232"/>
                    </a:moveTo>
                    <a:lnTo>
                      <a:pt x="4703" y="232"/>
                    </a:lnTo>
                    <a:lnTo>
                      <a:pt x="4703" y="232"/>
                    </a:lnTo>
                    <a:lnTo>
                      <a:pt x="4641" y="454"/>
                    </a:lnTo>
                    <a:lnTo>
                      <a:pt x="4644" y="454"/>
                    </a:lnTo>
                    <a:lnTo>
                      <a:pt x="4703" y="232"/>
                    </a:lnTo>
                    <a:moveTo>
                      <a:pt x="4804" y="172"/>
                    </a:moveTo>
                    <a:lnTo>
                      <a:pt x="4802" y="172"/>
                    </a:lnTo>
                    <a:lnTo>
                      <a:pt x="4802" y="172"/>
                    </a:lnTo>
                    <a:lnTo>
                      <a:pt x="4802" y="172"/>
                    </a:lnTo>
                    <a:lnTo>
                      <a:pt x="4802" y="191"/>
                    </a:lnTo>
                    <a:lnTo>
                      <a:pt x="4804" y="191"/>
                    </a:lnTo>
                    <a:lnTo>
                      <a:pt x="4804" y="172"/>
                    </a:lnTo>
                    <a:moveTo>
                      <a:pt x="4854" y="0"/>
                    </a:moveTo>
                    <a:lnTo>
                      <a:pt x="4852" y="0"/>
                    </a:lnTo>
                    <a:lnTo>
                      <a:pt x="4852" y="2"/>
                    </a:lnTo>
                    <a:lnTo>
                      <a:pt x="4852" y="132"/>
                    </a:lnTo>
                    <a:lnTo>
                      <a:pt x="4854" y="132"/>
                    </a:lnTo>
                    <a:lnTo>
                      <a:pt x="48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2" name="Freeform 104"/>
              <p:cNvSpPr>
                <a:spLocks noEditPoints="1"/>
              </p:cNvSpPr>
              <p:nvPr/>
            </p:nvSpPr>
            <p:spPr bwMode="auto">
              <a:xfrm>
                <a:off x="9" y="1698"/>
                <a:ext cx="7025" cy="1655"/>
              </a:xfrm>
              <a:custGeom>
                <a:avLst/>
                <a:gdLst>
                  <a:gd name="T0" fmla="*/ 2 w 7025"/>
                  <a:gd name="T1" fmla="*/ 1496 h 1655"/>
                  <a:gd name="T2" fmla="*/ 5665 w 7025"/>
                  <a:gd name="T3" fmla="*/ 1411 h 1655"/>
                  <a:gd name="T4" fmla="*/ 3710 w 7025"/>
                  <a:gd name="T5" fmla="*/ 1224 h 1655"/>
                  <a:gd name="T6" fmla="*/ 5831 w 7025"/>
                  <a:gd name="T7" fmla="*/ 1210 h 1655"/>
                  <a:gd name="T8" fmla="*/ 5831 w 7025"/>
                  <a:gd name="T9" fmla="*/ 1210 h 1655"/>
                  <a:gd name="T10" fmla="*/ 1665 w 7025"/>
                  <a:gd name="T11" fmla="*/ 1163 h 1655"/>
                  <a:gd name="T12" fmla="*/ 1688 w 7025"/>
                  <a:gd name="T13" fmla="*/ 1134 h 1655"/>
                  <a:gd name="T14" fmla="*/ 1688 w 7025"/>
                  <a:gd name="T15" fmla="*/ 1132 h 1655"/>
                  <a:gd name="T16" fmla="*/ 5855 w 7025"/>
                  <a:gd name="T17" fmla="*/ 1184 h 1655"/>
                  <a:gd name="T18" fmla="*/ 6323 w 7025"/>
                  <a:gd name="T19" fmla="*/ 1127 h 1655"/>
                  <a:gd name="T20" fmla="*/ 6323 w 7025"/>
                  <a:gd name="T21" fmla="*/ 1127 h 1655"/>
                  <a:gd name="T22" fmla="*/ 1445 w 7025"/>
                  <a:gd name="T23" fmla="*/ 1163 h 1655"/>
                  <a:gd name="T24" fmla="*/ 1461 w 7025"/>
                  <a:gd name="T25" fmla="*/ 1087 h 1655"/>
                  <a:gd name="T26" fmla="*/ 1464 w 7025"/>
                  <a:gd name="T27" fmla="*/ 1085 h 1655"/>
                  <a:gd name="T28" fmla="*/ 2859 w 7025"/>
                  <a:gd name="T29" fmla="*/ 1203 h 1655"/>
                  <a:gd name="T30" fmla="*/ 5930 w 7025"/>
                  <a:gd name="T31" fmla="*/ 1042 h 1655"/>
                  <a:gd name="T32" fmla="*/ 2878 w 7025"/>
                  <a:gd name="T33" fmla="*/ 1011 h 1655"/>
                  <a:gd name="T34" fmla="*/ 2878 w 7025"/>
                  <a:gd name="T35" fmla="*/ 1044 h 1655"/>
                  <a:gd name="T36" fmla="*/ 3769 w 7025"/>
                  <a:gd name="T37" fmla="*/ 995 h 1655"/>
                  <a:gd name="T38" fmla="*/ 5947 w 7025"/>
                  <a:gd name="T39" fmla="*/ 990 h 1655"/>
                  <a:gd name="T40" fmla="*/ 5949 w 7025"/>
                  <a:gd name="T41" fmla="*/ 1023 h 1655"/>
                  <a:gd name="T42" fmla="*/ 6339 w 7025"/>
                  <a:gd name="T43" fmla="*/ 938 h 1655"/>
                  <a:gd name="T44" fmla="*/ 6339 w 7025"/>
                  <a:gd name="T45" fmla="*/ 935 h 1655"/>
                  <a:gd name="T46" fmla="*/ 3845 w 7025"/>
                  <a:gd name="T47" fmla="*/ 957 h 1655"/>
                  <a:gd name="T48" fmla="*/ 6384 w 7025"/>
                  <a:gd name="T49" fmla="*/ 897 h 1655"/>
                  <a:gd name="T50" fmla="*/ 6389 w 7025"/>
                  <a:gd name="T51" fmla="*/ 879 h 1655"/>
                  <a:gd name="T52" fmla="*/ 6389 w 7025"/>
                  <a:gd name="T53" fmla="*/ 890 h 1655"/>
                  <a:gd name="T54" fmla="*/ 6396 w 7025"/>
                  <a:gd name="T55" fmla="*/ 853 h 1655"/>
                  <a:gd name="T56" fmla="*/ 6398 w 7025"/>
                  <a:gd name="T57" fmla="*/ 850 h 1655"/>
                  <a:gd name="T58" fmla="*/ 3098 w 7025"/>
                  <a:gd name="T59" fmla="*/ 942 h 1655"/>
                  <a:gd name="T60" fmla="*/ 1007 w 7025"/>
                  <a:gd name="T61" fmla="*/ 755 h 1655"/>
                  <a:gd name="T62" fmla="*/ 5131 w 7025"/>
                  <a:gd name="T63" fmla="*/ 732 h 1655"/>
                  <a:gd name="T64" fmla="*/ 3140 w 7025"/>
                  <a:gd name="T65" fmla="*/ 656 h 1655"/>
                  <a:gd name="T66" fmla="*/ 3140 w 7025"/>
                  <a:gd name="T67" fmla="*/ 656 h 1655"/>
                  <a:gd name="T68" fmla="*/ 97 w 7025"/>
                  <a:gd name="T69" fmla="*/ 1416 h 1655"/>
                  <a:gd name="T70" fmla="*/ 5252 w 7025"/>
                  <a:gd name="T71" fmla="*/ 694 h 1655"/>
                  <a:gd name="T72" fmla="*/ 3282 w 7025"/>
                  <a:gd name="T73" fmla="*/ 583 h 1655"/>
                  <a:gd name="T74" fmla="*/ 303 w 7025"/>
                  <a:gd name="T75" fmla="*/ 547 h 1655"/>
                  <a:gd name="T76" fmla="*/ 303 w 7025"/>
                  <a:gd name="T77" fmla="*/ 547 h 1655"/>
                  <a:gd name="T78" fmla="*/ 7025 w 7025"/>
                  <a:gd name="T79" fmla="*/ 1655 h 1655"/>
                  <a:gd name="T80" fmla="*/ 4154 w 7025"/>
                  <a:gd name="T81" fmla="*/ 557 h 1655"/>
                  <a:gd name="T82" fmla="*/ 3298 w 7025"/>
                  <a:gd name="T83" fmla="*/ 502 h 1655"/>
                  <a:gd name="T84" fmla="*/ 3301 w 7025"/>
                  <a:gd name="T85" fmla="*/ 564 h 1655"/>
                  <a:gd name="T86" fmla="*/ 4036 w 7025"/>
                  <a:gd name="T87" fmla="*/ 457 h 1655"/>
                  <a:gd name="T88" fmla="*/ 3956 w 7025"/>
                  <a:gd name="T89" fmla="*/ 642 h 1655"/>
                  <a:gd name="T90" fmla="*/ 3327 w 7025"/>
                  <a:gd name="T91" fmla="*/ 436 h 1655"/>
                  <a:gd name="T92" fmla="*/ 3329 w 7025"/>
                  <a:gd name="T93" fmla="*/ 433 h 1655"/>
                  <a:gd name="T94" fmla="*/ 4041 w 7025"/>
                  <a:gd name="T95" fmla="*/ 448 h 1655"/>
                  <a:gd name="T96" fmla="*/ 1809 w 7025"/>
                  <a:gd name="T97" fmla="*/ 370 h 1655"/>
                  <a:gd name="T98" fmla="*/ 1809 w 7025"/>
                  <a:gd name="T99" fmla="*/ 370 h 1655"/>
                  <a:gd name="T100" fmla="*/ 4050 w 7025"/>
                  <a:gd name="T101" fmla="*/ 384 h 1655"/>
                  <a:gd name="T102" fmla="*/ 2026 w 7025"/>
                  <a:gd name="T103" fmla="*/ 294 h 1655"/>
                  <a:gd name="T104" fmla="*/ 4703 w 7025"/>
                  <a:gd name="T105" fmla="*/ 232 h 1655"/>
                  <a:gd name="T106" fmla="*/ 4703 w 7025"/>
                  <a:gd name="T107" fmla="*/ 232 h 1655"/>
                  <a:gd name="T108" fmla="*/ 4802 w 7025"/>
                  <a:gd name="T109" fmla="*/ 194 h 1655"/>
                  <a:gd name="T110" fmla="*/ 4852 w 7025"/>
                  <a:gd name="T111" fmla="*/ 3 h 1655"/>
                  <a:gd name="T112" fmla="*/ 4909 w 7025"/>
                  <a:gd name="T113" fmla="*/ 0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55">
                    <a:moveTo>
                      <a:pt x="2" y="1454"/>
                    </a:moveTo>
                    <a:lnTo>
                      <a:pt x="0" y="1454"/>
                    </a:lnTo>
                    <a:lnTo>
                      <a:pt x="0" y="1454"/>
                    </a:lnTo>
                    <a:lnTo>
                      <a:pt x="0" y="1496"/>
                    </a:lnTo>
                    <a:lnTo>
                      <a:pt x="2" y="1496"/>
                    </a:lnTo>
                    <a:lnTo>
                      <a:pt x="2" y="1454"/>
                    </a:lnTo>
                    <a:close/>
                    <a:moveTo>
                      <a:pt x="5665" y="1326"/>
                    </a:moveTo>
                    <a:lnTo>
                      <a:pt x="5665" y="1326"/>
                    </a:lnTo>
                    <a:lnTo>
                      <a:pt x="5665" y="1328"/>
                    </a:lnTo>
                    <a:lnTo>
                      <a:pt x="5665" y="1411"/>
                    </a:lnTo>
                    <a:lnTo>
                      <a:pt x="5665" y="1411"/>
                    </a:lnTo>
                    <a:lnTo>
                      <a:pt x="5665" y="1326"/>
                    </a:lnTo>
                    <a:close/>
                    <a:moveTo>
                      <a:pt x="3712" y="1222"/>
                    </a:moveTo>
                    <a:lnTo>
                      <a:pt x="3710" y="1222"/>
                    </a:lnTo>
                    <a:lnTo>
                      <a:pt x="3710" y="1224"/>
                    </a:lnTo>
                    <a:lnTo>
                      <a:pt x="3710" y="1279"/>
                    </a:lnTo>
                    <a:lnTo>
                      <a:pt x="3712" y="1279"/>
                    </a:lnTo>
                    <a:lnTo>
                      <a:pt x="3712" y="1222"/>
                    </a:lnTo>
                    <a:close/>
                    <a:moveTo>
                      <a:pt x="5831" y="1210"/>
                    </a:moveTo>
                    <a:lnTo>
                      <a:pt x="5831" y="1210"/>
                    </a:lnTo>
                    <a:lnTo>
                      <a:pt x="5829" y="1210"/>
                    </a:lnTo>
                    <a:lnTo>
                      <a:pt x="5829" y="1210"/>
                    </a:lnTo>
                    <a:lnTo>
                      <a:pt x="5829" y="1288"/>
                    </a:lnTo>
                    <a:lnTo>
                      <a:pt x="5831" y="1288"/>
                    </a:lnTo>
                    <a:lnTo>
                      <a:pt x="5831" y="1210"/>
                    </a:lnTo>
                    <a:close/>
                    <a:moveTo>
                      <a:pt x="1667" y="1158"/>
                    </a:moveTo>
                    <a:lnTo>
                      <a:pt x="1665" y="1158"/>
                    </a:lnTo>
                    <a:lnTo>
                      <a:pt x="1665" y="1158"/>
                    </a:lnTo>
                    <a:lnTo>
                      <a:pt x="1665" y="1158"/>
                    </a:lnTo>
                    <a:lnTo>
                      <a:pt x="1665" y="1163"/>
                    </a:lnTo>
                    <a:lnTo>
                      <a:pt x="1667" y="1163"/>
                    </a:lnTo>
                    <a:lnTo>
                      <a:pt x="1667" y="1158"/>
                    </a:lnTo>
                    <a:close/>
                    <a:moveTo>
                      <a:pt x="1688" y="1132"/>
                    </a:moveTo>
                    <a:lnTo>
                      <a:pt x="1688" y="1132"/>
                    </a:lnTo>
                    <a:lnTo>
                      <a:pt x="1688" y="1134"/>
                    </a:lnTo>
                    <a:lnTo>
                      <a:pt x="1688" y="1134"/>
                    </a:lnTo>
                    <a:lnTo>
                      <a:pt x="1688" y="1134"/>
                    </a:lnTo>
                    <a:lnTo>
                      <a:pt x="1688" y="1132"/>
                    </a:lnTo>
                    <a:lnTo>
                      <a:pt x="1688" y="1132"/>
                    </a:lnTo>
                    <a:lnTo>
                      <a:pt x="1688" y="1132"/>
                    </a:lnTo>
                    <a:close/>
                    <a:moveTo>
                      <a:pt x="5857" y="1127"/>
                    </a:moveTo>
                    <a:lnTo>
                      <a:pt x="5855" y="1127"/>
                    </a:lnTo>
                    <a:lnTo>
                      <a:pt x="5855" y="1130"/>
                    </a:lnTo>
                    <a:lnTo>
                      <a:pt x="5855" y="1184"/>
                    </a:lnTo>
                    <a:lnTo>
                      <a:pt x="5855" y="1184"/>
                    </a:lnTo>
                    <a:lnTo>
                      <a:pt x="5855" y="1184"/>
                    </a:lnTo>
                    <a:lnTo>
                      <a:pt x="5857" y="1184"/>
                    </a:lnTo>
                    <a:lnTo>
                      <a:pt x="5857" y="1127"/>
                    </a:lnTo>
                    <a:close/>
                    <a:moveTo>
                      <a:pt x="6323" y="1127"/>
                    </a:moveTo>
                    <a:lnTo>
                      <a:pt x="6323" y="1127"/>
                    </a:lnTo>
                    <a:lnTo>
                      <a:pt x="6320" y="1127"/>
                    </a:lnTo>
                    <a:lnTo>
                      <a:pt x="6320" y="1130"/>
                    </a:lnTo>
                    <a:lnTo>
                      <a:pt x="6320" y="1172"/>
                    </a:lnTo>
                    <a:lnTo>
                      <a:pt x="6323" y="1172"/>
                    </a:lnTo>
                    <a:lnTo>
                      <a:pt x="6323" y="1127"/>
                    </a:lnTo>
                    <a:close/>
                    <a:moveTo>
                      <a:pt x="1447" y="1125"/>
                    </a:moveTo>
                    <a:lnTo>
                      <a:pt x="1445" y="1125"/>
                    </a:lnTo>
                    <a:lnTo>
                      <a:pt x="1445" y="1125"/>
                    </a:lnTo>
                    <a:lnTo>
                      <a:pt x="1445" y="1127"/>
                    </a:lnTo>
                    <a:lnTo>
                      <a:pt x="1445" y="1163"/>
                    </a:lnTo>
                    <a:lnTo>
                      <a:pt x="1447" y="1163"/>
                    </a:lnTo>
                    <a:lnTo>
                      <a:pt x="1447" y="1125"/>
                    </a:lnTo>
                    <a:close/>
                    <a:moveTo>
                      <a:pt x="1464" y="1085"/>
                    </a:moveTo>
                    <a:lnTo>
                      <a:pt x="1461" y="1085"/>
                    </a:lnTo>
                    <a:lnTo>
                      <a:pt x="1461" y="1087"/>
                    </a:lnTo>
                    <a:lnTo>
                      <a:pt x="1461" y="1108"/>
                    </a:lnTo>
                    <a:lnTo>
                      <a:pt x="1464" y="1108"/>
                    </a:lnTo>
                    <a:lnTo>
                      <a:pt x="1464" y="1108"/>
                    </a:lnTo>
                    <a:lnTo>
                      <a:pt x="1464" y="1108"/>
                    </a:lnTo>
                    <a:lnTo>
                      <a:pt x="1464" y="1085"/>
                    </a:lnTo>
                    <a:close/>
                    <a:moveTo>
                      <a:pt x="2861" y="1063"/>
                    </a:moveTo>
                    <a:lnTo>
                      <a:pt x="2859" y="1063"/>
                    </a:lnTo>
                    <a:lnTo>
                      <a:pt x="2859" y="1063"/>
                    </a:lnTo>
                    <a:lnTo>
                      <a:pt x="2859" y="1066"/>
                    </a:lnTo>
                    <a:lnTo>
                      <a:pt x="2859" y="1203"/>
                    </a:lnTo>
                    <a:lnTo>
                      <a:pt x="2861" y="1203"/>
                    </a:lnTo>
                    <a:lnTo>
                      <a:pt x="2861" y="1063"/>
                    </a:lnTo>
                    <a:close/>
                    <a:moveTo>
                      <a:pt x="5930" y="1042"/>
                    </a:moveTo>
                    <a:lnTo>
                      <a:pt x="5930" y="1042"/>
                    </a:lnTo>
                    <a:lnTo>
                      <a:pt x="5930" y="1042"/>
                    </a:lnTo>
                    <a:lnTo>
                      <a:pt x="5930" y="1044"/>
                    </a:lnTo>
                    <a:lnTo>
                      <a:pt x="5930" y="1092"/>
                    </a:lnTo>
                    <a:lnTo>
                      <a:pt x="5930" y="1092"/>
                    </a:lnTo>
                    <a:lnTo>
                      <a:pt x="5930" y="1042"/>
                    </a:lnTo>
                    <a:close/>
                    <a:moveTo>
                      <a:pt x="2878" y="1011"/>
                    </a:moveTo>
                    <a:lnTo>
                      <a:pt x="2875" y="1013"/>
                    </a:lnTo>
                    <a:lnTo>
                      <a:pt x="2875" y="1013"/>
                    </a:lnTo>
                    <a:lnTo>
                      <a:pt x="2875" y="1047"/>
                    </a:lnTo>
                    <a:lnTo>
                      <a:pt x="2878" y="1047"/>
                    </a:lnTo>
                    <a:lnTo>
                      <a:pt x="2878" y="1044"/>
                    </a:lnTo>
                    <a:lnTo>
                      <a:pt x="2878" y="1044"/>
                    </a:lnTo>
                    <a:lnTo>
                      <a:pt x="2878" y="1011"/>
                    </a:lnTo>
                    <a:close/>
                    <a:moveTo>
                      <a:pt x="3771" y="995"/>
                    </a:moveTo>
                    <a:lnTo>
                      <a:pt x="3769" y="995"/>
                    </a:lnTo>
                    <a:lnTo>
                      <a:pt x="3769" y="995"/>
                    </a:lnTo>
                    <a:lnTo>
                      <a:pt x="3769" y="1186"/>
                    </a:lnTo>
                    <a:lnTo>
                      <a:pt x="3771" y="1186"/>
                    </a:lnTo>
                    <a:lnTo>
                      <a:pt x="3771" y="995"/>
                    </a:lnTo>
                    <a:close/>
                    <a:moveTo>
                      <a:pt x="5949" y="990"/>
                    </a:moveTo>
                    <a:lnTo>
                      <a:pt x="5947" y="990"/>
                    </a:lnTo>
                    <a:lnTo>
                      <a:pt x="5947" y="992"/>
                    </a:lnTo>
                    <a:lnTo>
                      <a:pt x="5947" y="1025"/>
                    </a:lnTo>
                    <a:lnTo>
                      <a:pt x="5947" y="1025"/>
                    </a:lnTo>
                    <a:lnTo>
                      <a:pt x="5947" y="1023"/>
                    </a:lnTo>
                    <a:lnTo>
                      <a:pt x="5949" y="1023"/>
                    </a:lnTo>
                    <a:lnTo>
                      <a:pt x="5949" y="990"/>
                    </a:lnTo>
                    <a:close/>
                    <a:moveTo>
                      <a:pt x="6339" y="935"/>
                    </a:moveTo>
                    <a:lnTo>
                      <a:pt x="6339" y="935"/>
                    </a:lnTo>
                    <a:lnTo>
                      <a:pt x="6339" y="935"/>
                    </a:lnTo>
                    <a:lnTo>
                      <a:pt x="6339" y="938"/>
                    </a:lnTo>
                    <a:lnTo>
                      <a:pt x="6339" y="1111"/>
                    </a:lnTo>
                    <a:lnTo>
                      <a:pt x="6339" y="1111"/>
                    </a:lnTo>
                    <a:lnTo>
                      <a:pt x="6339" y="1111"/>
                    </a:lnTo>
                    <a:lnTo>
                      <a:pt x="6339" y="1111"/>
                    </a:lnTo>
                    <a:lnTo>
                      <a:pt x="6339" y="935"/>
                    </a:lnTo>
                    <a:close/>
                    <a:moveTo>
                      <a:pt x="3845" y="928"/>
                    </a:moveTo>
                    <a:lnTo>
                      <a:pt x="3845" y="928"/>
                    </a:lnTo>
                    <a:lnTo>
                      <a:pt x="3845" y="931"/>
                    </a:lnTo>
                    <a:lnTo>
                      <a:pt x="3845" y="957"/>
                    </a:lnTo>
                    <a:lnTo>
                      <a:pt x="3845" y="957"/>
                    </a:lnTo>
                    <a:lnTo>
                      <a:pt x="3845" y="928"/>
                    </a:lnTo>
                    <a:close/>
                    <a:moveTo>
                      <a:pt x="6384" y="895"/>
                    </a:moveTo>
                    <a:lnTo>
                      <a:pt x="6384" y="895"/>
                    </a:lnTo>
                    <a:lnTo>
                      <a:pt x="6384" y="895"/>
                    </a:lnTo>
                    <a:lnTo>
                      <a:pt x="6384" y="897"/>
                    </a:lnTo>
                    <a:lnTo>
                      <a:pt x="6382" y="897"/>
                    </a:lnTo>
                    <a:lnTo>
                      <a:pt x="6384" y="897"/>
                    </a:lnTo>
                    <a:lnTo>
                      <a:pt x="6384" y="895"/>
                    </a:lnTo>
                    <a:close/>
                    <a:moveTo>
                      <a:pt x="6389" y="879"/>
                    </a:moveTo>
                    <a:lnTo>
                      <a:pt x="6389" y="879"/>
                    </a:lnTo>
                    <a:lnTo>
                      <a:pt x="6389" y="879"/>
                    </a:lnTo>
                    <a:lnTo>
                      <a:pt x="6389" y="881"/>
                    </a:lnTo>
                    <a:lnTo>
                      <a:pt x="6389" y="890"/>
                    </a:lnTo>
                    <a:lnTo>
                      <a:pt x="6389" y="890"/>
                    </a:lnTo>
                    <a:lnTo>
                      <a:pt x="6389" y="890"/>
                    </a:lnTo>
                    <a:lnTo>
                      <a:pt x="6389" y="890"/>
                    </a:lnTo>
                    <a:lnTo>
                      <a:pt x="6389" y="879"/>
                    </a:lnTo>
                    <a:close/>
                    <a:moveTo>
                      <a:pt x="6398" y="850"/>
                    </a:moveTo>
                    <a:lnTo>
                      <a:pt x="6396" y="850"/>
                    </a:lnTo>
                    <a:lnTo>
                      <a:pt x="6396" y="853"/>
                    </a:lnTo>
                    <a:lnTo>
                      <a:pt x="6396" y="871"/>
                    </a:lnTo>
                    <a:lnTo>
                      <a:pt x="6398" y="871"/>
                    </a:lnTo>
                    <a:lnTo>
                      <a:pt x="6398" y="869"/>
                    </a:lnTo>
                    <a:lnTo>
                      <a:pt x="6398" y="869"/>
                    </a:lnTo>
                    <a:lnTo>
                      <a:pt x="6398" y="850"/>
                    </a:lnTo>
                    <a:close/>
                    <a:moveTo>
                      <a:pt x="3100" y="763"/>
                    </a:moveTo>
                    <a:lnTo>
                      <a:pt x="3100" y="763"/>
                    </a:lnTo>
                    <a:lnTo>
                      <a:pt x="3098" y="763"/>
                    </a:lnTo>
                    <a:lnTo>
                      <a:pt x="3098" y="765"/>
                    </a:lnTo>
                    <a:lnTo>
                      <a:pt x="3098" y="942"/>
                    </a:lnTo>
                    <a:lnTo>
                      <a:pt x="3100" y="942"/>
                    </a:lnTo>
                    <a:lnTo>
                      <a:pt x="3100" y="763"/>
                    </a:lnTo>
                    <a:close/>
                    <a:moveTo>
                      <a:pt x="1010" y="753"/>
                    </a:moveTo>
                    <a:lnTo>
                      <a:pt x="1007" y="753"/>
                    </a:lnTo>
                    <a:lnTo>
                      <a:pt x="1007" y="755"/>
                    </a:lnTo>
                    <a:lnTo>
                      <a:pt x="1007" y="791"/>
                    </a:lnTo>
                    <a:lnTo>
                      <a:pt x="1010" y="791"/>
                    </a:lnTo>
                    <a:lnTo>
                      <a:pt x="1010" y="753"/>
                    </a:lnTo>
                    <a:close/>
                    <a:moveTo>
                      <a:pt x="5133" y="732"/>
                    </a:moveTo>
                    <a:lnTo>
                      <a:pt x="5131" y="732"/>
                    </a:lnTo>
                    <a:lnTo>
                      <a:pt x="5131" y="734"/>
                    </a:lnTo>
                    <a:lnTo>
                      <a:pt x="5131" y="935"/>
                    </a:lnTo>
                    <a:lnTo>
                      <a:pt x="5133" y="935"/>
                    </a:lnTo>
                    <a:lnTo>
                      <a:pt x="5133" y="732"/>
                    </a:lnTo>
                    <a:close/>
                    <a:moveTo>
                      <a:pt x="3140" y="656"/>
                    </a:moveTo>
                    <a:lnTo>
                      <a:pt x="3138" y="656"/>
                    </a:lnTo>
                    <a:lnTo>
                      <a:pt x="3138" y="658"/>
                    </a:lnTo>
                    <a:lnTo>
                      <a:pt x="3138" y="725"/>
                    </a:lnTo>
                    <a:lnTo>
                      <a:pt x="3140" y="725"/>
                    </a:lnTo>
                    <a:lnTo>
                      <a:pt x="3140" y="656"/>
                    </a:lnTo>
                    <a:close/>
                    <a:moveTo>
                      <a:pt x="97" y="616"/>
                    </a:moveTo>
                    <a:lnTo>
                      <a:pt x="95" y="616"/>
                    </a:lnTo>
                    <a:lnTo>
                      <a:pt x="95" y="618"/>
                    </a:lnTo>
                    <a:lnTo>
                      <a:pt x="95" y="1416"/>
                    </a:lnTo>
                    <a:lnTo>
                      <a:pt x="97" y="1416"/>
                    </a:lnTo>
                    <a:lnTo>
                      <a:pt x="97" y="616"/>
                    </a:lnTo>
                    <a:close/>
                    <a:moveTo>
                      <a:pt x="5254" y="609"/>
                    </a:moveTo>
                    <a:lnTo>
                      <a:pt x="5252" y="609"/>
                    </a:lnTo>
                    <a:lnTo>
                      <a:pt x="5252" y="611"/>
                    </a:lnTo>
                    <a:lnTo>
                      <a:pt x="5252" y="694"/>
                    </a:lnTo>
                    <a:lnTo>
                      <a:pt x="5254" y="694"/>
                    </a:lnTo>
                    <a:lnTo>
                      <a:pt x="5254" y="609"/>
                    </a:lnTo>
                    <a:close/>
                    <a:moveTo>
                      <a:pt x="3282" y="583"/>
                    </a:moveTo>
                    <a:lnTo>
                      <a:pt x="3282" y="583"/>
                    </a:lnTo>
                    <a:lnTo>
                      <a:pt x="3282" y="583"/>
                    </a:lnTo>
                    <a:lnTo>
                      <a:pt x="3282" y="585"/>
                    </a:lnTo>
                    <a:lnTo>
                      <a:pt x="3282" y="620"/>
                    </a:lnTo>
                    <a:lnTo>
                      <a:pt x="3282" y="620"/>
                    </a:lnTo>
                    <a:lnTo>
                      <a:pt x="3282" y="583"/>
                    </a:lnTo>
                    <a:close/>
                    <a:moveTo>
                      <a:pt x="303" y="547"/>
                    </a:moveTo>
                    <a:lnTo>
                      <a:pt x="300" y="547"/>
                    </a:lnTo>
                    <a:lnTo>
                      <a:pt x="300" y="549"/>
                    </a:lnTo>
                    <a:lnTo>
                      <a:pt x="300" y="580"/>
                    </a:lnTo>
                    <a:lnTo>
                      <a:pt x="303" y="580"/>
                    </a:lnTo>
                    <a:lnTo>
                      <a:pt x="303" y="547"/>
                    </a:lnTo>
                    <a:close/>
                    <a:moveTo>
                      <a:pt x="7025" y="509"/>
                    </a:moveTo>
                    <a:lnTo>
                      <a:pt x="7025" y="509"/>
                    </a:lnTo>
                    <a:lnTo>
                      <a:pt x="7025" y="512"/>
                    </a:lnTo>
                    <a:lnTo>
                      <a:pt x="7025" y="1655"/>
                    </a:lnTo>
                    <a:lnTo>
                      <a:pt x="7025" y="1655"/>
                    </a:lnTo>
                    <a:lnTo>
                      <a:pt x="7025" y="509"/>
                    </a:lnTo>
                    <a:close/>
                    <a:moveTo>
                      <a:pt x="4195" y="502"/>
                    </a:moveTo>
                    <a:lnTo>
                      <a:pt x="4192" y="502"/>
                    </a:lnTo>
                    <a:lnTo>
                      <a:pt x="4192" y="504"/>
                    </a:lnTo>
                    <a:lnTo>
                      <a:pt x="4154" y="557"/>
                    </a:lnTo>
                    <a:lnTo>
                      <a:pt x="4154" y="559"/>
                    </a:lnTo>
                    <a:lnTo>
                      <a:pt x="4195" y="502"/>
                    </a:lnTo>
                    <a:close/>
                    <a:moveTo>
                      <a:pt x="3301" y="502"/>
                    </a:moveTo>
                    <a:lnTo>
                      <a:pt x="3298" y="502"/>
                    </a:lnTo>
                    <a:lnTo>
                      <a:pt x="3298" y="502"/>
                    </a:lnTo>
                    <a:lnTo>
                      <a:pt x="3298" y="502"/>
                    </a:lnTo>
                    <a:lnTo>
                      <a:pt x="3298" y="566"/>
                    </a:lnTo>
                    <a:lnTo>
                      <a:pt x="3298" y="566"/>
                    </a:lnTo>
                    <a:lnTo>
                      <a:pt x="3298" y="564"/>
                    </a:lnTo>
                    <a:lnTo>
                      <a:pt x="3301" y="564"/>
                    </a:lnTo>
                    <a:lnTo>
                      <a:pt x="3301" y="502"/>
                    </a:lnTo>
                    <a:close/>
                    <a:moveTo>
                      <a:pt x="4036" y="455"/>
                    </a:moveTo>
                    <a:lnTo>
                      <a:pt x="4036" y="455"/>
                    </a:lnTo>
                    <a:lnTo>
                      <a:pt x="4036" y="455"/>
                    </a:lnTo>
                    <a:lnTo>
                      <a:pt x="4036" y="457"/>
                    </a:lnTo>
                    <a:lnTo>
                      <a:pt x="4036" y="490"/>
                    </a:lnTo>
                    <a:lnTo>
                      <a:pt x="3953" y="644"/>
                    </a:lnTo>
                    <a:lnTo>
                      <a:pt x="3953" y="890"/>
                    </a:lnTo>
                    <a:lnTo>
                      <a:pt x="3956" y="890"/>
                    </a:lnTo>
                    <a:lnTo>
                      <a:pt x="3956" y="642"/>
                    </a:lnTo>
                    <a:lnTo>
                      <a:pt x="4036" y="490"/>
                    </a:lnTo>
                    <a:lnTo>
                      <a:pt x="4036" y="455"/>
                    </a:lnTo>
                    <a:close/>
                    <a:moveTo>
                      <a:pt x="3329" y="433"/>
                    </a:moveTo>
                    <a:lnTo>
                      <a:pt x="3327" y="433"/>
                    </a:lnTo>
                    <a:lnTo>
                      <a:pt x="3327" y="436"/>
                    </a:lnTo>
                    <a:lnTo>
                      <a:pt x="3327" y="474"/>
                    </a:lnTo>
                    <a:lnTo>
                      <a:pt x="3329" y="474"/>
                    </a:lnTo>
                    <a:lnTo>
                      <a:pt x="3329" y="471"/>
                    </a:lnTo>
                    <a:lnTo>
                      <a:pt x="3329" y="471"/>
                    </a:lnTo>
                    <a:lnTo>
                      <a:pt x="3329" y="433"/>
                    </a:lnTo>
                    <a:close/>
                    <a:moveTo>
                      <a:pt x="4043" y="391"/>
                    </a:moveTo>
                    <a:lnTo>
                      <a:pt x="4041" y="391"/>
                    </a:lnTo>
                    <a:lnTo>
                      <a:pt x="4041" y="391"/>
                    </a:lnTo>
                    <a:lnTo>
                      <a:pt x="4041" y="393"/>
                    </a:lnTo>
                    <a:lnTo>
                      <a:pt x="4041" y="448"/>
                    </a:lnTo>
                    <a:lnTo>
                      <a:pt x="4043" y="448"/>
                    </a:lnTo>
                    <a:lnTo>
                      <a:pt x="4043" y="448"/>
                    </a:lnTo>
                    <a:lnTo>
                      <a:pt x="4043" y="448"/>
                    </a:lnTo>
                    <a:lnTo>
                      <a:pt x="4043" y="391"/>
                    </a:lnTo>
                    <a:close/>
                    <a:moveTo>
                      <a:pt x="1809" y="370"/>
                    </a:moveTo>
                    <a:lnTo>
                      <a:pt x="1809" y="370"/>
                    </a:lnTo>
                    <a:lnTo>
                      <a:pt x="1809" y="370"/>
                    </a:lnTo>
                    <a:lnTo>
                      <a:pt x="1809" y="1094"/>
                    </a:lnTo>
                    <a:lnTo>
                      <a:pt x="1809" y="1094"/>
                    </a:lnTo>
                    <a:lnTo>
                      <a:pt x="1809" y="370"/>
                    </a:lnTo>
                    <a:close/>
                    <a:moveTo>
                      <a:pt x="4050" y="327"/>
                    </a:moveTo>
                    <a:lnTo>
                      <a:pt x="4048" y="327"/>
                    </a:lnTo>
                    <a:lnTo>
                      <a:pt x="4048" y="329"/>
                    </a:lnTo>
                    <a:lnTo>
                      <a:pt x="4048" y="384"/>
                    </a:lnTo>
                    <a:lnTo>
                      <a:pt x="4050" y="384"/>
                    </a:lnTo>
                    <a:lnTo>
                      <a:pt x="4050" y="381"/>
                    </a:lnTo>
                    <a:lnTo>
                      <a:pt x="4050" y="381"/>
                    </a:lnTo>
                    <a:lnTo>
                      <a:pt x="4050" y="327"/>
                    </a:lnTo>
                    <a:close/>
                    <a:moveTo>
                      <a:pt x="2029" y="294"/>
                    </a:moveTo>
                    <a:lnTo>
                      <a:pt x="2026" y="294"/>
                    </a:lnTo>
                    <a:lnTo>
                      <a:pt x="2026" y="296"/>
                    </a:lnTo>
                    <a:lnTo>
                      <a:pt x="2026" y="296"/>
                    </a:lnTo>
                    <a:lnTo>
                      <a:pt x="2029" y="296"/>
                    </a:lnTo>
                    <a:lnTo>
                      <a:pt x="2029" y="294"/>
                    </a:lnTo>
                    <a:close/>
                    <a:moveTo>
                      <a:pt x="4703" y="232"/>
                    </a:moveTo>
                    <a:lnTo>
                      <a:pt x="4703" y="232"/>
                    </a:lnTo>
                    <a:lnTo>
                      <a:pt x="4701" y="235"/>
                    </a:lnTo>
                    <a:lnTo>
                      <a:pt x="4642" y="457"/>
                    </a:lnTo>
                    <a:lnTo>
                      <a:pt x="4644" y="455"/>
                    </a:lnTo>
                    <a:lnTo>
                      <a:pt x="4703" y="232"/>
                    </a:lnTo>
                    <a:close/>
                    <a:moveTo>
                      <a:pt x="4805" y="173"/>
                    </a:moveTo>
                    <a:lnTo>
                      <a:pt x="4802" y="173"/>
                    </a:lnTo>
                    <a:lnTo>
                      <a:pt x="4802" y="173"/>
                    </a:lnTo>
                    <a:lnTo>
                      <a:pt x="4802" y="175"/>
                    </a:lnTo>
                    <a:lnTo>
                      <a:pt x="4802" y="194"/>
                    </a:lnTo>
                    <a:lnTo>
                      <a:pt x="4805" y="194"/>
                    </a:lnTo>
                    <a:lnTo>
                      <a:pt x="4805" y="173"/>
                    </a:lnTo>
                    <a:close/>
                    <a:moveTo>
                      <a:pt x="4852" y="0"/>
                    </a:moveTo>
                    <a:lnTo>
                      <a:pt x="4852" y="0"/>
                    </a:lnTo>
                    <a:lnTo>
                      <a:pt x="4852" y="3"/>
                    </a:lnTo>
                    <a:lnTo>
                      <a:pt x="4852" y="135"/>
                    </a:lnTo>
                    <a:lnTo>
                      <a:pt x="4852" y="135"/>
                    </a:lnTo>
                    <a:lnTo>
                      <a:pt x="4852" y="0"/>
                    </a:lnTo>
                    <a:close/>
                    <a:moveTo>
                      <a:pt x="4911" y="0"/>
                    </a:moveTo>
                    <a:lnTo>
                      <a:pt x="4909" y="0"/>
                    </a:lnTo>
                    <a:lnTo>
                      <a:pt x="4909" y="135"/>
                    </a:lnTo>
                    <a:lnTo>
                      <a:pt x="4911" y="135"/>
                    </a:lnTo>
                    <a:lnTo>
                      <a:pt x="4911" y="0"/>
                    </a:lnTo>
                    <a:close/>
                  </a:path>
                </a:pathLst>
              </a:custGeom>
              <a:solidFill>
                <a:srgbClr val="D3D3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3" name="Freeform 105"/>
              <p:cNvSpPr>
                <a:spLocks noEditPoints="1"/>
              </p:cNvSpPr>
              <p:nvPr/>
            </p:nvSpPr>
            <p:spPr bwMode="auto">
              <a:xfrm>
                <a:off x="9" y="1698"/>
                <a:ext cx="7025" cy="1655"/>
              </a:xfrm>
              <a:custGeom>
                <a:avLst/>
                <a:gdLst>
                  <a:gd name="T0" fmla="*/ 2 w 7025"/>
                  <a:gd name="T1" fmla="*/ 1496 h 1655"/>
                  <a:gd name="T2" fmla="*/ 5665 w 7025"/>
                  <a:gd name="T3" fmla="*/ 1411 h 1655"/>
                  <a:gd name="T4" fmla="*/ 3710 w 7025"/>
                  <a:gd name="T5" fmla="*/ 1224 h 1655"/>
                  <a:gd name="T6" fmla="*/ 5831 w 7025"/>
                  <a:gd name="T7" fmla="*/ 1210 h 1655"/>
                  <a:gd name="T8" fmla="*/ 5831 w 7025"/>
                  <a:gd name="T9" fmla="*/ 1210 h 1655"/>
                  <a:gd name="T10" fmla="*/ 1665 w 7025"/>
                  <a:gd name="T11" fmla="*/ 1163 h 1655"/>
                  <a:gd name="T12" fmla="*/ 1688 w 7025"/>
                  <a:gd name="T13" fmla="*/ 1134 h 1655"/>
                  <a:gd name="T14" fmla="*/ 1688 w 7025"/>
                  <a:gd name="T15" fmla="*/ 1132 h 1655"/>
                  <a:gd name="T16" fmla="*/ 5855 w 7025"/>
                  <a:gd name="T17" fmla="*/ 1184 h 1655"/>
                  <a:gd name="T18" fmla="*/ 6323 w 7025"/>
                  <a:gd name="T19" fmla="*/ 1127 h 1655"/>
                  <a:gd name="T20" fmla="*/ 6323 w 7025"/>
                  <a:gd name="T21" fmla="*/ 1127 h 1655"/>
                  <a:gd name="T22" fmla="*/ 1445 w 7025"/>
                  <a:gd name="T23" fmla="*/ 1163 h 1655"/>
                  <a:gd name="T24" fmla="*/ 1461 w 7025"/>
                  <a:gd name="T25" fmla="*/ 1087 h 1655"/>
                  <a:gd name="T26" fmla="*/ 1464 w 7025"/>
                  <a:gd name="T27" fmla="*/ 1085 h 1655"/>
                  <a:gd name="T28" fmla="*/ 2859 w 7025"/>
                  <a:gd name="T29" fmla="*/ 1203 h 1655"/>
                  <a:gd name="T30" fmla="*/ 5930 w 7025"/>
                  <a:gd name="T31" fmla="*/ 1042 h 1655"/>
                  <a:gd name="T32" fmla="*/ 2878 w 7025"/>
                  <a:gd name="T33" fmla="*/ 1011 h 1655"/>
                  <a:gd name="T34" fmla="*/ 2878 w 7025"/>
                  <a:gd name="T35" fmla="*/ 1044 h 1655"/>
                  <a:gd name="T36" fmla="*/ 3769 w 7025"/>
                  <a:gd name="T37" fmla="*/ 995 h 1655"/>
                  <a:gd name="T38" fmla="*/ 5947 w 7025"/>
                  <a:gd name="T39" fmla="*/ 990 h 1655"/>
                  <a:gd name="T40" fmla="*/ 5949 w 7025"/>
                  <a:gd name="T41" fmla="*/ 1023 h 1655"/>
                  <a:gd name="T42" fmla="*/ 6339 w 7025"/>
                  <a:gd name="T43" fmla="*/ 938 h 1655"/>
                  <a:gd name="T44" fmla="*/ 6339 w 7025"/>
                  <a:gd name="T45" fmla="*/ 935 h 1655"/>
                  <a:gd name="T46" fmla="*/ 3845 w 7025"/>
                  <a:gd name="T47" fmla="*/ 957 h 1655"/>
                  <a:gd name="T48" fmla="*/ 6384 w 7025"/>
                  <a:gd name="T49" fmla="*/ 897 h 1655"/>
                  <a:gd name="T50" fmla="*/ 6389 w 7025"/>
                  <a:gd name="T51" fmla="*/ 879 h 1655"/>
                  <a:gd name="T52" fmla="*/ 6389 w 7025"/>
                  <a:gd name="T53" fmla="*/ 890 h 1655"/>
                  <a:gd name="T54" fmla="*/ 6396 w 7025"/>
                  <a:gd name="T55" fmla="*/ 853 h 1655"/>
                  <a:gd name="T56" fmla="*/ 6398 w 7025"/>
                  <a:gd name="T57" fmla="*/ 850 h 1655"/>
                  <a:gd name="T58" fmla="*/ 3098 w 7025"/>
                  <a:gd name="T59" fmla="*/ 942 h 1655"/>
                  <a:gd name="T60" fmla="*/ 1007 w 7025"/>
                  <a:gd name="T61" fmla="*/ 755 h 1655"/>
                  <a:gd name="T62" fmla="*/ 5131 w 7025"/>
                  <a:gd name="T63" fmla="*/ 732 h 1655"/>
                  <a:gd name="T64" fmla="*/ 3140 w 7025"/>
                  <a:gd name="T65" fmla="*/ 656 h 1655"/>
                  <a:gd name="T66" fmla="*/ 3140 w 7025"/>
                  <a:gd name="T67" fmla="*/ 656 h 1655"/>
                  <a:gd name="T68" fmla="*/ 97 w 7025"/>
                  <a:gd name="T69" fmla="*/ 1416 h 1655"/>
                  <a:gd name="T70" fmla="*/ 5252 w 7025"/>
                  <a:gd name="T71" fmla="*/ 694 h 1655"/>
                  <a:gd name="T72" fmla="*/ 3282 w 7025"/>
                  <a:gd name="T73" fmla="*/ 583 h 1655"/>
                  <a:gd name="T74" fmla="*/ 303 w 7025"/>
                  <a:gd name="T75" fmla="*/ 547 h 1655"/>
                  <a:gd name="T76" fmla="*/ 303 w 7025"/>
                  <a:gd name="T77" fmla="*/ 547 h 1655"/>
                  <a:gd name="T78" fmla="*/ 7025 w 7025"/>
                  <a:gd name="T79" fmla="*/ 1655 h 1655"/>
                  <a:gd name="T80" fmla="*/ 4154 w 7025"/>
                  <a:gd name="T81" fmla="*/ 557 h 1655"/>
                  <a:gd name="T82" fmla="*/ 3298 w 7025"/>
                  <a:gd name="T83" fmla="*/ 502 h 1655"/>
                  <a:gd name="T84" fmla="*/ 3301 w 7025"/>
                  <a:gd name="T85" fmla="*/ 564 h 1655"/>
                  <a:gd name="T86" fmla="*/ 4036 w 7025"/>
                  <a:gd name="T87" fmla="*/ 457 h 1655"/>
                  <a:gd name="T88" fmla="*/ 3956 w 7025"/>
                  <a:gd name="T89" fmla="*/ 642 h 1655"/>
                  <a:gd name="T90" fmla="*/ 3327 w 7025"/>
                  <a:gd name="T91" fmla="*/ 436 h 1655"/>
                  <a:gd name="T92" fmla="*/ 3329 w 7025"/>
                  <a:gd name="T93" fmla="*/ 433 h 1655"/>
                  <a:gd name="T94" fmla="*/ 4041 w 7025"/>
                  <a:gd name="T95" fmla="*/ 448 h 1655"/>
                  <a:gd name="T96" fmla="*/ 1809 w 7025"/>
                  <a:gd name="T97" fmla="*/ 370 h 1655"/>
                  <a:gd name="T98" fmla="*/ 1809 w 7025"/>
                  <a:gd name="T99" fmla="*/ 370 h 1655"/>
                  <a:gd name="T100" fmla="*/ 4050 w 7025"/>
                  <a:gd name="T101" fmla="*/ 384 h 1655"/>
                  <a:gd name="T102" fmla="*/ 2026 w 7025"/>
                  <a:gd name="T103" fmla="*/ 294 h 1655"/>
                  <a:gd name="T104" fmla="*/ 4703 w 7025"/>
                  <a:gd name="T105" fmla="*/ 232 h 1655"/>
                  <a:gd name="T106" fmla="*/ 4703 w 7025"/>
                  <a:gd name="T107" fmla="*/ 232 h 1655"/>
                  <a:gd name="T108" fmla="*/ 4802 w 7025"/>
                  <a:gd name="T109" fmla="*/ 194 h 1655"/>
                  <a:gd name="T110" fmla="*/ 4852 w 7025"/>
                  <a:gd name="T111" fmla="*/ 3 h 1655"/>
                  <a:gd name="T112" fmla="*/ 4909 w 7025"/>
                  <a:gd name="T113" fmla="*/ 0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55">
                    <a:moveTo>
                      <a:pt x="2" y="1454"/>
                    </a:moveTo>
                    <a:lnTo>
                      <a:pt x="0" y="1454"/>
                    </a:lnTo>
                    <a:lnTo>
                      <a:pt x="0" y="1454"/>
                    </a:lnTo>
                    <a:lnTo>
                      <a:pt x="0" y="1496"/>
                    </a:lnTo>
                    <a:lnTo>
                      <a:pt x="2" y="1496"/>
                    </a:lnTo>
                    <a:lnTo>
                      <a:pt x="2" y="1454"/>
                    </a:lnTo>
                    <a:moveTo>
                      <a:pt x="5665" y="1326"/>
                    </a:moveTo>
                    <a:lnTo>
                      <a:pt x="5665" y="1326"/>
                    </a:lnTo>
                    <a:lnTo>
                      <a:pt x="5665" y="1328"/>
                    </a:lnTo>
                    <a:lnTo>
                      <a:pt x="5665" y="1411"/>
                    </a:lnTo>
                    <a:lnTo>
                      <a:pt x="5665" y="1411"/>
                    </a:lnTo>
                    <a:lnTo>
                      <a:pt x="5665" y="1326"/>
                    </a:lnTo>
                    <a:moveTo>
                      <a:pt x="3712" y="1222"/>
                    </a:moveTo>
                    <a:lnTo>
                      <a:pt x="3710" y="1222"/>
                    </a:lnTo>
                    <a:lnTo>
                      <a:pt x="3710" y="1224"/>
                    </a:lnTo>
                    <a:lnTo>
                      <a:pt x="3710" y="1279"/>
                    </a:lnTo>
                    <a:lnTo>
                      <a:pt x="3712" y="1279"/>
                    </a:lnTo>
                    <a:lnTo>
                      <a:pt x="3712" y="1222"/>
                    </a:lnTo>
                    <a:moveTo>
                      <a:pt x="5831" y="1210"/>
                    </a:moveTo>
                    <a:lnTo>
                      <a:pt x="5831" y="1210"/>
                    </a:lnTo>
                    <a:lnTo>
                      <a:pt x="5829" y="1210"/>
                    </a:lnTo>
                    <a:lnTo>
                      <a:pt x="5829" y="1210"/>
                    </a:lnTo>
                    <a:lnTo>
                      <a:pt x="5829" y="1288"/>
                    </a:lnTo>
                    <a:lnTo>
                      <a:pt x="5831" y="1288"/>
                    </a:lnTo>
                    <a:lnTo>
                      <a:pt x="5831" y="1210"/>
                    </a:lnTo>
                    <a:moveTo>
                      <a:pt x="1667" y="1158"/>
                    </a:moveTo>
                    <a:lnTo>
                      <a:pt x="1665" y="1158"/>
                    </a:lnTo>
                    <a:lnTo>
                      <a:pt x="1665" y="1158"/>
                    </a:lnTo>
                    <a:lnTo>
                      <a:pt x="1665" y="1158"/>
                    </a:lnTo>
                    <a:lnTo>
                      <a:pt x="1665" y="1163"/>
                    </a:lnTo>
                    <a:lnTo>
                      <a:pt x="1667" y="1163"/>
                    </a:lnTo>
                    <a:lnTo>
                      <a:pt x="1667" y="1158"/>
                    </a:lnTo>
                    <a:moveTo>
                      <a:pt x="1688" y="1132"/>
                    </a:moveTo>
                    <a:lnTo>
                      <a:pt x="1688" y="1132"/>
                    </a:lnTo>
                    <a:lnTo>
                      <a:pt x="1688" y="1134"/>
                    </a:lnTo>
                    <a:lnTo>
                      <a:pt x="1688" y="1134"/>
                    </a:lnTo>
                    <a:lnTo>
                      <a:pt x="1688" y="1134"/>
                    </a:lnTo>
                    <a:lnTo>
                      <a:pt x="1688" y="1132"/>
                    </a:lnTo>
                    <a:lnTo>
                      <a:pt x="1688" y="1132"/>
                    </a:lnTo>
                    <a:lnTo>
                      <a:pt x="1688" y="1132"/>
                    </a:lnTo>
                    <a:moveTo>
                      <a:pt x="5857" y="1127"/>
                    </a:moveTo>
                    <a:lnTo>
                      <a:pt x="5855" y="1127"/>
                    </a:lnTo>
                    <a:lnTo>
                      <a:pt x="5855" y="1130"/>
                    </a:lnTo>
                    <a:lnTo>
                      <a:pt x="5855" y="1184"/>
                    </a:lnTo>
                    <a:lnTo>
                      <a:pt x="5855" y="1184"/>
                    </a:lnTo>
                    <a:lnTo>
                      <a:pt x="5855" y="1184"/>
                    </a:lnTo>
                    <a:lnTo>
                      <a:pt x="5857" y="1184"/>
                    </a:lnTo>
                    <a:lnTo>
                      <a:pt x="5857" y="1127"/>
                    </a:lnTo>
                    <a:moveTo>
                      <a:pt x="6323" y="1127"/>
                    </a:moveTo>
                    <a:lnTo>
                      <a:pt x="6323" y="1127"/>
                    </a:lnTo>
                    <a:lnTo>
                      <a:pt x="6320" y="1127"/>
                    </a:lnTo>
                    <a:lnTo>
                      <a:pt x="6320" y="1130"/>
                    </a:lnTo>
                    <a:lnTo>
                      <a:pt x="6320" y="1172"/>
                    </a:lnTo>
                    <a:lnTo>
                      <a:pt x="6323" y="1172"/>
                    </a:lnTo>
                    <a:lnTo>
                      <a:pt x="6323" y="1127"/>
                    </a:lnTo>
                    <a:moveTo>
                      <a:pt x="1447" y="1125"/>
                    </a:moveTo>
                    <a:lnTo>
                      <a:pt x="1445" y="1125"/>
                    </a:lnTo>
                    <a:lnTo>
                      <a:pt x="1445" y="1125"/>
                    </a:lnTo>
                    <a:lnTo>
                      <a:pt x="1445" y="1127"/>
                    </a:lnTo>
                    <a:lnTo>
                      <a:pt x="1445" y="1163"/>
                    </a:lnTo>
                    <a:lnTo>
                      <a:pt x="1447" y="1163"/>
                    </a:lnTo>
                    <a:lnTo>
                      <a:pt x="1447" y="1125"/>
                    </a:lnTo>
                    <a:moveTo>
                      <a:pt x="1464" y="1085"/>
                    </a:moveTo>
                    <a:lnTo>
                      <a:pt x="1461" y="1085"/>
                    </a:lnTo>
                    <a:lnTo>
                      <a:pt x="1461" y="1087"/>
                    </a:lnTo>
                    <a:lnTo>
                      <a:pt x="1461" y="1108"/>
                    </a:lnTo>
                    <a:lnTo>
                      <a:pt x="1464" y="1108"/>
                    </a:lnTo>
                    <a:lnTo>
                      <a:pt x="1464" y="1108"/>
                    </a:lnTo>
                    <a:lnTo>
                      <a:pt x="1464" y="1108"/>
                    </a:lnTo>
                    <a:lnTo>
                      <a:pt x="1464" y="1085"/>
                    </a:lnTo>
                    <a:moveTo>
                      <a:pt x="2861" y="1063"/>
                    </a:moveTo>
                    <a:lnTo>
                      <a:pt x="2859" y="1063"/>
                    </a:lnTo>
                    <a:lnTo>
                      <a:pt x="2859" y="1063"/>
                    </a:lnTo>
                    <a:lnTo>
                      <a:pt x="2859" y="1066"/>
                    </a:lnTo>
                    <a:lnTo>
                      <a:pt x="2859" y="1203"/>
                    </a:lnTo>
                    <a:lnTo>
                      <a:pt x="2861" y="1203"/>
                    </a:lnTo>
                    <a:lnTo>
                      <a:pt x="2861" y="1063"/>
                    </a:lnTo>
                    <a:moveTo>
                      <a:pt x="5930" y="1042"/>
                    </a:moveTo>
                    <a:lnTo>
                      <a:pt x="5930" y="1042"/>
                    </a:lnTo>
                    <a:lnTo>
                      <a:pt x="5930" y="1042"/>
                    </a:lnTo>
                    <a:lnTo>
                      <a:pt x="5930" y="1044"/>
                    </a:lnTo>
                    <a:lnTo>
                      <a:pt x="5930" y="1092"/>
                    </a:lnTo>
                    <a:lnTo>
                      <a:pt x="5930" y="1092"/>
                    </a:lnTo>
                    <a:lnTo>
                      <a:pt x="5930" y="1042"/>
                    </a:lnTo>
                    <a:moveTo>
                      <a:pt x="2878" y="1011"/>
                    </a:moveTo>
                    <a:lnTo>
                      <a:pt x="2875" y="1013"/>
                    </a:lnTo>
                    <a:lnTo>
                      <a:pt x="2875" y="1013"/>
                    </a:lnTo>
                    <a:lnTo>
                      <a:pt x="2875" y="1047"/>
                    </a:lnTo>
                    <a:lnTo>
                      <a:pt x="2878" y="1047"/>
                    </a:lnTo>
                    <a:lnTo>
                      <a:pt x="2878" y="1044"/>
                    </a:lnTo>
                    <a:lnTo>
                      <a:pt x="2878" y="1044"/>
                    </a:lnTo>
                    <a:lnTo>
                      <a:pt x="2878" y="1011"/>
                    </a:lnTo>
                    <a:moveTo>
                      <a:pt x="3771" y="995"/>
                    </a:moveTo>
                    <a:lnTo>
                      <a:pt x="3769" y="995"/>
                    </a:lnTo>
                    <a:lnTo>
                      <a:pt x="3769" y="995"/>
                    </a:lnTo>
                    <a:lnTo>
                      <a:pt x="3769" y="1186"/>
                    </a:lnTo>
                    <a:lnTo>
                      <a:pt x="3771" y="1186"/>
                    </a:lnTo>
                    <a:lnTo>
                      <a:pt x="3771" y="995"/>
                    </a:lnTo>
                    <a:moveTo>
                      <a:pt x="5949" y="990"/>
                    </a:moveTo>
                    <a:lnTo>
                      <a:pt x="5947" y="990"/>
                    </a:lnTo>
                    <a:lnTo>
                      <a:pt x="5947" y="992"/>
                    </a:lnTo>
                    <a:lnTo>
                      <a:pt x="5947" y="1025"/>
                    </a:lnTo>
                    <a:lnTo>
                      <a:pt x="5947" y="1025"/>
                    </a:lnTo>
                    <a:lnTo>
                      <a:pt x="5947" y="1023"/>
                    </a:lnTo>
                    <a:lnTo>
                      <a:pt x="5949" y="1023"/>
                    </a:lnTo>
                    <a:lnTo>
                      <a:pt x="5949" y="990"/>
                    </a:lnTo>
                    <a:moveTo>
                      <a:pt x="6339" y="935"/>
                    </a:moveTo>
                    <a:lnTo>
                      <a:pt x="6339" y="935"/>
                    </a:lnTo>
                    <a:lnTo>
                      <a:pt x="6339" y="935"/>
                    </a:lnTo>
                    <a:lnTo>
                      <a:pt x="6339" y="938"/>
                    </a:lnTo>
                    <a:lnTo>
                      <a:pt x="6339" y="1111"/>
                    </a:lnTo>
                    <a:lnTo>
                      <a:pt x="6339" y="1111"/>
                    </a:lnTo>
                    <a:lnTo>
                      <a:pt x="6339" y="1111"/>
                    </a:lnTo>
                    <a:lnTo>
                      <a:pt x="6339" y="1111"/>
                    </a:lnTo>
                    <a:lnTo>
                      <a:pt x="6339" y="935"/>
                    </a:lnTo>
                    <a:moveTo>
                      <a:pt x="3845" y="928"/>
                    </a:moveTo>
                    <a:lnTo>
                      <a:pt x="3845" y="928"/>
                    </a:lnTo>
                    <a:lnTo>
                      <a:pt x="3845" y="931"/>
                    </a:lnTo>
                    <a:lnTo>
                      <a:pt x="3845" y="957"/>
                    </a:lnTo>
                    <a:lnTo>
                      <a:pt x="3845" y="957"/>
                    </a:lnTo>
                    <a:lnTo>
                      <a:pt x="3845" y="928"/>
                    </a:lnTo>
                    <a:moveTo>
                      <a:pt x="6384" y="895"/>
                    </a:moveTo>
                    <a:lnTo>
                      <a:pt x="6384" y="895"/>
                    </a:lnTo>
                    <a:lnTo>
                      <a:pt x="6384" y="895"/>
                    </a:lnTo>
                    <a:lnTo>
                      <a:pt x="6384" y="897"/>
                    </a:lnTo>
                    <a:lnTo>
                      <a:pt x="6382" y="897"/>
                    </a:lnTo>
                    <a:lnTo>
                      <a:pt x="6384" y="897"/>
                    </a:lnTo>
                    <a:lnTo>
                      <a:pt x="6384" y="895"/>
                    </a:lnTo>
                    <a:moveTo>
                      <a:pt x="6389" y="879"/>
                    </a:moveTo>
                    <a:lnTo>
                      <a:pt x="6389" y="879"/>
                    </a:lnTo>
                    <a:lnTo>
                      <a:pt x="6389" y="879"/>
                    </a:lnTo>
                    <a:lnTo>
                      <a:pt x="6389" y="881"/>
                    </a:lnTo>
                    <a:lnTo>
                      <a:pt x="6389" y="890"/>
                    </a:lnTo>
                    <a:lnTo>
                      <a:pt x="6389" y="890"/>
                    </a:lnTo>
                    <a:lnTo>
                      <a:pt x="6389" y="890"/>
                    </a:lnTo>
                    <a:lnTo>
                      <a:pt x="6389" y="890"/>
                    </a:lnTo>
                    <a:lnTo>
                      <a:pt x="6389" y="879"/>
                    </a:lnTo>
                    <a:moveTo>
                      <a:pt x="6398" y="850"/>
                    </a:moveTo>
                    <a:lnTo>
                      <a:pt x="6396" y="850"/>
                    </a:lnTo>
                    <a:lnTo>
                      <a:pt x="6396" y="853"/>
                    </a:lnTo>
                    <a:lnTo>
                      <a:pt x="6396" y="871"/>
                    </a:lnTo>
                    <a:lnTo>
                      <a:pt x="6398" y="871"/>
                    </a:lnTo>
                    <a:lnTo>
                      <a:pt x="6398" y="869"/>
                    </a:lnTo>
                    <a:lnTo>
                      <a:pt x="6398" y="869"/>
                    </a:lnTo>
                    <a:lnTo>
                      <a:pt x="6398" y="850"/>
                    </a:lnTo>
                    <a:moveTo>
                      <a:pt x="3100" y="763"/>
                    </a:moveTo>
                    <a:lnTo>
                      <a:pt x="3100" y="763"/>
                    </a:lnTo>
                    <a:lnTo>
                      <a:pt x="3098" y="763"/>
                    </a:lnTo>
                    <a:lnTo>
                      <a:pt x="3098" y="765"/>
                    </a:lnTo>
                    <a:lnTo>
                      <a:pt x="3098" y="942"/>
                    </a:lnTo>
                    <a:lnTo>
                      <a:pt x="3100" y="942"/>
                    </a:lnTo>
                    <a:lnTo>
                      <a:pt x="3100" y="763"/>
                    </a:lnTo>
                    <a:moveTo>
                      <a:pt x="1010" y="753"/>
                    </a:moveTo>
                    <a:lnTo>
                      <a:pt x="1007" y="753"/>
                    </a:lnTo>
                    <a:lnTo>
                      <a:pt x="1007" y="755"/>
                    </a:lnTo>
                    <a:lnTo>
                      <a:pt x="1007" y="791"/>
                    </a:lnTo>
                    <a:lnTo>
                      <a:pt x="1010" y="791"/>
                    </a:lnTo>
                    <a:lnTo>
                      <a:pt x="1010" y="753"/>
                    </a:lnTo>
                    <a:moveTo>
                      <a:pt x="5133" y="732"/>
                    </a:moveTo>
                    <a:lnTo>
                      <a:pt x="5131" y="732"/>
                    </a:lnTo>
                    <a:lnTo>
                      <a:pt x="5131" y="734"/>
                    </a:lnTo>
                    <a:lnTo>
                      <a:pt x="5131" y="935"/>
                    </a:lnTo>
                    <a:lnTo>
                      <a:pt x="5133" y="935"/>
                    </a:lnTo>
                    <a:lnTo>
                      <a:pt x="5133" y="732"/>
                    </a:lnTo>
                    <a:moveTo>
                      <a:pt x="3140" y="656"/>
                    </a:moveTo>
                    <a:lnTo>
                      <a:pt x="3138" y="656"/>
                    </a:lnTo>
                    <a:lnTo>
                      <a:pt x="3138" y="658"/>
                    </a:lnTo>
                    <a:lnTo>
                      <a:pt x="3138" y="725"/>
                    </a:lnTo>
                    <a:lnTo>
                      <a:pt x="3140" y="725"/>
                    </a:lnTo>
                    <a:lnTo>
                      <a:pt x="3140" y="656"/>
                    </a:lnTo>
                    <a:moveTo>
                      <a:pt x="97" y="616"/>
                    </a:moveTo>
                    <a:lnTo>
                      <a:pt x="95" y="616"/>
                    </a:lnTo>
                    <a:lnTo>
                      <a:pt x="95" y="618"/>
                    </a:lnTo>
                    <a:lnTo>
                      <a:pt x="95" y="1416"/>
                    </a:lnTo>
                    <a:lnTo>
                      <a:pt x="97" y="1416"/>
                    </a:lnTo>
                    <a:lnTo>
                      <a:pt x="97" y="616"/>
                    </a:lnTo>
                    <a:moveTo>
                      <a:pt x="5254" y="609"/>
                    </a:moveTo>
                    <a:lnTo>
                      <a:pt x="5252" y="609"/>
                    </a:lnTo>
                    <a:lnTo>
                      <a:pt x="5252" y="611"/>
                    </a:lnTo>
                    <a:lnTo>
                      <a:pt x="5252" y="694"/>
                    </a:lnTo>
                    <a:lnTo>
                      <a:pt x="5254" y="694"/>
                    </a:lnTo>
                    <a:lnTo>
                      <a:pt x="5254" y="609"/>
                    </a:lnTo>
                    <a:moveTo>
                      <a:pt x="3282" y="583"/>
                    </a:moveTo>
                    <a:lnTo>
                      <a:pt x="3282" y="583"/>
                    </a:lnTo>
                    <a:lnTo>
                      <a:pt x="3282" y="583"/>
                    </a:lnTo>
                    <a:lnTo>
                      <a:pt x="3282" y="585"/>
                    </a:lnTo>
                    <a:lnTo>
                      <a:pt x="3282" y="620"/>
                    </a:lnTo>
                    <a:lnTo>
                      <a:pt x="3282" y="620"/>
                    </a:lnTo>
                    <a:lnTo>
                      <a:pt x="3282" y="583"/>
                    </a:lnTo>
                    <a:moveTo>
                      <a:pt x="303" y="547"/>
                    </a:moveTo>
                    <a:lnTo>
                      <a:pt x="300" y="547"/>
                    </a:lnTo>
                    <a:lnTo>
                      <a:pt x="300" y="549"/>
                    </a:lnTo>
                    <a:lnTo>
                      <a:pt x="300" y="580"/>
                    </a:lnTo>
                    <a:lnTo>
                      <a:pt x="303" y="580"/>
                    </a:lnTo>
                    <a:lnTo>
                      <a:pt x="303" y="547"/>
                    </a:lnTo>
                    <a:moveTo>
                      <a:pt x="7025" y="509"/>
                    </a:moveTo>
                    <a:lnTo>
                      <a:pt x="7025" y="509"/>
                    </a:lnTo>
                    <a:lnTo>
                      <a:pt x="7025" y="512"/>
                    </a:lnTo>
                    <a:lnTo>
                      <a:pt x="7025" y="1655"/>
                    </a:lnTo>
                    <a:lnTo>
                      <a:pt x="7025" y="1655"/>
                    </a:lnTo>
                    <a:lnTo>
                      <a:pt x="7025" y="509"/>
                    </a:lnTo>
                    <a:moveTo>
                      <a:pt x="4195" y="502"/>
                    </a:moveTo>
                    <a:lnTo>
                      <a:pt x="4192" y="502"/>
                    </a:lnTo>
                    <a:lnTo>
                      <a:pt x="4192" y="504"/>
                    </a:lnTo>
                    <a:lnTo>
                      <a:pt x="4154" y="557"/>
                    </a:lnTo>
                    <a:lnTo>
                      <a:pt x="4154" y="559"/>
                    </a:lnTo>
                    <a:lnTo>
                      <a:pt x="4195" y="502"/>
                    </a:lnTo>
                    <a:moveTo>
                      <a:pt x="3301" y="502"/>
                    </a:moveTo>
                    <a:lnTo>
                      <a:pt x="3298" y="502"/>
                    </a:lnTo>
                    <a:lnTo>
                      <a:pt x="3298" y="502"/>
                    </a:lnTo>
                    <a:lnTo>
                      <a:pt x="3298" y="502"/>
                    </a:lnTo>
                    <a:lnTo>
                      <a:pt x="3298" y="566"/>
                    </a:lnTo>
                    <a:lnTo>
                      <a:pt x="3298" y="566"/>
                    </a:lnTo>
                    <a:lnTo>
                      <a:pt x="3298" y="564"/>
                    </a:lnTo>
                    <a:lnTo>
                      <a:pt x="3301" y="564"/>
                    </a:lnTo>
                    <a:lnTo>
                      <a:pt x="3301" y="502"/>
                    </a:lnTo>
                    <a:moveTo>
                      <a:pt x="4036" y="455"/>
                    </a:moveTo>
                    <a:lnTo>
                      <a:pt x="4036" y="455"/>
                    </a:lnTo>
                    <a:lnTo>
                      <a:pt x="4036" y="455"/>
                    </a:lnTo>
                    <a:lnTo>
                      <a:pt x="4036" y="457"/>
                    </a:lnTo>
                    <a:lnTo>
                      <a:pt x="4036" y="490"/>
                    </a:lnTo>
                    <a:lnTo>
                      <a:pt x="3953" y="644"/>
                    </a:lnTo>
                    <a:lnTo>
                      <a:pt x="3953" y="890"/>
                    </a:lnTo>
                    <a:lnTo>
                      <a:pt x="3956" y="890"/>
                    </a:lnTo>
                    <a:lnTo>
                      <a:pt x="3956" y="642"/>
                    </a:lnTo>
                    <a:lnTo>
                      <a:pt x="4036" y="490"/>
                    </a:lnTo>
                    <a:lnTo>
                      <a:pt x="4036" y="455"/>
                    </a:lnTo>
                    <a:moveTo>
                      <a:pt x="3329" y="433"/>
                    </a:moveTo>
                    <a:lnTo>
                      <a:pt x="3327" y="433"/>
                    </a:lnTo>
                    <a:lnTo>
                      <a:pt x="3327" y="436"/>
                    </a:lnTo>
                    <a:lnTo>
                      <a:pt x="3327" y="474"/>
                    </a:lnTo>
                    <a:lnTo>
                      <a:pt x="3329" y="474"/>
                    </a:lnTo>
                    <a:lnTo>
                      <a:pt x="3329" y="471"/>
                    </a:lnTo>
                    <a:lnTo>
                      <a:pt x="3329" y="471"/>
                    </a:lnTo>
                    <a:lnTo>
                      <a:pt x="3329" y="433"/>
                    </a:lnTo>
                    <a:moveTo>
                      <a:pt x="4043" y="391"/>
                    </a:moveTo>
                    <a:lnTo>
                      <a:pt x="4041" y="391"/>
                    </a:lnTo>
                    <a:lnTo>
                      <a:pt x="4041" y="391"/>
                    </a:lnTo>
                    <a:lnTo>
                      <a:pt x="4041" y="393"/>
                    </a:lnTo>
                    <a:lnTo>
                      <a:pt x="4041" y="448"/>
                    </a:lnTo>
                    <a:lnTo>
                      <a:pt x="4043" y="448"/>
                    </a:lnTo>
                    <a:lnTo>
                      <a:pt x="4043" y="448"/>
                    </a:lnTo>
                    <a:lnTo>
                      <a:pt x="4043" y="448"/>
                    </a:lnTo>
                    <a:lnTo>
                      <a:pt x="4043" y="391"/>
                    </a:lnTo>
                    <a:moveTo>
                      <a:pt x="1809" y="370"/>
                    </a:moveTo>
                    <a:lnTo>
                      <a:pt x="1809" y="370"/>
                    </a:lnTo>
                    <a:lnTo>
                      <a:pt x="1809" y="370"/>
                    </a:lnTo>
                    <a:lnTo>
                      <a:pt x="1809" y="1094"/>
                    </a:lnTo>
                    <a:lnTo>
                      <a:pt x="1809" y="1094"/>
                    </a:lnTo>
                    <a:lnTo>
                      <a:pt x="1809" y="370"/>
                    </a:lnTo>
                    <a:moveTo>
                      <a:pt x="4050" y="327"/>
                    </a:moveTo>
                    <a:lnTo>
                      <a:pt x="4048" y="327"/>
                    </a:lnTo>
                    <a:lnTo>
                      <a:pt x="4048" y="329"/>
                    </a:lnTo>
                    <a:lnTo>
                      <a:pt x="4048" y="384"/>
                    </a:lnTo>
                    <a:lnTo>
                      <a:pt x="4050" y="384"/>
                    </a:lnTo>
                    <a:lnTo>
                      <a:pt x="4050" y="381"/>
                    </a:lnTo>
                    <a:lnTo>
                      <a:pt x="4050" y="381"/>
                    </a:lnTo>
                    <a:lnTo>
                      <a:pt x="4050" y="327"/>
                    </a:lnTo>
                    <a:moveTo>
                      <a:pt x="2029" y="294"/>
                    </a:moveTo>
                    <a:lnTo>
                      <a:pt x="2026" y="294"/>
                    </a:lnTo>
                    <a:lnTo>
                      <a:pt x="2026" y="296"/>
                    </a:lnTo>
                    <a:lnTo>
                      <a:pt x="2026" y="296"/>
                    </a:lnTo>
                    <a:lnTo>
                      <a:pt x="2029" y="296"/>
                    </a:lnTo>
                    <a:lnTo>
                      <a:pt x="2029" y="294"/>
                    </a:lnTo>
                    <a:moveTo>
                      <a:pt x="4703" y="232"/>
                    </a:moveTo>
                    <a:lnTo>
                      <a:pt x="4703" y="232"/>
                    </a:lnTo>
                    <a:lnTo>
                      <a:pt x="4701" y="235"/>
                    </a:lnTo>
                    <a:lnTo>
                      <a:pt x="4642" y="457"/>
                    </a:lnTo>
                    <a:lnTo>
                      <a:pt x="4644" y="455"/>
                    </a:lnTo>
                    <a:lnTo>
                      <a:pt x="4703" y="232"/>
                    </a:lnTo>
                    <a:moveTo>
                      <a:pt x="4805" y="173"/>
                    </a:moveTo>
                    <a:lnTo>
                      <a:pt x="4802" y="173"/>
                    </a:lnTo>
                    <a:lnTo>
                      <a:pt x="4802" y="173"/>
                    </a:lnTo>
                    <a:lnTo>
                      <a:pt x="4802" y="175"/>
                    </a:lnTo>
                    <a:lnTo>
                      <a:pt x="4802" y="194"/>
                    </a:lnTo>
                    <a:lnTo>
                      <a:pt x="4805" y="194"/>
                    </a:lnTo>
                    <a:lnTo>
                      <a:pt x="4805" y="173"/>
                    </a:lnTo>
                    <a:moveTo>
                      <a:pt x="4852" y="0"/>
                    </a:moveTo>
                    <a:lnTo>
                      <a:pt x="4852" y="0"/>
                    </a:lnTo>
                    <a:lnTo>
                      <a:pt x="4852" y="3"/>
                    </a:lnTo>
                    <a:lnTo>
                      <a:pt x="4852" y="135"/>
                    </a:lnTo>
                    <a:lnTo>
                      <a:pt x="4852" y="135"/>
                    </a:lnTo>
                    <a:lnTo>
                      <a:pt x="4852" y="0"/>
                    </a:lnTo>
                    <a:moveTo>
                      <a:pt x="4911" y="0"/>
                    </a:moveTo>
                    <a:lnTo>
                      <a:pt x="4909" y="0"/>
                    </a:lnTo>
                    <a:lnTo>
                      <a:pt x="4909" y="135"/>
                    </a:lnTo>
                    <a:lnTo>
                      <a:pt x="4911" y="135"/>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4" name="Freeform 106"/>
              <p:cNvSpPr>
                <a:spLocks noEditPoints="1"/>
              </p:cNvSpPr>
              <p:nvPr/>
            </p:nvSpPr>
            <p:spPr bwMode="auto">
              <a:xfrm>
                <a:off x="11" y="1696"/>
                <a:ext cx="7025" cy="1657"/>
              </a:xfrm>
              <a:custGeom>
                <a:avLst/>
                <a:gdLst>
                  <a:gd name="T0" fmla="*/ 3 w 7025"/>
                  <a:gd name="T1" fmla="*/ 1498 h 1657"/>
                  <a:gd name="T2" fmla="*/ 5663 w 7025"/>
                  <a:gd name="T3" fmla="*/ 1413 h 1657"/>
                  <a:gd name="T4" fmla="*/ 3710 w 7025"/>
                  <a:gd name="T5" fmla="*/ 1221 h 1657"/>
                  <a:gd name="T6" fmla="*/ 3710 w 7025"/>
                  <a:gd name="T7" fmla="*/ 1356 h 1657"/>
                  <a:gd name="T8" fmla="*/ 5829 w 7025"/>
                  <a:gd name="T9" fmla="*/ 1212 h 1657"/>
                  <a:gd name="T10" fmla="*/ 1665 w 7025"/>
                  <a:gd name="T11" fmla="*/ 1158 h 1657"/>
                  <a:gd name="T12" fmla="*/ 1665 w 7025"/>
                  <a:gd name="T13" fmla="*/ 1158 h 1657"/>
                  <a:gd name="T14" fmla="*/ 1689 w 7025"/>
                  <a:gd name="T15" fmla="*/ 1134 h 1657"/>
                  <a:gd name="T16" fmla="*/ 5855 w 7025"/>
                  <a:gd name="T17" fmla="*/ 1129 h 1657"/>
                  <a:gd name="T18" fmla="*/ 5857 w 7025"/>
                  <a:gd name="T19" fmla="*/ 1184 h 1657"/>
                  <a:gd name="T20" fmla="*/ 6321 w 7025"/>
                  <a:gd name="T21" fmla="*/ 1129 h 1657"/>
                  <a:gd name="T22" fmla="*/ 1445 w 7025"/>
                  <a:gd name="T23" fmla="*/ 1127 h 1657"/>
                  <a:gd name="T24" fmla="*/ 1447 w 7025"/>
                  <a:gd name="T25" fmla="*/ 1127 h 1657"/>
                  <a:gd name="T26" fmla="*/ 1464 w 7025"/>
                  <a:gd name="T27" fmla="*/ 1110 h 1657"/>
                  <a:gd name="T28" fmla="*/ 2859 w 7025"/>
                  <a:gd name="T29" fmla="*/ 1063 h 1657"/>
                  <a:gd name="T30" fmla="*/ 2861 w 7025"/>
                  <a:gd name="T31" fmla="*/ 1063 h 1657"/>
                  <a:gd name="T32" fmla="*/ 5928 w 7025"/>
                  <a:gd name="T33" fmla="*/ 1094 h 1657"/>
                  <a:gd name="T34" fmla="*/ 2876 w 7025"/>
                  <a:gd name="T35" fmla="*/ 1013 h 1657"/>
                  <a:gd name="T36" fmla="*/ 2878 w 7025"/>
                  <a:gd name="T37" fmla="*/ 1013 h 1657"/>
                  <a:gd name="T38" fmla="*/ 3772 w 7025"/>
                  <a:gd name="T39" fmla="*/ 1188 h 1657"/>
                  <a:gd name="T40" fmla="*/ 5947 w 7025"/>
                  <a:gd name="T41" fmla="*/ 1025 h 1657"/>
                  <a:gd name="T42" fmla="*/ 6340 w 7025"/>
                  <a:gd name="T43" fmla="*/ 935 h 1657"/>
                  <a:gd name="T44" fmla="*/ 6340 w 7025"/>
                  <a:gd name="T45" fmla="*/ 1113 h 1657"/>
                  <a:gd name="T46" fmla="*/ 3843 w 7025"/>
                  <a:gd name="T47" fmla="*/ 928 h 1657"/>
                  <a:gd name="T48" fmla="*/ 6385 w 7025"/>
                  <a:gd name="T49" fmla="*/ 895 h 1657"/>
                  <a:gd name="T50" fmla="*/ 6385 w 7025"/>
                  <a:gd name="T51" fmla="*/ 899 h 1657"/>
                  <a:gd name="T52" fmla="*/ 6387 w 7025"/>
                  <a:gd name="T53" fmla="*/ 881 h 1657"/>
                  <a:gd name="T54" fmla="*/ 6389 w 7025"/>
                  <a:gd name="T55" fmla="*/ 878 h 1657"/>
                  <a:gd name="T56" fmla="*/ 6396 w 7025"/>
                  <a:gd name="T57" fmla="*/ 871 h 1657"/>
                  <a:gd name="T58" fmla="*/ 804 w 7025"/>
                  <a:gd name="T59" fmla="*/ 828 h 1657"/>
                  <a:gd name="T60" fmla="*/ 3100 w 7025"/>
                  <a:gd name="T61" fmla="*/ 762 h 1657"/>
                  <a:gd name="T62" fmla="*/ 3100 w 7025"/>
                  <a:gd name="T63" fmla="*/ 762 h 1657"/>
                  <a:gd name="T64" fmla="*/ 1010 w 7025"/>
                  <a:gd name="T65" fmla="*/ 793 h 1657"/>
                  <a:gd name="T66" fmla="*/ 5131 w 7025"/>
                  <a:gd name="T67" fmla="*/ 937 h 1657"/>
                  <a:gd name="T68" fmla="*/ 3138 w 7025"/>
                  <a:gd name="T69" fmla="*/ 658 h 1657"/>
                  <a:gd name="T70" fmla="*/ 95 w 7025"/>
                  <a:gd name="T71" fmla="*/ 618 h 1657"/>
                  <a:gd name="T72" fmla="*/ 5254 w 7025"/>
                  <a:gd name="T73" fmla="*/ 611 h 1657"/>
                  <a:gd name="T74" fmla="*/ 5254 w 7025"/>
                  <a:gd name="T75" fmla="*/ 611 h 1657"/>
                  <a:gd name="T76" fmla="*/ 3280 w 7025"/>
                  <a:gd name="T77" fmla="*/ 622 h 1657"/>
                  <a:gd name="T78" fmla="*/ 301 w 7025"/>
                  <a:gd name="T79" fmla="*/ 549 h 1657"/>
                  <a:gd name="T80" fmla="*/ 7023 w 7025"/>
                  <a:gd name="T81" fmla="*/ 509 h 1657"/>
                  <a:gd name="T82" fmla="*/ 4193 w 7025"/>
                  <a:gd name="T83" fmla="*/ 504 h 1657"/>
                  <a:gd name="T84" fmla="*/ 4193 w 7025"/>
                  <a:gd name="T85" fmla="*/ 504 h 1657"/>
                  <a:gd name="T86" fmla="*/ 3299 w 7025"/>
                  <a:gd name="T87" fmla="*/ 566 h 1657"/>
                  <a:gd name="T88" fmla="*/ 4037 w 7025"/>
                  <a:gd name="T89" fmla="*/ 454 h 1657"/>
                  <a:gd name="T90" fmla="*/ 3954 w 7025"/>
                  <a:gd name="T91" fmla="*/ 644 h 1657"/>
                  <a:gd name="T92" fmla="*/ 4037 w 7025"/>
                  <a:gd name="T93" fmla="*/ 454 h 1657"/>
                  <a:gd name="T94" fmla="*/ 3327 w 7025"/>
                  <a:gd name="T95" fmla="*/ 473 h 1657"/>
                  <a:gd name="T96" fmla="*/ 4041 w 7025"/>
                  <a:gd name="T97" fmla="*/ 390 h 1657"/>
                  <a:gd name="T98" fmla="*/ 4041 w 7025"/>
                  <a:gd name="T99" fmla="*/ 447 h 1657"/>
                  <a:gd name="T100" fmla="*/ 1807 w 7025"/>
                  <a:gd name="T101" fmla="*/ 372 h 1657"/>
                  <a:gd name="T102" fmla="*/ 4048 w 7025"/>
                  <a:gd name="T103" fmla="*/ 327 h 1657"/>
                  <a:gd name="T104" fmla="*/ 4051 w 7025"/>
                  <a:gd name="T105" fmla="*/ 381 h 1657"/>
                  <a:gd name="T106" fmla="*/ 2027 w 7025"/>
                  <a:gd name="T107" fmla="*/ 298 h 1657"/>
                  <a:gd name="T108" fmla="*/ 4701 w 7025"/>
                  <a:gd name="T109" fmla="*/ 234 h 1657"/>
                  <a:gd name="T110" fmla="*/ 4803 w 7025"/>
                  <a:gd name="T111" fmla="*/ 173 h 1657"/>
                  <a:gd name="T112" fmla="*/ 4803 w 7025"/>
                  <a:gd name="T113" fmla="*/ 173 h 1657"/>
                  <a:gd name="T114" fmla="*/ 4852 w 7025"/>
                  <a:gd name="T115" fmla="*/ 137 h 1657"/>
                  <a:gd name="T116" fmla="*/ 4909 w 7025"/>
                  <a:gd name="T117" fmla="*/ 1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57">
                    <a:moveTo>
                      <a:pt x="3" y="1454"/>
                    </a:moveTo>
                    <a:lnTo>
                      <a:pt x="0" y="1454"/>
                    </a:lnTo>
                    <a:lnTo>
                      <a:pt x="0" y="1456"/>
                    </a:lnTo>
                    <a:lnTo>
                      <a:pt x="0" y="1498"/>
                    </a:lnTo>
                    <a:lnTo>
                      <a:pt x="3" y="1498"/>
                    </a:lnTo>
                    <a:lnTo>
                      <a:pt x="3" y="1454"/>
                    </a:lnTo>
                    <a:close/>
                    <a:moveTo>
                      <a:pt x="5666" y="1326"/>
                    </a:moveTo>
                    <a:lnTo>
                      <a:pt x="5663" y="1326"/>
                    </a:lnTo>
                    <a:lnTo>
                      <a:pt x="5663" y="1328"/>
                    </a:lnTo>
                    <a:lnTo>
                      <a:pt x="5663" y="1413"/>
                    </a:lnTo>
                    <a:lnTo>
                      <a:pt x="5666" y="1413"/>
                    </a:lnTo>
                    <a:lnTo>
                      <a:pt x="5666" y="1326"/>
                    </a:lnTo>
                    <a:close/>
                    <a:moveTo>
                      <a:pt x="3710" y="1221"/>
                    </a:moveTo>
                    <a:lnTo>
                      <a:pt x="3710" y="1221"/>
                    </a:lnTo>
                    <a:lnTo>
                      <a:pt x="3710" y="1221"/>
                    </a:lnTo>
                    <a:lnTo>
                      <a:pt x="3710" y="1224"/>
                    </a:lnTo>
                    <a:lnTo>
                      <a:pt x="3710" y="1281"/>
                    </a:lnTo>
                    <a:lnTo>
                      <a:pt x="3710" y="1281"/>
                    </a:lnTo>
                    <a:lnTo>
                      <a:pt x="3710" y="1356"/>
                    </a:lnTo>
                    <a:lnTo>
                      <a:pt x="3710" y="1356"/>
                    </a:lnTo>
                    <a:lnTo>
                      <a:pt x="3710" y="1221"/>
                    </a:lnTo>
                    <a:close/>
                    <a:moveTo>
                      <a:pt x="5831" y="1210"/>
                    </a:moveTo>
                    <a:lnTo>
                      <a:pt x="5831" y="1210"/>
                    </a:lnTo>
                    <a:lnTo>
                      <a:pt x="5829" y="1210"/>
                    </a:lnTo>
                    <a:lnTo>
                      <a:pt x="5829" y="1212"/>
                    </a:lnTo>
                    <a:lnTo>
                      <a:pt x="5829" y="1290"/>
                    </a:lnTo>
                    <a:lnTo>
                      <a:pt x="5831" y="1290"/>
                    </a:lnTo>
                    <a:lnTo>
                      <a:pt x="5831" y="1210"/>
                    </a:lnTo>
                    <a:close/>
                    <a:moveTo>
                      <a:pt x="1665" y="1158"/>
                    </a:moveTo>
                    <a:lnTo>
                      <a:pt x="1665" y="1158"/>
                    </a:lnTo>
                    <a:lnTo>
                      <a:pt x="1665" y="1158"/>
                    </a:lnTo>
                    <a:lnTo>
                      <a:pt x="1665" y="1160"/>
                    </a:lnTo>
                    <a:lnTo>
                      <a:pt x="1665" y="1165"/>
                    </a:lnTo>
                    <a:lnTo>
                      <a:pt x="1665" y="1165"/>
                    </a:lnTo>
                    <a:lnTo>
                      <a:pt x="1665" y="1158"/>
                    </a:lnTo>
                    <a:close/>
                    <a:moveTo>
                      <a:pt x="1689" y="1132"/>
                    </a:moveTo>
                    <a:lnTo>
                      <a:pt x="1686" y="1132"/>
                    </a:lnTo>
                    <a:lnTo>
                      <a:pt x="1686" y="1134"/>
                    </a:lnTo>
                    <a:lnTo>
                      <a:pt x="1686" y="1134"/>
                    </a:lnTo>
                    <a:lnTo>
                      <a:pt x="1689" y="1134"/>
                    </a:lnTo>
                    <a:lnTo>
                      <a:pt x="1689" y="1134"/>
                    </a:lnTo>
                    <a:lnTo>
                      <a:pt x="1689" y="1134"/>
                    </a:lnTo>
                    <a:lnTo>
                      <a:pt x="1689" y="1132"/>
                    </a:lnTo>
                    <a:close/>
                    <a:moveTo>
                      <a:pt x="5857" y="1129"/>
                    </a:moveTo>
                    <a:lnTo>
                      <a:pt x="5855" y="1129"/>
                    </a:lnTo>
                    <a:lnTo>
                      <a:pt x="5855" y="1129"/>
                    </a:lnTo>
                    <a:lnTo>
                      <a:pt x="5855" y="1186"/>
                    </a:lnTo>
                    <a:lnTo>
                      <a:pt x="5855" y="1186"/>
                    </a:lnTo>
                    <a:lnTo>
                      <a:pt x="5855" y="1184"/>
                    </a:lnTo>
                    <a:lnTo>
                      <a:pt x="5857" y="1184"/>
                    </a:lnTo>
                    <a:lnTo>
                      <a:pt x="5857" y="1129"/>
                    </a:lnTo>
                    <a:close/>
                    <a:moveTo>
                      <a:pt x="6323" y="1129"/>
                    </a:moveTo>
                    <a:lnTo>
                      <a:pt x="6321" y="1129"/>
                    </a:lnTo>
                    <a:lnTo>
                      <a:pt x="6321" y="1129"/>
                    </a:lnTo>
                    <a:lnTo>
                      <a:pt x="6321" y="1129"/>
                    </a:lnTo>
                    <a:lnTo>
                      <a:pt x="6321" y="1174"/>
                    </a:lnTo>
                    <a:lnTo>
                      <a:pt x="6323" y="1174"/>
                    </a:lnTo>
                    <a:lnTo>
                      <a:pt x="6323" y="1129"/>
                    </a:lnTo>
                    <a:close/>
                    <a:moveTo>
                      <a:pt x="1447" y="1127"/>
                    </a:moveTo>
                    <a:lnTo>
                      <a:pt x="1445" y="1127"/>
                    </a:lnTo>
                    <a:lnTo>
                      <a:pt x="1445" y="1127"/>
                    </a:lnTo>
                    <a:lnTo>
                      <a:pt x="1445" y="1127"/>
                    </a:lnTo>
                    <a:lnTo>
                      <a:pt x="1445" y="1165"/>
                    </a:lnTo>
                    <a:lnTo>
                      <a:pt x="1447" y="1165"/>
                    </a:lnTo>
                    <a:lnTo>
                      <a:pt x="1447" y="1127"/>
                    </a:lnTo>
                    <a:close/>
                    <a:moveTo>
                      <a:pt x="1464" y="1084"/>
                    </a:moveTo>
                    <a:lnTo>
                      <a:pt x="1462" y="1084"/>
                    </a:lnTo>
                    <a:lnTo>
                      <a:pt x="1462" y="1087"/>
                    </a:lnTo>
                    <a:lnTo>
                      <a:pt x="1462" y="1110"/>
                    </a:lnTo>
                    <a:lnTo>
                      <a:pt x="1464" y="1110"/>
                    </a:lnTo>
                    <a:lnTo>
                      <a:pt x="1464" y="1108"/>
                    </a:lnTo>
                    <a:lnTo>
                      <a:pt x="1464" y="1108"/>
                    </a:lnTo>
                    <a:lnTo>
                      <a:pt x="1464" y="1084"/>
                    </a:lnTo>
                    <a:close/>
                    <a:moveTo>
                      <a:pt x="2861" y="1063"/>
                    </a:moveTo>
                    <a:lnTo>
                      <a:pt x="2859" y="1063"/>
                    </a:lnTo>
                    <a:lnTo>
                      <a:pt x="2859" y="1063"/>
                    </a:lnTo>
                    <a:lnTo>
                      <a:pt x="2859" y="1065"/>
                    </a:lnTo>
                    <a:lnTo>
                      <a:pt x="2859" y="1205"/>
                    </a:lnTo>
                    <a:lnTo>
                      <a:pt x="2861" y="1205"/>
                    </a:lnTo>
                    <a:lnTo>
                      <a:pt x="2861" y="1063"/>
                    </a:lnTo>
                    <a:close/>
                    <a:moveTo>
                      <a:pt x="5931" y="1042"/>
                    </a:moveTo>
                    <a:lnTo>
                      <a:pt x="5931" y="1042"/>
                    </a:lnTo>
                    <a:lnTo>
                      <a:pt x="5928" y="1042"/>
                    </a:lnTo>
                    <a:lnTo>
                      <a:pt x="5928" y="1044"/>
                    </a:lnTo>
                    <a:lnTo>
                      <a:pt x="5928" y="1094"/>
                    </a:lnTo>
                    <a:lnTo>
                      <a:pt x="5931" y="1094"/>
                    </a:lnTo>
                    <a:lnTo>
                      <a:pt x="5931" y="1042"/>
                    </a:lnTo>
                    <a:close/>
                    <a:moveTo>
                      <a:pt x="2878" y="1013"/>
                    </a:moveTo>
                    <a:lnTo>
                      <a:pt x="2876" y="1013"/>
                    </a:lnTo>
                    <a:lnTo>
                      <a:pt x="2876" y="1013"/>
                    </a:lnTo>
                    <a:lnTo>
                      <a:pt x="2876" y="1046"/>
                    </a:lnTo>
                    <a:lnTo>
                      <a:pt x="2878" y="1046"/>
                    </a:lnTo>
                    <a:lnTo>
                      <a:pt x="2878" y="1044"/>
                    </a:lnTo>
                    <a:lnTo>
                      <a:pt x="2878" y="1044"/>
                    </a:lnTo>
                    <a:lnTo>
                      <a:pt x="2878" y="1013"/>
                    </a:lnTo>
                    <a:close/>
                    <a:moveTo>
                      <a:pt x="3772" y="994"/>
                    </a:moveTo>
                    <a:lnTo>
                      <a:pt x="3769" y="994"/>
                    </a:lnTo>
                    <a:lnTo>
                      <a:pt x="3769" y="997"/>
                    </a:lnTo>
                    <a:lnTo>
                      <a:pt x="3769" y="1188"/>
                    </a:lnTo>
                    <a:lnTo>
                      <a:pt x="3772" y="1188"/>
                    </a:lnTo>
                    <a:lnTo>
                      <a:pt x="3772" y="994"/>
                    </a:lnTo>
                    <a:close/>
                    <a:moveTo>
                      <a:pt x="5949" y="989"/>
                    </a:moveTo>
                    <a:lnTo>
                      <a:pt x="5947" y="989"/>
                    </a:lnTo>
                    <a:lnTo>
                      <a:pt x="5947" y="992"/>
                    </a:lnTo>
                    <a:lnTo>
                      <a:pt x="5947" y="1025"/>
                    </a:lnTo>
                    <a:lnTo>
                      <a:pt x="5947" y="1025"/>
                    </a:lnTo>
                    <a:lnTo>
                      <a:pt x="5947" y="1023"/>
                    </a:lnTo>
                    <a:lnTo>
                      <a:pt x="5949" y="1023"/>
                    </a:lnTo>
                    <a:lnTo>
                      <a:pt x="5949" y="989"/>
                    </a:lnTo>
                    <a:close/>
                    <a:moveTo>
                      <a:pt x="6340" y="935"/>
                    </a:moveTo>
                    <a:lnTo>
                      <a:pt x="6340" y="935"/>
                    </a:lnTo>
                    <a:lnTo>
                      <a:pt x="6337" y="935"/>
                    </a:lnTo>
                    <a:lnTo>
                      <a:pt x="6337" y="937"/>
                    </a:lnTo>
                    <a:lnTo>
                      <a:pt x="6337" y="1113"/>
                    </a:lnTo>
                    <a:lnTo>
                      <a:pt x="6340" y="1113"/>
                    </a:lnTo>
                    <a:lnTo>
                      <a:pt x="6340" y="1110"/>
                    </a:lnTo>
                    <a:lnTo>
                      <a:pt x="6340" y="1110"/>
                    </a:lnTo>
                    <a:lnTo>
                      <a:pt x="6340" y="935"/>
                    </a:lnTo>
                    <a:close/>
                    <a:moveTo>
                      <a:pt x="3845" y="928"/>
                    </a:moveTo>
                    <a:lnTo>
                      <a:pt x="3843" y="928"/>
                    </a:lnTo>
                    <a:lnTo>
                      <a:pt x="3843" y="930"/>
                    </a:lnTo>
                    <a:lnTo>
                      <a:pt x="3843" y="959"/>
                    </a:lnTo>
                    <a:lnTo>
                      <a:pt x="3845" y="959"/>
                    </a:lnTo>
                    <a:lnTo>
                      <a:pt x="3845" y="928"/>
                    </a:lnTo>
                    <a:close/>
                    <a:moveTo>
                      <a:pt x="6385" y="895"/>
                    </a:moveTo>
                    <a:lnTo>
                      <a:pt x="6385" y="895"/>
                    </a:lnTo>
                    <a:lnTo>
                      <a:pt x="6385" y="895"/>
                    </a:lnTo>
                    <a:lnTo>
                      <a:pt x="6382" y="897"/>
                    </a:lnTo>
                    <a:lnTo>
                      <a:pt x="6382" y="899"/>
                    </a:lnTo>
                    <a:lnTo>
                      <a:pt x="6385" y="899"/>
                    </a:lnTo>
                    <a:lnTo>
                      <a:pt x="6385" y="895"/>
                    </a:lnTo>
                    <a:close/>
                    <a:moveTo>
                      <a:pt x="6389" y="878"/>
                    </a:moveTo>
                    <a:lnTo>
                      <a:pt x="6389" y="878"/>
                    </a:lnTo>
                    <a:lnTo>
                      <a:pt x="6387" y="878"/>
                    </a:lnTo>
                    <a:lnTo>
                      <a:pt x="6387" y="881"/>
                    </a:lnTo>
                    <a:lnTo>
                      <a:pt x="6387" y="892"/>
                    </a:lnTo>
                    <a:lnTo>
                      <a:pt x="6389" y="892"/>
                    </a:lnTo>
                    <a:lnTo>
                      <a:pt x="6389" y="890"/>
                    </a:lnTo>
                    <a:lnTo>
                      <a:pt x="6389" y="890"/>
                    </a:lnTo>
                    <a:lnTo>
                      <a:pt x="6389" y="878"/>
                    </a:lnTo>
                    <a:close/>
                    <a:moveTo>
                      <a:pt x="6399" y="850"/>
                    </a:moveTo>
                    <a:lnTo>
                      <a:pt x="6396" y="850"/>
                    </a:lnTo>
                    <a:lnTo>
                      <a:pt x="6396" y="852"/>
                    </a:lnTo>
                    <a:lnTo>
                      <a:pt x="6396" y="871"/>
                    </a:lnTo>
                    <a:lnTo>
                      <a:pt x="6396" y="871"/>
                    </a:lnTo>
                    <a:lnTo>
                      <a:pt x="6396" y="869"/>
                    </a:lnTo>
                    <a:lnTo>
                      <a:pt x="6399" y="869"/>
                    </a:lnTo>
                    <a:lnTo>
                      <a:pt x="6399" y="850"/>
                    </a:lnTo>
                    <a:close/>
                    <a:moveTo>
                      <a:pt x="804" y="828"/>
                    </a:moveTo>
                    <a:lnTo>
                      <a:pt x="804" y="828"/>
                    </a:lnTo>
                    <a:lnTo>
                      <a:pt x="804" y="1034"/>
                    </a:lnTo>
                    <a:lnTo>
                      <a:pt x="804" y="1034"/>
                    </a:lnTo>
                    <a:lnTo>
                      <a:pt x="804" y="828"/>
                    </a:lnTo>
                    <a:close/>
                    <a:moveTo>
                      <a:pt x="3100" y="762"/>
                    </a:moveTo>
                    <a:lnTo>
                      <a:pt x="3100" y="762"/>
                    </a:lnTo>
                    <a:lnTo>
                      <a:pt x="3098" y="762"/>
                    </a:lnTo>
                    <a:lnTo>
                      <a:pt x="3098" y="765"/>
                    </a:lnTo>
                    <a:lnTo>
                      <a:pt x="3098" y="944"/>
                    </a:lnTo>
                    <a:lnTo>
                      <a:pt x="3100" y="944"/>
                    </a:lnTo>
                    <a:lnTo>
                      <a:pt x="3100" y="762"/>
                    </a:lnTo>
                    <a:close/>
                    <a:moveTo>
                      <a:pt x="1010" y="753"/>
                    </a:moveTo>
                    <a:lnTo>
                      <a:pt x="1008" y="753"/>
                    </a:lnTo>
                    <a:lnTo>
                      <a:pt x="1008" y="755"/>
                    </a:lnTo>
                    <a:lnTo>
                      <a:pt x="1008" y="793"/>
                    </a:lnTo>
                    <a:lnTo>
                      <a:pt x="1010" y="793"/>
                    </a:lnTo>
                    <a:lnTo>
                      <a:pt x="1010" y="753"/>
                    </a:lnTo>
                    <a:close/>
                    <a:moveTo>
                      <a:pt x="5131" y="731"/>
                    </a:moveTo>
                    <a:lnTo>
                      <a:pt x="5131" y="731"/>
                    </a:lnTo>
                    <a:lnTo>
                      <a:pt x="5131" y="734"/>
                    </a:lnTo>
                    <a:lnTo>
                      <a:pt x="5131" y="937"/>
                    </a:lnTo>
                    <a:lnTo>
                      <a:pt x="5131" y="937"/>
                    </a:lnTo>
                    <a:lnTo>
                      <a:pt x="5131" y="731"/>
                    </a:lnTo>
                    <a:close/>
                    <a:moveTo>
                      <a:pt x="3138" y="658"/>
                    </a:moveTo>
                    <a:lnTo>
                      <a:pt x="3138" y="658"/>
                    </a:lnTo>
                    <a:lnTo>
                      <a:pt x="3138" y="658"/>
                    </a:lnTo>
                    <a:lnTo>
                      <a:pt x="3138" y="727"/>
                    </a:lnTo>
                    <a:lnTo>
                      <a:pt x="3138" y="727"/>
                    </a:lnTo>
                    <a:lnTo>
                      <a:pt x="3138" y="658"/>
                    </a:lnTo>
                    <a:close/>
                    <a:moveTo>
                      <a:pt x="97" y="618"/>
                    </a:moveTo>
                    <a:lnTo>
                      <a:pt x="95" y="618"/>
                    </a:lnTo>
                    <a:lnTo>
                      <a:pt x="95" y="618"/>
                    </a:lnTo>
                    <a:lnTo>
                      <a:pt x="95" y="1418"/>
                    </a:lnTo>
                    <a:lnTo>
                      <a:pt x="97" y="1418"/>
                    </a:lnTo>
                    <a:lnTo>
                      <a:pt x="97" y="618"/>
                    </a:lnTo>
                    <a:close/>
                    <a:moveTo>
                      <a:pt x="5254" y="611"/>
                    </a:moveTo>
                    <a:lnTo>
                      <a:pt x="5252" y="611"/>
                    </a:lnTo>
                    <a:lnTo>
                      <a:pt x="5252" y="611"/>
                    </a:lnTo>
                    <a:lnTo>
                      <a:pt x="5252" y="696"/>
                    </a:lnTo>
                    <a:lnTo>
                      <a:pt x="5254" y="696"/>
                    </a:lnTo>
                    <a:lnTo>
                      <a:pt x="5254" y="611"/>
                    </a:lnTo>
                    <a:close/>
                    <a:moveTo>
                      <a:pt x="3282" y="582"/>
                    </a:moveTo>
                    <a:lnTo>
                      <a:pt x="3282" y="582"/>
                    </a:lnTo>
                    <a:lnTo>
                      <a:pt x="3280" y="582"/>
                    </a:lnTo>
                    <a:lnTo>
                      <a:pt x="3280" y="585"/>
                    </a:lnTo>
                    <a:lnTo>
                      <a:pt x="3280" y="622"/>
                    </a:lnTo>
                    <a:lnTo>
                      <a:pt x="3282" y="622"/>
                    </a:lnTo>
                    <a:lnTo>
                      <a:pt x="3282" y="582"/>
                    </a:lnTo>
                    <a:close/>
                    <a:moveTo>
                      <a:pt x="303" y="547"/>
                    </a:moveTo>
                    <a:lnTo>
                      <a:pt x="301" y="547"/>
                    </a:lnTo>
                    <a:lnTo>
                      <a:pt x="301" y="549"/>
                    </a:lnTo>
                    <a:lnTo>
                      <a:pt x="301" y="582"/>
                    </a:lnTo>
                    <a:lnTo>
                      <a:pt x="303" y="582"/>
                    </a:lnTo>
                    <a:lnTo>
                      <a:pt x="303" y="547"/>
                    </a:lnTo>
                    <a:close/>
                    <a:moveTo>
                      <a:pt x="7025" y="509"/>
                    </a:moveTo>
                    <a:lnTo>
                      <a:pt x="7023" y="509"/>
                    </a:lnTo>
                    <a:lnTo>
                      <a:pt x="7023" y="511"/>
                    </a:lnTo>
                    <a:lnTo>
                      <a:pt x="7023" y="1657"/>
                    </a:lnTo>
                    <a:lnTo>
                      <a:pt x="7025" y="1657"/>
                    </a:lnTo>
                    <a:lnTo>
                      <a:pt x="7025" y="509"/>
                    </a:lnTo>
                    <a:close/>
                    <a:moveTo>
                      <a:pt x="4193" y="504"/>
                    </a:moveTo>
                    <a:lnTo>
                      <a:pt x="4193" y="504"/>
                    </a:lnTo>
                    <a:lnTo>
                      <a:pt x="4193" y="504"/>
                    </a:lnTo>
                    <a:lnTo>
                      <a:pt x="4152" y="561"/>
                    </a:lnTo>
                    <a:lnTo>
                      <a:pt x="4152" y="561"/>
                    </a:lnTo>
                    <a:lnTo>
                      <a:pt x="4193" y="504"/>
                    </a:lnTo>
                    <a:close/>
                    <a:moveTo>
                      <a:pt x="3301" y="502"/>
                    </a:moveTo>
                    <a:lnTo>
                      <a:pt x="3299" y="502"/>
                    </a:lnTo>
                    <a:lnTo>
                      <a:pt x="3299" y="502"/>
                    </a:lnTo>
                    <a:lnTo>
                      <a:pt x="3299" y="504"/>
                    </a:lnTo>
                    <a:lnTo>
                      <a:pt x="3299" y="566"/>
                    </a:lnTo>
                    <a:lnTo>
                      <a:pt x="3299" y="566"/>
                    </a:lnTo>
                    <a:lnTo>
                      <a:pt x="3299" y="563"/>
                    </a:lnTo>
                    <a:lnTo>
                      <a:pt x="3301" y="563"/>
                    </a:lnTo>
                    <a:lnTo>
                      <a:pt x="3301" y="502"/>
                    </a:lnTo>
                    <a:close/>
                    <a:moveTo>
                      <a:pt x="4037" y="454"/>
                    </a:moveTo>
                    <a:lnTo>
                      <a:pt x="4034" y="454"/>
                    </a:lnTo>
                    <a:lnTo>
                      <a:pt x="4034" y="454"/>
                    </a:lnTo>
                    <a:lnTo>
                      <a:pt x="4034" y="457"/>
                    </a:lnTo>
                    <a:lnTo>
                      <a:pt x="4034" y="492"/>
                    </a:lnTo>
                    <a:lnTo>
                      <a:pt x="3954" y="644"/>
                    </a:lnTo>
                    <a:lnTo>
                      <a:pt x="3954" y="892"/>
                    </a:lnTo>
                    <a:lnTo>
                      <a:pt x="3954" y="892"/>
                    </a:lnTo>
                    <a:lnTo>
                      <a:pt x="3954" y="641"/>
                    </a:lnTo>
                    <a:lnTo>
                      <a:pt x="4037" y="490"/>
                    </a:lnTo>
                    <a:lnTo>
                      <a:pt x="4037" y="454"/>
                    </a:lnTo>
                    <a:close/>
                    <a:moveTo>
                      <a:pt x="3330" y="433"/>
                    </a:moveTo>
                    <a:lnTo>
                      <a:pt x="3327" y="433"/>
                    </a:lnTo>
                    <a:lnTo>
                      <a:pt x="3327" y="435"/>
                    </a:lnTo>
                    <a:lnTo>
                      <a:pt x="3327" y="473"/>
                    </a:lnTo>
                    <a:lnTo>
                      <a:pt x="3327" y="473"/>
                    </a:lnTo>
                    <a:lnTo>
                      <a:pt x="3327" y="471"/>
                    </a:lnTo>
                    <a:lnTo>
                      <a:pt x="3330" y="471"/>
                    </a:lnTo>
                    <a:lnTo>
                      <a:pt x="3330" y="433"/>
                    </a:lnTo>
                    <a:close/>
                    <a:moveTo>
                      <a:pt x="4041" y="390"/>
                    </a:moveTo>
                    <a:lnTo>
                      <a:pt x="4041" y="390"/>
                    </a:lnTo>
                    <a:lnTo>
                      <a:pt x="4041" y="390"/>
                    </a:lnTo>
                    <a:lnTo>
                      <a:pt x="4041" y="393"/>
                    </a:lnTo>
                    <a:lnTo>
                      <a:pt x="4041" y="450"/>
                    </a:lnTo>
                    <a:lnTo>
                      <a:pt x="4041" y="450"/>
                    </a:lnTo>
                    <a:lnTo>
                      <a:pt x="4041" y="447"/>
                    </a:lnTo>
                    <a:lnTo>
                      <a:pt x="4041" y="447"/>
                    </a:lnTo>
                    <a:lnTo>
                      <a:pt x="4041" y="390"/>
                    </a:lnTo>
                    <a:close/>
                    <a:moveTo>
                      <a:pt x="1809" y="369"/>
                    </a:moveTo>
                    <a:lnTo>
                      <a:pt x="1807" y="369"/>
                    </a:lnTo>
                    <a:lnTo>
                      <a:pt x="1807" y="372"/>
                    </a:lnTo>
                    <a:lnTo>
                      <a:pt x="1807" y="1096"/>
                    </a:lnTo>
                    <a:lnTo>
                      <a:pt x="1809" y="1096"/>
                    </a:lnTo>
                    <a:lnTo>
                      <a:pt x="1809" y="369"/>
                    </a:lnTo>
                    <a:close/>
                    <a:moveTo>
                      <a:pt x="4051" y="327"/>
                    </a:moveTo>
                    <a:lnTo>
                      <a:pt x="4048" y="327"/>
                    </a:lnTo>
                    <a:lnTo>
                      <a:pt x="4048" y="329"/>
                    </a:lnTo>
                    <a:lnTo>
                      <a:pt x="4048" y="383"/>
                    </a:lnTo>
                    <a:lnTo>
                      <a:pt x="4051" y="383"/>
                    </a:lnTo>
                    <a:lnTo>
                      <a:pt x="4051" y="381"/>
                    </a:lnTo>
                    <a:lnTo>
                      <a:pt x="4051" y="381"/>
                    </a:lnTo>
                    <a:lnTo>
                      <a:pt x="4051" y="327"/>
                    </a:lnTo>
                    <a:close/>
                    <a:moveTo>
                      <a:pt x="2029" y="293"/>
                    </a:moveTo>
                    <a:lnTo>
                      <a:pt x="2027" y="293"/>
                    </a:lnTo>
                    <a:lnTo>
                      <a:pt x="2027" y="296"/>
                    </a:lnTo>
                    <a:lnTo>
                      <a:pt x="2027" y="298"/>
                    </a:lnTo>
                    <a:lnTo>
                      <a:pt x="2029" y="298"/>
                    </a:lnTo>
                    <a:lnTo>
                      <a:pt x="2029" y="293"/>
                    </a:lnTo>
                    <a:close/>
                    <a:moveTo>
                      <a:pt x="4703" y="232"/>
                    </a:moveTo>
                    <a:lnTo>
                      <a:pt x="4701" y="232"/>
                    </a:lnTo>
                    <a:lnTo>
                      <a:pt x="4701" y="234"/>
                    </a:lnTo>
                    <a:lnTo>
                      <a:pt x="4642" y="457"/>
                    </a:lnTo>
                    <a:lnTo>
                      <a:pt x="4642" y="457"/>
                    </a:lnTo>
                    <a:lnTo>
                      <a:pt x="4703" y="232"/>
                    </a:lnTo>
                    <a:close/>
                    <a:moveTo>
                      <a:pt x="4803" y="173"/>
                    </a:moveTo>
                    <a:lnTo>
                      <a:pt x="4803" y="173"/>
                    </a:lnTo>
                    <a:lnTo>
                      <a:pt x="4803" y="173"/>
                    </a:lnTo>
                    <a:lnTo>
                      <a:pt x="4803" y="175"/>
                    </a:lnTo>
                    <a:lnTo>
                      <a:pt x="4803" y="196"/>
                    </a:lnTo>
                    <a:lnTo>
                      <a:pt x="4803" y="196"/>
                    </a:lnTo>
                    <a:lnTo>
                      <a:pt x="4803" y="173"/>
                    </a:lnTo>
                    <a:close/>
                    <a:moveTo>
                      <a:pt x="4852" y="0"/>
                    </a:moveTo>
                    <a:lnTo>
                      <a:pt x="4850" y="0"/>
                    </a:lnTo>
                    <a:lnTo>
                      <a:pt x="4850" y="2"/>
                    </a:lnTo>
                    <a:lnTo>
                      <a:pt x="4850" y="137"/>
                    </a:lnTo>
                    <a:lnTo>
                      <a:pt x="4852" y="137"/>
                    </a:lnTo>
                    <a:lnTo>
                      <a:pt x="4852" y="0"/>
                    </a:lnTo>
                    <a:close/>
                    <a:moveTo>
                      <a:pt x="4911" y="0"/>
                    </a:moveTo>
                    <a:lnTo>
                      <a:pt x="4909" y="0"/>
                    </a:lnTo>
                    <a:lnTo>
                      <a:pt x="4909" y="2"/>
                    </a:lnTo>
                    <a:lnTo>
                      <a:pt x="4909" y="137"/>
                    </a:lnTo>
                    <a:lnTo>
                      <a:pt x="4911" y="137"/>
                    </a:lnTo>
                    <a:lnTo>
                      <a:pt x="4911"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5" name="Freeform 107"/>
              <p:cNvSpPr>
                <a:spLocks noEditPoints="1"/>
              </p:cNvSpPr>
              <p:nvPr/>
            </p:nvSpPr>
            <p:spPr bwMode="auto">
              <a:xfrm>
                <a:off x="11" y="1696"/>
                <a:ext cx="7025" cy="1657"/>
              </a:xfrm>
              <a:custGeom>
                <a:avLst/>
                <a:gdLst>
                  <a:gd name="T0" fmla="*/ 3 w 7025"/>
                  <a:gd name="T1" fmla="*/ 1498 h 1657"/>
                  <a:gd name="T2" fmla="*/ 5663 w 7025"/>
                  <a:gd name="T3" fmla="*/ 1413 h 1657"/>
                  <a:gd name="T4" fmla="*/ 3710 w 7025"/>
                  <a:gd name="T5" fmla="*/ 1221 h 1657"/>
                  <a:gd name="T6" fmla="*/ 3710 w 7025"/>
                  <a:gd name="T7" fmla="*/ 1356 h 1657"/>
                  <a:gd name="T8" fmla="*/ 5829 w 7025"/>
                  <a:gd name="T9" fmla="*/ 1212 h 1657"/>
                  <a:gd name="T10" fmla="*/ 1665 w 7025"/>
                  <a:gd name="T11" fmla="*/ 1158 h 1657"/>
                  <a:gd name="T12" fmla="*/ 1665 w 7025"/>
                  <a:gd name="T13" fmla="*/ 1158 h 1657"/>
                  <a:gd name="T14" fmla="*/ 1689 w 7025"/>
                  <a:gd name="T15" fmla="*/ 1134 h 1657"/>
                  <a:gd name="T16" fmla="*/ 5855 w 7025"/>
                  <a:gd name="T17" fmla="*/ 1129 h 1657"/>
                  <a:gd name="T18" fmla="*/ 5857 w 7025"/>
                  <a:gd name="T19" fmla="*/ 1184 h 1657"/>
                  <a:gd name="T20" fmla="*/ 6321 w 7025"/>
                  <a:gd name="T21" fmla="*/ 1129 h 1657"/>
                  <a:gd name="T22" fmla="*/ 1445 w 7025"/>
                  <a:gd name="T23" fmla="*/ 1127 h 1657"/>
                  <a:gd name="T24" fmla="*/ 1447 w 7025"/>
                  <a:gd name="T25" fmla="*/ 1127 h 1657"/>
                  <a:gd name="T26" fmla="*/ 1464 w 7025"/>
                  <a:gd name="T27" fmla="*/ 1110 h 1657"/>
                  <a:gd name="T28" fmla="*/ 2859 w 7025"/>
                  <a:gd name="T29" fmla="*/ 1063 h 1657"/>
                  <a:gd name="T30" fmla="*/ 2861 w 7025"/>
                  <a:gd name="T31" fmla="*/ 1063 h 1657"/>
                  <a:gd name="T32" fmla="*/ 5928 w 7025"/>
                  <a:gd name="T33" fmla="*/ 1094 h 1657"/>
                  <a:gd name="T34" fmla="*/ 2876 w 7025"/>
                  <a:gd name="T35" fmla="*/ 1013 h 1657"/>
                  <a:gd name="T36" fmla="*/ 2878 w 7025"/>
                  <a:gd name="T37" fmla="*/ 1013 h 1657"/>
                  <a:gd name="T38" fmla="*/ 3772 w 7025"/>
                  <a:gd name="T39" fmla="*/ 1188 h 1657"/>
                  <a:gd name="T40" fmla="*/ 5947 w 7025"/>
                  <a:gd name="T41" fmla="*/ 1025 h 1657"/>
                  <a:gd name="T42" fmla="*/ 6340 w 7025"/>
                  <a:gd name="T43" fmla="*/ 935 h 1657"/>
                  <a:gd name="T44" fmla="*/ 6340 w 7025"/>
                  <a:gd name="T45" fmla="*/ 1113 h 1657"/>
                  <a:gd name="T46" fmla="*/ 3843 w 7025"/>
                  <a:gd name="T47" fmla="*/ 928 h 1657"/>
                  <a:gd name="T48" fmla="*/ 6385 w 7025"/>
                  <a:gd name="T49" fmla="*/ 895 h 1657"/>
                  <a:gd name="T50" fmla="*/ 6385 w 7025"/>
                  <a:gd name="T51" fmla="*/ 899 h 1657"/>
                  <a:gd name="T52" fmla="*/ 6387 w 7025"/>
                  <a:gd name="T53" fmla="*/ 881 h 1657"/>
                  <a:gd name="T54" fmla="*/ 6389 w 7025"/>
                  <a:gd name="T55" fmla="*/ 878 h 1657"/>
                  <a:gd name="T56" fmla="*/ 6396 w 7025"/>
                  <a:gd name="T57" fmla="*/ 871 h 1657"/>
                  <a:gd name="T58" fmla="*/ 804 w 7025"/>
                  <a:gd name="T59" fmla="*/ 828 h 1657"/>
                  <a:gd name="T60" fmla="*/ 3100 w 7025"/>
                  <a:gd name="T61" fmla="*/ 762 h 1657"/>
                  <a:gd name="T62" fmla="*/ 3100 w 7025"/>
                  <a:gd name="T63" fmla="*/ 762 h 1657"/>
                  <a:gd name="T64" fmla="*/ 1010 w 7025"/>
                  <a:gd name="T65" fmla="*/ 793 h 1657"/>
                  <a:gd name="T66" fmla="*/ 5131 w 7025"/>
                  <a:gd name="T67" fmla="*/ 937 h 1657"/>
                  <a:gd name="T68" fmla="*/ 3138 w 7025"/>
                  <a:gd name="T69" fmla="*/ 658 h 1657"/>
                  <a:gd name="T70" fmla="*/ 95 w 7025"/>
                  <a:gd name="T71" fmla="*/ 618 h 1657"/>
                  <a:gd name="T72" fmla="*/ 5254 w 7025"/>
                  <a:gd name="T73" fmla="*/ 611 h 1657"/>
                  <a:gd name="T74" fmla="*/ 5254 w 7025"/>
                  <a:gd name="T75" fmla="*/ 611 h 1657"/>
                  <a:gd name="T76" fmla="*/ 3280 w 7025"/>
                  <a:gd name="T77" fmla="*/ 622 h 1657"/>
                  <a:gd name="T78" fmla="*/ 301 w 7025"/>
                  <a:gd name="T79" fmla="*/ 549 h 1657"/>
                  <a:gd name="T80" fmla="*/ 7023 w 7025"/>
                  <a:gd name="T81" fmla="*/ 509 h 1657"/>
                  <a:gd name="T82" fmla="*/ 4193 w 7025"/>
                  <a:gd name="T83" fmla="*/ 504 h 1657"/>
                  <a:gd name="T84" fmla="*/ 4193 w 7025"/>
                  <a:gd name="T85" fmla="*/ 504 h 1657"/>
                  <a:gd name="T86" fmla="*/ 3299 w 7025"/>
                  <a:gd name="T87" fmla="*/ 566 h 1657"/>
                  <a:gd name="T88" fmla="*/ 4037 w 7025"/>
                  <a:gd name="T89" fmla="*/ 454 h 1657"/>
                  <a:gd name="T90" fmla="*/ 3954 w 7025"/>
                  <a:gd name="T91" fmla="*/ 644 h 1657"/>
                  <a:gd name="T92" fmla="*/ 4037 w 7025"/>
                  <a:gd name="T93" fmla="*/ 454 h 1657"/>
                  <a:gd name="T94" fmla="*/ 3327 w 7025"/>
                  <a:gd name="T95" fmla="*/ 473 h 1657"/>
                  <a:gd name="T96" fmla="*/ 4041 w 7025"/>
                  <a:gd name="T97" fmla="*/ 390 h 1657"/>
                  <a:gd name="T98" fmla="*/ 4041 w 7025"/>
                  <a:gd name="T99" fmla="*/ 447 h 1657"/>
                  <a:gd name="T100" fmla="*/ 1807 w 7025"/>
                  <a:gd name="T101" fmla="*/ 372 h 1657"/>
                  <a:gd name="T102" fmla="*/ 4048 w 7025"/>
                  <a:gd name="T103" fmla="*/ 327 h 1657"/>
                  <a:gd name="T104" fmla="*/ 4051 w 7025"/>
                  <a:gd name="T105" fmla="*/ 381 h 1657"/>
                  <a:gd name="T106" fmla="*/ 2027 w 7025"/>
                  <a:gd name="T107" fmla="*/ 298 h 1657"/>
                  <a:gd name="T108" fmla="*/ 4701 w 7025"/>
                  <a:gd name="T109" fmla="*/ 234 h 1657"/>
                  <a:gd name="T110" fmla="*/ 4803 w 7025"/>
                  <a:gd name="T111" fmla="*/ 173 h 1657"/>
                  <a:gd name="T112" fmla="*/ 4803 w 7025"/>
                  <a:gd name="T113" fmla="*/ 173 h 1657"/>
                  <a:gd name="T114" fmla="*/ 4852 w 7025"/>
                  <a:gd name="T115" fmla="*/ 137 h 1657"/>
                  <a:gd name="T116" fmla="*/ 4909 w 7025"/>
                  <a:gd name="T117" fmla="*/ 137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57">
                    <a:moveTo>
                      <a:pt x="3" y="1454"/>
                    </a:moveTo>
                    <a:lnTo>
                      <a:pt x="0" y="1454"/>
                    </a:lnTo>
                    <a:lnTo>
                      <a:pt x="0" y="1456"/>
                    </a:lnTo>
                    <a:lnTo>
                      <a:pt x="0" y="1498"/>
                    </a:lnTo>
                    <a:lnTo>
                      <a:pt x="3" y="1498"/>
                    </a:lnTo>
                    <a:lnTo>
                      <a:pt x="3" y="1454"/>
                    </a:lnTo>
                    <a:moveTo>
                      <a:pt x="5666" y="1326"/>
                    </a:moveTo>
                    <a:lnTo>
                      <a:pt x="5663" y="1326"/>
                    </a:lnTo>
                    <a:lnTo>
                      <a:pt x="5663" y="1328"/>
                    </a:lnTo>
                    <a:lnTo>
                      <a:pt x="5663" y="1413"/>
                    </a:lnTo>
                    <a:lnTo>
                      <a:pt x="5666" y="1413"/>
                    </a:lnTo>
                    <a:lnTo>
                      <a:pt x="5666" y="1326"/>
                    </a:lnTo>
                    <a:moveTo>
                      <a:pt x="3710" y="1221"/>
                    </a:moveTo>
                    <a:lnTo>
                      <a:pt x="3710" y="1221"/>
                    </a:lnTo>
                    <a:lnTo>
                      <a:pt x="3710" y="1221"/>
                    </a:lnTo>
                    <a:lnTo>
                      <a:pt x="3710" y="1224"/>
                    </a:lnTo>
                    <a:lnTo>
                      <a:pt x="3710" y="1281"/>
                    </a:lnTo>
                    <a:lnTo>
                      <a:pt x="3710" y="1281"/>
                    </a:lnTo>
                    <a:lnTo>
                      <a:pt x="3710" y="1356"/>
                    </a:lnTo>
                    <a:lnTo>
                      <a:pt x="3710" y="1356"/>
                    </a:lnTo>
                    <a:lnTo>
                      <a:pt x="3710" y="1221"/>
                    </a:lnTo>
                    <a:moveTo>
                      <a:pt x="5831" y="1210"/>
                    </a:moveTo>
                    <a:lnTo>
                      <a:pt x="5831" y="1210"/>
                    </a:lnTo>
                    <a:lnTo>
                      <a:pt x="5829" y="1210"/>
                    </a:lnTo>
                    <a:lnTo>
                      <a:pt x="5829" y="1212"/>
                    </a:lnTo>
                    <a:lnTo>
                      <a:pt x="5829" y="1290"/>
                    </a:lnTo>
                    <a:lnTo>
                      <a:pt x="5831" y="1290"/>
                    </a:lnTo>
                    <a:lnTo>
                      <a:pt x="5831" y="1210"/>
                    </a:lnTo>
                    <a:moveTo>
                      <a:pt x="1665" y="1158"/>
                    </a:moveTo>
                    <a:lnTo>
                      <a:pt x="1665" y="1158"/>
                    </a:lnTo>
                    <a:lnTo>
                      <a:pt x="1665" y="1158"/>
                    </a:lnTo>
                    <a:lnTo>
                      <a:pt x="1665" y="1160"/>
                    </a:lnTo>
                    <a:lnTo>
                      <a:pt x="1665" y="1165"/>
                    </a:lnTo>
                    <a:lnTo>
                      <a:pt x="1665" y="1165"/>
                    </a:lnTo>
                    <a:lnTo>
                      <a:pt x="1665" y="1158"/>
                    </a:lnTo>
                    <a:moveTo>
                      <a:pt x="1689" y="1132"/>
                    </a:moveTo>
                    <a:lnTo>
                      <a:pt x="1686" y="1132"/>
                    </a:lnTo>
                    <a:lnTo>
                      <a:pt x="1686" y="1134"/>
                    </a:lnTo>
                    <a:lnTo>
                      <a:pt x="1686" y="1134"/>
                    </a:lnTo>
                    <a:lnTo>
                      <a:pt x="1689" y="1134"/>
                    </a:lnTo>
                    <a:lnTo>
                      <a:pt x="1689" y="1134"/>
                    </a:lnTo>
                    <a:lnTo>
                      <a:pt x="1689" y="1134"/>
                    </a:lnTo>
                    <a:lnTo>
                      <a:pt x="1689" y="1132"/>
                    </a:lnTo>
                    <a:moveTo>
                      <a:pt x="5857" y="1129"/>
                    </a:moveTo>
                    <a:lnTo>
                      <a:pt x="5855" y="1129"/>
                    </a:lnTo>
                    <a:lnTo>
                      <a:pt x="5855" y="1129"/>
                    </a:lnTo>
                    <a:lnTo>
                      <a:pt x="5855" y="1186"/>
                    </a:lnTo>
                    <a:lnTo>
                      <a:pt x="5855" y="1186"/>
                    </a:lnTo>
                    <a:lnTo>
                      <a:pt x="5855" y="1184"/>
                    </a:lnTo>
                    <a:lnTo>
                      <a:pt x="5857" y="1184"/>
                    </a:lnTo>
                    <a:lnTo>
                      <a:pt x="5857" y="1129"/>
                    </a:lnTo>
                    <a:moveTo>
                      <a:pt x="6323" y="1129"/>
                    </a:moveTo>
                    <a:lnTo>
                      <a:pt x="6321" y="1129"/>
                    </a:lnTo>
                    <a:lnTo>
                      <a:pt x="6321" y="1129"/>
                    </a:lnTo>
                    <a:lnTo>
                      <a:pt x="6321" y="1129"/>
                    </a:lnTo>
                    <a:lnTo>
                      <a:pt x="6321" y="1174"/>
                    </a:lnTo>
                    <a:lnTo>
                      <a:pt x="6323" y="1174"/>
                    </a:lnTo>
                    <a:lnTo>
                      <a:pt x="6323" y="1129"/>
                    </a:lnTo>
                    <a:moveTo>
                      <a:pt x="1447" y="1127"/>
                    </a:moveTo>
                    <a:lnTo>
                      <a:pt x="1445" y="1127"/>
                    </a:lnTo>
                    <a:lnTo>
                      <a:pt x="1445" y="1127"/>
                    </a:lnTo>
                    <a:lnTo>
                      <a:pt x="1445" y="1127"/>
                    </a:lnTo>
                    <a:lnTo>
                      <a:pt x="1445" y="1165"/>
                    </a:lnTo>
                    <a:lnTo>
                      <a:pt x="1447" y="1165"/>
                    </a:lnTo>
                    <a:lnTo>
                      <a:pt x="1447" y="1127"/>
                    </a:lnTo>
                    <a:moveTo>
                      <a:pt x="1464" y="1084"/>
                    </a:moveTo>
                    <a:lnTo>
                      <a:pt x="1462" y="1084"/>
                    </a:lnTo>
                    <a:lnTo>
                      <a:pt x="1462" y="1087"/>
                    </a:lnTo>
                    <a:lnTo>
                      <a:pt x="1462" y="1110"/>
                    </a:lnTo>
                    <a:lnTo>
                      <a:pt x="1464" y="1110"/>
                    </a:lnTo>
                    <a:lnTo>
                      <a:pt x="1464" y="1108"/>
                    </a:lnTo>
                    <a:lnTo>
                      <a:pt x="1464" y="1108"/>
                    </a:lnTo>
                    <a:lnTo>
                      <a:pt x="1464" y="1084"/>
                    </a:lnTo>
                    <a:moveTo>
                      <a:pt x="2861" y="1063"/>
                    </a:moveTo>
                    <a:lnTo>
                      <a:pt x="2859" y="1063"/>
                    </a:lnTo>
                    <a:lnTo>
                      <a:pt x="2859" y="1063"/>
                    </a:lnTo>
                    <a:lnTo>
                      <a:pt x="2859" y="1065"/>
                    </a:lnTo>
                    <a:lnTo>
                      <a:pt x="2859" y="1205"/>
                    </a:lnTo>
                    <a:lnTo>
                      <a:pt x="2861" y="1205"/>
                    </a:lnTo>
                    <a:lnTo>
                      <a:pt x="2861" y="1063"/>
                    </a:lnTo>
                    <a:moveTo>
                      <a:pt x="5931" y="1042"/>
                    </a:moveTo>
                    <a:lnTo>
                      <a:pt x="5931" y="1042"/>
                    </a:lnTo>
                    <a:lnTo>
                      <a:pt x="5928" y="1042"/>
                    </a:lnTo>
                    <a:lnTo>
                      <a:pt x="5928" y="1044"/>
                    </a:lnTo>
                    <a:lnTo>
                      <a:pt x="5928" y="1094"/>
                    </a:lnTo>
                    <a:lnTo>
                      <a:pt x="5931" y="1094"/>
                    </a:lnTo>
                    <a:lnTo>
                      <a:pt x="5931" y="1042"/>
                    </a:lnTo>
                    <a:moveTo>
                      <a:pt x="2878" y="1013"/>
                    </a:moveTo>
                    <a:lnTo>
                      <a:pt x="2876" y="1013"/>
                    </a:lnTo>
                    <a:lnTo>
                      <a:pt x="2876" y="1013"/>
                    </a:lnTo>
                    <a:lnTo>
                      <a:pt x="2876" y="1046"/>
                    </a:lnTo>
                    <a:lnTo>
                      <a:pt x="2878" y="1046"/>
                    </a:lnTo>
                    <a:lnTo>
                      <a:pt x="2878" y="1044"/>
                    </a:lnTo>
                    <a:lnTo>
                      <a:pt x="2878" y="1044"/>
                    </a:lnTo>
                    <a:lnTo>
                      <a:pt x="2878" y="1013"/>
                    </a:lnTo>
                    <a:moveTo>
                      <a:pt x="3772" y="994"/>
                    </a:moveTo>
                    <a:lnTo>
                      <a:pt x="3769" y="994"/>
                    </a:lnTo>
                    <a:lnTo>
                      <a:pt x="3769" y="997"/>
                    </a:lnTo>
                    <a:lnTo>
                      <a:pt x="3769" y="1188"/>
                    </a:lnTo>
                    <a:lnTo>
                      <a:pt x="3772" y="1188"/>
                    </a:lnTo>
                    <a:lnTo>
                      <a:pt x="3772" y="994"/>
                    </a:lnTo>
                    <a:moveTo>
                      <a:pt x="5949" y="989"/>
                    </a:moveTo>
                    <a:lnTo>
                      <a:pt x="5947" y="989"/>
                    </a:lnTo>
                    <a:lnTo>
                      <a:pt x="5947" y="992"/>
                    </a:lnTo>
                    <a:lnTo>
                      <a:pt x="5947" y="1025"/>
                    </a:lnTo>
                    <a:lnTo>
                      <a:pt x="5947" y="1025"/>
                    </a:lnTo>
                    <a:lnTo>
                      <a:pt x="5947" y="1023"/>
                    </a:lnTo>
                    <a:lnTo>
                      <a:pt x="5949" y="1023"/>
                    </a:lnTo>
                    <a:lnTo>
                      <a:pt x="5949" y="989"/>
                    </a:lnTo>
                    <a:moveTo>
                      <a:pt x="6340" y="935"/>
                    </a:moveTo>
                    <a:lnTo>
                      <a:pt x="6340" y="935"/>
                    </a:lnTo>
                    <a:lnTo>
                      <a:pt x="6337" y="935"/>
                    </a:lnTo>
                    <a:lnTo>
                      <a:pt x="6337" y="937"/>
                    </a:lnTo>
                    <a:lnTo>
                      <a:pt x="6337" y="1113"/>
                    </a:lnTo>
                    <a:lnTo>
                      <a:pt x="6340" y="1113"/>
                    </a:lnTo>
                    <a:lnTo>
                      <a:pt x="6340" y="1110"/>
                    </a:lnTo>
                    <a:lnTo>
                      <a:pt x="6340" y="1110"/>
                    </a:lnTo>
                    <a:lnTo>
                      <a:pt x="6340" y="935"/>
                    </a:lnTo>
                    <a:moveTo>
                      <a:pt x="3845" y="928"/>
                    </a:moveTo>
                    <a:lnTo>
                      <a:pt x="3843" y="928"/>
                    </a:lnTo>
                    <a:lnTo>
                      <a:pt x="3843" y="930"/>
                    </a:lnTo>
                    <a:lnTo>
                      <a:pt x="3843" y="959"/>
                    </a:lnTo>
                    <a:lnTo>
                      <a:pt x="3845" y="959"/>
                    </a:lnTo>
                    <a:lnTo>
                      <a:pt x="3845" y="928"/>
                    </a:lnTo>
                    <a:moveTo>
                      <a:pt x="6385" y="895"/>
                    </a:moveTo>
                    <a:lnTo>
                      <a:pt x="6385" y="895"/>
                    </a:lnTo>
                    <a:lnTo>
                      <a:pt x="6385" y="895"/>
                    </a:lnTo>
                    <a:lnTo>
                      <a:pt x="6382" y="897"/>
                    </a:lnTo>
                    <a:lnTo>
                      <a:pt x="6382" y="899"/>
                    </a:lnTo>
                    <a:lnTo>
                      <a:pt x="6385" y="899"/>
                    </a:lnTo>
                    <a:lnTo>
                      <a:pt x="6385" y="895"/>
                    </a:lnTo>
                    <a:moveTo>
                      <a:pt x="6389" y="878"/>
                    </a:moveTo>
                    <a:lnTo>
                      <a:pt x="6389" y="878"/>
                    </a:lnTo>
                    <a:lnTo>
                      <a:pt x="6387" y="878"/>
                    </a:lnTo>
                    <a:lnTo>
                      <a:pt x="6387" y="881"/>
                    </a:lnTo>
                    <a:lnTo>
                      <a:pt x="6387" y="892"/>
                    </a:lnTo>
                    <a:lnTo>
                      <a:pt x="6389" y="892"/>
                    </a:lnTo>
                    <a:lnTo>
                      <a:pt x="6389" y="890"/>
                    </a:lnTo>
                    <a:lnTo>
                      <a:pt x="6389" y="890"/>
                    </a:lnTo>
                    <a:lnTo>
                      <a:pt x="6389" y="878"/>
                    </a:lnTo>
                    <a:moveTo>
                      <a:pt x="6399" y="850"/>
                    </a:moveTo>
                    <a:lnTo>
                      <a:pt x="6396" y="850"/>
                    </a:lnTo>
                    <a:lnTo>
                      <a:pt x="6396" y="852"/>
                    </a:lnTo>
                    <a:lnTo>
                      <a:pt x="6396" y="871"/>
                    </a:lnTo>
                    <a:lnTo>
                      <a:pt x="6396" y="871"/>
                    </a:lnTo>
                    <a:lnTo>
                      <a:pt x="6396" y="869"/>
                    </a:lnTo>
                    <a:lnTo>
                      <a:pt x="6399" y="869"/>
                    </a:lnTo>
                    <a:lnTo>
                      <a:pt x="6399" y="850"/>
                    </a:lnTo>
                    <a:moveTo>
                      <a:pt x="804" y="828"/>
                    </a:moveTo>
                    <a:lnTo>
                      <a:pt x="804" y="828"/>
                    </a:lnTo>
                    <a:lnTo>
                      <a:pt x="804" y="1034"/>
                    </a:lnTo>
                    <a:lnTo>
                      <a:pt x="804" y="1034"/>
                    </a:lnTo>
                    <a:lnTo>
                      <a:pt x="804" y="828"/>
                    </a:lnTo>
                    <a:moveTo>
                      <a:pt x="3100" y="762"/>
                    </a:moveTo>
                    <a:lnTo>
                      <a:pt x="3100" y="762"/>
                    </a:lnTo>
                    <a:lnTo>
                      <a:pt x="3098" y="762"/>
                    </a:lnTo>
                    <a:lnTo>
                      <a:pt x="3098" y="765"/>
                    </a:lnTo>
                    <a:lnTo>
                      <a:pt x="3098" y="944"/>
                    </a:lnTo>
                    <a:lnTo>
                      <a:pt x="3100" y="944"/>
                    </a:lnTo>
                    <a:lnTo>
                      <a:pt x="3100" y="762"/>
                    </a:lnTo>
                    <a:moveTo>
                      <a:pt x="1010" y="753"/>
                    </a:moveTo>
                    <a:lnTo>
                      <a:pt x="1008" y="753"/>
                    </a:lnTo>
                    <a:lnTo>
                      <a:pt x="1008" y="755"/>
                    </a:lnTo>
                    <a:lnTo>
                      <a:pt x="1008" y="793"/>
                    </a:lnTo>
                    <a:lnTo>
                      <a:pt x="1010" y="793"/>
                    </a:lnTo>
                    <a:lnTo>
                      <a:pt x="1010" y="753"/>
                    </a:lnTo>
                    <a:moveTo>
                      <a:pt x="5131" y="731"/>
                    </a:moveTo>
                    <a:lnTo>
                      <a:pt x="5131" y="731"/>
                    </a:lnTo>
                    <a:lnTo>
                      <a:pt x="5131" y="734"/>
                    </a:lnTo>
                    <a:lnTo>
                      <a:pt x="5131" y="937"/>
                    </a:lnTo>
                    <a:lnTo>
                      <a:pt x="5131" y="937"/>
                    </a:lnTo>
                    <a:lnTo>
                      <a:pt x="5131" y="731"/>
                    </a:lnTo>
                    <a:moveTo>
                      <a:pt x="3138" y="658"/>
                    </a:moveTo>
                    <a:lnTo>
                      <a:pt x="3138" y="658"/>
                    </a:lnTo>
                    <a:lnTo>
                      <a:pt x="3138" y="658"/>
                    </a:lnTo>
                    <a:lnTo>
                      <a:pt x="3138" y="727"/>
                    </a:lnTo>
                    <a:lnTo>
                      <a:pt x="3138" y="727"/>
                    </a:lnTo>
                    <a:lnTo>
                      <a:pt x="3138" y="658"/>
                    </a:lnTo>
                    <a:moveTo>
                      <a:pt x="97" y="618"/>
                    </a:moveTo>
                    <a:lnTo>
                      <a:pt x="95" y="618"/>
                    </a:lnTo>
                    <a:lnTo>
                      <a:pt x="95" y="618"/>
                    </a:lnTo>
                    <a:lnTo>
                      <a:pt x="95" y="1418"/>
                    </a:lnTo>
                    <a:lnTo>
                      <a:pt x="97" y="1418"/>
                    </a:lnTo>
                    <a:lnTo>
                      <a:pt x="97" y="618"/>
                    </a:lnTo>
                    <a:moveTo>
                      <a:pt x="5254" y="611"/>
                    </a:moveTo>
                    <a:lnTo>
                      <a:pt x="5252" y="611"/>
                    </a:lnTo>
                    <a:lnTo>
                      <a:pt x="5252" y="611"/>
                    </a:lnTo>
                    <a:lnTo>
                      <a:pt x="5252" y="696"/>
                    </a:lnTo>
                    <a:lnTo>
                      <a:pt x="5254" y="696"/>
                    </a:lnTo>
                    <a:lnTo>
                      <a:pt x="5254" y="611"/>
                    </a:lnTo>
                    <a:moveTo>
                      <a:pt x="3282" y="582"/>
                    </a:moveTo>
                    <a:lnTo>
                      <a:pt x="3282" y="582"/>
                    </a:lnTo>
                    <a:lnTo>
                      <a:pt x="3280" y="582"/>
                    </a:lnTo>
                    <a:lnTo>
                      <a:pt x="3280" y="585"/>
                    </a:lnTo>
                    <a:lnTo>
                      <a:pt x="3280" y="622"/>
                    </a:lnTo>
                    <a:lnTo>
                      <a:pt x="3282" y="622"/>
                    </a:lnTo>
                    <a:lnTo>
                      <a:pt x="3282" y="582"/>
                    </a:lnTo>
                    <a:moveTo>
                      <a:pt x="303" y="547"/>
                    </a:moveTo>
                    <a:lnTo>
                      <a:pt x="301" y="547"/>
                    </a:lnTo>
                    <a:lnTo>
                      <a:pt x="301" y="549"/>
                    </a:lnTo>
                    <a:lnTo>
                      <a:pt x="301" y="582"/>
                    </a:lnTo>
                    <a:lnTo>
                      <a:pt x="303" y="582"/>
                    </a:lnTo>
                    <a:lnTo>
                      <a:pt x="303" y="547"/>
                    </a:lnTo>
                    <a:moveTo>
                      <a:pt x="7025" y="509"/>
                    </a:moveTo>
                    <a:lnTo>
                      <a:pt x="7023" y="509"/>
                    </a:lnTo>
                    <a:lnTo>
                      <a:pt x="7023" y="511"/>
                    </a:lnTo>
                    <a:lnTo>
                      <a:pt x="7023" y="1657"/>
                    </a:lnTo>
                    <a:lnTo>
                      <a:pt x="7025" y="1657"/>
                    </a:lnTo>
                    <a:lnTo>
                      <a:pt x="7025" y="509"/>
                    </a:lnTo>
                    <a:moveTo>
                      <a:pt x="4193" y="504"/>
                    </a:moveTo>
                    <a:lnTo>
                      <a:pt x="4193" y="504"/>
                    </a:lnTo>
                    <a:lnTo>
                      <a:pt x="4193" y="504"/>
                    </a:lnTo>
                    <a:lnTo>
                      <a:pt x="4152" y="561"/>
                    </a:lnTo>
                    <a:lnTo>
                      <a:pt x="4152" y="561"/>
                    </a:lnTo>
                    <a:lnTo>
                      <a:pt x="4193" y="504"/>
                    </a:lnTo>
                    <a:moveTo>
                      <a:pt x="3301" y="502"/>
                    </a:moveTo>
                    <a:lnTo>
                      <a:pt x="3299" y="502"/>
                    </a:lnTo>
                    <a:lnTo>
                      <a:pt x="3299" y="502"/>
                    </a:lnTo>
                    <a:lnTo>
                      <a:pt x="3299" y="504"/>
                    </a:lnTo>
                    <a:lnTo>
                      <a:pt x="3299" y="566"/>
                    </a:lnTo>
                    <a:lnTo>
                      <a:pt x="3299" y="566"/>
                    </a:lnTo>
                    <a:lnTo>
                      <a:pt x="3299" y="563"/>
                    </a:lnTo>
                    <a:lnTo>
                      <a:pt x="3301" y="563"/>
                    </a:lnTo>
                    <a:lnTo>
                      <a:pt x="3301" y="502"/>
                    </a:lnTo>
                    <a:moveTo>
                      <a:pt x="4037" y="454"/>
                    </a:moveTo>
                    <a:lnTo>
                      <a:pt x="4034" y="454"/>
                    </a:lnTo>
                    <a:lnTo>
                      <a:pt x="4034" y="454"/>
                    </a:lnTo>
                    <a:lnTo>
                      <a:pt x="4034" y="457"/>
                    </a:lnTo>
                    <a:lnTo>
                      <a:pt x="4034" y="492"/>
                    </a:lnTo>
                    <a:lnTo>
                      <a:pt x="3954" y="644"/>
                    </a:lnTo>
                    <a:lnTo>
                      <a:pt x="3954" y="892"/>
                    </a:lnTo>
                    <a:lnTo>
                      <a:pt x="3954" y="892"/>
                    </a:lnTo>
                    <a:lnTo>
                      <a:pt x="3954" y="641"/>
                    </a:lnTo>
                    <a:lnTo>
                      <a:pt x="4037" y="490"/>
                    </a:lnTo>
                    <a:lnTo>
                      <a:pt x="4037" y="454"/>
                    </a:lnTo>
                    <a:moveTo>
                      <a:pt x="3330" y="433"/>
                    </a:moveTo>
                    <a:lnTo>
                      <a:pt x="3327" y="433"/>
                    </a:lnTo>
                    <a:lnTo>
                      <a:pt x="3327" y="435"/>
                    </a:lnTo>
                    <a:lnTo>
                      <a:pt x="3327" y="473"/>
                    </a:lnTo>
                    <a:lnTo>
                      <a:pt x="3327" y="473"/>
                    </a:lnTo>
                    <a:lnTo>
                      <a:pt x="3327" y="471"/>
                    </a:lnTo>
                    <a:lnTo>
                      <a:pt x="3330" y="471"/>
                    </a:lnTo>
                    <a:lnTo>
                      <a:pt x="3330" y="433"/>
                    </a:lnTo>
                    <a:moveTo>
                      <a:pt x="4041" y="390"/>
                    </a:moveTo>
                    <a:lnTo>
                      <a:pt x="4041" y="390"/>
                    </a:lnTo>
                    <a:lnTo>
                      <a:pt x="4041" y="390"/>
                    </a:lnTo>
                    <a:lnTo>
                      <a:pt x="4041" y="393"/>
                    </a:lnTo>
                    <a:lnTo>
                      <a:pt x="4041" y="450"/>
                    </a:lnTo>
                    <a:lnTo>
                      <a:pt x="4041" y="450"/>
                    </a:lnTo>
                    <a:lnTo>
                      <a:pt x="4041" y="447"/>
                    </a:lnTo>
                    <a:lnTo>
                      <a:pt x="4041" y="447"/>
                    </a:lnTo>
                    <a:lnTo>
                      <a:pt x="4041" y="390"/>
                    </a:lnTo>
                    <a:moveTo>
                      <a:pt x="1809" y="369"/>
                    </a:moveTo>
                    <a:lnTo>
                      <a:pt x="1807" y="369"/>
                    </a:lnTo>
                    <a:lnTo>
                      <a:pt x="1807" y="372"/>
                    </a:lnTo>
                    <a:lnTo>
                      <a:pt x="1807" y="1096"/>
                    </a:lnTo>
                    <a:lnTo>
                      <a:pt x="1809" y="1096"/>
                    </a:lnTo>
                    <a:lnTo>
                      <a:pt x="1809" y="369"/>
                    </a:lnTo>
                    <a:moveTo>
                      <a:pt x="4051" y="327"/>
                    </a:moveTo>
                    <a:lnTo>
                      <a:pt x="4048" y="327"/>
                    </a:lnTo>
                    <a:lnTo>
                      <a:pt x="4048" y="329"/>
                    </a:lnTo>
                    <a:lnTo>
                      <a:pt x="4048" y="383"/>
                    </a:lnTo>
                    <a:lnTo>
                      <a:pt x="4051" y="383"/>
                    </a:lnTo>
                    <a:lnTo>
                      <a:pt x="4051" y="381"/>
                    </a:lnTo>
                    <a:lnTo>
                      <a:pt x="4051" y="381"/>
                    </a:lnTo>
                    <a:lnTo>
                      <a:pt x="4051" y="327"/>
                    </a:lnTo>
                    <a:moveTo>
                      <a:pt x="2029" y="293"/>
                    </a:moveTo>
                    <a:lnTo>
                      <a:pt x="2027" y="293"/>
                    </a:lnTo>
                    <a:lnTo>
                      <a:pt x="2027" y="296"/>
                    </a:lnTo>
                    <a:lnTo>
                      <a:pt x="2027" y="298"/>
                    </a:lnTo>
                    <a:lnTo>
                      <a:pt x="2029" y="298"/>
                    </a:lnTo>
                    <a:lnTo>
                      <a:pt x="2029" y="293"/>
                    </a:lnTo>
                    <a:moveTo>
                      <a:pt x="4703" y="232"/>
                    </a:moveTo>
                    <a:lnTo>
                      <a:pt x="4701" y="232"/>
                    </a:lnTo>
                    <a:lnTo>
                      <a:pt x="4701" y="234"/>
                    </a:lnTo>
                    <a:lnTo>
                      <a:pt x="4642" y="457"/>
                    </a:lnTo>
                    <a:lnTo>
                      <a:pt x="4642" y="457"/>
                    </a:lnTo>
                    <a:lnTo>
                      <a:pt x="4703" y="232"/>
                    </a:lnTo>
                    <a:moveTo>
                      <a:pt x="4803" y="173"/>
                    </a:moveTo>
                    <a:lnTo>
                      <a:pt x="4803" y="173"/>
                    </a:lnTo>
                    <a:lnTo>
                      <a:pt x="4803" y="173"/>
                    </a:lnTo>
                    <a:lnTo>
                      <a:pt x="4803" y="175"/>
                    </a:lnTo>
                    <a:lnTo>
                      <a:pt x="4803" y="196"/>
                    </a:lnTo>
                    <a:lnTo>
                      <a:pt x="4803" y="196"/>
                    </a:lnTo>
                    <a:lnTo>
                      <a:pt x="4803" y="173"/>
                    </a:lnTo>
                    <a:moveTo>
                      <a:pt x="4852" y="0"/>
                    </a:moveTo>
                    <a:lnTo>
                      <a:pt x="4850" y="0"/>
                    </a:lnTo>
                    <a:lnTo>
                      <a:pt x="4850" y="2"/>
                    </a:lnTo>
                    <a:lnTo>
                      <a:pt x="4850" y="137"/>
                    </a:lnTo>
                    <a:lnTo>
                      <a:pt x="4852" y="137"/>
                    </a:lnTo>
                    <a:lnTo>
                      <a:pt x="4852" y="0"/>
                    </a:lnTo>
                    <a:moveTo>
                      <a:pt x="4911" y="0"/>
                    </a:moveTo>
                    <a:lnTo>
                      <a:pt x="4909" y="0"/>
                    </a:lnTo>
                    <a:lnTo>
                      <a:pt x="4909" y="2"/>
                    </a:lnTo>
                    <a:lnTo>
                      <a:pt x="4909" y="137"/>
                    </a:lnTo>
                    <a:lnTo>
                      <a:pt x="4911" y="137"/>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6" name="Freeform 108"/>
              <p:cNvSpPr>
                <a:spLocks noEditPoints="1"/>
              </p:cNvSpPr>
              <p:nvPr/>
            </p:nvSpPr>
            <p:spPr bwMode="auto">
              <a:xfrm>
                <a:off x="14" y="1693"/>
                <a:ext cx="7025" cy="1660"/>
              </a:xfrm>
              <a:custGeom>
                <a:avLst/>
                <a:gdLst>
                  <a:gd name="T0" fmla="*/ 0 w 7025"/>
                  <a:gd name="T1" fmla="*/ 1501 h 1660"/>
                  <a:gd name="T2" fmla="*/ 5663 w 7025"/>
                  <a:gd name="T3" fmla="*/ 1416 h 1660"/>
                  <a:gd name="T4" fmla="*/ 3707 w 7025"/>
                  <a:gd name="T5" fmla="*/ 1224 h 1660"/>
                  <a:gd name="T6" fmla="*/ 5831 w 7025"/>
                  <a:gd name="T7" fmla="*/ 1210 h 1660"/>
                  <a:gd name="T8" fmla="*/ 5831 w 7025"/>
                  <a:gd name="T9" fmla="*/ 1293 h 1660"/>
                  <a:gd name="T10" fmla="*/ 1662 w 7025"/>
                  <a:gd name="T11" fmla="*/ 1161 h 1660"/>
                  <a:gd name="T12" fmla="*/ 1686 w 7025"/>
                  <a:gd name="T13" fmla="*/ 1132 h 1660"/>
                  <a:gd name="T14" fmla="*/ 1688 w 7025"/>
                  <a:gd name="T15" fmla="*/ 1135 h 1660"/>
                  <a:gd name="T16" fmla="*/ 5854 w 7025"/>
                  <a:gd name="T17" fmla="*/ 1187 h 1660"/>
                  <a:gd name="T18" fmla="*/ 6322 w 7025"/>
                  <a:gd name="T19" fmla="*/ 1130 h 1660"/>
                  <a:gd name="T20" fmla="*/ 6322 w 7025"/>
                  <a:gd name="T21" fmla="*/ 1177 h 1660"/>
                  <a:gd name="T22" fmla="*/ 1444 w 7025"/>
                  <a:gd name="T23" fmla="*/ 1130 h 1660"/>
                  <a:gd name="T24" fmla="*/ 1461 w 7025"/>
                  <a:gd name="T25" fmla="*/ 1085 h 1660"/>
                  <a:gd name="T26" fmla="*/ 1463 w 7025"/>
                  <a:gd name="T27" fmla="*/ 1108 h 1660"/>
                  <a:gd name="T28" fmla="*/ 2858 w 7025"/>
                  <a:gd name="T29" fmla="*/ 1066 h 1660"/>
                  <a:gd name="T30" fmla="*/ 5930 w 7025"/>
                  <a:gd name="T31" fmla="*/ 1042 h 1660"/>
                  <a:gd name="T32" fmla="*/ 5930 w 7025"/>
                  <a:gd name="T33" fmla="*/ 1042 h 1660"/>
                  <a:gd name="T34" fmla="*/ 2875 w 7025"/>
                  <a:gd name="T35" fmla="*/ 1047 h 1660"/>
                  <a:gd name="T36" fmla="*/ 3769 w 7025"/>
                  <a:gd name="T37" fmla="*/ 995 h 1660"/>
                  <a:gd name="T38" fmla="*/ 5949 w 7025"/>
                  <a:gd name="T39" fmla="*/ 990 h 1660"/>
                  <a:gd name="T40" fmla="*/ 5946 w 7025"/>
                  <a:gd name="T41" fmla="*/ 1023 h 1660"/>
                  <a:gd name="T42" fmla="*/ 6337 w 7025"/>
                  <a:gd name="T43" fmla="*/ 938 h 1660"/>
                  <a:gd name="T44" fmla="*/ 6339 w 7025"/>
                  <a:gd name="T45" fmla="*/ 1111 h 1660"/>
                  <a:gd name="T46" fmla="*/ 3842 w 7025"/>
                  <a:gd name="T47" fmla="*/ 962 h 1660"/>
                  <a:gd name="T48" fmla="*/ 6382 w 7025"/>
                  <a:gd name="T49" fmla="*/ 895 h 1660"/>
                  <a:gd name="T50" fmla="*/ 6389 w 7025"/>
                  <a:gd name="T51" fmla="*/ 879 h 1660"/>
                  <a:gd name="T52" fmla="*/ 6386 w 7025"/>
                  <a:gd name="T53" fmla="*/ 893 h 1660"/>
                  <a:gd name="T54" fmla="*/ 6396 w 7025"/>
                  <a:gd name="T55" fmla="*/ 850 h 1660"/>
                  <a:gd name="T56" fmla="*/ 6396 w 7025"/>
                  <a:gd name="T57" fmla="*/ 872 h 1660"/>
                  <a:gd name="T58" fmla="*/ 801 w 7025"/>
                  <a:gd name="T59" fmla="*/ 1037 h 1660"/>
                  <a:gd name="T60" fmla="*/ 3097 w 7025"/>
                  <a:gd name="T61" fmla="*/ 765 h 1660"/>
                  <a:gd name="T62" fmla="*/ 1007 w 7025"/>
                  <a:gd name="T63" fmla="*/ 753 h 1660"/>
                  <a:gd name="T64" fmla="*/ 1007 w 7025"/>
                  <a:gd name="T65" fmla="*/ 753 h 1660"/>
                  <a:gd name="T66" fmla="*/ 5131 w 7025"/>
                  <a:gd name="T67" fmla="*/ 940 h 1660"/>
                  <a:gd name="T68" fmla="*/ 3135 w 7025"/>
                  <a:gd name="T69" fmla="*/ 730 h 1660"/>
                  <a:gd name="T70" fmla="*/ 94 w 7025"/>
                  <a:gd name="T71" fmla="*/ 621 h 1660"/>
                  <a:gd name="T72" fmla="*/ 5251 w 7025"/>
                  <a:gd name="T73" fmla="*/ 611 h 1660"/>
                  <a:gd name="T74" fmla="*/ 3282 w 7025"/>
                  <a:gd name="T75" fmla="*/ 583 h 1660"/>
                  <a:gd name="T76" fmla="*/ 3282 w 7025"/>
                  <a:gd name="T77" fmla="*/ 625 h 1660"/>
                  <a:gd name="T78" fmla="*/ 300 w 7025"/>
                  <a:gd name="T79" fmla="*/ 585 h 1660"/>
                  <a:gd name="T80" fmla="*/ 7022 w 7025"/>
                  <a:gd name="T81" fmla="*/ 512 h 1660"/>
                  <a:gd name="T82" fmla="*/ 4192 w 7025"/>
                  <a:gd name="T83" fmla="*/ 505 h 1660"/>
                  <a:gd name="T84" fmla="*/ 3298 w 7025"/>
                  <a:gd name="T85" fmla="*/ 502 h 1660"/>
                  <a:gd name="T86" fmla="*/ 3298 w 7025"/>
                  <a:gd name="T87" fmla="*/ 566 h 1660"/>
                  <a:gd name="T88" fmla="*/ 4034 w 7025"/>
                  <a:gd name="T89" fmla="*/ 455 h 1660"/>
                  <a:gd name="T90" fmla="*/ 3951 w 7025"/>
                  <a:gd name="T91" fmla="*/ 895 h 1660"/>
                  <a:gd name="T92" fmla="*/ 3327 w 7025"/>
                  <a:gd name="T93" fmla="*/ 436 h 1660"/>
                  <a:gd name="T94" fmla="*/ 3327 w 7025"/>
                  <a:gd name="T95" fmla="*/ 474 h 1660"/>
                  <a:gd name="T96" fmla="*/ 4038 w 7025"/>
                  <a:gd name="T97" fmla="*/ 391 h 1660"/>
                  <a:gd name="T98" fmla="*/ 4041 w 7025"/>
                  <a:gd name="T99" fmla="*/ 448 h 1660"/>
                  <a:gd name="T100" fmla="*/ 1806 w 7025"/>
                  <a:gd name="T101" fmla="*/ 1099 h 1660"/>
                  <a:gd name="T102" fmla="*/ 1936 w 7025"/>
                  <a:gd name="T103" fmla="*/ 337 h 1660"/>
                  <a:gd name="T104" fmla="*/ 4048 w 7025"/>
                  <a:gd name="T105" fmla="*/ 330 h 1660"/>
                  <a:gd name="T106" fmla="*/ 4050 w 7025"/>
                  <a:gd name="T107" fmla="*/ 330 h 1660"/>
                  <a:gd name="T108" fmla="*/ 2028 w 7025"/>
                  <a:gd name="T109" fmla="*/ 301 h 1660"/>
                  <a:gd name="T110" fmla="*/ 4639 w 7025"/>
                  <a:gd name="T111" fmla="*/ 460 h 1660"/>
                  <a:gd name="T112" fmla="*/ 4800 w 7025"/>
                  <a:gd name="T113" fmla="*/ 173 h 1660"/>
                  <a:gd name="T114" fmla="*/ 4852 w 7025"/>
                  <a:gd name="T115" fmla="*/ 0 h 1660"/>
                  <a:gd name="T116" fmla="*/ 4852 w 7025"/>
                  <a:gd name="T117" fmla="*/ 0 h 1660"/>
                  <a:gd name="T118" fmla="*/ 4908 w 7025"/>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0">
                    <a:moveTo>
                      <a:pt x="0" y="1454"/>
                    </a:moveTo>
                    <a:lnTo>
                      <a:pt x="0" y="1454"/>
                    </a:lnTo>
                    <a:lnTo>
                      <a:pt x="0" y="1457"/>
                    </a:lnTo>
                    <a:lnTo>
                      <a:pt x="0" y="1501"/>
                    </a:lnTo>
                    <a:lnTo>
                      <a:pt x="0" y="1501"/>
                    </a:lnTo>
                    <a:lnTo>
                      <a:pt x="0" y="1454"/>
                    </a:lnTo>
                    <a:close/>
                    <a:moveTo>
                      <a:pt x="5665" y="1326"/>
                    </a:moveTo>
                    <a:lnTo>
                      <a:pt x="5663" y="1326"/>
                    </a:lnTo>
                    <a:lnTo>
                      <a:pt x="5663" y="1329"/>
                    </a:lnTo>
                    <a:lnTo>
                      <a:pt x="5663" y="1416"/>
                    </a:lnTo>
                    <a:lnTo>
                      <a:pt x="5665" y="1416"/>
                    </a:lnTo>
                    <a:lnTo>
                      <a:pt x="5665" y="1326"/>
                    </a:lnTo>
                    <a:close/>
                    <a:moveTo>
                      <a:pt x="3710" y="1224"/>
                    </a:moveTo>
                    <a:lnTo>
                      <a:pt x="3707" y="1224"/>
                    </a:lnTo>
                    <a:lnTo>
                      <a:pt x="3707" y="1224"/>
                    </a:lnTo>
                    <a:lnTo>
                      <a:pt x="3707" y="1224"/>
                    </a:lnTo>
                    <a:lnTo>
                      <a:pt x="3707" y="1359"/>
                    </a:lnTo>
                    <a:lnTo>
                      <a:pt x="3710" y="1359"/>
                    </a:lnTo>
                    <a:lnTo>
                      <a:pt x="3710" y="1224"/>
                    </a:lnTo>
                    <a:close/>
                    <a:moveTo>
                      <a:pt x="5831" y="1210"/>
                    </a:moveTo>
                    <a:lnTo>
                      <a:pt x="5828" y="1210"/>
                    </a:lnTo>
                    <a:lnTo>
                      <a:pt x="5828" y="1210"/>
                    </a:lnTo>
                    <a:lnTo>
                      <a:pt x="5828" y="1213"/>
                    </a:lnTo>
                    <a:lnTo>
                      <a:pt x="5828" y="1293"/>
                    </a:lnTo>
                    <a:lnTo>
                      <a:pt x="5831" y="1293"/>
                    </a:lnTo>
                    <a:lnTo>
                      <a:pt x="5831" y="1210"/>
                    </a:lnTo>
                    <a:close/>
                    <a:moveTo>
                      <a:pt x="1664" y="1158"/>
                    </a:moveTo>
                    <a:lnTo>
                      <a:pt x="1664" y="1158"/>
                    </a:lnTo>
                    <a:lnTo>
                      <a:pt x="1662" y="1158"/>
                    </a:lnTo>
                    <a:lnTo>
                      <a:pt x="1662" y="1161"/>
                    </a:lnTo>
                    <a:lnTo>
                      <a:pt x="1662" y="1168"/>
                    </a:lnTo>
                    <a:lnTo>
                      <a:pt x="1664" y="1168"/>
                    </a:lnTo>
                    <a:lnTo>
                      <a:pt x="1664" y="1158"/>
                    </a:lnTo>
                    <a:close/>
                    <a:moveTo>
                      <a:pt x="1688" y="1132"/>
                    </a:moveTo>
                    <a:lnTo>
                      <a:pt x="1686" y="1132"/>
                    </a:lnTo>
                    <a:lnTo>
                      <a:pt x="1686" y="1135"/>
                    </a:lnTo>
                    <a:lnTo>
                      <a:pt x="1686" y="1137"/>
                    </a:lnTo>
                    <a:lnTo>
                      <a:pt x="1688" y="1137"/>
                    </a:lnTo>
                    <a:lnTo>
                      <a:pt x="1688" y="1135"/>
                    </a:lnTo>
                    <a:lnTo>
                      <a:pt x="1688" y="1135"/>
                    </a:lnTo>
                    <a:lnTo>
                      <a:pt x="1688" y="1132"/>
                    </a:lnTo>
                    <a:close/>
                    <a:moveTo>
                      <a:pt x="5854" y="1130"/>
                    </a:moveTo>
                    <a:lnTo>
                      <a:pt x="5854" y="1130"/>
                    </a:lnTo>
                    <a:lnTo>
                      <a:pt x="5854" y="1132"/>
                    </a:lnTo>
                    <a:lnTo>
                      <a:pt x="5854" y="1187"/>
                    </a:lnTo>
                    <a:lnTo>
                      <a:pt x="5854" y="1187"/>
                    </a:lnTo>
                    <a:lnTo>
                      <a:pt x="5854" y="1184"/>
                    </a:lnTo>
                    <a:lnTo>
                      <a:pt x="5854" y="1184"/>
                    </a:lnTo>
                    <a:lnTo>
                      <a:pt x="5854" y="1130"/>
                    </a:lnTo>
                    <a:close/>
                    <a:moveTo>
                      <a:pt x="6322" y="1130"/>
                    </a:moveTo>
                    <a:lnTo>
                      <a:pt x="6320" y="1130"/>
                    </a:lnTo>
                    <a:lnTo>
                      <a:pt x="6320" y="1130"/>
                    </a:lnTo>
                    <a:lnTo>
                      <a:pt x="6320" y="1132"/>
                    </a:lnTo>
                    <a:lnTo>
                      <a:pt x="6320" y="1177"/>
                    </a:lnTo>
                    <a:lnTo>
                      <a:pt x="6322" y="1177"/>
                    </a:lnTo>
                    <a:lnTo>
                      <a:pt x="6322" y="1130"/>
                    </a:lnTo>
                    <a:close/>
                    <a:moveTo>
                      <a:pt x="1447" y="1127"/>
                    </a:moveTo>
                    <a:lnTo>
                      <a:pt x="1444" y="1127"/>
                    </a:lnTo>
                    <a:lnTo>
                      <a:pt x="1444" y="1127"/>
                    </a:lnTo>
                    <a:lnTo>
                      <a:pt x="1444" y="1130"/>
                    </a:lnTo>
                    <a:lnTo>
                      <a:pt x="1444" y="1168"/>
                    </a:lnTo>
                    <a:lnTo>
                      <a:pt x="1447" y="1168"/>
                    </a:lnTo>
                    <a:lnTo>
                      <a:pt x="1447" y="1127"/>
                    </a:lnTo>
                    <a:close/>
                    <a:moveTo>
                      <a:pt x="1463" y="1085"/>
                    </a:moveTo>
                    <a:lnTo>
                      <a:pt x="1461" y="1085"/>
                    </a:lnTo>
                    <a:lnTo>
                      <a:pt x="1461" y="1087"/>
                    </a:lnTo>
                    <a:lnTo>
                      <a:pt x="1461" y="1111"/>
                    </a:lnTo>
                    <a:lnTo>
                      <a:pt x="1463" y="1111"/>
                    </a:lnTo>
                    <a:lnTo>
                      <a:pt x="1463" y="1108"/>
                    </a:lnTo>
                    <a:lnTo>
                      <a:pt x="1463" y="1108"/>
                    </a:lnTo>
                    <a:lnTo>
                      <a:pt x="1463" y="1085"/>
                    </a:lnTo>
                    <a:close/>
                    <a:moveTo>
                      <a:pt x="2858" y="1063"/>
                    </a:moveTo>
                    <a:lnTo>
                      <a:pt x="2858" y="1063"/>
                    </a:lnTo>
                    <a:lnTo>
                      <a:pt x="2858" y="1063"/>
                    </a:lnTo>
                    <a:lnTo>
                      <a:pt x="2858" y="1066"/>
                    </a:lnTo>
                    <a:lnTo>
                      <a:pt x="2858" y="1208"/>
                    </a:lnTo>
                    <a:lnTo>
                      <a:pt x="2858" y="1208"/>
                    </a:lnTo>
                    <a:lnTo>
                      <a:pt x="2858" y="1063"/>
                    </a:lnTo>
                    <a:close/>
                    <a:moveTo>
                      <a:pt x="5930" y="1042"/>
                    </a:moveTo>
                    <a:lnTo>
                      <a:pt x="5930" y="1042"/>
                    </a:lnTo>
                    <a:lnTo>
                      <a:pt x="5928" y="1042"/>
                    </a:lnTo>
                    <a:lnTo>
                      <a:pt x="5928" y="1045"/>
                    </a:lnTo>
                    <a:lnTo>
                      <a:pt x="5928" y="1097"/>
                    </a:lnTo>
                    <a:lnTo>
                      <a:pt x="5930" y="1097"/>
                    </a:lnTo>
                    <a:lnTo>
                      <a:pt x="5930" y="1042"/>
                    </a:lnTo>
                    <a:close/>
                    <a:moveTo>
                      <a:pt x="2877" y="1014"/>
                    </a:moveTo>
                    <a:lnTo>
                      <a:pt x="2875" y="1014"/>
                    </a:lnTo>
                    <a:lnTo>
                      <a:pt x="2875" y="1016"/>
                    </a:lnTo>
                    <a:lnTo>
                      <a:pt x="2875" y="1047"/>
                    </a:lnTo>
                    <a:lnTo>
                      <a:pt x="2875" y="1047"/>
                    </a:lnTo>
                    <a:lnTo>
                      <a:pt x="2875" y="1045"/>
                    </a:lnTo>
                    <a:lnTo>
                      <a:pt x="2877" y="1045"/>
                    </a:lnTo>
                    <a:lnTo>
                      <a:pt x="2877" y="1014"/>
                    </a:lnTo>
                    <a:close/>
                    <a:moveTo>
                      <a:pt x="3769" y="995"/>
                    </a:moveTo>
                    <a:lnTo>
                      <a:pt x="3769" y="995"/>
                    </a:lnTo>
                    <a:lnTo>
                      <a:pt x="3769" y="997"/>
                    </a:lnTo>
                    <a:lnTo>
                      <a:pt x="3769" y="1191"/>
                    </a:lnTo>
                    <a:lnTo>
                      <a:pt x="3769" y="1191"/>
                    </a:lnTo>
                    <a:lnTo>
                      <a:pt x="3769" y="995"/>
                    </a:lnTo>
                    <a:close/>
                    <a:moveTo>
                      <a:pt x="5949" y="990"/>
                    </a:moveTo>
                    <a:lnTo>
                      <a:pt x="5946" y="990"/>
                    </a:lnTo>
                    <a:lnTo>
                      <a:pt x="5946" y="992"/>
                    </a:lnTo>
                    <a:lnTo>
                      <a:pt x="5946" y="1026"/>
                    </a:lnTo>
                    <a:lnTo>
                      <a:pt x="5946" y="1026"/>
                    </a:lnTo>
                    <a:lnTo>
                      <a:pt x="5946" y="1023"/>
                    </a:lnTo>
                    <a:lnTo>
                      <a:pt x="5949" y="1023"/>
                    </a:lnTo>
                    <a:lnTo>
                      <a:pt x="5949" y="990"/>
                    </a:lnTo>
                    <a:close/>
                    <a:moveTo>
                      <a:pt x="6339" y="938"/>
                    </a:moveTo>
                    <a:lnTo>
                      <a:pt x="6339" y="938"/>
                    </a:lnTo>
                    <a:lnTo>
                      <a:pt x="6337" y="938"/>
                    </a:lnTo>
                    <a:lnTo>
                      <a:pt x="6337" y="938"/>
                    </a:lnTo>
                    <a:lnTo>
                      <a:pt x="6337" y="1113"/>
                    </a:lnTo>
                    <a:lnTo>
                      <a:pt x="6339" y="1113"/>
                    </a:lnTo>
                    <a:lnTo>
                      <a:pt x="6339" y="1111"/>
                    </a:lnTo>
                    <a:lnTo>
                      <a:pt x="6339" y="1111"/>
                    </a:lnTo>
                    <a:lnTo>
                      <a:pt x="6339" y="938"/>
                    </a:lnTo>
                    <a:close/>
                    <a:moveTo>
                      <a:pt x="3844" y="929"/>
                    </a:moveTo>
                    <a:lnTo>
                      <a:pt x="3842" y="929"/>
                    </a:lnTo>
                    <a:lnTo>
                      <a:pt x="3842" y="931"/>
                    </a:lnTo>
                    <a:lnTo>
                      <a:pt x="3842" y="962"/>
                    </a:lnTo>
                    <a:lnTo>
                      <a:pt x="3844" y="962"/>
                    </a:lnTo>
                    <a:lnTo>
                      <a:pt x="3844" y="929"/>
                    </a:lnTo>
                    <a:close/>
                    <a:moveTo>
                      <a:pt x="6384" y="895"/>
                    </a:moveTo>
                    <a:lnTo>
                      <a:pt x="6384" y="895"/>
                    </a:lnTo>
                    <a:lnTo>
                      <a:pt x="6382" y="895"/>
                    </a:lnTo>
                    <a:lnTo>
                      <a:pt x="6382" y="898"/>
                    </a:lnTo>
                    <a:lnTo>
                      <a:pt x="6382" y="902"/>
                    </a:lnTo>
                    <a:lnTo>
                      <a:pt x="6382" y="902"/>
                    </a:lnTo>
                    <a:lnTo>
                      <a:pt x="6384" y="895"/>
                    </a:lnTo>
                    <a:close/>
                    <a:moveTo>
                      <a:pt x="6389" y="879"/>
                    </a:moveTo>
                    <a:lnTo>
                      <a:pt x="6386" y="879"/>
                    </a:lnTo>
                    <a:lnTo>
                      <a:pt x="6386" y="879"/>
                    </a:lnTo>
                    <a:lnTo>
                      <a:pt x="6386" y="881"/>
                    </a:lnTo>
                    <a:lnTo>
                      <a:pt x="6386" y="893"/>
                    </a:lnTo>
                    <a:lnTo>
                      <a:pt x="6386" y="893"/>
                    </a:lnTo>
                    <a:lnTo>
                      <a:pt x="6389" y="891"/>
                    </a:lnTo>
                    <a:lnTo>
                      <a:pt x="6389" y="891"/>
                    </a:lnTo>
                    <a:lnTo>
                      <a:pt x="6389" y="879"/>
                    </a:lnTo>
                    <a:close/>
                    <a:moveTo>
                      <a:pt x="6396" y="850"/>
                    </a:moveTo>
                    <a:lnTo>
                      <a:pt x="6396" y="850"/>
                    </a:lnTo>
                    <a:lnTo>
                      <a:pt x="6396" y="853"/>
                    </a:lnTo>
                    <a:lnTo>
                      <a:pt x="6396" y="872"/>
                    </a:lnTo>
                    <a:lnTo>
                      <a:pt x="6396" y="872"/>
                    </a:lnTo>
                    <a:lnTo>
                      <a:pt x="6396" y="872"/>
                    </a:lnTo>
                    <a:lnTo>
                      <a:pt x="6396" y="872"/>
                    </a:lnTo>
                    <a:lnTo>
                      <a:pt x="6396" y="850"/>
                    </a:lnTo>
                    <a:close/>
                    <a:moveTo>
                      <a:pt x="804" y="829"/>
                    </a:moveTo>
                    <a:lnTo>
                      <a:pt x="801" y="829"/>
                    </a:lnTo>
                    <a:lnTo>
                      <a:pt x="801" y="831"/>
                    </a:lnTo>
                    <a:lnTo>
                      <a:pt x="801" y="1037"/>
                    </a:lnTo>
                    <a:lnTo>
                      <a:pt x="804" y="1037"/>
                    </a:lnTo>
                    <a:lnTo>
                      <a:pt x="804" y="829"/>
                    </a:lnTo>
                    <a:close/>
                    <a:moveTo>
                      <a:pt x="3100" y="765"/>
                    </a:moveTo>
                    <a:lnTo>
                      <a:pt x="3100" y="765"/>
                    </a:lnTo>
                    <a:lnTo>
                      <a:pt x="3097" y="765"/>
                    </a:lnTo>
                    <a:lnTo>
                      <a:pt x="3097" y="765"/>
                    </a:lnTo>
                    <a:lnTo>
                      <a:pt x="3097" y="947"/>
                    </a:lnTo>
                    <a:lnTo>
                      <a:pt x="3100" y="947"/>
                    </a:lnTo>
                    <a:lnTo>
                      <a:pt x="3100" y="765"/>
                    </a:lnTo>
                    <a:close/>
                    <a:moveTo>
                      <a:pt x="1007" y="753"/>
                    </a:moveTo>
                    <a:lnTo>
                      <a:pt x="1007" y="753"/>
                    </a:lnTo>
                    <a:lnTo>
                      <a:pt x="1007" y="756"/>
                    </a:lnTo>
                    <a:lnTo>
                      <a:pt x="1007" y="796"/>
                    </a:lnTo>
                    <a:lnTo>
                      <a:pt x="1007" y="796"/>
                    </a:lnTo>
                    <a:lnTo>
                      <a:pt x="1007" y="753"/>
                    </a:lnTo>
                    <a:close/>
                    <a:moveTo>
                      <a:pt x="5131" y="734"/>
                    </a:moveTo>
                    <a:lnTo>
                      <a:pt x="5128" y="734"/>
                    </a:lnTo>
                    <a:lnTo>
                      <a:pt x="5128" y="734"/>
                    </a:lnTo>
                    <a:lnTo>
                      <a:pt x="5128" y="940"/>
                    </a:lnTo>
                    <a:lnTo>
                      <a:pt x="5131" y="940"/>
                    </a:lnTo>
                    <a:lnTo>
                      <a:pt x="5131" y="734"/>
                    </a:lnTo>
                    <a:close/>
                    <a:moveTo>
                      <a:pt x="3137" y="659"/>
                    </a:moveTo>
                    <a:lnTo>
                      <a:pt x="3135" y="659"/>
                    </a:lnTo>
                    <a:lnTo>
                      <a:pt x="3135" y="661"/>
                    </a:lnTo>
                    <a:lnTo>
                      <a:pt x="3135" y="730"/>
                    </a:lnTo>
                    <a:lnTo>
                      <a:pt x="3137" y="730"/>
                    </a:lnTo>
                    <a:lnTo>
                      <a:pt x="3137" y="659"/>
                    </a:lnTo>
                    <a:close/>
                    <a:moveTo>
                      <a:pt x="97" y="618"/>
                    </a:moveTo>
                    <a:lnTo>
                      <a:pt x="94" y="618"/>
                    </a:lnTo>
                    <a:lnTo>
                      <a:pt x="94" y="621"/>
                    </a:lnTo>
                    <a:lnTo>
                      <a:pt x="94" y="1421"/>
                    </a:lnTo>
                    <a:lnTo>
                      <a:pt x="97" y="1421"/>
                    </a:lnTo>
                    <a:lnTo>
                      <a:pt x="97" y="618"/>
                    </a:lnTo>
                    <a:close/>
                    <a:moveTo>
                      <a:pt x="5251" y="611"/>
                    </a:moveTo>
                    <a:lnTo>
                      <a:pt x="5251" y="611"/>
                    </a:lnTo>
                    <a:lnTo>
                      <a:pt x="5251" y="614"/>
                    </a:lnTo>
                    <a:lnTo>
                      <a:pt x="5251" y="699"/>
                    </a:lnTo>
                    <a:lnTo>
                      <a:pt x="5251" y="699"/>
                    </a:lnTo>
                    <a:lnTo>
                      <a:pt x="5251" y="611"/>
                    </a:lnTo>
                    <a:close/>
                    <a:moveTo>
                      <a:pt x="3282" y="583"/>
                    </a:moveTo>
                    <a:lnTo>
                      <a:pt x="3279" y="583"/>
                    </a:lnTo>
                    <a:lnTo>
                      <a:pt x="3279" y="583"/>
                    </a:lnTo>
                    <a:lnTo>
                      <a:pt x="3279" y="585"/>
                    </a:lnTo>
                    <a:lnTo>
                      <a:pt x="3279" y="625"/>
                    </a:lnTo>
                    <a:lnTo>
                      <a:pt x="3282" y="625"/>
                    </a:lnTo>
                    <a:lnTo>
                      <a:pt x="3282" y="583"/>
                    </a:lnTo>
                    <a:close/>
                    <a:moveTo>
                      <a:pt x="300" y="550"/>
                    </a:moveTo>
                    <a:lnTo>
                      <a:pt x="300" y="550"/>
                    </a:lnTo>
                    <a:lnTo>
                      <a:pt x="300" y="550"/>
                    </a:lnTo>
                    <a:lnTo>
                      <a:pt x="300" y="585"/>
                    </a:lnTo>
                    <a:lnTo>
                      <a:pt x="300" y="585"/>
                    </a:lnTo>
                    <a:lnTo>
                      <a:pt x="300" y="550"/>
                    </a:lnTo>
                    <a:close/>
                    <a:moveTo>
                      <a:pt x="7025" y="509"/>
                    </a:moveTo>
                    <a:lnTo>
                      <a:pt x="7022" y="509"/>
                    </a:lnTo>
                    <a:lnTo>
                      <a:pt x="7022" y="512"/>
                    </a:lnTo>
                    <a:lnTo>
                      <a:pt x="7022" y="1660"/>
                    </a:lnTo>
                    <a:lnTo>
                      <a:pt x="7025" y="1660"/>
                    </a:lnTo>
                    <a:lnTo>
                      <a:pt x="7025" y="509"/>
                    </a:lnTo>
                    <a:close/>
                    <a:moveTo>
                      <a:pt x="4192" y="505"/>
                    </a:moveTo>
                    <a:lnTo>
                      <a:pt x="4192" y="505"/>
                    </a:lnTo>
                    <a:lnTo>
                      <a:pt x="4190" y="507"/>
                    </a:lnTo>
                    <a:lnTo>
                      <a:pt x="4149" y="564"/>
                    </a:lnTo>
                    <a:lnTo>
                      <a:pt x="4149" y="564"/>
                    </a:lnTo>
                    <a:lnTo>
                      <a:pt x="4192" y="505"/>
                    </a:lnTo>
                    <a:close/>
                    <a:moveTo>
                      <a:pt x="3298" y="502"/>
                    </a:moveTo>
                    <a:lnTo>
                      <a:pt x="3298" y="502"/>
                    </a:lnTo>
                    <a:lnTo>
                      <a:pt x="3298" y="502"/>
                    </a:lnTo>
                    <a:lnTo>
                      <a:pt x="3298" y="505"/>
                    </a:lnTo>
                    <a:lnTo>
                      <a:pt x="3298" y="566"/>
                    </a:lnTo>
                    <a:lnTo>
                      <a:pt x="3298" y="566"/>
                    </a:lnTo>
                    <a:lnTo>
                      <a:pt x="3298" y="564"/>
                    </a:lnTo>
                    <a:lnTo>
                      <a:pt x="3298" y="564"/>
                    </a:lnTo>
                    <a:lnTo>
                      <a:pt x="3298" y="502"/>
                    </a:lnTo>
                    <a:close/>
                    <a:moveTo>
                      <a:pt x="4036" y="455"/>
                    </a:moveTo>
                    <a:lnTo>
                      <a:pt x="4034" y="455"/>
                    </a:lnTo>
                    <a:lnTo>
                      <a:pt x="4034" y="455"/>
                    </a:lnTo>
                    <a:lnTo>
                      <a:pt x="4034" y="457"/>
                    </a:lnTo>
                    <a:lnTo>
                      <a:pt x="4034" y="493"/>
                    </a:lnTo>
                    <a:lnTo>
                      <a:pt x="3951" y="644"/>
                    </a:lnTo>
                    <a:lnTo>
                      <a:pt x="3951" y="895"/>
                    </a:lnTo>
                    <a:lnTo>
                      <a:pt x="3953" y="895"/>
                    </a:lnTo>
                    <a:lnTo>
                      <a:pt x="3953" y="642"/>
                    </a:lnTo>
                    <a:lnTo>
                      <a:pt x="4036" y="491"/>
                    </a:lnTo>
                    <a:lnTo>
                      <a:pt x="4036" y="455"/>
                    </a:lnTo>
                    <a:close/>
                    <a:moveTo>
                      <a:pt x="3327" y="436"/>
                    </a:moveTo>
                    <a:lnTo>
                      <a:pt x="3327" y="436"/>
                    </a:lnTo>
                    <a:lnTo>
                      <a:pt x="3327" y="436"/>
                    </a:lnTo>
                    <a:lnTo>
                      <a:pt x="3327" y="474"/>
                    </a:lnTo>
                    <a:lnTo>
                      <a:pt x="3327" y="474"/>
                    </a:lnTo>
                    <a:lnTo>
                      <a:pt x="3327" y="474"/>
                    </a:lnTo>
                    <a:lnTo>
                      <a:pt x="3327" y="474"/>
                    </a:lnTo>
                    <a:lnTo>
                      <a:pt x="3327" y="436"/>
                    </a:lnTo>
                    <a:close/>
                    <a:moveTo>
                      <a:pt x="4041" y="391"/>
                    </a:moveTo>
                    <a:lnTo>
                      <a:pt x="4041" y="391"/>
                    </a:lnTo>
                    <a:lnTo>
                      <a:pt x="4038" y="391"/>
                    </a:lnTo>
                    <a:lnTo>
                      <a:pt x="4038" y="393"/>
                    </a:lnTo>
                    <a:lnTo>
                      <a:pt x="4038" y="450"/>
                    </a:lnTo>
                    <a:lnTo>
                      <a:pt x="4041" y="450"/>
                    </a:lnTo>
                    <a:lnTo>
                      <a:pt x="4041" y="448"/>
                    </a:lnTo>
                    <a:lnTo>
                      <a:pt x="4041" y="448"/>
                    </a:lnTo>
                    <a:lnTo>
                      <a:pt x="4041" y="391"/>
                    </a:lnTo>
                    <a:close/>
                    <a:moveTo>
                      <a:pt x="1809" y="370"/>
                    </a:moveTo>
                    <a:lnTo>
                      <a:pt x="1806" y="370"/>
                    </a:lnTo>
                    <a:lnTo>
                      <a:pt x="1806" y="372"/>
                    </a:lnTo>
                    <a:lnTo>
                      <a:pt x="1806" y="1099"/>
                    </a:lnTo>
                    <a:lnTo>
                      <a:pt x="1809" y="1099"/>
                    </a:lnTo>
                    <a:lnTo>
                      <a:pt x="1809" y="370"/>
                    </a:lnTo>
                    <a:close/>
                    <a:moveTo>
                      <a:pt x="1936" y="334"/>
                    </a:moveTo>
                    <a:lnTo>
                      <a:pt x="1936" y="334"/>
                    </a:lnTo>
                    <a:lnTo>
                      <a:pt x="1936" y="337"/>
                    </a:lnTo>
                    <a:lnTo>
                      <a:pt x="1936" y="337"/>
                    </a:lnTo>
                    <a:lnTo>
                      <a:pt x="1936" y="334"/>
                    </a:lnTo>
                    <a:close/>
                    <a:moveTo>
                      <a:pt x="4050" y="330"/>
                    </a:moveTo>
                    <a:lnTo>
                      <a:pt x="4048" y="330"/>
                    </a:lnTo>
                    <a:lnTo>
                      <a:pt x="4048" y="330"/>
                    </a:lnTo>
                    <a:lnTo>
                      <a:pt x="4048" y="384"/>
                    </a:lnTo>
                    <a:lnTo>
                      <a:pt x="4048" y="384"/>
                    </a:lnTo>
                    <a:lnTo>
                      <a:pt x="4048" y="384"/>
                    </a:lnTo>
                    <a:lnTo>
                      <a:pt x="4050" y="384"/>
                    </a:lnTo>
                    <a:lnTo>
                      <a:pt x="4050" y="330"/>
                    </a:lnTo>
                    <a:close/>
                    <a:moveTo>
                      <a:pt x="2028" y="294"/>
                    </a:moveTo>
                    <a:lnTo>
                      <a:pt x="2026" y="294"/>
                    </a:lnTo>
                    <a:lnTo>
                      <a:pt x="2026" y="296"/>
                    </a:lnTo>
                    <a:lnTo>
                      <a:pt x="2026" y="301"/>
                    </a:lnTo>
                    <a:lnTo>
                      <a:pt x="2028" y="301"/>
                    </a:lnTo>
                    <a:lnTo>
                      <a:pt x="2028" y="294"/>
                    </a:lnTo>
                    <a:close/>
                    <a:moveTo>
                      <a:pt x="4703" y="232"/>
                    </a:moveTo>
                    <a:lnTo>
                      <a:pt x="4700" y="232"/>
                    </a:lnTo>
                    <a:lnTo>
                      <a:pt x="4700" y="235"/>
                    </a:lnTo>
                    <a:lnTo>
                      <a:pt x="4639" y="460"/>
                    </a:lnTo>
                    <a:lnTo>
                      <a:pt x="4641" y="457"/>
                    </a:lnTo>
                    <a:lnTo>
                      <a:pt x="4703" y="232"/>
                    </a:lnTo>
                    <a:close/>
                    <a:moveTo>
                      <a:pt x="4802" y="173"/>
                    </a:moveTo>
                    <a:lnTo>
                      <a:pt x="4802" y="173"/>
                    </a:lnTo>
                    <a:lnTo>
                      <a:pt x="4800" y="173"/>
                    </a:lnTo>
                    <a:lnTo>
                      <a:pt x="4800" y="176"/>
                    </a:lnTo>
                    <a:lnTo>
                      <a:pt x="4800" y="199"/>
                    </a:lnTo>
                    <a:lnTo>
                      <a:pt x="4802" y="199"/>
                    </a:lnTo>
                    <a:lnTo>
                      <a:pt x="4802" y="173"/>
                    </a:lnTo>
                    <a:close/>
                    <a:moveTo>
                      <a:pt x="4852" y="0"/>
                    </a:moveTo>
                    <a:lnTo>
                      <a:pt x="4849" y="0"/>
                    </a:lnTo>
                    <a:lnTo>
                      <a:pt x="4849" y="3"/>
                    </a:lnTo>
                    <a:lnTo>
                      <a:pt x="4849" y="140"/>
                    </a:lnTo>
                    <a:lnTo>
                      <a:pt x="4852" y="140"/>
                    </a:lnTo>
                    <a:lnTo>
                      <a:pt x="4852" y="0"/>
                    </a:lnTo>
                    <a:close/>
                    <a:moveTo>
                      <a:pt x="4908" y="0"/>
                    </a:moveTo>
                    <a:lnTo>
                      <a:pt x="4908" y="0"/>
                    </a:lnTo>
                    <a:lnTo>
                      <a:pt x="4908" y="3"/>
                    </a:lnTo>
                    <a:lnTo>
                      <a:pt x="4908" y="140"/>
                    </a:lnTo>
                    <a:lnTo>
                      <a:pt x="4908" y="140"/>
                    </a:lnTo>
                    <a:lnTo>
                      <a:pt x="4908" y="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7" name="Freeform 109"/>
              <p:cNvSpPr>
                <a:spLocks noEditPoints="1"/>
              </p:cNvSpPr>
              <p:nvPr/>
            </p:nvSpPr>
            <p:spPr bwMode="auto">
              <a:xfrm>
                <a:off x="14" y="1693"/>
                <a:ext cx="7025" cy="1660"/>
              </a:xfrm>
              <a:custGeom>
                <a:avLst/>
                <a:gdLst>
                  <a:gd name="T0" fmla="*/ 0 w 7025"/>
                  <a:gd name="T1" fmla="*/ 1501 h 1660"/>
                  <a:gd name="T2" fmla="*/ 5663 w 7025"/>
                  <a:gd name="T3" fmla="*/ 1416 h 1660"/>
                  <a:gd name="T4" fmla="*/ 3707 w 7025"/>
                  <a:gd name="T5" fmla="*/ 1224 h 1660"/>
                  <a:gd name="T6" fmla="*/ 5831 w 7025"/>
                  <a:gd name="T7" fmla="*/ 1210 h 1660"/>
                  <a:gd name="T8" fmla="*/ 5831 w 7025"/>
                  <a:gd name="T9" fmla="*/ 1293 h 1660"/>
                  <a:gd name="T10" fmla="*/ 1662 w 7025"/>
                  <a:gd name="T11" fmla="*/ 1161 h 1660"/>
                  <a:gd name="T12" fmla="*/ 1686 w 7025"/>
                  <a:gd name="T13" fmla="*/ 1132 h 1660"/>
                  <a:gd name="T14" fmla="*/ 1688 w 7025"/>
                  <a:gd name="T15" fmla="*/ 1135 h 1660"/>
                  <a:gd name="T16" fmla="*/ 5854 w 7025"/>
                  <a:gd name="T17" fmla="*/ 1187 h 1660"/>
                  <a:gd name="T18" fmla="*/ 6322 w 7025"/>
                  <a:gd name="T19" fmla="*/ 1130 h 1660"/>
                  <a:gd name="T20" fmla="*/ 6322 w 7025"/>
                  <a:gd name="T21" fmla="*/ 1177 h 1660"/>
                  <a:gd name="T22" fmla="*/ 1444 w 7025"/>
                  <a:gd name="T23" fmla="*/ 1130 h 1660"/>
                  <a:gd name="T24" fmla="*/ 1461 w 7025"/>
                  <a:gd name="T25" fmla="*/ 1085 h 1660"/>
                  <a:gd name="T26" fmla="*/ 1463 w 7025"/>
                  <a:gd name="T27" fmla="*/ 1108 h 1660"/>
                  <a:gd name="T28" fmla="*/ 2858 w 7025"/>
                  <a:gd name="T29" fmla="*/ 1066 h 1660"/>
                  <a:gd name="T30" fmla="*/ 5930 w 7025"/>
                  <a:gd name="T31" fmla="*/ 1042 h 1660"/>
                  <a:gd name="T32" fmla="*/ 5930 w 7025"/>
                  <a:gd name="T33" fmla="*/ 1042 h 1660"/>
                  <a:gd name="T34" fmla="*/ 2875 w 7025"/>
                  <a:gd name="T35" fmla="*/ 1047 h 1660"/>
                  <a:gd name="T36" fmla="*/ 3769 w 7025"/>
                  <a:gd name="T37" fmla="*/ 995 h 1660"/>
                  <a:gd name="T38" fmla="*/ 5949 w 7025"/>
                  <a:gd name="T39" fmla="*/ 990 h 1660"/>
                  <a:gd name="T40" fmla="*/ 5946 w 7025"/>
                  <a:gd name="T41" fmla="*/ 1023 h 1660"/>
                  <a:gd name="T42" fmla="*/ 6337 w 7025"/>
                  <a:gd name="T43" fmla="*/ 938 h 1660"/>
                  <a:gd name="T44" fmla="*/ 6339 w 7025"/>
                  <a:gd name="T45" fmla="*/ 1111 h 1660"/>
                  <a:gd name="T46" fmla="*/ 3842 w 7025"/>
                  <a:gd name="T47" fmla="*/ 962 h 1660"/>
                  <a:gd name="T48" fmla="*/ 6382 w 7025"/>
                  <a:gd name="T49" fmla="*/ 895 h 1660"/>
                  <a:gd name="T50" fmla="*/ 6389 w 7025"/>
                  <a:gd name="T51" fmla="*/ 879 h 1660"/>
                  <a:gd name="T52" fmla="*/ 6386 w 7025"/>
                  <a:gd name="T53" fmla="*/ 893 h 1660"/>
                  <a:gd name="T54" fmla="*/ 6396 w 7025"/>
                  <a:gd name="T55" fmla="*/ 850 h 1660"/>
                  <a:gd name="T56" fmla="*/ 6396 w 7025"/>
                  <a:gd name="T57" fmla="*/ 872 h 1660"/>
                  <a:gd name="T58" fmla="*/ 801 w 7025"/>
                  <a:gd name="T59" fmla="*/ 1037 h 1660"/>
                  <a:gd name="T60" fmla="*/ 3097 w 7025"/>
                  <a:gd name="T61" fmla="*/ 765 h 1660"/>
                  <a:gd name="T62" fmla="*/ 1007 w 7025"/>
                  <a:gd name="T63" fmla="*/ 753 h 1660"/>
                  <a:gd name="T64" fmla="*/ 1007 w 7025"/>
                  <a:gd name="T65" fmla="*/ 753 h 1660"/>
                  <a:gd name="T66" fmla="*/ 5131 w 7025"/>
                  <a:gd name="T67" fmla="*/ 940 h 1660"/>
                  <a:gd name="T68" fmla="*/ 3135 w 7025"/>
                  <a:gd name="T69" fmla="*/ 730 h 1660"/>
                  <a:gd name="T70" fmla="*/ 94 w 7025"/>
                  <a:gd name="T71" fmla="*/ 621 h 1660"/>
                  <a:gd name="T72" fmla="*/ 5251 w 7025"/>
                  <a:gd name="T73" fmla="*/ 611 h 1660"/>
                  <a:gd name="T74" fmla="*/ 3282 w 7025"/>
                  <a:gd name="T75" fmla="*/ 583 h 1660"/>
                  <a:gd name="T76" fmla="*/ 3282 w 7025"/>
                  <a:gd name="T77" fmla="*/ 625 h 1660"/>
                  <a:gd name="T78" fmla="*/ 300 w 7025"/>
                  <a:gd name="T79" fmla="*/ 585 h 1660"/>
                  <a:gd name="T80" fmla="*/ 7022 w 7025"/>
                  <a:gd name="T81" fmla="*/ 512 h 1660"/>
                  <a:gd name="T82" fmla="*/ 4192 w 7025"/>
                  <a:gd name="T83" fmla="*/ 505 h 1660"/>
                  <a:gd name="T84" fmla="*/ 3298 w 7025"/>
                  <a:gd name="T85" fmla="*/ 502 h 1660"/>
                  <a:gd name="T86" fmla="*/ 3298 w 7025"/>
                  <a:gd name="T87" fmla="*/ 566 h 1660"/>
                  <a:gd name="T88" fmla="*/ 4034 w 7025"/>
                  <a:gd name="T89" fmla="*/ 455 h 1660"/>
                  <a:gd name="T90" fmla="*/ 3951 w 7025"/>
                  <a:gd name="T91" fmla="*/ 895 h 1660"/>
                  <a:gd name="T92" fmla="*/ 3327 w 7025"/>
                  <a:gd name="T93" fmla="*/ 436 h 1660"/>
                  <a:gd name="T94" fmla="*/ 3327 w 7025"/>
                  <a:gd name="T95" fmla="*/ 474 h 1660"/>
                  <a:gd name="T96" fmla="*/ 4038 w 7025"/>
                  <a:gd name="T97" fmla="*/ 391 h 1660"/>
                  <a:gd name="T98" fmla="*/ 4041 w 7025"/>
                  <a:gd name="T99" fmla="*/ 448 h 1660"/>
                  <a:gd name="T100" fmla="*/ 1806 w 7025"/>
                  <a:gd name="T101" fmla="*/ 1099 h 1660"/>
                  <a:gd name="T102" fmla="*/ 1936 w 7025"/>
                  <a:gd name="T103" fmla="*/ 337 h 1660"/>
                  <a:gd name="T104" fmla="*/ 4048 w 7025"/>
                  <a:gd name="T105" fmla="*/ 330 h 1660"/>
                  <a:gd name="T106" fmla="*/ 4050 w 7025"/>
                  <a:gd name="T107" fmla="*/ 330 h 1660"/>
                  <a:gd name="T108" fmla="*/ 2028 w 7025"/>
                  <a:gd name="T109" fmla="*/ 301 h 1660"/>
                  <a:gd name="T110" fmla="*/ 4639 w 7025"/>
                  <a:gd name="T111" fmla="*/ 460 h 1660"/>
                  <a:gd name="T112" fmla="*/ 4800 w 7025"/>
                  <a:gd name="T113" fmla="*/ 173 h 1660"/>
                  <a:gd name="T114" fmla="*/ 4852 w 7025"/>
                  <a:gd name="T115" fmla="*/ 0 h 1660"/>
                  <a:gd name="T116" fmla="*/ 4852 w 7025"/>
                  <a:gd name="T117" fmla="*/ 0 h 1660"/>
                  <a:gd name="T118" fmla="*/ 4908 w 7025"/>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0">
                    <a:moveTo>
                      <a:pt x="0" y="1454"/>
                    </a:moveTo>
                    <a:lnTo>
                      <a:pt x="0" y="1454"/>
                    </a:lnTo>
                    <a:lnTo>
                      <a:pt x="0" y="1457"/>
                    </a:lnTo>
                    <a:lnTo>
                      <a:pt x="0" y="1501"/>
                    </a:lnTo>
                    <a:lnTo>
                      <a:pt x="0" y="1501"/>
                    </a:lnTo>
                    <a:lnTo>
                      <a:pt x="0" y="1454"/>
                    </a:lnTo>
                    <a:moveTo>
                      <a:pt x="5665" y="1326"/>
                    </a:moveTo>
                    <a:lnTo>
                      <a:pt x="5663" y="1326"/>
                    </a:lnTo>
                    <a:lnTo>
                      <a:pt x="5663" y="1329"/>
                    </a:lnTo>
                    <a:lnTo>
                      <a:pt x="5663" y="1416"/>
                    </a:lnTo>
                    <a:lnTo>
                      <a:pt x="5665" y="1416"/>
                    </a:lnTo>
                    <a:lnTo>
                      <a:pt x="5665" y="1326"/>
                    </a:lnTo>
                    <a:moveTo>
                      <a:pt x="3710" y="1224"/>
                    </a:moveTo>
                    <a:lnTo>
                      <a:pt x="3707" y="1224"/>
                    </a:lnTo>
                    <a:lnTo>
                      <a:pt x="3707" y="1224"/>
                    </a:lnTo>
                    <a:lnTo>
                      <a:pt x="3707" y="1224"/>
                    </a:lnTo>
                    <a:lnTo>
                      <a:pt x="3707" y="1359"/>
                    </a:lnTo>
                    <a:lnTo>
                      <a:pt x="3710" y="1359"/>
                    </a:lnTo>
                    <a:lnTo>
                      <a:pt x="3710" y="1224"/>
                    </a:lnTo>
                    <a:moveTo>
                      <a:pt x="5831" y="1210"/>
                    </a:moveTo>
                    <a:lnTo>
                      <a:pt x="5828" y="1210"/>
                    </a:lnTo>
                    <a:lnTo>
                      <a:pt x="5828" y="1210"/>
                    </a:lnTo>
                    <a:lnTo>
                      <a:pt x="5828" y="1213"/>
                    </a:lnTo>
                    <a:lnTo>
                      <a:pt x="5828" y="1293"/>
                    </a:lnTo>
                    <a:lnTo>
                      <a:pt x="5831" y="1293"/>
                    </a:lnTo>
                    <a:lnTo>
                      <a:pt x="5831" y="1210"/>
                    </a:lnTo>
                    <a:moveTo>
                      <a:pt x="1664" y="1158"/>
                    </a:moveTo>
                    <a:lnTo>
                      <a:pt x="1664" y="1158"/>
                    </a:lnTo>
                    <a:lnTo>
                      <a:pt x="1662" y="1158"/>
                    </a:lnTo>
                    <a:lnTo>
                      <a:pt x="1662" y="1161"/>
                    </a:lnTo>
                    <a:lnTo>
                      <a:pt x="1662" y="1168"/>
                    </a:lnTo>
                    <a:lnTo>
                      <a:pt x="1664" y="1168"/>
                    </a:lnTo>
                    <a:lnTo>
                      <a:pt x="1664" y="1158"/>
                    </a:lnTo>
                    <a:moveTo>
                      <a:pt x="1688" y="1132"/>
                    </a:moveTo>
                    <a:lnTo>
                      <a:pt x="1686" y="1132"/>
                    </a:lnTo>
                    <a:lnTo>
                      <a:pt x="1686" y="1135"/>
                    </a:lnTo>
                    <a:lnTo>
                      <a:pt x="1686" y="1137"/>
                    </a:lnTo>
                    <a:lnTo>
                      <a:pt x="1688" y="1137"/>
                    </a:lnTo>
                    <a:lnTo>
                      <a:pt x="1688" y="1135"/>
                    </a:lnTo>
                    <a:lnTo>
                      <a:pt x="1688" y="1135"/>
                    </a:lnTo>
                    <a:lnTo>
                      <a:pt x="1688" y="1132"/>
                    </a:lnTo>
                    <a:moveTo>
                      <a:pt x="5854" y="1130"/>
                    </a:moveTo>
                    <a:lnTo>
                      <a:pt x="5854" y="1130"/>
                    </a:lnTo>
                    <a:lnTo>
                      <a:pt x="5854" y="1132"/>
                    </a:lnTo>
                    <a:lnTo>
                      <a:pt x="5854" y="1187"/>
                    </a:lnTo>
                    <a:lnTo>
                      <a:pt x="5854" y="1187"/>
                    </a:lnTo>
                    <a:lnTo>
                      <a:pt x="5854" y="1184"/>
                    </a:lnTo>
                    <a:lnTo>
                      <a:pt x="5854" y="1184"/>
                    </a:lnTo>
                    <a:lnTo>
                      <a:pt x="5854" y="1130"/>
                    </a:lnTo>
                    <a:moveTo>
                      <a:pt x="6322" y="1130"/>
                    </a:moveTo>
                    <a:lnTo>
                      <a:pt x="6320" y="1130"/>
                    </a:lnTo>
                    <a:lnTo>
                      <a:pt x="6320" y="1130"/>
                    </a:lnTo>
                    <a:lnTo>
                      <a:pt x="6320" y="1132"/>
                    </a:lnTo>
                    <a:lnTo>
                      <a:pt x="6320" y="1177"/>
                    </a:lnTo>
                    <a:lnTo>
                      <a:pt x="6322" y="1177"/>
                    </a:lnTo>
                    <a:lnTo>
                      <a:pt x="6322" y="1130"/>
                    </a:lnTo>
                    <a:moveTo>
                      <a:pt x="1447" y="1127"/>
                    </a:moveTo>
                    <a:lnTo>
                      <a:pt x="1444" y="1127"/>
                    </a:lnTo>
                    <a:lnTo>
                      <a:pt x="1444" y="1127"/>
                    </a:lnTo>
                    <a:lnTo>
                      <a:pt x="1444" y="1130"/>
                    </a:lnTo>
                    <a:lnTo>
                      <a:pt x="1444" y="1168"/>
                    </a:lnTo>
                    <a:lnTo>
                      <a:pt x="1447" y="1168"/>
                    </a:lnTo>
                    <a:lnTo>
                      <a:pt x="1447" y="1127"/>
                    </a:lnTo>
                    <a:moveTo>
                      <a:pt x="1463" y="1085"/>
                    </a:moveTo>
                    <a:lnTo>
                      <a:pt x="1461" y="1085"/>
                    </a:lnTo>
                    <a:lnTo>
                      <a:pt x="1461" y="1087"/>
                    </a:lnTo>
                    <a:lnTo>
                      <a:pt x="1461" y="1111"/>
                    </a:lnTo>
                    <a:lnTo>
                      <a:pt x="1463" y="1111"/>
                    </a:lnTo>
                    <a:lnTo>
                      <a:pt x="1463" y="1108"/>
                    </a:lnTo>
                    <a:lnTo>
                      <a:pt x="1463" y="1108"/>
                    </a:lnTo>
                    <a:lnTo>
                      <a:pt x="1463" y="1085"/>
                    </a:lnTo>
                    <a:moveTo>
                      <a:pt x="2858" y="1063"/>
                    </a:moveTo>
                    <a:lnTo>
                      <a:pt x="2858" y="1063"/>
                    </a:lnTo>
                    <a:lnTo>
                      <a:pt x="2858" y="1063"/>
                    </a:lnTo>
                    <a:lnTo>
                      <a:pt x="2858" y="1066"/>
                    </a:lnTo>
                    <a:lnTo>
                      <a:pt x="2858" y="1208"/>
                    </a:lnTo>
                    <a:lnTo>
                      <a:pt x="2858" y="1208"/>
                    </a:lnTo>
                    <a:lnTo>
                      <a:pt x="2858" y="1063"/>
                    </a:lnTo>
                    <a:moveTo>
                      <a:pt x="5930" y="1042"/>
                    </a:moveTo>
                    <a:lnTo>
                      <a:pt x="5930" y="1042"/>
                    </a:lnTo>
                    <a:lnTo>
                      <a:pt x="5928" y="1042"/>
                    </a:lnTo>
                    <a:lnTo>
                      <a:pt x="5928" y="1045"/>
                    </a:lnTo>
                    <a:lnTo>
                      <a:pt x="5928" y="1097"/>
                    </a:lnTo>
                    <a:lnTo>
                      <a:pt x="5930" y="1097"/>
                    </a:lnTo>
                    <a:lnTo>
                      <a:pt x="5930" y="1042"/>
                    </a:lnTo>
                    <a:moveTo>
                      <a:pt x="2877" y="1014"/>
                    </a:moveTo>
                    <a:lnTo>
                      <a:pt x="2875" y="1014"/>
                    </a:lnTo>
                    <a:lnTo>
                      <a:pt x="2875" y="1016"/>
                    </a:lnTo>
                    <a:lnTo>
                      <a:pt x="2875" y="1047"/>
                    </a:lnTo>
                    <a:lnTo>
                      <a:pt x="2875" y="1047"/>
                    </a:lnTo>
                    <a:lnTo>
                      <a:pt x="2875" y="1045"/>
                    </a:lnTo>
                    <a:lnTo>
                      <a:pt x="2877" y="1045"/>
                    </a:lnTo>
                    <a:lnTo>
                      <a:pt x="2877" y="1014"/>
                    </a:lnTo>
                    <a:moveTo>
                      <a:pt x="3769" y="995"/>
                    </a:moveTo>
                    <a:lnTo>
                      <a:pt x="3769" y="995"/>
                    </a:lnTo>
                    <a:lnTo>
                      <a:pt x="3769" y="997"/>
                    </a:lnTo>
                    <a:lnTo>
                      <a:pt x="3769" y="1191"/>
                    </a:lnTo>
                    <a:lnTo>
                      <a:pt x="3769" y="1191"/>
                    </a:lnTo>
                    <a:lnTo>
                      <a:pt x="3769" y="995"/>
                    </a:lnTo>
                    <a:moveTo>
                      <a:pt x="5949" y="990"/>
                    </a:moveTo>
                    <a:lnTo>
                      <a:pt x="5946" y="990"/>
                    </a:lnTo>
                    <a:lnTo>
                      <a:pt x="5946" y="992"/>
                    </a:lnTo>
                    <a:lnTo>
                      <a:pt x="5946" y="1026"/>
                    </a:lnTo>
                    <a:lnTo>
                      <a:pt x="5946" y="1026"/>
                    </a:lnTo>
                    <a:lnTo>
                      <a:pt x="5946" y="1023"/>
                    </a:lnTo>
                    <a:lnTo>
                      <a:pt x="5949" y="1023"/>
                    </a:lnTo>
                    <a:lnTo>
                      <a:pt x="5949" y="990"/>
                    </a:lnTo>
                    <a:moveTo>
                      <a:pt x="6339" y="938"/>
                    </a:moveTo>
                    <a:lnTo>
                      <a:pt x="6339" y="938"/>
                    </a:lnTo>
                    <a:lnTo>
                      <a:pt x="6337" y="938"/>
                    </a:lnTo>
                    <a:lnTo>
                      <a:pt x="6337" y="938"/>
                    </a:lnTo>
                    <a:lnTo>
                      <a:pt x="6337" y="1113"/>
                    </a:lnTo>
                    <a:lnTo>
                      <a:pt x="6339" y="1113"/>
                    </a:lnTo>
                    <a:lnTo>
                      <a:pt x="6339" y="1111"/>
                    </a:lnTo>
                    <a:lnTo>
                      <a:pt x="6339" y="1111"/>
                    </a:lnTo>
                    <a:lnTo>
                      <a:pt x="6339" y="938"/>
                    </a:lnTo>
                    <a:moveTo>
                      <a:pt x="3844" y="929"/>
                    </a:moveTo>
                    <a:lnTo>
                      <a:pt x="3842" y="929"/>
                    </a:lnTo>
                    <a:lnTo>
                      <a:pt x="3842" y="931"/>
                    </a:lnTo>
                    <a:lnTo>
                      <a:pt x="3842" y="962"/>
                    </a:lnTo>
                    <a:lnTo>
                      <a:pt x="3844" y="962"/>
                    </a:lnTo>
                    <a:lnTo>
                      <a:pt x="3844" y="929"/>
                    </a:lnTo>
                    <a:moveTo>
                      <a:pt x="6384" y="895"/>
                    </a:moveTo>
                    <a:lnTo>
                      <a:pt x="6384" y="895"/>
                    </a:lnTo>
                    <a:lnTo>
                      <a:pt x="6382" y="895"/>
                    </a:lnTo>
                    <a:lnTo>
                      <a:pt x="6382" y="898"/>
                    </a:lnTo>
                    <a:lnTo>
                      <a:pt x="6382" y="902"/>
                    </a:lnTo>
                    <a:lnTo>
                      <a:pt x="6382" y="902"/>
                    </a:lnTo>
                    <a:lnTo>
                      <a:pt x="6384" y="895"/>
                    </a:lnTo>
                    <a:moveTo>
                      <a:pt x="6389" y="879"/>
                    </a:moveTo>
                    <a:lnTo>
                      <a:pt x="6386" y="879"/>
                    </a:lnTo>
                    <a:lnTo>
                      <a:pt x="6386" y="879"/>
                    </a:lnTo>
                    <a:lnTo>
                      <a:pt x="6386" y="881"/>
                    </a:lnTo>
                    <a:lnTo>
                      <a:pt x="6386" y="893"/>
                    </a:lnTo>
                    <a:lnTo>
                      <a:pt x="6386" y="893"/>
                    </a:lnTo>
                    <a:lnTo>
                      <a:pt x="6389" y="891"/>
                    </a:lnTo>
                    <a:lnTo>
                      <a:pt x="6389" y="891"/>
                    </a:lnTo>
                    <a:lnTo>
                      <a:pt x="6389" y="879"/>
                    </a:lnTo>
                    <a:moveTo>
                      <a:pt x="6396" y="850"/>
                    </a:moveTo>
                    <a:lnTo>
                      <a:pt x="6396" y="850"/>
                    </a:lnTo>
                    <a:lnTo>
                      <a:pt x="6396" y="853"/>
                    </a:lnTo>
                    <a:lnTo>
                      <a:pt x="6396" y="872"/>
                    </a:lnTo>
                    <a:lnTo>
                      <a:pt x="6396" y="872"/>
                    </a:lnTo>
                    <a:lnTo>
                      <a:pt x="6396" y="872"/>
                    </a:lnTo>
                    <a:lnTo>
                      <a:pt x="6396" y="872"/>
                    </a:lnTo>
                    <a:lnTo>
                      <a:pt x="6396" y="850"/>
                    </a:lnTo>
                    <a:moveTo>
                      <a:pt x="804" y="829"/>
                    </a:moveTo>
                    <a:lnTo>
                      <a:pt x="801" y="829"/>
                    </a:lnTo>
                    <a:lnTo>
                      <a:pt x="801" y="831"/>
                    </a:lnTo>
                    <a:lnTo>
                      <a:pt x="801" y="1037"/>
                    </a:lnTo>
                    <a:lnTo>
                      <a:pt x="804" y="1037"/>
                    </a:lnTo>
                    <a:lnTo>
                      <a:pt x="804" y="829"/>
                    </a:lnTo>
                    <a:moveTo>
                      <a:pt x="3100" y="765"/>
                    </a:moveTo>
                    <a:lnTo>
                      <a:pt x="3100" y="765"/>
                    </a:lnTo>
                    <a:lnTo>
                      <a:pt x="3097" y="765"/>
                    </a:lnTo>
                    <a:lnTo>
                      <a:pt x="3097" y="765"/>
                    </a:lnTo>
                    <a:lnTo>
                      <a:pt x="3097" y="947"/>
                    </a:lnTo>
                    <a:lnTo>
                      <a:pt x="3100" y="947"/>
                    </a:lnTo>
                    <a:lnTo>
                      <a:pt x="3100" y="765"/>
                    </a:lnTo>
                    <a:moveTo>
                      <a:pt x="1007" y="753"/>
                    </a:moveTo>
                    <a:lnTo>
                      <a:pt x="1007" y="753"/>
                    </a:lnTo>
                    <a:lnTo>
                      <a:pt x="1007" y="756"/>
                    </a:lnTo>
                    <a:lnTo>
                      <a:pt x="1007" y="796"/>
                    </a:lnTo>
                    <a:lnTo>
                      <a:pt x="1007" y="796"/>
                    </a:lnTo>
                    <a:lnTo>
                      <a:pt x="1007" y="753"/>
                    </a:lnTo>
                    <a:moveTo>
                      <a:pt x="5131" y="734"/>
                    </a:moveTo>
                    <a:lnTo>
                      <a:pt x="5128" y="734"/>
                    </a:lnTo>
                    <a:lnTo>
                      <a:pt x="5128" y="734"/>
                    </a:lnTo>
                    <a:lnTo>
                      <a:pt x="5128" y="940"/>
                    </a:lnTo>
                    <a:lnTo>
                      <a:pt x="5131" y="940"/>
                    </a:lnTo>
                    <a:lnTo>
                      <a:pt x="5131" y="734"/>
                    </a:lnTo>
                    <a:moveTo>
                      <a:pt x="3137" y="659"/>
                    </a:moveTo>
                    <a:lnTo>
                      <a:pt x="3135" y="659"/>
                    </a:lnTo>
                    <a:lnTo>
                      <a:pt x="3135" y="661"/>
                    </a:lnTo>
                    <a:lnTo>
                      <a:pt x="3135" y="730"/>
                    </a:lnTo>
                    <a:lnTo>
                      <a:pt x="3137" y="730"/>
                    </a:lnTo>
                    <a:lnTo>
                      <a:pt x="3137" y="659"/>
                    </a:lnTo>
                    <a:moveTo>
                      <a:pt x="97" y="618"/>
                    </a:moveTo>
                    <a:lnTo>
                      <a:pt x="94" y="618"/>
                    </a:lnTo>
                    <a:lnTo>
                      <a:pt x="94" y="621"/>
                    </a:lnTo>
                    <a:lnTo>
                      <a:pt x="94" y="1421"/>
                    </a:lnTo>
                    <a:lnTo>
                      <a:pt x="97" y="1421"/>
                    </a:lnTo>
                    <a:lnTo>
                      <a:pt x="97" y="618"/>
                    </a:lnTo>
                    <a:moveTo>
                      <a:pt x="5251" y="611"/>
                    </a:moveTo>
                    <a:lnTo>
                      <a:pt x="5251" y="611"/>
                    </a:lnTo>
                    <a:lnTo>
                      <a:pt x="5251" y="614"/>
                    </a:lnTo>
                    <a:lnTo>
                      <a:pt x="5251" y="699"/>
                    </a:lnTo>
                    <a:lnTo>
                      <a:pt x="5251" y="699"/>
                    </a:lnTo>
                    <a:lnTo>
                      <a:pt x="5251" y="611"/>
                    </a:lnTo>
                    <a:moveTo>
                      <a:pt x="3282" y="583"/>
                    </a:moveTo>
                    <a:lnTo>
                      <a:pt x="3279" y="583"/>
                    </a:lnTo>
                    <a:lnTo>
                      <a:pt x="3279" y="583"/>
                    </a:lnTo>
                    <a:lnTo>
                      <a:pt x="3279" y="585"/>
                    </a:lnTo>
                    <a:lnTo>
                      <a:pt x="3279" y="625"/>
                    </a:lnTo>
                    <a:lnTo>
                      <a:pt x="3282" y="625"/>
                    </a:lnTo>
                    <a:lnTo>
                      <a:pt x="3282" y="583"/>
                    </a:lnTo>
                    <a:moveTo>
                      <a:pt x="300" y="550"/>
                    </a:moveTo>
                    <a:lnTo>
                      <a:pt x="300" y="550"/>
                    </a:lnTo>
                    <a:lnTo>
                      <a:pt x="300" y="550"/>
                    </a:lnTo>
                    <a:lnTo>
                      <a:pt x="300" y="585"/>
                    </a:lnTo>
                    <a:lnTo>
                      <a:pt x="300" y="585"/>
                    </a:lnTo>
                    <a:lnTo>
                      <a:pt x="300" y="550"/>
                    </a:lnTo>
                    <a:moveTo>
                      <a:pt x="7025" y="509"/>
                    </a:moveTo>
                    <a:lnTo>
                      <a:pt x="7022" y="509"/>
                    </a:lnTo>
                    <a:lnTo>
                      <a:pt x="7022" y="512"/>
                    </a:lnTo>
                    <a:lnTo>
                      <a:pt x="7022" y="1660"/>
                    </a:lnTo>
                    <a:lnTo>
                      <a:pt x="7025" y="1660"/>
                    </a:lnTo>
                    <a:lnTo>
                      <a:pt x="7025" y="509"/>
                    </a:lnTo>
                    <a:moveTo>
                      <a:pt x="4192" y="505"/>
                    </a:moveTo>
                    <a:lnTo>
                      <a:pt x="4192" y="505"/>
                    </a:lnTo>
                    <a:lnTo>
                      <a:pt x="4190" y="507"/>
                    </a:lnTo>
                    <a:lnTo>
                      <a:pt x="4149" y="564"/>
                    </a:lnTo>
                    <a:lnTo>
                      <a:pt x="4149" y="564"/>
                    </a:lnTo>
                    <a:lnTo>
                      <a:pt x="4192" y="505"/>
                    </a:lnTo>
                    <a:moveTo>
                      <a:pt x="3298" y="502"/>
                    </a:moveTo>
                    <a:lnTo>
                      <a:pt x="3298" y="502"/>
                    </a:lnTo>
                    <a:lnTo>
                      <a:pt x="3298" y="502"/>
                    </a:lnTo>
                    <a:lnTo>
                      <a:pt x="3298" y="505"/>
                    </a:lnTo>
                    <a:lnTo>
                      <a:pt x="3298" y="566"/>
                    </a:lnTo>
                    <a:lnTo>
                      <a:pt x="3298" y="566"/>
                    </a:lnTo>
                    <a:lnTo>
                      <a:pt x="3298" y="564"/>
                    </a:lnTo>
                    <a:lnTo>
                      <a:pt x="3298" y="564"/>
                    </a:lnTo>
                    <a:lnTo>
                      <a:pt x="3298" y="502"/>
                    </a:lnTo>
                    <a:moveTo>
                      <a:pt x="4036" y="455"/>
                    </a:moveTo>
                    <a:lnTo>
                      <a:pt x="4034" y="455"/>
                    </a:lnTo>
                    <a:lnTo>
                      <a:pt x="4034" y="455"/>
                    </a:lnTo>
                    <a:lnTo>
                      <a:pt x="4034" y="457"/>
                    </a:lnTo>
                    <a:lnTo>
                      <a:pt x="4034" y="493"/>
                    </a:lnTo>
                    <a:lnTo>
                      <a:pt x="3951" y="644"/>
                    </a:lnTo>
                    <a:lnTo>
                      <a:pt x="3951" y="895"/>
                    </a:lnTo>
                    <a:lnTo>
                      <a:pt x="3953" y="895"/>
                    </a:lnTo>
                    <a:lnTo>
                      <a:pt x="3953" y="642"/>
                    </a:lnTo>
                    <a:lnTo>
                      <a:pt x="4036" y="491"/>
                    </a:lnTo>
                    <a:lnTo>
                      <a:pt x="4036" y="455"/>
                    </a:lnTo>
                    <a:moveTo>
                      <a:pt x="3327" y="436"/>
                    </a:moveTo>
                    <a:lnTo>
                      <a:pt x="3327" y="436"/>
                    </a:lnTo>
                    <a:lnTo>
                      <a:pt x="3327" y="436"/>
                    </a:lnTo>
                    <a:lnTo>
                      <a:pt x="3327" y="474"/>
                    </a:lnTo>
                    <a:lnTo>
                      <a:pt x="3327" y="474"/>
                    </a:lnTo>
                    <a:lnTo>
                      <a:pt x="3327" y="474"/>
                    </a:lnTo>
                    <a:lnTo>
                      <a:pt x="3327" y="474"/>
                    </a:lnTo>
                    <a:lnTo>
                      <a:pt x="3327" y="436"/>
                    </a:lnTo>
                    <a:moveTo>
                      <a:pt x="4041" y="391"/>
                    </a:moveTo>
                    <a:lnTo>
                      <a:pt x="4041" y="391"/>
                    </a:lnTo>
                    <a:lnTo>
                      <a:pt x="4038" y="391"/>
                    </a:lnTo>
                    <a:lnTo>
                      <a:pt x="4038" y="393"/>
                    </a:lnTo>
                    <a:lnTo>
                      <a:pt x="4038" y="450"/>
                    </a:lnTo>
                    <a:lnTo>
                      <a:pt x="4041" y="450"/>
                    </a:lnTo>
                    <a:lnTo>
                      <a:pt x="4041" y="448"/>
                    </a:lnTo>
                    <a:lnTo>
                      <a:pt x="4041" y="448"/>
                    </a:lnTo>
                    <a:lnTo>
                      <a:pt x="4041" y="391"/>
                    </a:lnTo>
                    <a:moveTo>
                      <a:pt x="1809" y="370"/>
                    </a:moveTo>
                    <a:lnTo>
                      <a:pt x="1806" y="370"/>
                    </a:lnTo>
                    <a:lnTo>
                      <a:pt x="1806" y="372"/>
                    </a:lnTo>
                    <a:lnTo>
                      <a:pt x="1806" y="1099"/>
                    </a:lnTo>
                    <a:lnTo>
                      <a:pt x="1809" y="1099"/>
                    </a:lnTo>
                    <a:lnTo>
                      <a:pt x="1809" y="370"/>
                    </a:lnTo>
                    <a:moveTo>
                      <a:pt x="1936" y="334"/>
                    </a:moveTo>
                    <a:lnTo>
                      <a:pt x="1936" y="334"/>
                    </a:lnTo>
                    <a:lnTo>
                      <a:pt x="1936" y="337"/>
                    </a:lnTo>
                    <a:lnTo>
                      <a:pt x="1936" y="337"/>
                    </a:lnTo>
                    <a:lnTo>
                      <a:pt x="1936" y="334"/>
                    </a:lnTo>
                    <a:moveTo>
                      <a:pt x="4050" y="330"/>
                    </a:moveTo>
                    <a:lnTo>
                      <a:pt x="4048" y="330"/>
                    </a:lnTo>
                    <a:lnTo>
                      <a:pt x="4048" y="330"/>
                    </a:lnTo>
                    <a:lnTo>
                      <a:pt x="4048" y="384"/>
                    </a:lnTo>
                    <a:lnTo>
                      <a:pt x="4048" y="384"/>
                    </a:lnTo>
                    <a:lnTo>
                      <a:pt x="4048" y="384"/>
                    </a:lnTo>
                    <a:lnTo>
                      <a:pt x="4050" y="384"/>
                    </a:lnTo>
                    <a:lnTo>
                      <a:pt x="4050" y="330"/>
                    </a:lnTo>
                    <a:moveTo>
                      <a:pt x="2028" y="294"/>
                    </a:moveTo>
                    <a:lnTo>
                      <a:pt x="2026" y="294"/>
                    </a:lnTo>
                    <a:lnTo>
                      <a:pt x="2026" y="296"/>
                    </a:lnTo>
                    <a:lnTo>
                      <a:pt x="2026" y="301"/>
                    </a:lnTo>
                    <a:lnTo>
                      <a:pt x="2028" y="301"/>
                    </a:lnTo>
                    <a:lnTo>
                      <a:pt x="2028" y="294"/>
                    </a:lnTo>
                    <a:moveTo>
                      <a:pt x="4703" y="232"/>
                    </a:moveTo>
                    <a:lnTo>
                      <a:pt x="4700" y="232"/>
                    </a:lnTo>
                    <a:lnTo>
                      <a:pt x="4700" y="235"/>
                    </a:lnTo>
                    <a:lnTo>
                      <a:pt x="4639" y="460"/>
                    </a:lnTo>
                    <a:lnTo>
                      <a:pt x="4641" y="457"/>
                    </a:lnTo>
                    <a:lnTo>
                      <a:pt x="4703" y="232"/>
                    </a:lnTo>
                    <a:moveTo>
                      <a:pt x="4802" y="173"/>
                    </a:moveTo>
                    <a:lnTo>
                      <a:pt x="4802" y="173"/>
                    </a:lnTo>
                    <a:lnTo>
                      <a:pt x="4800" y="173"/>
                    </a:lnTo>
                    <a:lnTo>
                      <a:pt x="4800" y="176"/>
                    </a:lnTo>
                    <a:lnTo>
                      <a:pt x="4800" y="199"/>
                    </a:lnTo>
                    <a:lnTo>
                      <a:pt x="4802" y="199"/>
                    </a:lnTo>
                    <a:lnTo>
                      <a:pt x="4802" y="173"/>
                    </a:lnTo>
                    <a:moveTo>
                      <a:pt x="4852" y="0"/>
                    </a:moveTo>
                    <a:lnTo>
                      <a:pt x="4849" y="0"/>
                    </a:lnTo>
                    <a:lnTo>
                      <a:pt x="4849" y="3"/>
                    </a:lnTo>
                    <a:lnTo>
                      <a:pt x="4849" y="140"/>
                    </a:lnTo>
                    <a:lnTo>
                      <a:pt x="4852" y="140"/>
                    </a:lnTo>
                    <a:lnTo>
                      <a:pt x="4852" y="0"/>
                    </a:lnTo>
                    <a:moveTo>
                      <a:pt x="4908" y="0"/>
                    </a:moveTo>
                    <a:lnTo>
                      <a:pt x="4908" y="0"/>
                    </a:lnTo>
                    <a:lnTo>
                      <a:pt x="4908" y="3"/>
                    </a:lnTo>
                    <a:lnTo>
                      <a:pt x="4908" y="140"/>
                    </a:lnTo>
                    <a:lnTo>
                      <a:pt x="4908" y="140"/>
                    </a:lnTo>
                    <a:lnTo>
                      <a:pt x="49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8" name="Freeform 110"/>
              <p:cNvSpPr>
                <a:spLocks noEditPoints="1"/>
              </p:cNvSpPr>
              <p:nvPr/>
            </p:nvSpPr>
            <p:spPr bwMode="auto">
              <a:xfrm>
                <a:off x="14" y="1693"/>
                <a:ext cx="7027" cy="1660"/>
              </a:xfrm>
              <a:custGeom>
                <a:avLst/>
                <a:gdLst>
                  <a:gd name="T0" fmla="*/ 2 w 7027"/>
                  <a:gd name="T1" fmla="*/ 1501 h 1660"/>
                  <a:gd name="T2" fmla="*/ 5665 w 7027"/>
                  <a:gd name="T3" fmla="*/ 1416 h 1660"/>
                  <a:gd name="T4" fmla="*/ 3710 w 7027"/>
                  <a:gd name="T5" fmla="*/ 1222 h 1660"/>
                  <a:gd name="T6" fmla="*/ 5833 w 7027"/>
                  <a:gd name="T7" fmla="*/ 1208 h 1660"/>
                  <a:gd name="T8" fmla="*/ 5833 w 7027"/>
                  <a:gd name="T9" fmla="*/ 1293 h 1660"/>
                  <a:gd name="T10" fmla="*/ 1664 w 7027"/>
                  <a:gd name="T11" fmla="*/ 1158 h 1660"/>
                  <a:gd name="T12" fmla="*/ 1688 w 7027"/>
                  <a:gd name="T13" fmla="*/ 1132 h 1660"/>
                  <a:gd name="T14" fmla="*/ 1690 w 7027"/>
                  <a:gd name="T15" fmla="*/ 1132 h 1660"/>
                  <a:gd name="T16" fmla="*/ 5854 w 7027"/>
                  <a:gd name="T17" fmla="*/ 1184 h 1660"/>
                  <a:gd name="T18" fmla="*/ 6322 w 7027"/>
                  <a:gd name="T19" fmla="*/ 1127 h 1660"/>
                  <a:gd name="T20" fmla="*/ 6322 w 7027"/>
                  <a:gd name="T21" fmla="*/ 1177 h 1660"/>
                  <a:gd name="T22" fmla="*/ 1447 w 7027"/>
                  <a:gd name="T23" fmla="*/ 1127 h 1660"/>
                  <a:gd name="T24" fmla="*/ 1463 w 7027"/>
                  <a:gd name="T25" fmla="*/ 1082 h 1660"/>
                  <a:gd name="T26" fmla="*/ 1466 w 7027"/>
                  <a:gd name="T27" fmla="*/ 1106 h 1660"/>
                  <a:gd name="T28" fmla="*/ 2858 w 7027"/>
                  <a:gd name="T29" fmla="*/ 1063 h 1660"/>
                  <a:gd name="T30" fmla="*/ 5932 w 7027"/>
                  <a:gd name="T31" fmla="*/ 1040 h 1660"/>
                  <a:gd name="T32" fmla="*/ 5932 w 7027"/>
                  <a:gd name="T33" fmla="*/ 1040 h 1660"/>
                  <a:gd name="T34" fmla="*/ 2877 w 7027"/>
                  <a:gd name="T35" fmla="*/ 1045 h 1660"/>
                  <a:gd name="T36" fmla="*/ 3769 w 7027"/>
                  <a:gd name="T37" fmla="*/ 992 h 1660"/>
                  <a:gd name="T38" fmla="*/ 5949 w 7027"/>
                  <a:gd name="T39" fmla="*/ 990 h 1660"/>
                  <a:gd name="T40" fmla="*/ 5949 w 7027"/>
                  <a:gd name="T41" fmla="*/ 1023 h 1660"/>
                  <a:gd name="T42" fmla="*/ 6339 w 7027"/>
                  <a:gd name="T43" fmla="*/ 936 h 1660"/>
                  <a:gd name="T44" fmla="*/ 6341 w 7027"/>
                  <a:gd name="T45" fmla="*/ 1108 h 1660"/>
                  <a:gd name="T46" fmla="*/ 3844 w 7027"/>
                  <a:gd name="T47" fmla="*/ 962 h 1660"/>
                  <a:gd name="T48" fmla="*/ 6384 w 7027"/>
                  <a:gd name="T49" fmla="*/ 895 h 1660"/>
                  <a:gd name="T50" fmla="*/ 6391 w 7027"/>
                  <a:gd name="T51" fmla="*/ 879 h 1660"/>
                  <a:gd name="T52" fmla="*/ 6389 w 7027"/>
                  <a:gd name="T53" fmla="*/ 891 h 1660"/>
                  <a:gd name="T54" fmla="*/ 6396 w 7027"/>
                  <a:gd name="T55" fmla="*/ 850 h 1660"/>
                  <a:gd name="T56" fmla="*/ 6398 w 7027"/>
                  <a:gd name="T57" fmla="*/ 869 h 1660"/>
                  <a:gd name="T58" fmla="*/ 804 w 7027"/>
                  <a:gd name="T59" fmla="*/ 1037 h 1660"/>
                  <a:gd name="T60" fmla="*/ 3100 w 7027"/>
                  <a:gd name="T61" fmla="*/ 763 h 1660"/>
                  <a:gd name="T62" fmla="*/ 1009 w 7027"/>
                  <a:gd name="T63" fmla="*/ 753 h 1660"/>
                  <a:gd name="T64" fmla="*/ 1009 w 7027"/>
                  <a:gd name="T65" fmla="*/ 753 h 1660"/>
                  <a:gd name="T66" fmla="*/ 5133 w 7027"/>
                  <a:gd name="T67" fmla="*/ 940 h 1660"/>
                  <a:gd name="T68" fmla="*/ 3137 w 7027"/>
                  <a:gd name="T69" fmla="*/ 730 h 1660"/>
                  <a:gd name="T70" fmla="*/ 97 w 7027"/>
                  <a:gd name="T71" fmla="*/ 618 h 1660"/>
                  <a:gd name="T72" fmla="*/ 5251 w 7027"/>
                  <a:gd name="T73" fmla="*/ 609 h 1660"/>
                  <a:gd name="T74" fmla="*/ 3284 w 7027"/>
                  <a:gd name="T75" fmla="*/ 580 h 1660"/>
                  <a:gd name="T76" fmla="*/ 3284 w 7027"/>
                  <a:gd name="T77" fmla="*/ 625 h 1660"/>
                  <a:gd name="T78" fmla="*/ 300 w 7027"/>
                  <a:gd name="T79" fmla="*/ 585 h 1660"/>
                  <a:gd name="T80" fmla="*/ 7025 w 7027"/>
                  <a:gd name="T81" fmla="*/ 509 h 1660"/>
                  <a:gd name="T82" fmla="*/ 4194 w 7027"/>
                  <a:gd name="T83" fmla="*/ 502 h 1660"/>
                  <a:gd name="T84" fmla="*/ 3301 w 7027"/>
                  <a:gd name="T85" fmla="*/ 500 h 1660"/>
                  <a:gd name="T86" fmla="*/ 3301 w 7027"/>
                  <a:gd name="T87" fmla="*/ 564 h 1660"/>
                  <a:gd name="T88" fmla="*/ 4036 w 7027"/>
                  <a:gd name="T89" fmla="*/ 453 h 1660"/>
                  <a:gd name="T90" fmla="*/ 3953 w 7027"/>
                  <a:gd name="T91" fmla="*/ 895 h 1660"/>
                  <a:gd name="T92" fmla="*/ 3329 w 7027"/>
                  <a:gd name="T93" fmla="*/ 434 h 1660"/>
                  <a:gd name="T94" fmla="*/ 3329 w 7027"/>
                  <a:gd name="T95" fmla="*/ 472 h 1660"/>
                  <a:gd name="T96" fmla="*/ 4041 w 7027"/>
                  <a:gd name="T97" fmla="*/ 391 h 1660"/>
                  <a:gd name="T98" fmla="*/ 4043 w 7027"/>
                  <a:gd name="T99" fmla="*/ 446 h 1660"/>
                  <a:gd name="T100" fmla="*/ 1809 w 7027"/>
                  <a:gd name="T101" fmla="*/ 1099 h 1660"/>
                  <a:gd name="T102" fmla="*/ 1936 w 7027"/>
                  <a:gd name="T103" fmla="*/ 334 h 1660"/>
                  <a:gd name="T104" fmla="*/ 4050 w 7027"/>
                  <a:gd name="T105" fmla="*/ 327 h 1660"/>
                  <a:gd name="T106" fmla="*/ 4050 w 7027"/>
                  <a:gd name="T107" fmla="*/ 382 h 1660"/>
                  <a:gd name="T108" fmla="*/ 2028 w 7027"/>
                  <a:gd name="T109" fmla="*/ 301 h 1660"/>
                  <a:gd name="T110" fmla="*/ 4703 w 7027"/>
                  <a:gd name="T111" fmla="*/ 232 h 1660"/>
                  <a:gd name="T112" fmla="*/ 4804 w 7027"/>
                  <a:gd name="T113" fmla="*/ 171 h 1660"/>
                  <a:gd name="T114" fmla="*/ 4804 w 7027"/>
                  <a:gd name="T115" fmla="*/ 171 h 1660"/>
                  <a:gd name="T116" fmla="*/ 4854 w 7027"/>
                  <a:gd name="T117" fmla="*/ 140 h 1660"/>
                  <a:gd name="T118" fmla="*/ 4908 w 7027"/>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0">
                    <a:moveTo>
                      <a:pt x="2" y="1452"/>
                    </a:moveTo>
                    <a:lnTo>
                      <a:pt x="0" y="1452"/>
                    </a:lnTo>
                    <a:lnTo>
                      <a:pt x="0" y="1454"/>
                    </a:lnTo>
                    <a:lnTo>
                      <a:pt x="0" y="1501"/>
                    </a:lnTo>
                    <a:lnTo>
                      <a:pt x="2" y="1501"/>
                    </a:lnTo>
                    <a:lnTo>
                      <a:pt x="2" y="1452"/>
                    </a:lnTo>
                    <a:close/>
                    <a:moveTo>
                      <a:pt x="5667" y="1326"/>
                    </a:moveTo>
                    <a:lnTo>
                      <a:pt x="5665" y="1326"/>
                    </a:lnTo>
                    <a:lnTo>
                      <a:pt x="5665" y="1326"/>
                    </a:lnTo>
                    <a:lnTo>
                      <a:pt x="5665" y="1416"/>
                    </a:lnTo>
                    <a:lnTo>
                      <a:pt x="5667" y="1416"/>
                    </a:lnTo>
                    <a:lnTo>
                      <a:pt x="5667" y="1326"/>
                    </a:lnTo>
                    <a:close/>
                    <a:moveTo>
                      <a:pt x="3712" y="1222"/>
                    </a:moveTo>
                    <a:lnTo>
                      <a:pt x="3710" y="1222"/>
                    </a:lnTo>
                    <a:lnTo>
                      <a:pt x="3710" y="1222"/>
                    </a:lnTo>
                    <a:lnTo>
                      <a:pt x="3710" y="1224"/>
                    </a:lnTo>
                    <a:lnTo>
                      <a:pt x="3710" y="1359"/>
                    </a:lnTo>
                    <a:lnTo>
                      <a:pt x="3712" y="1359"/>
                    </a:lnTo>
                    <a:lnTo>
                      <a:pt x="3712" y="1222"/>
                    </a:lnTo>
                    <a:close/>
                    <a:moveTo>
                      <a:pt x="5833" y="1208"/>
                    </a:moveTo>
                    <a:lnTo>
                      <a:pt x="5831" y="1208"/>
                    </a:lnTo>
                    <a:lnTo>
                      <a:pt x="5831" y="1208"/>
                    </a:lnTo>
                    <a:lnTo>
                      <a:pt x="5831" y="1210"/>
                    </a:lnTo>
                    <a:lnTo>
                      <a:pt x="5831" y="1293"/>
                    </a:lnTo>
                    <a:lnTo>
                      <a:pt x="5833" y="1293"/>
                    </a:lnTo>
                    <a:lnTo>
                      <a:pt x="5833" y="1208"/>
                    </a:lnTo>
                    <a:close/>
                    <a:moveTo>
                      <a:pt x="1667" y="1156"/>
                    </a:moveTo>
                    <a:lnTo>
                      <a:pt x="1664" y="1156"/>
                    </a:lnTo>
                    <a:lnTo>
                      <a:pt x="1664" y="1156"/>
                    </a:lnTo>
                    <a:lnTo>
                      <a:pt x="1664" y="1158"/>
                    </a:lnTo>
                    <a:lnTo>
                      <a:pt x="1664" y="1168"/>
                    </a:lnTo>
                    <a:lnTo>
                      <a:pt x="1667" y="1168"/>
                    </a:lnTo>
                    <a:lnTo>
                      <a:pt x="1667" y="1156"/>
                    </a:lnTo>
                    <a:close/>
                    <a:moveTo>
                      <a:pt x="1690" y="1132"/>
                    </a:moveTo>
                    <a:lnTo>
                      <a:pt x="1688" y="1132"/>
                    </a:lnTo>
                    <a:lnTo>
                      <a:pt x="1688" y="1132"/>
                    </a:lnTo>
                    <a:lnTo>
                      <a:pt x="1688" y="1135"/>
                    </a:lnTo>
                    <a:lnTo>
                      <a:pt x="1688" y="1135"/>
                    </a:lnTo>
                    <a:lnTo>
                      <a:pt x="1688" y="1132"/>
                    </a:lnTo>
                    <a:lnTo>
                      <a:pt x="1690" y="1132"/>
                    </a:lnTo>
                    <a:lnTo>
                      <a:pt x="1690" y="1132"/>
                    </a:lnTo>
                    <a:close/>
                    <a:moveTo>
                      <a:pt x="5857" y="1127"/>
                    </a:moveTo>
                    <a:lnTo>
                      <a:pt x="5854" y="1127"/>
                    </a:lnTo>
                    <a:lnTo>
                      <a:pt x="5854" y="1130"/>
                    </a:lnTo>
                    <a:lnTo>
                      <a:pt x="5854" y="1184"/>
                    </a:lnTo>
                    <a:lnTo>
                      <a:pt x="5857" y="1184"/>
                    </a:lnTo>
                    <a:lnTo>
                      <a:pt x="5857" y="1182"/>
                    </a:lnTo>
                    <a:lnTo>
                      <a:pt x="5857" y="1182"/>
                    </a:lnTo>
                    <a:lnTo>
                      <a:pt x="5857" y="1127"/>
                    </a:lnTo>
                    <a:close/>
                    <a:moveTo>
                      <a:pt x="6322" y="1127"/>
                    </a:moveTo>
                    <a:lnTo>
                      <a:pt x="6322" y="1127"/>
                    </a:lnTo>
                    <a:lnTo>
                      <a:pt x="6322" y="1127"/>
                    </a:lnTo>
                    <a:lnTo>
                      <a:pt x="6322" y="1130"/>
                    </a:lnTo>
                    <a:lnTo>
                      <a:pt x="6322" y="1177"/>
                    </a:lnTo>
                    <a:lnTo>
                      <a:pt x="6322" y="1177"/>
                    </a:lnTo>
                    <a:lnTo>
                      <a:pt x="6322" y="1127"/>
                    </a:lnTo>
                    <a:close/>
                    <a:moveTo>
                      <a:pt x="1447" y="1125"/>
                    </a:moveTo>
                    <a:lnTo>
                      <a:pt x="1447" y="1125"/>
                    </a:lnTo>
                    <a:lnTo>
                      <a:pt x="1447" y="1125"/>
                    </a:lnTo>
                    <a:lnTo>
                      <a:pt x="1447" y="1127"/>
                    </a:lnTo>
                    <a:lnTo>
                      <a:pt x="1447" y="1168"/>
                    </a:lnTo>
                    <a:lnTo>
                      <a:pt x="1447" y="1168"/>
                    </a:lnTo>
                    <a:lnTo>
                      <a:pt x="1447" y="1125"/>
                    </a:lnTo>
                    <a:close/>
                    <a:moveTo>
                      <a:pt x="1466" y="1082"/>
                    </a:moveTo>
                    <a:lnTo>
                      <a:pt x="1463" y="1082"/>
                    </a:lnTo>
                    <a:lnTo>
                      <a:pt x="1463" y="1085"/>
                    </a:lnTo>
                    <a:lnTo>
                      <a:pt x="1463" y="1108"/>
                    </a:lnTo>
                    <a:lnTo>
                      <a:pt x="1463" y="1108"/>
                    </a:lnTo>
                    <a:lnTo>
                      <a:pt x="1463" y="1106"/>
                    </a:lnTo>
                    <a:lnTo>
                      <a:pt x="1466" y="1106"/>
                    </a:lnTo>
                    <a:lnTo>
                      <a:pt x="1466" y="1082"/>
                    </a:lnTo>
                    <a:close/>
                    <a:moveTo>
                      <a:pt x="2861" y="1061"/>
                    </a:moveTo>
                    <a:lnTo>
                      <a:pt x="2861" y="1061"/>
                    </a:lnTo>
                    <a:lnTo>
                      <a:pt x="2858" y="1061"/>
                    </a:lnTo>
                    <a:lnTo>
                      <a:pt x="2858" y="1063"/>
                    </a:lnTo>
                    <a:lnTo>
                      <a:pt x="2858" y="1208"/>
                    </a:lnTo>
                    <a:lnTo>
                      <a:pt x="2861" y="1208"/>
                    </a:lnTo>
                    <a:lnTo>
                      <a:pt x="2861" y="1061"/>
                    </a:lnTo>
                    <a:close/>
                    <a:moveTo>
                      <a:pt x="5932" y="1040"/>
                    </a:moveTo>
                    <a:lnTo>
                      <a:pt x="5932" y="1040"/>
                    </a:lnTo>
                    <a:lnTo>
                      <a:pt x="5930" y="1040"/>
                    </a:lnTo>
                    <a:lnTo>
                      <a:pt x="5930" y="1042"/>
                    </a:lnTo>
                    <a:lnTo>
                      <a:pt x="5930" y="1097"/>
                    </a:lnTo>
                    <a:lnTo>
                      <a:pt x="5932" y="1097"/>
                    </a:lnTo>
                    <a:lnTo>
                      <a:pt x="5932" y="1040"/>
                    </a:lnTo>
                    <a:close/>
                    <a:moveTo>
                      <a:pt x="2877" y="1011"/>
                    </a:moveTo>
                    <a:lnTo>
                      <a:pt x="2877" y="1011"/>
                    </a:lnTo>
                    <a:lnTo>
                      <a:pt x="2877" y="1014"/>
                    </a:lnTo>
                    <a:lnTo>
                      <a:pt x="2877" y="1045"/>
                    </a:lnTo>
                    <a:lnTo>
                      <a:pt x="2877" y="1045"/>
                    </a:lnTo>
                    <a:lnTo>
                      <a:pt x="2877" y="1045"/>
                    </a:lnTo>
                    <a:lnTo>
                      <a:pt x="2877" y="1045"/>
                    </a:lnTo>
                    <a:lnTo>
                      <a:pt x="2877" y="1011"/>
                    </a:lnTo>
                    <a:close/>
                    <a:moveTo>
                      <a:pt x="3771" y="992"/>
                    </a:moveTo>
                    <a:lnTo>
                      <a:pt x="3769" y="992"/>
                    </a:lnTo>
                    <a:lnTo>
                      <a:pt x="3769" y="995"/>
                    </a:lnTo>
                    <a:lnTo>
                      <a:pt x="3769" y="1191"/>
                    </a:lnTo>
                    <a:lnTo>
                      <a:pt x="3771" y="1191"/>
                    </a:lnTo>
                    <a:lnTo>
                      <a:pt x="3771" y="992"/>
                    </a:lnTo>
                    <a:close/>
                    <a:moveTo>
                      <a:pt x="5949" y="990"/>
                    </a:moveTo>
                    <a:lnTo>
                      <a:pt x="5949" y="990"/>
                    </a:lnTo>
                    <a:lnTo>
                      <a:pt x="5949" y="990"/>
                    </a:lnTo>
                    <a:lnTo>
                      <a:pt x="5949" y="1023"/>
                    </a:lnTo>
                    <a:lnTo>
                      <a:pt x="5949" y="1023"/>
                    </a:lnTo>
                    <a:lnTo>
                      <a:pt x="5949" y="1023"/>
                    </a:lnTo>
                    <a:lnTo>
                      <a:pt x="5949" y="1023"/>
                    </a:lnTo>
                    <a:lnTo>
                      <a:pt x="5949" y="990"/>
                    </a:lnTo>
                    <a:close/>
                    <a:moveTo>
                      <a:pt x="6341" y="936"/>
                    </a:moveTo>
                    <a:lnTo>
                      <a:pt x="6341" y="936"/>
                    </a:lnTo>
                    <a:lnTo>
                      <a:pt x="6339" y="936"/>
                    </a:lnTo>
                    <a:lnTo>
                      <a:pt x="6339" y="938"/>
                    </a:lnTo>
                    <a:lnTo>
                      <a:pt x="6339" y="1111"/>
                    </a:lnTo>
                    <a:lnTo>
                      <a:pt x="6341" y="1111"/>
                    </a:lnTo>
                    <a:lnTo>
                      <a:pt x="6341" y="1108"/>
                    </a:lnTo>
                    <a:lnTo>
                      <a:pt x="6341" y="1108"/>
                    </a:lnTo>
                    <a:lnTo>
                      <a:pt x="6341" y="936"/>
                    </a:lnTo>
                    <a:close/>
                    <a:moveTo>
                      <a:pt x="3847" y="929"/>
                    </a:moveTo>
                    <a:lnTo>
                      <a:pt x="3844" y="929"/>
                    </a:lnTo>
                    <a:lnTo>
                      <a:pt x="3844" y="929"/>
                    </a:lnTo>
                    <a:lnTo>
                      <a:pt x="3844" y="962"/>
                    </a:lnTo>
                    <a:lnTo>
                      <a:pt x="3847" y="962"/>
                    </a:lnTo>
                    <a:lnTo>
                      <a:pt x="3847" y="929"/>
                    </a:lnTo>
                    <a:close/>
                    <a:moveTo>
                      <a:pt x="6386" y="895"/>
                    </a:moveTo>
                    <a:lnTo>
                      <a:pt x="6384" y="895"/>
                    </a:lnTo>
                    <a:lnTo>
                      <a:pt x="6384" y="895"/>
                    </a:lnTo>
                    <a:lnTo>
                      <a:pt x="6384" y="895"/>
                    </a:lnTo>
                    <a:lnTo>
                      <a:pt x="6382" y="902"/>
                    </a:lnTo>
                    <a:lnTo>
                      <a:pt x="6384" y="902"/>
                    </a:lnTo>
                    <a:lnTo>
                      <a:pt x="6386" y="895"/>
                    </a:lnTo>
                    <a:close/>
                    <a:moveTo>
                      <a:pt x="6391" y="879"/>
                    </a:moveTo>
                    <a:lnTo>
                      <a:pt x="6389" y="879"/>
                    </a:lnTo>
                    <a:lnTo>
                      <a:pt x="6389" y="879"/>
                    </a:lnTo>
                    <a:lnTo>
                      <a:pt x="6389" y="879"/>
                    </a:lnTo>
                    <a:lnTo>
                      <a:pt x="6389" y="891"/>
                    </a:lnTo>
                    <a:lnTo>
                      <a:pt x="6389" y="891"/>
                    </a:lnTo>
                    <a:lnTo>
                      <a:pt x="6389" y="888"/>
                    </a:lnTo>
                    <a:lnTo>
                      <a:pt x="6391" y="888"/>
                    </a:lnTo>
                    <a:lnTo>
                      <a:pt x="6391" y="879"/>
                    </a:lnTo>
                    <a:close/>
                    <a:moveTo>
                      <a:pt x="6398" y="850"/>
                    </a:moveTo>
                    <a:lnTo>
                      <a:pt x="6396" y="850"/>
                    </a:lnTo>
                    <a:lnTo>
                      <a:pt x="6396" y="850"/>
                    </a:lnTo>
                    <a:lnTo>
                      <a:pt x="6396" y="872"/>
                    </a:lnTo>
                    <a:lnTo>
                      <a:pt x="6398" y="872"/>
                    </a:lnTo>
                    <a:lnTo>
                      <a:pt x="6398" y="869"/>
                    </a:lnTo>
                    <a:lnTo>
                      <a:pt x="6398" y="869"/>
                    </a:lnTo>
                    <a:lnTo>
                      <a:pt x="6398" y="850"/>
                    </a:lnTo>
                    <a:close/>
                    <a:moveTo>
                      <a:pt x="806" y="827"/>
                    </a:moveTo>
                    <a:lnTo>
                      <a:pt x="804" y="827"/>
                    </a:lnTo>
                    <a:lnTo>
                      <a:pt x="804" y="829"/>
                    </a:lnTo>
                    <a:lnTo>
                      <a:pt x="804" y="1037"/>
                    </a:lnTo>
                    <a:lnTo>
                      <a:pt x="806" y="1037"/>
                    </a:lnTo>
                    <a:lnTo>
                      <a:pt x="806" y="827"/>
                    </a:lnTo>
                    <a:close/>
                    <a:moveTo>
                      <a:pt x="3102" y="763"/>
                    </a:moveTo>
                    <a:lnTo>
                      <a:pt x="3100" y="763"/>
                    </a:lnTo>
                    <a:lnTo>
                      <a:pt x="3100" y="763"/>
                    </a:lnTo>
                    <a:lnTo>
                      <a:pt x="3100" y="765"/>
                    </a:lnTo>
                    <a:lnTo>
                      <a:pt x="3100" y="947"/>
                    </a:lnTo>
                    <a:lnTo>
                      <a:pt x="3102" y="947"/>
                    </a:lnTo>
                    <a:lnTo>
                      <a:pt x="3102" y="763"/>
                    </a:lnTo>
                    <a:close/>
                    <a:moveTo>
                      <a:pt x="1009" y="753"/>
                    </a:moveTo>
                    <a:lnTo>
                      <a:pt x="1007" y="753"/>
                    </a:lnTo>
                    <a:lnTo>
                      <a:pt x="1007" y="753"/>
                    </a:lnTo>
                    <a:lnTo>
                      <a:pt x="1007" y="796"/>
                    </a:lnTo>
                    <a:lnTo>
                      <a:pt x="1009" y="796"/>
                    </a:lnTo>
                    <a:lnTo>
                      <a:pt x="1009" y="753"/>
                    </a:lnTo>
                    <a:close/>
                    <a:moveTo>
                      <a:pt x="5133" y="732"/>
                    </a:moveTo>
                    <a:lnTo>
                      <a:pt x="5131" y="732"/>
                    </a:lnTo>
                    <a:lnTo>
                      <a:pt x="5131" y="734"/>
                    </a:lnTo>
                    <a:lnTo>
                      <a:pt x="5131" y="940"/>
                    </a:lnTo>
                    <a:lnTo>
                      <a:pt x="5133" y="940"/>
                    </a:lnTo>
                    <a:lnTo>
                      <a:pt x="5133" y="732"/>
                    </a:lnTo>
                    <a:close/>
                    <a:moveTo>
                      <a:pt x="3140" y="656"/>
                    </a:moveTo>
                    <a:lnTo>
                      <a:pt x="3137" y="656"/>
                    </a:lnTo>
                    <a:lnTo>
                      <a:pt x="3137" y="659"/>
                    </a:lnTo>
                    <a:lnTo>
                      <a:pt x="3137" y="730"/>
                    </a:lnTo>
                    <a:lnTo>
                      <a:pt x="3140" y="730"/>
                    </a:lnTo>
                    <a:lnTo>
                      <a:pt x="3140" y="656"/>
                    </a:lnTo>
                    <a:close/>
                    <a:moveTo>
                      <a:pt x="97" y="616"/>
                    </a:moveTo>
                    <a:lnTo>
                      <a:pt x="97" y="616"/>
                    </a:lnTo>
                    <a:lnTo>
                      <a:pt x="97" y="618"/>
                    </a:lnTo>
                    <a:lnTo>
                      <a:pt x="97" y="1421"/>
                    </a:lnTo>
                    <a:lnTo>
                      <a:pt x="97" y="1421"/>
                    </a:lnTo>
                    <a:lnTo>
                      <a:pt x="97" y="616"/>
                    </a:lnTo>
                    <a:close/>
                    <a:moveTo>
                      <a:pt x="5254" y="609"/>
                    </a:moveTo>
                    <a:lnTo>
                      <a:pt x="5251" y="609"/>
                    </a:lnTo>
                    <a:lnTo>
                      <a:pt x="5251" y="611"/>
                    </a:lnTo>
                    <a:lnTo>
                      <a:pt x="5251" y="699"/>
                    </a:lnTo>
                    <a:lnTo>
                      <a:pt x="5254" y="699"/>
                    </a:lnTo>
                    <a:lnTo>
                      <a:pt x="5254" y="609"/>
                    </a:lnTo>
                    <a:close/>
                    <a:moveTo>
                      <a:pt x="3284" y="580"/>
                    </a:moveTo>
                    <a:lnTo>
                      <a:pt x="3282" y="580"/>
                    </a:lnTo>
                    <a:lnTo>
                      <a:pt x="3282" y="580"/>
                    </a:lnTo>
                    <a:lnTo>
                      <a:pt x="3282" y="583"/>
                    </a:lnTo>
                    <a:lnTo>
                      <a:pt x="3282" y="625"/>
                    </a:lnTo>
                    <a:lnTo>
                      <a:pt x="3284" y="625"/>
                    </a:lnTo>
                    <a:lnTo>
                      <a:pt x="3284" y="580"/>
                    </a:lnTo>
                    <a:close/>
                    <a:moveTo>
                      <a:pt x="302" y="547"/>
                    </a:moveTo>
                    <a:lnTo>
                      <a:pt x="300" y="547"/>
                    </a:lnTo>
                    <a:lnTo>
                      <a:pt x="300" y="550"/>
                    </a:lnTo>
                    <a:lnTo>
                      <a:pt x="300" y="585"/>
                    </a:lnTo>
                    <a:lnTo>
                      <a:pt x="302" y="585"/>
                    </a:lnTo>
                    <a:lnTo>
                      <a:pt x="302" y="547"/>
                    </a:lnTo>
                    <a:close/>
                    <a:moveTo>
                      <a:pt x="7027" y="509"/>
                    </a:moveTo>
                    <a:lnTo>
                      <a:pt x="7025" y="509"/>
                    </a:lnTo>
                    <a:lnTo>
                      <a:pt x="7025" y="509"/>
                    </a:lnTo>
                    <a:lnTo>
                      <a:pt x="7025" y="1660"/>
                    </a:lnTo>
                    <a:lnTo>
                      <a:pt x="7027" y="1660"/>
                    </a:lnTo>
                    <a:lnTo>
                      <a:pt x="7027" y="509"/>
                    </a:lnTo>
                    <a:close/>
                    <a:moveTo>
                      <a:pt x="4194" y="502"/>
                    </a:moveTo>
                    <a:lnTo>
                      <a:pt x="4194" y="502"/>
                    </a:lnTo>
                    <a:lnTo>
                      <a:pt x="4192" y="505"/>
                    </a:lnTo>
                    <a:lnTo>
                      <a:pt x="4149" y="564"/>
                    </a:lnTo>
                    <a:lnTo>
                      <a:pt x="4149" y="564"/>
                    </a:lnTo>
                    <a:lnTo>
                      <a:pt x="4194" y="502"/>
                    </a:lnTo>
                    <a:close/>
                    <a:moveTo>
                      <a:pt x="3301" y="500"/>
                    </a:moveTo>
                    <a:lnTo>
                      <a:pt x="3301" y="500"/>
                    </a:lnTo>
                    <a:lnTo>
                      <a:pt x="3298" y="500"/>
                    </a:lnTo>
                    <a:lnTo>
                      <a:pt x="3298" y="502"/>
                    </a:lnTo>
                    <a:lnTo>
                      <a:pt x="3298" y="564"/>
                    </a:lnTo>
                    <a:lnTo>
                      <a:pt x="3301" y="564"/>
                    </a:lnTo>
                    <a:lnTo>
                      <a:pt x="3301" y="564"/>
                    </a:lnTo>
                    <a:lnTo>
                      <a:pt x="3301" y="564"/>
                    </a:lnTo>
                    <a:lnTo>
                      <a:pt x="3301" y="500"/>
                    </a:lnTo>
                    <a:close/>
                    <a:moveTo>
                      <a:pt x="4038" y="453"/>
                    </a:moveTo>
                    <a:lnTo>
                      <a:pt x="4036" y="453"/>
                    </a:lnTo>
                    <a:lnTo>
                      <a:pt x="4036" y="453"/>
                    </a:lnTo>
                    <a:lnTo>
                      <a:pt x="4036" y="455"/>
                    </a:lnTo>
                    <a:lnTo>
                      <a:pt x="4036" y="491"/>
                    </a:lnTo>
                    <a:lnTo>
                      <a:pt x="3953" y="642"/>
                    </a:lnTo>
                    <a:lnTo>
                      <a:pt x="3953" y="895"/>
                    </a:lnTo>
                    <a:lnTo>
                      <a:pt x="3956" y="895"/>
                    </a:lnTo>
                    <a:lnTo>
                      <a:pt x="3956" y="642"/>
                    </a:lnTo>
                    <a:lnTo>
                      <a:pt x="4038" y="488"/>
                    </a:lnTo>
                    <a:lnTo>
                      <a:pt x="4038" y="453"/>
                    </a:lnTo>
                    <a:close/>
                    <a:moveTo>
                      <a:pt x="3329" y="434"/>
                    </a:moveTo>
                    <a:lnTo>
                      <a:pt x="3327" y="434"/>
                    </a:lnTo>
                    <a:lnTo>
                      <a:pt x="3327" y="436"/>
                    </a:lnTo>
                    <a:lnTo>
                      <a:pt x="3327" y="474"/>
                    </a:lnTo>
                    <a:lnTo>
                      <a:pt x="3329" y="474"/>
                    </a:lnTo>
                    <a:lnTo>
                      <a:pt x="3329" y="472"/>
                    </a:lnTo>
                    <a:lnTo>
                      <a:pt x="3329" y="472"/>
                    </a:lnTo>
                    <a:lnTo>
                      <a:pt x="3329" y="434"/>
                    </a:lnTo>
                    <a:close/>
                    <a:moveTo>
                      <a:pt x="4043" y="391"/>
                    </a:moveTo>
                    <a:lnTo>
                      <a:pt x="4041" y="391"/>
                    </a:lnTo>
                    <a:lnTo>
                      <a:pt x="4041" y="391"/>
                    </a:lnTo>
                    <a:lnTo>
                      <a:pt x="4041" y="391"/>
                    </a:lnTo>
                    <a:lnTo>
                      <a:pt x="4041" y="448"/>
                    </a:lnTo>
                    <a:lnTo>
                      <a:pt x="4043" y="448"/>
                    </a:lnTo>
                    <a:lnTo>
                      <a:pt x="4043" y="446"/>
                    </a:lnTo>
                    <a:lnTo>
                      <a:pt x="4043" y="446"/>
                    </a:lnTo>
                    <a:lnTo>
                      <a:pt x="4043" y="391"/>
                    </a:lnTo>
                    <a:close/>
                    <a:moveTo>
                      <a:pt x="1811" y="367"/>
                    </a:moveTo>
                    <a:lnTo>
                      <a:pt x="1809" y="367"/>
                    </a:lnTo>
                    <a:lnTo>
                      <a:pt x="1809" y="370"/>
                    </a:lnTo>
                    <a:lnTo>
                      <a:pt x="1809" y="1099"/>
                    </a:lnTo>
                    <a:lnTo>
                      <a:pt x="1811" y="1099"/>
                    </a:lnTo>
                    <a:lnTo>
                      <a:pt x="1811" y="367"/>
                    </a:lnTo>
                    <a:close/>
                    <a:moveTo>
                      <a:pt x="1939" y="334"/>
                    </a:moveTo>
                    <a:lnTo>
                      <a:pt x="1936" y="334"/>
                    </a:lnTo>
                    <a:lnTo>
                      <a:pt x="1936" y="334"/>
                    </a:lnTo>
                    <a:lnTo>
                      <a:pt x="1936" y="337"/>
                    </a:lnTo>
                    <a:lnTo>
                      <a:pt x="1939" y="337"/>
                    </a:lnTo>
                    <a:lnTo>
                      <a:pt x="1939" y="334"/>
                    </a:lnTo>
                    <a:close/>
                    <a:moveTo>
                      <a:pt x="4050" y="327"/>
                    </a:moveTo>
                    <a:lnTo>
                      <a:pt x="4050" y="327"/>
                    </a:lnTo>
                    <a:lnTo>
                      <a:pt x="4050" y="330"/>
                    </a:lnTo>
                    <a:lnTo>
                      <a:pt x="4050" y="384"/>
                    </a:lnTo>
                    <a:lnTo>
                      <a:pt x="4050" y="384"/>
                    </a:lnTo>
                    <a:lnTo>
                      <a:pt x="4050" y="382"/>
                    </a:lnTo>
                    <a:lnTo>
                      <a:pt x="4050" y="382"/>
                    </a:lnTo>
                    <a:lnTo>
                      <a:pt x="4050" y="327"/>
                    </a:lnTo>
                    <a:close/>
                    <a:moveTo>
                      <a:pt x="2028" y="294"/>
                    </a:moveTo>
                    <a:lnTo>
                      <a:pt x="2028" y="294"/>
                    </a:lnTo>
                    <a:lnTo>
                      <a:pt x="2028" y="294"/>
                    </a:lnTo>
                    <a:lnTo>
                      <a:pt x="2028" y="301"/>
                    </a:lnTo>
                    <a:lnTo>
                      <a:pt x="2028" y="301"/>
                    </a:lnTo>
                    <a:lnTo>
                      <a:pt x="2028" y="294"/>
                    </a:lnTo>
                    <a:close/>
                    <a:moveTo>
                      <a:pt x="4705" y="232"/>
                    </a:moveTo>
                    <a:lnTo>
                      <a:pt x="4703" y="232"/>
                    </a:lnTo>
                    <a:lnTo>
                      <a:pt x="4703" y="232"/>
                    </a:lnTo>
                    <a:lnTo>
                      <a:pt x="4641" y="457"/>
                    </a:lnTo>
                    <a:lnTo>
                      <a:pt x="4644" y="457"/>
                    </a:lnTo>
                    <a:lnTo>
                      <a:pt x="4705" y="232"/>
                    </a:lnTo>
                    <a:close/>
                    <a:moveTo>
                      <a:pt x="4804" y="171"/>
                    </a:moveTo>
                    <a:lnTo>
                      <a:pt x="4804" y="171"/>
                    </a:lnTo>
                    <a:lnTo>
                      <a:pt x="4802" y="171"/>
                    </a:lnTo>
                    <a:lnTo>
                      <a:pt x="4802" y="173"/>
                    </a:lnTo>
                    <a:lnTo>
                      <a:pt x="4802" y="199"/>
                    </a:lnTo>
                    <a:lnTo>
                      <a:pt x="4804" y="199"/>
                    </a:lnTo>
                    <a:lnTo>
                      <a:pt x="4804" y="171"/>
                    </a:lnTo>
                    <a:close/>
                    <a:moveTo>
                      <a:pt x="4854" y="0"/>
                    </a:moveTo>
                    <a:lnTo>
                      <a:pt x="4852" y="0"/>
                    </a:lnTo>
                    <a:lnTo>
                      <a:pt x="4852" y="0"/>
                    </a:lnTo>
                    <a:lnTo>
                      <a:pt x="4852" y="140"/>
                    </a:lnTo>
                    <a:lnTo>
                      <a:pt x="4854" y="140"/>
                    </a:lnTo>
                    <a:lnTo>
                      <a:pt x="4854" y="0"/>
                    </a:lnTo>
                    <a:close/>
                    <a:moveTo>
                      <a:pt x="4911" y="0"/>
                    </a:moveTo>
                    <a:lnTo>
                      <a:pt x="4908" y="0"/>
                    </a:lnTo>
                    <a:lnTo>
                      <a:pt x="4908" y="0"/>
                    </a:lnTo>
                    <a:lnTo>
                      <a:pt x="4908" y="140"/>
                    </a:lnTo>
                    <a:lnTo>
                      <a:pt x="4911" y="140"/>
                    </a:lnTo>
                    <a:lnTo>
                      <a:pt x="4911" y="0"/>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89" name="Freeform 111"/>
              <p:cNvSpPr>
                <a:spLocks noEditPoints="1"/>
              </p:cNvSpPr>
              <p:nvPr/>
            </p:nvSpPr>
            <p:spPr bwMode="auto">
              <a:xfrm>
                <a:off x="14" y="1693"/>
                <a:ext cx="7027" cy="1660"/>
              </a:xfrm>
              <a:custGeom>
                <a:avLst/>
                <a:gdLst>
                  <a:gd name="T0" fmla="*/ 2 w 7027"/>
                  <a:gd name="T1" fmla="*/ 1501 h 1660"/>
                  <a:gd name="T2" fmla="*/ 5665 w 7027"/>
                  <a:gd name="T3" fmla="*/ 1416 h 1660"/>
                  <a:gd name="T4" fmla="*/ 3710 w 7027"/>
                  <a:gd name="T5" fmla="*/ 1222 h 1660"/>
                  <a:gd name="T6" fmla="*/ 5833 w 7027"/>
                  <a:gd name="T7" fmla="*/ 1208 h 1660"/>
                  <a:gd name="T8" fmla="*/ 5833 w 7027"/>
                  <a:gd name="T9" fmla="*/ 1293 h 1660"/>
                  <a:gd name="T10" fmla="*/ 1664 w 7027"/>
                  <a:gd name="T11" fmla="*/ 1158 h 1660"/>
                  <a:gd name="T12" fmla="*/ 1688 w 7027"/>
                  <a:gd name="T13" fmla="*/ 1132 h 1660"/>
                  <a:gd name="T14" fmla="*/ 1690 w 7027"/>
                  <a:gd name="T15" fmla="*/ 1132 h 1660"/>
                  <a:gd name="T16" fmla="*/ 5854 w 7027"/>
                  <a:gd name="T17" fmla="*/ 1184 h 1660"/>
                  <a:gd name="T18" fmla="*/ 6322 w 7027"/>
                  <a:gd name="T19" fmla="*/ 1127 h 1660"/>
                  <a:gd name="T20" fmla="*/ 6322 w 7027"/>
                  <a:gd name="T21" fmla="*/ 1177 h 1660"/>
                  <a:gd name="T22" fmla="*/ 1447 w 7027"/>
                  <a:gd name="T23" fmla="*/ 1127 h 1660"/>
                  <a:gd name="T24" fmla="*/ 1463 w 7027"/>
                  <a:gd name="T25" fmla="*/ 1082 h 1660"/>
                  <a:gd name="T26" fmla="*/ 1466 w 7027"/>
                  <a:gd name="T27" fmla="*/ 1106 h 1660"/>
                  <a:gd name="T28" fmla="*/ 2858 w 7027"/>
                  <a:gd name="T29" fmla="*/ 1063 h 1660"/>
                  <a:gd name="T30" fmla="*/ 5932 w 7027"/>
                  <a:gd name="T31" fmla="*/ 1040 h 1660"/>
                  <a:gd name="T32" fmla="*/ 5932 w 7027"/>
                  <a:gd name="T33" fmla="*/ 1040 h 1660"/>
                  <a:gd name="T34" fmla="*/ 2877 w 7027"/>
                  <a:gd name="T35" fmla="*/ 1045 h 1660"/>
                  <a:gd name="T36" fmla="*/ 3769 w 7027"/>
                  <a:gd name="T37" fmla="*/ 992 h 1660"/>
                  <a:gd name="T38" fmla="*/ 5949 w 7027"/>
                  <a:gd name="T39" fmla="*/ 990 h 1660"/>
                  <a:gd name="T40" fmla="*/ 5949 w 7027"/>
                  <a:gd name="T41" fmla="*/ 1023 h 1660"/>
                  <a:gd name="T42" fmla="*/ 6339 w 7027"/>
                  <a:gd name="T43" fmla="*/ 936 h 1660"/>
                  <a:gd name="T44" fmla="*/ 6341 w 7027"/>
                  <a:gd name="T45" fmla="*/ 1108 h 1660"/>
                  <a:gd name="T46" fmla="*/ 3844 w 7027"/>
                  <a:gd name="T47" fmla="*/ 962 h 1660"/>
                  <a:gd name="T48" fmla="*/ 6384 w 7027"/>
                  <a:gd name="T49" fmla="*/ 895 h 1660"/>
                  <a:gd name="T50" fmla="*/ 6391 w 7027"/>
                  <a:gd name="T51" fmla="*/ 879 h 1660"/>
                  <a:gd name="T52" fmla="*/ 6389 w 7027"/>
                  <a:gd name="T53" fmla="*/ 891 h 1660"/>
                  <a:gd name="T54" fmla="*/ 6396 w 7027"/>
                  <a:gd name="T55" fmla="*/ 850 h 1660"/>
                  <a:gd name="T56" fmla="*/ 6398 w 7027"/>
                  <a:gd name="T57" fmla="*/ 869 h 1660"/>
                  <a:gd name="T58" fmla="*/ 804 w 7027"/>
                  <a:gd name="T59" fmla="*/ 1037 h 1660"/>
                  <a:gd name="T60" fmla="*/ 3100 w 7027"/>
                  <a:gd name="T61" fmla="*/ 763 h 1660"/>
                  <a:gd name="T62" fmla="*/ 1009 w 7027"/>
                  <a:gd name="T63" fmla="*/ 753 h 1660"/>
                  <a:gd name="T64" fmla="*/ 1009 w 7027"/>
                  <a:gd name="T65" fmla="*/ 753 h 1660"/>
                  <a:gd name="T66" fmla="*/ 5133 w 7027"/>
                  <a:gd name="T67" fmla="*/ 940 h 1660"/>
                  <a:gd name="T68" fmla="*/ 3137 w 7027"/>
                  <a:gd name="T69" fmla="*/ 730 h 1660"/>
                  <a:gd name="T70" fmla="*/ 97 w 7027"/>
                  <a:gd name="T71" fmla="*/ 618 h 1660"/>
                  <a:gd name="T72" fmla="*/ 5251 w 7027"/>
                  <a:gd name="T73" fmla="*/ 609 h 1660"/>
                  <a:gd name="T74" fmla="*/ 3284 w 7027"/>
                  <a:gd name="T75" fmla="*/ 580 h 1660"/>
                  <a:gd name="T76" fmla="*/ 3284 w 7027"/>
                  <a:gd name="T77" fmla="*/ 625 h 1660"/>
                  <a:gd name="T78" fmla="*/ 300 w 7027"/>
                  <a:gd name="T79" fmla="*/ 585 h 1660"/>
                  <a:gd name="T80" fmla="*/ 7025 w 7027"/>
                  <a:gd name="T81" fmla="*/ 509 h 1660"/>
                  <a:gd name="T82" fmla="*/ 4194 w 7027"/>
                  <a:gd name="T83" fmla="*/ 502 h 1660"/>
                  <a:gd name="T84" fmla="*/ 3301 w 7027"/>
                  <a:gd name="T85" fmla="*/ 500 h 1660"/>
                  <a:gd name="T86" fmla="*/ 3301 w 7027"/>
                  <a:gd name="T87" fmla="*/ 564 h 1660"/>
                  <a:gd name="T88" fmla="*/ 4036 w 7027"/>
                  <a:gd name="T89" fmla="*/ 453 h 1660"/>
                  <a:gd name="T90" fmla="*/ 3953 w 7027"/>
                  <a:gd name="T91" fmla="*/ 895 h 1660"/>
                  <a:gd name="T92" fmla="*/ 3329 w 7027"/>
                  <a:gd name="T93" fmla="*/ 434 h 1660"/>
                  <a:gd name="T94" fmla="*/ 3329 w 7027"/>
                  <a:gd name="T95" fmla="*/ 472 h 1660"/>
                  <a:gd name="T96" fmla="*/ 4041 w 7027"/>
                  <a:gd name="T97" fmla="*/ 391 h 1660"/>
                  <a:gd name="T98" fmla="*/ 4043 w 7027"/>
                  <a:gd name="T99" fmla="*/ 446 h 1660"/>
                  <a:gd name="T100" fmla="*/ 1809 w 7027"/>
                  <a:gd name="T101" fmla="*/ 1099 h 1660"/>
                  <a:gd name="T102" fmla="*/ 1936 w 7027"/>
                  <a:gd name="T103" fmla="*/ 334 h 1660"/>
                  <a:gd name="T104" fmla="*/ 4050 w 7027"/>
                  <a:gd name="T105" fmla="*/ 327 h 1660"/>
                  <a:gd name="T106" fmla="*/ 4050 w 7027"/>
                  <a:gd name="T107" fmla="*/ 382 h 1660"/>
                  <a:gd name="T108" fmla="*/ 2028 w 7027"/>
                  <a:gd name="T109" fmla="*/ 301 h 1660"/>
                  <a:gd name="T110" fmla="*/ 4703 w 7027"/>
                  <a:gd name="T111" fmla="*/ 232 h 1660"/>
                  <a:gd name="T112" fmla="*/ 4804 w 7027"/>
                  <a:gd name="T113" fmla="*/ 171 h 1660"/>
                  <a:gd name="T114" fmla="*/ 4804 w 7027"/>
                  <a:gd name="T115" fmla="*/ 171 h 1660"/>
                  <a:gd name="T116" fmla="*/ 4854 w 7027"/>
                  <a:gd name="T117" fmla="*/ 140 h 1660"/>
                  <a:gd name="T118" fmla="*/ 4908 w 7027"/>
                  <a:gd name="T119" fmla="*/ 140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0">
                    <a:moveTo>
                      <a:pt x="2" y="1452"/>
                    </a:moveTo>
                    <a:lnTo>
                      <a:pt x="0" y="1452"/>
                    </a:lnTo>
                    <a:lnTo>
                      <a:pt x="0" y="1454"/>
                    </a:lnTo>
                    <a:lnTo>
                      <a:pt x="0" y="1501"/>
                    </a:lnTo>
                    <a:lnTo>
                      <a:pt x="2" y="1501"/>
                    </a:lnTo>
                    <a:lnTo>
                      <a:pt x="2" y="1452"/>
                    </a:lnTo>
                    <a:moveTo>
                      <a:pt x="5667" y="1326"/>
                    </a:moveTo>
                    <a:lnTo>
                      <a:pt x="5665" y="1326"/>
                    </a:lnTo>
                    <a:lnTo>
                      <a:pt x="5665" y="1326"/>
                    </a:lnTo>
                    <a:lnTo>
                      <a:pt x="5665" y="1416"/>
                    </a:lnTo>
                    <a:lnTo>
                      <a:pt x="5667" y="1416"/>
                    </a:lnTo>
                    <a:lnTo>
                      <a:pt x="5667" y="1326"/>
                    </a:lnTo>
                    <a:moveTo>
                      <a:pt x="3712" y="1222"/>
                    </a:moveTo>
                    <a:lnTo>
                      <a:pt x="3710" y="1222"/>
                    </a:lnTo>
                    <a:lnTo>
                      <a:pt x="3710" y="1222"/>
                    </a:lnTo>
                    <a:lnTo>
                      <a:pt x="3710" y="1224"/>
                    </a:lnTo>
                    <a:lnTo>
                      <a:pt x="3710" y="1359"/>
                    </a:lnTo>
                    <a:lnTo>
                      <a:pt x="3712" y="1359"/>
                    </a:lnTo>
                    <a:lnTo>
                      <a:pt x="3712" y="1222"/>
                    </a:lnTo>
                    <a:moveTo>
                      <a:pt x="5833" y="1208"/>
                    </a:moveTo>
                    <a:lnTo>
                      <a:pt x="5831" y="1208"/>
                    </a:lnTo>
                    <a:lnTo>
                      <a:pt x="5831" y="1208"/>
                    </a:lnTo>
                    <a:lnTo>
                      <a:pt x="5831" y="1210"/>
                    </a:lnTo>
                    <a:lnTo>
                      <a:pt x="5831" y="1293"/>
                    </a:lnTo>
                    <a:lnTo>
                      <a:pt x="5833" y="1293"/>
                    </a:lnTo>
                    <a:lnTo>
                      <a:pt x="5833" y="1208"/>
                    </a:lnTo>
                    <a:moveTo>
                      <a:pt x="1667" y="1156"/>
                    </a:moveTo>
                    <a:lnTo>
                      <a:pt x="1664" y="1156"/>
                    </a:lnTo>
                    <a:lnTo>
                      <a:pt x="1664" y="1156"/>
                    </a:lnTo>
                    <a:lnTo>
                      <a:pt x="1664" y="1158"/>
                    </a:lnTo>
                    <a:lnTo>
                      <a:pt x="1664" y="1168"/>
                    </a:lnTo>
                    <a:lnTo>
                      <a:pt x="1667" y="1168"/>
                    </a:lnTo>
                    <a:lnTo>
                      <a:pt x="1667" y="1156"/>
                    </a:lnTo>
                    <a:moveTo>
                      <a:pt x="1690" y="1132"/>
                    </a:moveTo>
                    <a:lnTo>
                      <a:pt x="1688" y="1132"/>
                    </a:lnTo>
                    <a:lnTo>
                      <a:pt x="1688" y="1132"/>
                    </a:lnTo>
                    <a:lnTo>
                      <a:pt x="1688" y="1135"/>
                    </a:lnTo>
                    <a:lnTo>
                      <a:pt x="1688" y="1135"/>
                    </a:lnTo>
                    <a:lnTo>
                      <a:pt x="1688" y="1132"/>
                    </a:lnTo>
                    <a:lnTo>
                      <a:pt x="1690" y="1132"/>
                    </a:lnTo>
                    <a:lnTo>
                      <a:pt x="1690" y="1132"/>
                    </a:lnTo>
                    <a:moveTo>
                      <a:pt x="5857" y="1127"/>
                    </a:moveTo>
                    <a:lnTo>
                      <a:pt x="5854" y="1127"/>
                    </a:lnTo>
                    <a:lnTo>
                      <a:pt x="5854" y="1130"/>
                    </a:lnTo>
                    <a:lnTo>
                      <a:pt x="5854" y="1184"/>
                    </a:lnTo>
                    <a:lnTo>
                      <a:pt x="5857" y="1184"/>
                    </a:lnTo>
                    <a:lnTo>
                      <a:pt x="5857" y="1182"/>
                    </a:lnTo>
                    <a:lnTo>
                      <a:pt x="5857" y="1182"/>
                    </a:lnTo>
                    <a:lnTo>
                      <a:pt x="5857" y="1127"/>
                    </a:lnTo>
                    <a:moveTo>
                      <a:pt x="6322" y="1127"/>
                    </a:moveTo>
                    <a:lnTo>
                      <a:pt x="6322" y="1127"/>
                    </a:lnTo>
                    <a:lnTo>
                      <a:pt x="6322" y="1127"/>
                    </a:lnTo>
                    <a:lnTo>
                      <a:pt x="6322" y="1130"/>
                    </a:lnTo>
                    <a:lnTo>
                      <a:pt x="6322" y="1177"/>
                    </a:lnTo>
                    <a:lnTo>
                      <a:pt x="6322" y="1177"/>
                    </a:lnTo>
                    <a:lnTo>
                      <a:pt x="6322" y="1127"/>
                    </a:lnTo>
                    <a:moveTo>
                      <a:pt x="1447" y="1125"/>
                    </a:moveTo>
                    <a:lnTo>
                      <a:pt x="1447" y="1125"/>
                    </a:lnTo>
                    <a:lnTo>
                      <a:pt x="1447" y="1125"/>
                    </a:lnTo>
                    <a:lnTo>
                      <a:pt x="1447" y="1127"/>
                    </a:lnTo>
                    <a:lnTo>
                      <a:pt x="1447" y="1168"/>
                    </a:lnTo>
                    <a:lnTo>
                      <a:pt x="1447" y="1168"/>
                    </a:lnTo>
                    <a:lnTo>
                      <a:pt x="1447" y="1125"/>
                    </a:lnTo>
                    <a:moveTo>
                      <a:pt x="1466" y="1082"/>
                    </a:moveTo>
                    <a:lnTo>
                      <a:pt x="1463" y="1082"/>
                    </a:lnTo>
                    <a:lnTo>
                      <a:pt x="1463" y="1085"/>
                    </a:lnTo>
                    <a:lnTo>
                      <a:pt x="1463" y="1108"/>
                    </a:lnTo>
                    <a:lnTo>
                      <a:pt x="1463" y="1108"/>
                    </a:lnTo>
                    <a:lnTo>
                      <a:pt x="1463" y="1106"/>
                    </a:lnTo>
                    <a:lnTo>
                      <a:pt x="1466" y="1106"/>
                    </a:lnTo>
                    <a:lnTo>
                      <a:pt x="1466" y="1082"/>
                    </a:lnTo>
                    <a:moveTo>
                      <a:pt x="2861" y="1061"/>
                    </a:moveTo>
                    <a:lnTo>
                      <a:pt x="2861" y="1061"/>
                    </a:lnTo>
                    <a:lnTo>
                      <a:pt x="2858" y="1061"/>
                    </a:lnTo>
                    <a:lnTo>
                      <a:pt x="2858" y="1063"/>
                    </a:lnTo>
                    <a:lnTo>
                      <a:pt x="2858" y="1208"/>
                    </a:lnTo>
                    <a:lnTo>
                      <a:pt x="2861" y="1208"/>
                    </a:lnTo>
                    <a:lnTo>
                      <a:pt x="2861" y="1061"/>
                    </a:lnTo>
                    <a:moveTo>
                      <a:pt x="5932" y="1040"/>
                    </a:moveTo>
                    <a:lnTo>
                      <a:pt x="5932" y="1040"/>
                    </a:lnTo>
                    <a:lnTo>
                      <a:pt x="5930" y="1040"/>
                    </a:lnTo>
                    <a:lnTo>
                      <a:pt x="5930" y="1042"/>
                    </a:lnTo>
                    <a:lnTo>
                      <a:pt x="5930" y="1097"/>
                    </a:lnTo>
                    <a:lnTo>
                      <a:pt x="5932" y="1097"/>
                    </a:lnTo>
                    <a:lnTo>
                      <a:pt x="5932" y="1040"/>
                    </a:lnTo>
                    <a:moveTo>
                      <a:pt x="2877" y="1011"/>
                    </a:moveTo>
                    <a:lnTo>
                      <a:pt x="2877" y="1011"/>
                    </a:lnTo>
                    <a:lnTo>
                      <a:pt x="2877" y="1014"/>
                    </a:lnTo>
                    <a:lnTo>
                      <a:pt x="2877" y="1045"/>
                    </a:lnTo>
                    <a:lnTo>
                      <a:pt x="2877" y="1045"/>
                    </a:lnTo>
                    <a:lnTo>
                      <a:pt x="2877" y="1045"/>
                    </a:lnTo>
                    <a:lnTo>
                      <a:pt x="2877" y="1045"/>
                    </a:lnTo>
                    <a:lnTo>
                      <a:pt x="2877" y="1011"/>
                    </a:lnTo>
                    <a:moveTo>
                      <a:pt x="3771" y="992"/>
                    </a:moveTo>
                    <a:lnTo>
                      <a:pt x="3769" y="992"/>
                    </a:lnTo>
                    <a:lnTo>
                      <a:pt x="3769" y="995"/>
                    </a:lnTo>
                    <a:lnTo>
                      <a:pt x="3769" y="1191"/>
                    </a:lnTo>
                    <a:lnTo>
                      <a:pt x="3771" y="1191"/>
                    </a:lnTo>
                    <a:lnTo>
                      <a:pt x="3771" y="992"/>
                    </a:lnTo>
                    <a:moveTo>
                      <a:pt x="5949" y="990"/>
                    </a:moveTo>
                    <a:lnTo>
                      <a:pt x="5949" y="990"/>
                    </a:lnTo>
                    <a:lnTo>
                      <a:pt x="5949" y="990"/>
                    </a:lnTo>
                    <a:lnTo>
                      <a:pt x="5949" y="1023"/>
                    </a:lnTo>
                    <a:lnTo>
                      <a:pt x="5949" y="1023"/>
                    </a:lnTo>
                    <a:lnTo>
                      <a:pt x="5949" y="1023"/>
                    </a:lnTo>
                    <a:lnTo>
                      <a:pt x="5949" y="1023"/>
                    </a:lnTo>
                    <a:lnTo>
                      <a:pt x="5949" y="990"/>
                    </a:lnTo>
                    <a:moveTo>
                      <a:pt x="6341" y="936"/>
                    </a:moveTo>
                    <a:lnTo>
                      <a:pt x="6341" y="936"/>
                    </a:lnTo>
                    <a:lnTo>
                      <a:pt x="6339" y="936"/>
                    </a:lnTo>
                    <a:lnTo>
                      <a:pt x="6339" y="938"/>
                    </a:lnTo>
                    <a:lnTo>
                      <a:pt x="6339" y="1111"/>
                    </a:lnTo>
                    <a:lnTo>
                      <a:pt x="6341" y="1111"/>
                    </a:lnTo>
                    <a:lnTo>
                      <a:pt x="6341" y="1108"/>
                    </a:lnTo>
                    <a:lnTo>
                      <a:pt x="6341" y="1108"/>
                    </a:lnTo>
                    <a:lnTo>
                      <a:pt x="6341" y="936"/>
                    </a:lnTo>
                    <a:moveTo>
                      <a:pt x="3847" y="929"/>
                    </a:moveTo>
                    <a:lnTo>
                      <a:pt x="3844" y="929"/>
                    </a:lnTo>
                    <a:lnTo>
                      <a:pt x="3844" y="929"/>
                    </a:lnTo>
                    <a:lnTo>
                      <a:pt x="3844" y="962"/>
                    </a:lnTo>
                    <a:lnTo>
                      <a:pt x="3847" y="962"/>
                    </a:lnTo>
                    <a:lnTo>
                      <a:pt x="3847" y="929"/>
                    </a:lnTo>
                    <a:moveTo>
                      <a:pt x="6386" y="895"/>
                    </a:moveTo>
                    <a:lnTo>
                      <a:pt x="6384" y="895"/>
                    </a:lnTo>
                    <a:lnTo>
                      <a:pt x="6384" y="895"/>
                    </a:lnTo>
                    <a:lnTo>
                      <a:pt x="6384" y="895"/>
                    </a:lnTo>
                    <a:lnTo>
                      <a:pt x="6382" y="902"/>
                    </a:lnTo>
                    <a:lnTo>
                      <a:pt x="6384" y="902"/>
                    </a:lnTo>
                    <a:lnTo>
                      <a:pt x="6386" y="895"/>
                    </a:lnTo>
                    <a:moveTo>
                      <a:pt x="6391" y="879"/>
                    </a:moveTo>
                    <a:lnTo>
                      <a:pt x="6389" y="879"/>
                    </a:lnTo>
                    <a:lnTo>
                      <a:pt x="6389" y="879"/>
                    </a:lnTo>
                    <a:lnTo>
                      <a:pt x="6389" y="879"/>
                    </a:lnTo>
                    <a:lnTo>
                      <a:pt x="6389" y="891"/>
                    </a:lnTo>
                    <a:lnTo>
                      <a:pt x="6389" y="891"/>
                    </a:lnTo>
                    <a:lnTo>
                      <a:pt x="6389" y="888"/>
                    </a:lnTo>
                    <a:lnTo>
                      <a:pt x="6391" y="888"/>
                    </a:lnTo>
                    <a:lnTo>
                      <a:pt x="6391" y="879"/>
                    </a:lnTo>
                    <a:moveTo>
                      <a:pt x="6398" y="850"/>
                    </a:moveTo>
                    <a:lnTo>
                      <a:pt x="6396" y="850"/>
                    </a:lnTo>
                    <a:lnTo>
                      <a:pt x="6396" y="850"/>
                    </a:lnTo>
                    <a:lnTo>
                      <a:pt x="6396" y="872"/>
                    </a:lnTo>
                    <a:lnTo>
                      <a:pt x="6398" y="872"/>
                    </a:lnTo>
                    <a:lnTo>
                      <a:pt x="6398" y="869"/>
                    </a:lnTo>
                    <a:lnTo>
                      <a:pt x="6398" y="869"/>
                    </a:lnTo>
                    <a:lnTo>
                      <a:pt x="6398" y="850"/>
                    </a:lnTo>
                    <a:moveTo>
                      <a:pt x="806" y="827"/>
                    </a:moveTo>
                    <a:lnTo>
                      <a:pt x="804" y="827"/>
                    </a:lnTo>
                    <a:lnTo>
                      <a:pt x="804" y="829"/>
                    </a:lnTo>
                    <a:lnTo>
                      <a:pt x="804" y="1037"/>
                    </a:lnTo>
                    <a:lnTo>
                      <a:pt x="806" y="1037"/>
                    </a:lnTo>
                    <a:lnTo>
                      <a:pt x="806" y="827"/>
                    </a:lnTo>
                    <a:moveTo>
                      <a:pt x="3102" y="763"/>
                    </a:moveTo>
                    <a:lnTo>
                      <a:pt x="3100" y="763"/>
                    </a:lnTo>
                    <a:lnTo>
                      <a:pt x="3100" y="763"/>
                    </a:lnTo>
                    <a:lnTo>
                      <a:pt x="3100" y="765"/>
                    </a:lnTo>
                    <a:lnTo>
                      <a:pt x="3100" y="947"/>
                    </a:lnTo>
                    <a:lnTo>
                      <a:pt x="3102" y="947"/>
                    </a:lnTo>
                    <a:lnTo>
                      <a:pt x="3102" y="763"/>
                    </a:lnTo>
                    <a:moveTo>
                      <a:pt x="1009" y="753"/>
                    </a:moveTo>
                    <a:lnTo>
                      <a:pt x="1007" y="753"/>
                    </a:lnTo>
                    <a:lnTo>
                      <a:pt x="1007" y="753"/>
                    </a:lnTo>
                    <a:lnTo>
                      <a:pt x="1007" y="796"/>
                    </a:lnTo>
                    <a:lnTo>
                      <a:pt x="1009" y="796"/>
                    </a:lnTo>
                    <a:lnTo>
                      <a:pt x="1009" y="753"/>
                    </a:lnTo>
                    <a:moveTo>
                      <a:pt x="5133" y="732"/>
                    </a:moveTo>
                    <a:lnTo>
                      <a:pt x="5131" y="732"/>
                    </a:lnTo>
                    <a:lnTo>
                      <a:pt x="5131" y="734"/>
                    </a:lnTo>
                    <a:lnTo>
                      <a:pt x="5131" y="940"/>
                    </a:lnTo>
                    <a:lnTo>
                      <a:pt x="5133" y="940"/>
                    </a:lnTo>
                    <a:lnTo>
                      <a:pt x="5133" y="732"/>
                    </a:lnTo>
                    <a:moveTo>
                      <a:pt x="3140" y="656"/>
                    </a:moveTo>
                    <a:lnTo>
                      <a:pt x="3137" y="656"/>
                    </a:lnTo>
                    <a:lnTo>
                      <a:pt x="3137" y="659"/>
                    </a:lnTo>
                    <a:lnTo>
                      <a:pt x="3137" y="730"/>
                    </a:lnTo>
                    <a:lnTo>
                      <a:pt x="3140" y="730"/>
                    </a:lnTo>
                    <a:lnTo>
                      <a:pt x="3140" y="656"/>
                    </a:lnTo>
                    <a:moveTo>
                      <a:pt x="97" y="616"/>
                    </a:moveTo>
                    <a:lnTo>
                      <a:pt x="97" y="616"/>
                    </a:lnTo>
                    <a:lnTo>
                      <a:pt x="97" y="618"/>
                    </a:lnTo>
                    <a:lnTo>
                      <a:pt x="97" y="1421"/>
                    </a:lnTo>
                    <a:lnTo>
                      <a:pt x="97" y="1421"/>
                    </a:lnTo>
                    <a:lnTo>
                      <a:pt x="97" y="616"/>
                    </a:lnTo>
                    <a:moveTo>
                      <a:pt x="5254" y="609"/>
                    </a:moveTo>
                    <a:lnTo>
                      <a:pt x="5251" y="609"/>
                    </a:lnTo>
                    <a:lnTo>
                      <a:pt x="5251" y="611"/>
                    </a:lnTo>
                    <a:lnTo>
                      <a:pt x="5251" y="699"/>
                    </a:lnTo>
                    <a:lnTo>
                      <a:pt x="5254" y="699"/>
                    </a:lnTo>
                    <a:lnTo>
                      <a:pt x="5254" y="609"/>
                    </a:lnTo>
                    <a:moveTo>
                      <a:pt x="3284" y="580"/>
                    </a:moveTo>
                    <a:lnTo>
                      <a:pt x="3282" y="580"/>
                    </a:lnTo>
                    <a:lnTo>
                      <a:pt x="3282" y="580"/>
                    </a:lnTo>
                    <a:lnTo>
                      <a:pt x="3282" y="583"/>
                    </a:lnTo>
                    <a:lnTo>
                      <a:pt x="3282" y="625"/>
                    </a:lnTo>
                    <a:lnTo>
                      <a:pt x="3284" y="625"/>
                    </a:lnTo>
                    <a:lnTo>
                      <a:pt x="3284" y="580"/>
                    </a:lnTo>
                    <a:moveTo>
                      <a:pt x="302" y="547"/>
                    </a:moveTo>
                    <a:lnTo>
                      <a:pt x="300" y="547"/>
                    </a:lnTo>
                    <a:lnTo>
                      <a:pt x="300" y="550"/>
                    </a:lnTo>
                    <a:lnTo>
                      <a:pt x="300" y="585"/>
                    </a:lnTo>
                    <a:lnTo>
                      <a:pt x="302" y="585"/>
                    </a:lnTo>
                    <a:lnTo>
                      <a:pt x="302" y="547"/>
                    </a:lnTo>
                    <a:moveTo>
                      <a:pt x="7027" y="509"/>
                    </a:moveTo>
                    <a:lnTo>
                      <a:pt x="7025" y="509"/>
                    </a:lnTo>
                    <a:lnTo>
                      <a:pt x="7025" y="509"/>
                    </a:lnTo>
                    <a:lnTo>
                      <a:pt x="7025" y="1660"/>
                    </a:lnTo>
                    <a:lnTo>
                      <a:pt x="7027" y="1660"/>
                    </a:lnTo>
                    <a:lnTo>
                      <a:pt x="7027" y="509"/>
                    </a:lnTo>
                    <a:moveTo>
                      <a:pt x="4194" y="502"/>
                    </a:moveTo>
                    <a:lnTo>
                      <a:pt x="4194" y="502"/>
                    </a:lnTo>
                    <a:lnTo>
                      <a:pt x="4192" y="505"/>
                    </a:lnTo>
                    <a:lnTo>
                      <a:pt x="4149" y="564"/>
                    </a:lnTo>
                    <a:lnTo>
                      <a:pt x="4149" y="564"/>
                    </a:lnTo>
                    <a:lnTo>
                      <a:pt x="4194" y="502"/>
                    </a:lnTo>
                    <a:moveTo>
                      <a:pt x="3301" y="500"/>
                    </a:moveTo>
                    <a:lnTo>
                      <a:pt x="3301" y="500"/>
                    </a:lnTo>
                    <a:lnTo>
                      <a:pt x="3298" y="500"/>
                    </a:lnTo>
                    <a:lnTo>
                      <a:pt x="3298" y="502"/>
                    </a:lnTo>
                    <a:lnTo>
                      <a:pt x="3298" y="564"/>
                    </a:lnTo>
                    <a:lnTo>
                      <a:pt x="3301" y="564"/>
                    </a:lnTo>
                    <a:lnTo>
                      <a:pt x="3301" y="564"/>
                    </a:lnTo>
                    <a:lnTo>
                      <a:pt x="3301" y="564"/>
                    </a:lnTo>
                    <a:lnTo>
                      <a:pt x="3301" y="500"/>
                    </a:lnTo>
                    <a:moveTo>
                      <a:pt x="4038" y="453"/>
                    </a:moveTo>
                    <a:lnTo>
                      <a:pt x="4036" y="453"/>
                    </a:lnTo>
                    <a:lnTo>
                      <a:pt x="4036" y="453"/>
                    </a:lnTo>
                    <a:lnTo>
                      <a:pt x="4036" y="455"/>
                    </a:lnTo>
                    <a:lnTo>
                      <a:pt x="4036" y="491"/>
                    </a:lnTo>
                    <a:lnTo>
                      <a:pt x="3953" y="642"/>
                    </a:lnTo>
                    <a:lnTo>
                      <a:pt x="3953" y="895"/>
                    </a:lnTo>
                    <a:lnTo>
                      <a:pt x="3956" y="895"/>
                    </a:lnTo>
                    <a:lnTo>
                      <a:pt x="3956" y="642"/>
                    </a:lnTo>
                    <a:lnTo>
                      <a:pt x="4038" y="488"/>
                    </a:lnTo>
                    <a:lnTo>
                      <a:pt x="4038" y="453"/>
                    </a:lnTo>
                    <a:moveTo>
                      <a:pt x="3329" y="434"/>
                    </a:moveTo>
                    <a:lnTo>
                      <a:pt x="3327" y="434"/>
                    </a:lnTo>
                    <a:lnTo>
                      <a:pt x="3327" y="436"/>
                    </a:lnTo>
                    <a:lnTo>
                      <a:pt x="3327" y="474"/>
                    </a:lnTo>
                    <a:lnTo>
                      <a:pt x="3329" y="474"/>
                    </a:lnTo>
                    <a:lnTo>
                      <a:pt x="3329" y="472"/>
                    </a:lnTo>
                    <a:lnTo>
                      <a:pt x="3329" y="472"/>
                    </a:lnTo>
                    <a:lnTo>
                      <a:pt x="3329" y="434"/>
                    </a:lnTo>
                    <a:moveTo>
                      <a:pt x="4043" y="391"/>
                    </a:moveTo>
                    <a:lnTo>
                      <a:pt x="4041" y="391"/>
                    </a:lnTo>
                    <a:lnTo>
                      <a:pt x="4041" y="391"/>
                    </a:lnTo>
                    <a:lnTo>
                      <a:pt x="4041" y="391"/>
                    </a:lnTo>
                    <a:lnTo>
                      <a:pt x="4041" y="448"/>
                    </a:lnTo>
                    <a:lnTo>
                      <a:pt x="4043" y="448"/>
                    </a:lnTo>
                    <a:lnTo>
                      <a:pt x="4043" y="446"/>
                    </a:lnTo>
                    <a:lnTo>
                      <a:pt x="4043" y="446"/>
                    </a:lnTo>
                    <a:lnTo>
                      <a:pt x="4043" y="391"/>
                    </a:lnTo>
                    <a:moveTo>
                      <a:pt x="1811" y="367"/>
                    </a:moveTo>
                    <a:lnTo>
                      <a:pt x="1809" y="367"/>
                    </a:lnTo>
                    <a:lnTo>
                      <a:pt x="1809" y="370"/>
                    </a:lnTo>
                    <a:lnTo>
                      <a:pt x="1809" y="1099"/>
                    </a:lnTo>
                    <a:lnTo>
                      <a:pt x="1811" y="1099"/>
                    </a:lnTo>
                    <a:lnTo>
                      <a:pt x="1811" y="367"/>
                    </a:lnTo>
                    <a:moveTo>
                      <a:pt x="1939" y="334"/>
                    </a:moveTo>
                    <a:lnTo>
                      <a:pt x="1936" y="334"/>
                    </a:lnTo>
                    <a:lnTo>
                      <a:pt x="1936" y="334"/>
                    </a:lnTo>
                    <a:lnTo>
                      <a:pt x="1936" y="337"/>
                    </a:lnTo>
                    <a:lnTo>
                      <a:pt x="1939" y="337"/>
                    </a:lnTo>
                    <a:lnTo>
                      <a:pt x="1939" y="334"/>
                    </a:lnTo>
                    <a:moveTo>
                      <a:pt x="4050" y="327"/>
                    </a:moveTo>
                    <a:lnTo>
                      <a:pt x="4050" y="327"/>
                    </a:lnTo>
                    <a:lnTo>
                      <a:pt x="4050" y="330"/>
                    </a:lnTo>
                    <a:lnTo>
                      <a:pt x="4050" y="384"/>
                    </a:lnTo>
                    <a:lnTo>
                      <a:pt x="4050" y="384"/>
                    </a:lnTo>
                    <a:lnTo>
                      <a:pt x="4050" y="382"/>
                    </a:lnTo>
                    <a:lnTo>
                      <a:pt x="4050" y="382"/>
                    </a:lnTo>
                    <a:lnTo>
                      <a:pt x="4050" y="327"/>
                    </a:lnTo>
                    <a:moveTo>
                      <a:pt x="2028" y="294"/>
                    </a:moveTo>
                    <a:lnTo>
                      <a:pt x="2028" y="294"/>
                    </a:lnTo>
                    <a:lnTo>
                      <a:pt x="2028" y="294"/>
                    </a:lnTo>
                    <a:lnTo>
                      <a:pt x="2028" y="301"/>
                    </a:lnTo>
                    <a:lnTo>
                      <a:pt x="2028" y="301"/>
                    </a:lnTo>
                    <a:lnTo>
                      <a:pt x="2028" y="294"/>
                    </a:lnTo>
                    <a:moveTo>
                      <a:pt x="4705" y="232"/>
                    </a:moveTo>
                    <a:lnTo>
                      <a:pt x="4703" y="232"/>
                    </a:lnTo>
                    <a:lnTo>
                      <a:pt x="4703" y="232"/>
                    </a:lnTo>
                    <a:lnTo>
                      <a:pt x="4641" y="457"/>
                    </a:lnTo>
                    <a:lnTo>
                      <a:pt x="4644" y="457"/>
                    </a:lnTo>
                    <a:lnTo>
                      <a:pt x="4705" y="232"/>
                    </a:lnTo>
                    <a:moveTo>
                      <a:pt x="4804" y="171"/>
                    </a:moveTo>
                    <a:lnTo>
                      <a:pt x="4804" y="171"/>
                    </a:lnTo>
                    <a:lnTo>
                      <a:pt x="4802" y="171"/>
                    </a:lnTo>
                    <a:lnTo>
                      <a:pt x="4802" y="173"/>
                    </a:lnTo>
                    <a:lnTo>
                      <a:pt x="4802" y="199"/>
                    </a:lnTo>
                    <a:lnTo>
                      <a:pt x="4804" y="199"/>
                    </a:lnTo>
                    <a:lnTo>
                      <a:pt x="4804" y="171"/>
                    </a:lnTo>
                    <a:moveTo>
                      <a:pt x="4854" y="0"/>
                    </a:moveTo>
                    <a:lnTo>
                      <a:pt x="4852" y="0"/>
                    </a:lnTo>
                    <a:lnTo>
                      <a:pt x="4852" y="0"/>
                    </a:lnTo>
                    <a:lnTo>
                      <a:pt x="4852" y="140"/>
                    </a:lnTo>
                    <a:lnTo>
                      <a:pt x="4854" y="140"/>
                    </a:lnTo>
                    <a:lnTo>
                      <a:pt x="4854" y="0"/>
                    </a:lnTo>
                    <a:moveTo>
                      <a:pt x="4911" y="0"/>
                    </a:moveTo>
                    <a:lnTo>
                      <a:pt x="4908" y="0"/>
                    </a:lnTo>
                    <a:lnTo>
                      <a:pt x="4908" y="0"/>
                    </a:lnTo>
                    <a:lnTo>
                      <a:pt x="4908" y="140"/>
                    </a:lnTo>
                    <a:lnTo>
                      <a:pt x="4911" y="140"/>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0" name="Freeform 112"/>
              <p:cNvSpPr>
                <a:spLocks noEditPoints="1"/>
              </p:cNvSpPr>
              <p:nvPr/>
            </p:nvSpPr>
            <p:spPr bwMode="auto">
              <a:xfrm>
                <a:off x="16" y="1691"/>
                <a:ext cx="7027" cy="1662"/>
              </a:xfrm>
              <a:custGeom>
                <a:avLst/>
                <a:gdLst>
                  <a:gd name="T0" fmla="*/ 2 w 7027"/>
                  <a:gd name="T1" fmla="*/ 1503 h 1662"/>
                  <a:gd name="T2" fmla="*/ 5665 w 7027"/>
                  <a:gd name="T3" fmla="*/ 1418 h 1662"/>
                  <a:gd name="T4" fmla="*/ 3710 w 7027"/>
                  <a:gd name="T5" fmla="*/ 1222 h 1662"/>
                  <a:gd name="T6" fmla="*/ 5831 w 7027"/>
                  <a:gd name="T7" fmla="*/ 1208 h 1662"/>
                  <a:gd name="T8" fmla="*/ 5831 w 7027"/>
                  <a:gd name="T9" fmla="*/ 1295 h 1662"/>
                  <a:gd name="T10" fmla="*/ 1665 w 7027"/>
                  <a:gd name="T11" fmla="*/ 1158 h 1662"/>
                  <a:gd name="T12" fmla="*/ 1688 w 7027"/>
                  <a:gd name="T13" fmla="*/ 1132 h 1662"/>
                  <a:gd name="T14" fmla="*/ 1688 w 7027"/>
                  <a:gd name="T15" fmla="*/ 1132 h 1662"/>
                  <a:gd name="T16" fmla="*/ 5855 w 7027"/>
                  <a:gd name="T17" fmla="*/ 1184 h 1662"/>
                  <a:gd name="T18" fmla="*/ 6323 w 7027"/>
                  <a:gd name="T19" fmla="*/ 1127 h 1662"/>
                  <a:gd name="T20" fmla="*/ 6323 w 7027"/>
                  <a:gd name="T21" fmla="*/ 1179 h 1662"/>
                  <a:gd name="T22" fmla="*/ 1445 w 7027"/>
                  <a:gd name="T23" fmla="*/ 1127 h 1662"/>
                  <a:gd name="T24" fmla="*/ 1464 w 7027"/>
                  <a:gd name="T25" fmla="*/ 1084 h 1662"/>
                  <a:gd name="T26" fmla="*/ 1464 w 7027"/>
                  <a:gd name="T27" fmla="*/ 1106 h 1662"/>
                  <a:gd name="T28" fmla="*/ 2859 w 7027"/>
                  <a:gd name="T29" fmla="*/ 1063 h 1662"/>
                  <a:gd name="T30" fmla="*/ 5930 w 7027"/>
                  <a:gd name="T31" fmla="*/ 1042 h 1662"/>
                  <a:gd name="T32" fmla="*/ 5933 w 7027"/>
                  <a:gd name="T33" fmla="*/ 1042 h 1662"/>
                  <a:gd name="T34" fmla="*/ 2878 w 7027"/>
                  <a:gd name="T35" fmla="*/ 1047 h 1662"/>
                  <a:gd name="T36" fmla="*/ 3769 w 7027"/>
                  <a:gd name="T37" fmla="*/ 992 h 1662"/>
                  <a:gd name="T38" fmla="*/ 5949 w 7027"/>
                  <a:gd name="T39" fmla="*/ 990 h 1662"/>
                  <a:gd name="T40" fmla="*/ 5949 w 7027"/>
                  <a:gd name="T41" fmla="*/ 1023 h 1662"/>
                  <a:gd name="T42" fmla="*/ 6339 w 7027"/>
                  <a:gd name="T43" fmla="*/ 935 h 1662"/>
                  <a:gd name="T44" fmla="*/ 6342 w 7027"/>
                  <a:gd name="T45" fmla="*/ 1108 h 1662"/>
                  <a:gd name="T46" fmla="*/ 3845 w 7027"/>
                  <a:gd name="T47" fmla="*/ 964 h 1662"/>
                  <a:gd name="T48" fmla="*/ 6384 w 7027"/>
                  <a:gd name="T49" fmla="*/ 895 h 1662"/>
                  <a:gd name="T50" fmla="*/ 6391 w 7027"/>
                  <a:gd name="T51" fmla="*/ 878 h 1662"/>
                  <a:gd name="T52" fmla="*/ 6389 w 7027"/>
                  <a:gd name="T53" fmla="*/ 890 h 1662"/>
                  <a:gd name="T54" fmla="*/ 6396 w 7027"/>
                  <a:gd name="T55" fmla="*/ 850 h 1662"/>
                  <a:gd name="T56" fmla="*/ 6398 w 7027"/>
                  <a:gd name="T57" fmla="*/ 869 h 1662"/>
                  <a:gd name="T58" fmla="*/ 804 w 7027"/>
                  <a:gd name="T59" fmla="*/ 1039 h 1662"/>
                  <a:gd name="T60" fmla="*/ 3100 w 7027"/>
                  <a:gd name="T61" fmla="*/ 762 h 1662"/>
                  <a:gd name="T62" fmla="*/ 1010 w 7027"/>
                  <a:gd name="T63" fmla="*/ 753 h 1662"/>
                  <a:gd name="T64" fmla="*/ 1010 w 7027"/>
                  <a:gd name="T65" fmla="*/ 753 h 1662"/>
                  <a:gd name="T66" fmla="*/ 5133 w 7027"/>
                  <a:gd name="T67" fmla="*/ 942 h 1662"/>
                  <a:gd name="T68" fmla="*/ 3138 w 7027"/>
                  <a:gd name="T69" fmla="*/ 732 h 1662"/>
                  <a:gd name="T70" fmla="*/ 95 w 7027"/>
                  <a:gd name="T71" fmla="*/ 618 h 1662"/>
                  <a:gd name="T72" fmla="*/ 5252 w 7027"/>
                  <a:gd name="T73" fmla="*/ 609 h 1662"/>
                  <a:gd name="T74" fmla="*/ 3284 w 7027"/>
                  <a:gd name="T75" fmla="*/ 582 h 1662"/>
                  <a:gd name="T76" fmla="*/ 3284 w 7027"/>
                  <a:gd name="T77" fmla="*/ 627 h 1662"/>
                  <a:gd name="T78" fmla="*/ 300 w 7027"/>
                  <a:gd name="T79" fmla="*/ 587 h 1662"/>
                  <a:gd name="T80" fmla="*/ 7025 w 7027"/>
                  <a:gd name="T81" fmla="*/ 511 h 1662"/>
                  <a:gd name="T82" fmla="*/ 4195 w 7027"/>
                  <a:gd name="T83" fmla="*/ 502 h 1662"/>
                  <a:gd name="T84" fmla="*/ 3301 w 7027"/>
                  <a:gd name="T85" fmla="*/ 500 h 1662"/>
                  <a:gd name="T86" fmla="*/ 3301 w 7027"/>
                  <a:gd name="T87" fmla="*/ 566 h 1662"/>
                  <a:gd name="T88" fmla="*/ 4036 w 7027"/>
                  <a:gd name="T89" fmla="*/ 455 h 1662"/>
                  <a:gd name="T90" fmla="*/ 3954 w 7027"/>
                  <a:gd name="T91" fmla="*/ 897 h 1662"/>
                  <a:gd name="T92" fmla="*/ 3329 w 7027"/>
                  <a:gd name="T93" fmla="*/ 433 h 1662"/>
                  <a:gd name="T94" fmla="*/ 3329 w 7027"/>
                  <a:gd name="T95" fmla="*/ 471 h 1662"/>
                  <a:gd name="T96" fmla="*/ 4041 w 7027"/>
                  <a:gd name="T97" fmla="*/ 391 h 1662"/>
                  <a:gd name="T98" fmla="*/ 4043 w 7027"/>
                  <a:gd name="T99" fmla="*/ 448 h 1662"/>
                  <a:gd name="T100" fmla="*/ 1809 w 7027"/>
                  <a:gd name="T101" fmla="*/ 1101 h 1662"/>
                  <a:gd name="T102" fmla="*/ 1937 w 7027"/>
                  <a:gd name="T103" fmla="*/ 336 h 1662"/>
                  <a:gd name="T104" fmla="*/ 4048 w 7027"/>
                  <a:gd name="T105" fmla="*/ 327 h 1662"/>
                  <a:gd name="T106" fmla="*/ 4051 w 7027"/>
                  <a:gd name="T107" fmla="*/ 381 h 1662"/>
                  <a:gd name="T108" fmla="*/ 2026 w 7027"/>
                  <a:gd name="T109" fmla="*/ 303 h 1662"/>
                  <a:gd name="T110" fmla="*/ 4703 w 7027"/>
                  <a:gd name="T111" fmla="*/ 234 h 1662"/>
                  <a:gd name="T112" fmla="*/ 4802 w 7027"/>
                  <a:gd name="T113" fmla="*/ 173 h 1662"/>
                  <a:gd name="T114" fmla="*/ 4805 w 7027"/>
                  <a:gd name="T115" fmla="*/ 173 h 1662"/>
                  <a:gd name="T116" fmla="*/ 4854 w 7027"/>
                  <a:gd name="T117" fmla="*/ 142 h 1662"/>
                  <a:gd name="T118" fmla="*/ 4909 w 7027"/>
                  <a:gd name="T119" fmla="*/ 142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2">
                    <a:moveTo>
                      <a:pt x="2" y="1454"/>
                    </a:moveTo>
                    <a:lnTo>
                      <a:pt x="0" y="1454"/>
                    </a:lnTo>
                    <a:lnTo>
                      <a:pt x="0" y="1454"/>
                    </a:lnTo>
                    <a:lnTo>
                      <a:pt x="0" y="1503"/>
                    </a:lnTo>
                    <a:lnTo>
                      <a:pt x="2" y="1503"/>
                    </a:lnTo>
                    <a:lnTo>
                      <a:pt x="2" y="1454"/>
                    </a:lnTo>
                    <a:close/>
                    <a:moveTo>
                      <a:pt x="5665" y="1326"/>
                    </a:moveTo>
                    <a:lnTo>
                      <a:pt x="5665" y="1326"/>
                    </a:lnTo>
                    <a:lnTo>
                      <a:pt x="5665" y="1328"/>
                    </a:lnTo>
                    <a:lnTo>
                      <a:pt x="5665" y="1418"/>
                    </a:lnTo>
                    <a:lnTo>
                      <a:pt x="5665" y="1418"/>
                    </a:lnTo>
                    <a:lnTo>
                      <a:pt x="5665" y="1326"/>
                    </a:lnTo>
                    <a:close/>
                    <a:moveTo>
                      <a:pt x="3712" y="1222"/>
                    </a:moveTo>
                    <a:lnTo>
                      <a:pt x="3710" y="1222"/>
                    </a:lnTo>
                    <a:lnTo>
                      <a:pt x="3710" y="1222"/>
                    </a:lnTo>
                    <a:lnTo>
                      <a:pt x="3710" y="1224"/>
                    </a:lnTo>
                    <a:lnTo>
                      <a:pt x="3710" y="1361"/>
                    </a:lnTo>
                    <a:lnTo>
                      <a:pt x="3712" y="1361"/>
                    </a:lnTo>
                    <a:lnTo>
                      <a:pt x="3712" y="1222"/>
                    </a:lnTo>
                    <a:close/>
                    <a:moveTo>
                      <a:pt x="5831" y="1208"/>
                    </a:moveTo>
                    <a:lnTo>
                      <a:pt x="5831" y="1208"/>
                    </a:lnTo>
                    <a:lnTo>
                      <a:pt x="5831" y="1208"/>
                    </a:lnTo>
                    <a:lnTo>
                      <a:pt x="5831" y="1210"/>
                    </a:lnTo>
                    <a:lnTo>
                      <a:pt x="5831" y="1295"/>
                    </a:lnTo>
                    <a:lnTo>
                      <a:pt x="5831" y="1295"/>
                    </a:lnTo>
                    <a:lnTo>
                      <a:pt x="5831" y="1208"/>
                    </a:lnTo>
                    <a:close/>
                    <a:moveTo>
                      <a:pt x="1667" y="1155"/>
                    </a:moveTo>
                    <a:lnTo>
                      <a:pt x="1665" y="1155"/>
                    </a:lnTo>
                    <a:lnTo>
                      <a:pt x="1665" y="1155"/>
                    </a:lnTo>
                    <a:lnTo>
                      <a:pt x="1665" y="1158"/>
                    </a:lnTo>
                    <a:lnTo>
                      <a:pt x="1665" y="1170"/>
                    </a:lnTo>
                    <a:lnTo>
                      <a:pt x="1667" y="1170"/>
                    </a:lnTo>
                    <a:lnTo>
                      <a:pt x="1667" y="1155"/>
                    </a:lnTo>
                    <a:close/>
                    <a:moveTo>
                      <a:pt x="1688" y="1132"/>
                    </a:moveTo>
                    <a:lnTo>
                      <a:pt x="1688" y="1132"/>
                    </a:lnTo>
                    <a:lnTo>
                      <a:pt x="1688" y="1134"/>
                    </a:lnTo>
                    <a:lnTo>
                      <a:pt x="1688" y="1134"/>
                    </a:lnTo>
                    <a:lnTo>
                      <a:pt x="1688" y="1134"/>
                    </a:lnTo>
                    <a:lnTo>
                      <a:pt x="1688" y="1132"/>
                    </a:lnTo>
                    <a:lnTo>
                      <a:pt x="1688" y="1132"/>
                    </a:lnTo>
                    <a:lnTo>
                      <a:pt x="1688" y="1132"/>
                    </a:lnTo>
                    <a:close/>
                    <a:moveTo>
                      <a:pt x="5857" y="1127"/>
                    </a:moveTo>
                    <a:lnTo>
                      <a:pt x="5855" y="1127"/>
                    </a:lnTo>
                    <a:lnTo>
                      <a:pt x="5855" y="1129"/>
                    </a:lnTo>
                    <a:lnTo>
                      <a:pt x="5855" y="1184"/>
                    </a:lnTo>
                    <a:lnTo>
                      <a:pt x="5857" y="1184"/>
                    </a:lnTo>
                    <a:lnTo>
                      <a:pt x="5857" y="1181"/>
                    </a:lnTo>
                    <a:lnTo>
                      <a:pt x="5857" y="1181"/>
                    </a:lnTo>
                    <a:lnTo>
                      <a:pt x="5857" y="1127"/>
                    </a:lnTo>
                    <a:close/>
                    <a:moveTo>
                      <a:pt x="6323" y="1127"/>
                    </a:moveTo>
                    <a:lnTo>
                      <a:pt x="6323" y="1127"/>
                    </a:lnTo>
                    <a:lnTo>
                      <a:pt x="6320" y="1127"/>
                    </a:lnTo>
                    <a:lnTo>
                      <a:pt x="6320" y="1129"/>
                    </a:lnTo>
                    <a:lnTo>
                      <a:pt x="6320" y="1179"/>
                    </a:lnTo>
                    <a:lnTo>
                      <a:pt x="6323" y="1179"/>
                    </a:lnTo>
                    <a:lnTo>
                      <a:pt x="6323" y="1127"/>
                    </a:lnTo>
                    <a:close/>
                    <a:moveTo>
                      <a:pt x="1447" y="1125"/>
                    </a:moveTo>
                    <a:lnTo>
                      <a:pt x="1445" y="1125"/>
                    </a:lnTo>
                    <a:lnTo>
                      <a:pt x="1445" y="1125"/>
                    </a:lnTo>
                    <a:lnTo>
                      <a:pt x="1445" y="1127"/>
                    </a:lnTo>
                    <a:lnTo>
                      <a:pt x="1445" y="1170"/>
                    </a:lnTo>
                    <a:lnTo>
                      <a:pt x="1447" y="1170"/>
                    </a:lnTo>
                    <a:lnTo>
                      <a:pt x="1447" y="1125"/>
                    </a:lnTo>
                    <a:close/>
                    <a:moveTo>
                      <a:pt x="1464" y="1084"/>
                    </a:moveTo>
                    <a:lnTo>
                      <a:pt x="1464" y="1084"/>
                    </a:lnTo>
                    <a:lnTo>
                      <a:pt x="1464" y="1084"/>
                    </a:lnTo>
                    <a:lnTo>
                      <a:pt x="1464" y="1108"/>
                    </a:lnTo>
                    <a:lnTo>
                      <a:pt x="1464" y="1108"/>
                    </a:lnTo>
                    <a:lnTo>
                      <a:pt x="1464" y="1106"/>
                    </a:lnTo>
                    <a:lnTo>
                      <a:pt x="1464" y="1106"/>
                    </a:lnTo>
                    <a:lnTo>
                      <a:pt x="1464" y="1084"/>
                    </a:lnTo>
                    <a:close/>
                    <a:moveTo>
                      <a:pt x="2861" y="1063"/>
                    </a:moveTo>
                    <a:lnTo>
                      <a:pt x="2859" y="1063"/>
                    </a:lnTo>
                    <a:lnTo>
                      <a:pt x="2859" y="1063"/>
                    </a:lnTo>
                    <a:lnTo>
                      <a:pt x="2859" y="1063"/>
                    </a:lnTo>
                    <a:lnTo>
                      <a:pt x="2859" y="1210"/>
                    </a:lnTo>
                    <a:lnTo>
                      <a:pt x="2861" y="1210"/>
                    </a:lnTo>
                    <a:lnTo>
                      <a:pt x="2861" y="1063"/>
                    </a:lnTo>
                    <a:close/>
                    <a:moveTo>
                      <a:pt x="5933" y="1042"/>
                    </a:moveTo>
                    <a:lnTo>
                      <a:pt x="5930" y="1042"/>
                    </a:lnTo>
                    <a:lnTo>
                      <a:pt x="5930" y="1042"/>
                    </a:lnTo>
                    <a:lnTo>
                      <a:pt x="5930" y="1042"/>
                    </a:lnTo>
                    <a:lnTo>
                      <a:pt x="5930" y="1099"/>
                    </a:lnTo>
                    <a:lnTo>
                      <a:pt x="5933" y="1099"/>
                    </a:lnTo>
                    <a:lnTo>
                      <a:pt x="5933" y="1042"/>
                    </a:lnTo>
                    <a:close/>
                    <a:moveTo>
                      <a:pt x="2878" y="1011"/>
                    </a:moveTo>
                    <a:lnTo>
                      <a:pt x="2875" y="1013"/>
                    </a:lnTo>
                    <a:lnTo>
                      <a:pt x="2875" y="1013"/>
                    </a:lnTo>
                    <a:lnTo>
                      <a:pt x="2875" y="1047"/>
                    </a:lnTo>
                    <a:lnTo>
                      <a:pt x="2878" y="1047"/>
                    </a:lnTo>
                    <a:lnTo>
                      <a:pt x="2878" y="1044"/>
                    </a:lnTo>
                    <a:lnTo>
                      <a:pt x="2878" y="1044"/>
                    </a:lnTo>
                    <a:lnTo>
                      <a:pt x="2878" y="1011"/>
                    </a:lnTo>
                    <a:close/>
                    <a:moveTo>
                      <a:pt x="3771" y="992"/>
                    </a:moveTo>
                    <a:lnTo>
                      <a:pt x="3769" y="992"/>
                    </a:lnTo>
                    <a:lnTo>
                      <a:pt x="3769" y="994"/>
                    </a:lnTo>
                    <a:lnTo>
                      <a:pt x="3769" y="1193"/>
                    </a:lnTo>
                    <a:lnTo>
                      <a:pt x="3771" y="1193"/>
                    </a:lnTo>
                    <a:lnTo>
                      <a:pt x="3771" y="992"/>
                    </a:lnTo>
                    <a:close/>
                    <a:moveTo>
                      <a:pt x="5949" y="990"/>
                    </a:moveTo>
                    <a:lnTo>
                      <a:pt x="5947" y="990"/>
                    </a:lnTo>
                    <a:lnTo>
                      <a:pt x="5947" y="992"/>
                    </a:lnTo>
                    <a:lnTo>
                      <a:pt x="5947" y="1025"/>
                    </a:lnTo>
                    <a:lnTo>
                      <a:pt x="5949" y="1025"/>
                    </a:lnTo>
                    <a:lnTo>
                      <a:pt x="5949" y="1023"/>
                    </a:lnTo>
                    <a:lnTo>
                      <a:pt x="5949" y="1023"/>
                    </a:lnTo>
                    <a:lnTo>
                      <a:pt x="5949" y="990"/>
                    </a:lnTo>
                    <a:close/>
                    <a:moveTo>
                      <a:pt x="6342" y="935"/>
                    </a:moveTo>
                    <a:lnTo>
                      <a:pt x="6339" y="935"/>
                    </a:lnTo>
                    <a:lnTo>
                      <a:pt x="6339" y="935"/>
                    </a:lnTo>
                    <a:lnTo>
                      <a:pt x="6339" y="938"/>
                    </a:lnTo>
                    <a:lnTo>
                      <a:pt x="6339" y="1110"/>
                    </a:lnTo>
                    <a:lnTo>
                      <a:pt x="6339" y="1110"/>
                    </a:lnTo>
                    <a:lnTo>
                      <a:pt x="6339" y="1108"/>
                    </a:lnTo>
                    <a:lnTo>
                      <a:pt x="6342" y="1108"/>
                    </a:lnTo>
                    <a:lnTo>
                      <a:pt x="6342" y="935"/>
                    </a:lnTo>
                    <a:close/>
                    <a:moveTo>
                      <a:pt x="3847" y="928"/>
                    </a:moveTo>
                    <a:lnTo>
                      <a:pt x="3845" y="928"/>
                    </a:lnTo>
                    <a:lnTo>
                      <a:pt x="3845" y="931"/>
                    </a:lnTo>
                    <a:lnTo>
                      <a:pt x="3845" y="964"/>
                    </a:lnTo>
                    <a:lnTo>
                      <a:pt x="3847" y="964"/>
                    </a:lnTo>
                    <a:lnTo>
                      <a:pt x="3847" y="928"/>
                    </a:lnTo>
                    <a:close/>
                    <a:moveTo>
                      <a:pt x="6384" y="895"/>
                    </a:moveTo>
                    <a:lnTo>
                      <a:pt x="6384" y="895"/>
                    </a:lnTo>
                    <a:lnTo>
                      <a:pt x="6384" y="895"/>
                    </a:lnTo>
                    <a:lnTo>
                      <a:pt x="6384" y="897"/>
                    </a:lnTo>
                    <a:lnTo>
                      <a:pt x="6382" y="904"/>
                    </a:lnTo>
                    <a:lnTo>
                      <a:pt x="6382" y="904"/>
                    </a:lnTo>
                    <a:lnTo>
                      <a:pt x="6384" y="895"/>
                    </a:lnTo>
                    <a:close/>
                    <a:moveTo>
                      <a:pt x="6391" y="878"/>
                    </a:moveTo>
                    <a:lnTo>
                      <a:pt x="6389" y="878"/>
                    </a:lnTo>
                    <a:lnTo>
                      <a:pt x="6389" y="878"/>
                    </a:lnTo>
                    <a:lnTo>
                      <a:pt x="6389" y="881"/>
                    </a:lnTo>
                    <a:lnTo>
                      <a:pt x="6389" y="890"/>
                    </a:lnTo>
                    <a:lnTo>
                      <a:pt x="6389" y="890"/>
                    </a:lnTo>
                    <a:lnTo>
                      <a:pt x="6389" y="888"/>
                    </a:lnTo>
                    <a:lnTo>
                      <a:pt x="6391" y="888"/>
                    </a:lnTo>
                    <a:lnTo>
                      <a:pt x="6391" y="878"/>
                    </a:lnTo>
                    <a:close/>
                    <a:moveTo>
                      <a:pt x="6398" y="850"/>
                    </a:moveTo>
                    <a:lnTo>
                      <a:pt x="6396" y="850"/>
                    </a:lnTo>
                    <a:lnTo>
                      <a:pt x="6396" y="852"/>
                    </a:lnTo>
                    <a:lnTo>
                      <a:pt x="6396" y="871"/>
                    </a:lnTo>
                    <a:lnTo>
                      <a:pt x="6398" y="871"/>
                    </a:lnTo>
                    <a:lnTo>
                      <a:pt x="6398" y="869"/>
                    </a:lnTo>
                    <a:lnTo>
                      <a:pt x="6398" y="869"/>
                    </a:lnTo>
                    <a:lnTo>
                      <a:pt x="6398" y="850"/>
                    </a:lnTo>
                    <a:close/>
                    <a:moveTo>
                      <a:pt x="806" y="826"/>
                    </a:moveTo>
                    <a:lnTo>
                      <a:pt x="804" y="826"/>
                    </a:lnTo>
                    <a:lnTo>
                      <a:pt x="804" y="829"/>
                    </a:lnTo>
                    <a:lnTo>
                      <a:pt x="804" y="1039"/>
                    </a:lnTo>
                    <a:lnTo>
                      <a:pt x="806" y="1039"/>
                    </a:lnTo>
                    <a:lnTo>
                      <a:pt x="806" y="826"/>
                    </a:lnTo>
                    <a:close/>
                    <a:moveTo>
                      <a:pt x="3100" y="762"/>
                    </a:moveTo>
                    <a:lnTo>
                      <a:pt x="3100" y="762"/>
                    </a:lnTo>
                    <a:lnTo>
                      <a:pt x="3100" y="762"/>
                    </a:lnTo>
                    <a:lnTo>
                      <a:pt x="3100" y="765"/>
                    </a:lnTo>
                    <a:lnTo>
                      <a:pt x="3100" y="949"/>
                    </a:lnTo>
                    <a:lnTo>
                      <a:pt x="3100" y="949"/>
                    </a:lnTo>
                    <a:lnTo>
                      <a:pt x="3100" y="762"/>
                    </a:lnTo>
                    <a:close/>
                    <a:moveTo>
                      <a:pt x="1010" y="753"/>
                    </a:moveTo>
                    <a:lnTo>
                      <a:pt x="1007" y="753"/>
                    </a:lnTo>
                    <a:lnTo>
                      <a:pt x="1007" y="755"/>
                    </a:lnTo>
                    <a:lnTo>
                      <a:pt x="1007" y="798"/>
                    </a:lnTo>
                    <a:lnTo>
                      <a:pt x="1010" y="798"/>
                    </a:lnTo>
                    <a:lnTo>
                      <a:pt x="1010" y="753"/>
                    </a:lnTo>
                    <a:close/>
                    <a:moveTo>
                      <a:pt x="5133" y="732"/>
                    </a:moveTo>
                    <a:lnTo>
                      <a:pt x="5131" y="732"/>
                    </a:lnTo>
                    <a:lnTo>
                      <a:pt x="5131" y="734"/>
                    </a:lnTo>
                    <a:lnTo>
                      <a:pt x="5131" y="942"/>
                    </a:lnTo>
                    <a:lnTo>
                      <a:pt x="5133" y="942"/>
                    </a:lnTo>
                    <a:lnTo>
                      <a:pt x="5133" y="732"/>
                    </a:lnTo>
                    <a:close/>
                    <a:moveTo>
                      <a:pt x="3140" y="656"/>
                    </a:moveTo>
                    <a:lnTo>
                      <a:pt x="3138" y="656"/>
                    </a:lnTo>
                    <a:lnTo>
                      <a:pt x="3138" y="658"/>
                    </a:lnTo>
                    <a:lnTo>
                      <a:pt x="3138" y="732"/>
                    </a:lnTo>
                    <a:lnTo>
                      <a:pt x="3140" y="732"/>
                    </a:lnTo>
                    <a:lnTo>
                      <a:pt x="3140" y="656"/>
                    </a:lnTo>
                    <a:close/>
                    <a:moveTo>
                      <a:pt x="97" y="616"/>
                    </a:moveTo>
                    <a:lnTo>
                      <a:pt x="95" y="616"/>
                    </a:lnTo>
                    <a:lnTo>
                      <a:pt x="95" y="618"/>
                    </a:lnTo>
                    <a:lnTo>
                      <a:pt x="95" y="1423"/>
                    </a:lnTo>
                    <a:lnTo>
                      <a:pt x="97" y="1423"/>
                    </a:lnTo>
                    <a:lnTo>
                      <a:pt x="97" y="616"/>
                    </a:lnTo>
                    <a:close/>
                    <a:moveTo>
                      <a:pt x="5254" y="609"/>
                    </a:moveTo>
                    <a:lnTo>
                      <a:pt x="5252" y="609"/>
                    </a:lnTo>
                    <a:lnTo>
                      <a:pt x="5252" y="611"/>
                    </a:lnTo>
                    <a:lnTo>
                      <a:pt x="5252" y="701"/>
                    </a:lnTo>
                    <a:lnTo>
                      <a:pt x="5254" y="701"/>
                    </a:lnTo>
                    <a:lnTo>
                      <a:pt x="5254" y="609"/>
                    </a:lnTo>
                    <a:close/>
                    <a:moveTo>
                      <a:pt x="3284" y="582"/>
                    </a:moveTo>
                    <a:lnTo>
                      <a:pt x="3282" y="582"/>
                    </a:lnTo>
                    <a:lnTo>
                      <a:pt x="3282" y="582"/>
                    </a:lnTo>
                    <a:lnTo>
                      <a:pt x="3282" y="582"/>
                    </a:lnTo>
                    <a:lnTo>
                      <a:pt x="3282" y="627"/>
                    </a:lnTo>
                    <a:lnTo>
                      <a:pt x="3284" y="627"/>
                    </a:lnTo>
                    <a:lnTo>
                      <a:pt x="3284" y="582"/>
                    </a:lnTo>
                    <a:close/>
                    <a:moveTo>
                      <a:pt x="303" y="547"/>
                    </a:moveTo>
                    <a:lnTo>
                      <a:pt x="300" y="547"/>
                    </a:lnTo>
                    <a:lnTo>
                      <a:pt x="300" y="549"/>
                    </a:lnTo>
                    <a:lnTo>
                      <a:pt x="300" y="587"/>
                    </a:lnTo>
                    <a:lnTo>
                      <a:pt x="303" y="587"/>
                    </a:lnTo>
                    <a:lnTo>
                      <a:pt x="303" y="547"/>
                    </a:lnTo>
                    <a:close/>
                    <a:moveTo>
                      <a:pt x="7027" y="509"/>
                    </a:moveTo>
                    <a:lnTo>
                      <a:pt x="7025" y="509"/>
                    </a:lnTo>
                    <a:lnTo>
                      <a:pt x="7025" y="511"/>
                    </a:lnTo>
                    <a:lnTo>
                      <a:pt x="7025" y="1662"/>
                    </a:lnTo>
                    <a:lnTo>
                      <a:pt x="7027" y="1662"/>
                    </a:lnTo>
                    <a:lnTo>
                      <a:pt x="7027" y="509"/>
                    </a:lnTo>
                    <a:close/>
                    <a:moveTo>
                      <a:pt x="4195" y="502"/>
                    </a:moveTo>
                    <a:lnTo>
                      <a:pt x="4195" y="502"/>
                    </a:lnTo>
                    <a:lnTo>
                      <a:pt x="4192" y="504"/>
                    </a:lnTo>
                    <a:lnTo>
                      <a:pt x="4147" y="566"/>
                    </a:lnTo>
                    <a:lnTo>
                      <a:pt x="4147" y="566"/>
                    </a:lnTo>
                    <a:lnTo>
                      <a:pt x="4195" y="502"/>
                    </a:lnTo>
                    <a:close/>
                    <a:moveTo>
                      <a:pt x="3301" y="500"/>
                    </a:moveTo>
                    <a:lnTo>
                      <a:pt x="3301" y="500"/>
                    </a:lnTo>
                    <a:lnTo>
                      <a:pt x="3299" y="500"/>
                    </a:lnTo>
                    <a:lnTo>
                      <a:pt x="3299" y="502"/>
                    </a:lnTo>
                    <a:lnTo>
                      <a:pt x="3299" y="566"/>
                    </a:lnTo>
                    <a:lnTo>
                      <a:pt x="3301" y="566"/>
                    </a:lnTo>
                    <a:lnTo>
                      <a:pt x="3301" y="564"/>
                    </a:lnTo>
                    <a:lnTo>
                      <a:pt x="3301" y="564"/>
                    </a:lnTo>
                    <a:lnTo>
                      <a:pt x="3301" y="500"/>
                    </a:lnTo>
                    <a:close/>
                    <a:moveTo>
                      <a:pt x="4036" y="455"/>
                    </a:moveTo>
                    <a:lnTo>
                      <a:pt x="4036" y="455"/>
                    </a:lnTo>
                    <a:lnTo>
                      <a:pt x="4036" y="455"/>
                    </a:lnTo>
                    <a:lnTo>
                      <a:pt x="4036" y="455"/>
                    </a:lnTo>
                    <a:lnTo>
                      <a:pt x="4036" y="490"/>
                    </a:lnTo>
                    <a:lnTo>
                      <a:pt x="3954" y="644"/>
                    </a:lnTo>
                    <a:lnTo>
                      <a:pt x="3954" y="897"/>
                    </a:lnTo>
                    <a:lnTo>
                      <a:pt x="3956" y="897"/>
                    </a:lnTo>
                    <a:lnTo>
                      <a:pt x="3956" y="642"/>
                    </a:lnTo>
                    <a:lnTo>
                      <a:pt x="4036" y="488"/>
                    </a:lnTo>
                    <a:lnTo>
                      <a:pt x="4036" y="455"/>
                    </a:lnTo>
                    <a:close/>
                    <a:moveTo>
                      <a:pt x="3329" y="433"/>
                    </a:moveTo>
                    <a:lnTo>
                      <a:pt x="3327" y="433"/>
                    </a:lnTo>
                    <a:lnTo>
                      <a:pt x="3327" y="436"/>
                    </a:lnTo>
                    <a:lnTo>
                      <a:pt x="3327" y="474"/>
                    </a:lnTo>
                    <a:lnTo>
                      <a:pt x="3329" y="474"/>
                    </a:lnTo>
                    <a:lnTo>
                      <a:pt x="3329" y="471"/>
                    </a:lnTo>
                    <a:lnTo>
                      <a:pt x="3329" y="471"/>
                    </a:lnTo>
                    <a:lnTo>
                      <a:pt x="3329" y="433"/>
                    </a:lnTo>
                    <a:close/>
                    <a:moveTo>
                      <a:pt x="4043" y="391"/>
                    </a:moveTo>
                    <a:lnTo>
                      <a:pt x="4041" y="391"/>
                    </a:lnTo>
                    <a:lnTo>
                      <a:pt x="4041" y="391"/>
                    </a:lnTo>
                    <a:lnTo>
                      <a:pt x="4041" y="393"/>
                    </a:lnTo>
                    <a:lnTo>
                      <a:pt x="4041" y="448"/>
                    </a:lnTo>
                    <a:lnTo>
                      <a:pt x="4043" y="448"/>
                    </a:lnTo>
                    <a:lnTo>
                      <a:pt x="4043" y="448"/>
                    </a:lnTo>
                    <a:lnTo>
                      <a:pt x="4043" y="448"/>
                    </a:lnTo>
                    <a:lnTo>
                      <a:pt x="4043" y="391"/>
                    </a:lnTo>
                    <a:close/>
                    <a:moveTo>
                      <a:pt x="1811" y="367"/>
                    </a:moveTo>
                    <a:lnTo>
                      <a:pt x="1809" y="367"/>
                    </a:lnTo>
                    <a:lnTo>
                      <a:pt x="1809" y="369"/>
                    </a:lnTo>
                    <a:lnTo>
                      <a:pt x="1809" y="1101"/>
                    </a:lnTo>
                    <a:lnTo>
                      <a:pt x="1811" y="1101"/>
                    </a:lnTo>
                    <a:lnTo>
                      <a:pt x="1811" y="367"/>
                    </a:lnTo>
                    <a:close/>
                    <a:moveTo>
                      <a:pt x="1939" y="334"/>
                    </a:moveTo>
                    <a:lnTo>
                      <a:pt x="1937" y="334"/>
                    </a:lnTo>
                    <a:lnTo>
                      <a:pt x="1937" y="336"/>
                    </a:lnTo>
                    <a:lnTo>
                      <a:pt x="1937" y="339"/>
                    </a:lnTo>
                    <a:lnTo>
                      <a:pt x="1939" y="339"/>
                    </a:lnTo>
                    <a:lnTo>
                      <a:pt x="1939" y="334"/>
                    </a:lnTo>
                    <a:close/>
                    <a:moveTo>
                      <a:pt x="4051" y="327"/>
                    </a:moveTo>
                    <a:lnTo>
                      <a:pt x="4048" y="327"/>
                    </a:lnTo>
                    <a:lnTo>
                      <a:pt x="4048" y="329"/>
                    </a:lnTo>
                    <a:lnTo>
                      <a:pt x="4048" y="384"/>
                    </a:lnTo>
                    <a:lnTo>
                      <a:pt x="4051" y="384"/>
                    </a:lnTo>
                    <a:lnTo>
                      <a:pt x="4051" y="381"/>
                    </a:lnTo>
                    <a:lnTo>
                      <a:pt x="4051" y="381"/>
                    </a:lnTo>
                    <a:lnTo>
                      <a:pt x="4051" y="327"/>
                    </a:lnTo>
                    <a:close/>
                    <a:moveTo>
                      <a:pt x="2029" y="294"/>
                    </a:moveTo>
                    <a:lnTo>
                      <a:pt x="2026" y="294"/>
                    </a:lnTo>
                    <a:lnTo>
                      <a:pt x="2026" y="296"/>
                    </a:lnTo>
                    <a:lnTo>
                      <a:pt x="2026" y="303"/>
                    </a:lnTo>
                    <a:lnTo>
                      <a:pt x="2029" y="303"/>
                    </a:lnTo>
                    <a:lnTo>
                      <a:pt x="2029" y="294"/>
                    </a:lnTo>
                    <a:close/>
                    <a:moveTo>
                      <a:pt x="4703" y="232"/>
                    </a:moveTo>
                    <a:lnTo>
                      <a:pt x="4703" y="232"/>
                    </a:lnTo>
                    <a:lnTo>
                      <a:pt x="4703" y="234"/>
                    </a:lnTo>
                    <a:lnTo>
                      <a:pt x="4642" y="459"/>
                    </a:lnTo>
                    <a:lnTo>
                      <a:pt x="4642" y="459"/>
                    </a:lnTo>
                    <a:lnTo>
                      <a:pt x="4703" y="232"/>
                    </a:lnTo>
                    <a:close/>
                    <a:moveTo>
                      <a:pt x="4805" y="173"/>
                    </a:moveTo>
                    <a:lnTo>
                      <a:pt x="4802" y="173"/>
                    </a:lnTo>
                    <a:lnTo>
                      <a:pt x="4802" y="173"/>
                    </a:lnTo>
                    <a:lnTo>
                      <a:pt x="4802" y="173"/>
                    </a:lnTo>
                    <a:lnTo>
                      <a:pt x="4802" y="201"/>
                    </a:lnTo>
                    <a:lnTo>
                      <a:pt x="4805" y="201"/>
                    </a:lnTo>
                    <a:lnTo>
                      <a:pt x="4805" y="173"/>
                    </a:lnTo>
                    <a:close/>
                    <a:moveTo>
                      <a:pt x="4854" y="0"/>
                    </a:moveTo>
                    <a:lnTo>
                      <a:pt x="4852" y="0"/>
                    </a:lnTo>
                    <a:lnTo>
                      <a:pt x="4852" y="2"/>
                    </a:lnTo>
                    <a:lnTo>
                      <a:pt x="4852" y="142"/>
                    </a:lnTo>
                    <a:lnTo>
                      <a:pt x="4854" y="142"/>
                    </a:lnTo>
                    <a:lnTo>
                      <a:pt x="4854" y="0"/>
                    </a:lnTo>
                    <a:close/>
                    <a:moveTo>
                      <a:pt x="4911" y="0"/>
                    </a:moveTo>
                    <a:lnTo>
                      <a:pt x="4909" y="0"/>
                    </a:lnTo>
                    <a:lnTo>
                      <a:pt x="4909" y="2"/>
                    </a:lnTo>
                    <a:lnTo>
                      <a:pt x="4909" y="142"/>
                    </a:lnTo>
                    <a:lnTo>
                      <a:pt x="4911" y="142"/>
                    </a:lnTo>
                    <a:lnTo>
                      <a:pt x="4911" y="0"/>
                    </a:lnTo>
                    <a:close/>
                  </a:path>
                </a:pathLst>
              </a:custGeom>
              <a:solidFill>
                <a:srgbClr val="CECD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1" name="Freeform 113"/>
              <p:cNvSpPr>
                <a:spLocks noEditPoints="1"/>
              </p:cNvSpPr>
              <p:nvPr/>
            </p:nvSpPr>
            <p:spPr bwMode="auto">
              <a:xfrm>
                <a:off x="16" y="1691"/>
                <a:ext cx="7027" cy="1662"/>
              </a:xfrm>
              <a:custGeom>
                <a:avLst/>
                <a:gdLst>
                  <a:gd name="T0" fmla="*/ 2 w 7027"/>
                  <a:gd name="T1" fmla="*/ 1503 h 1662"/>
                  <a:gd name="T2" fmla="*/ 5665 w 7027"/>
                  <a:gd name="T3" fmla="*/ 1418 h 1662"/>
                  <a:gd name="T4" fmla="*/ 3710 w 7027"/>
                  <a:gd name="T5" fmla="*/ 1222 h 1662"/>
                  <a:gd name="T6" fmla="*/ 5831 w 7027"/>
                  <a:gd name="T7" fmla="*/ 1208 h 1662"/>
                  <a:gd name="T8" fmla="*/ 5831 w 7027"/>
                  <a:gd name="T9" fmla="*/ 1295 h 1662"/>
                  <a:gd name="T10" fmla="*/ 1665 w 7027"/>
                  <a:gd name="T11" fmla="*/ 1158 h 1662"/>
                  <a:gd name="T12" fmla="*/ 1688 w 7027"/>
                  <a:gd name="T13" fmla="*/ 1132 h 1662"/>
                  <a:gd name="T14" fmla="*/ 1688 w 7027"/>
                  <a:gd name="T15" fmla="*/ 1132 h 1662"/>
                  <a:gd name="T16" fmla="*/ 5855 w 7027"/>
                  <a:gd name="T17" fmla="*/ 1184 h 1662"/>
                  <a:gd name="T18" fmla="*/ 6323 w 7027"/>
                  <a:gd name="T19" fmla="*/ 1127 h 1662"/>
                  <a:gd name="T20" fmla="*/ 6323 w 7027"/>
                  <a:gd name="T21" fmla="*/ 1179 h 1662"/>
                  <a:gd name="T22" fmla="*/ 1445 w 7027"/>
                  <a:gd name="T23" fmla="*/ 1127 h 1662"/>
                  <a:gd name="T24" fmla="*/ 1464 w 7027"/>
                  <a:gd name="T25" fmla="*/ 1084 h 1662"/>
                  <a:gd name="T26" fmla="*/ 1464 w 7027"/>
                  <a:gd name="T27" fmla="*/ 1106 h 1662"/>
                  <a:gd name="T28" fmla="*/ 2859 w 7027"/>
                  <a:gd name="T29" fmla="*/ 1063 h 1662"/>
                  <a:gd name="T30" fmla="*/ 5930 w 7027"/>
                  <a:gd name="T31" fmla="*/ 1042 h 1662"/>
                  <a:gd name="T32" fmla="*/ 5933 w 7027"/>
                  <a:gd name="T33" fmla="*/ 1042 h 1662"/>
                  <a:gd name="T34" fmla="*/ 2878 w 7027"/>
                  <a:gd name="T35" fmla="*/ 1047 h 1662"/>
                  <a:gd name="T36" fmla="*/ 3769 w 7027"/>
                  <a:gd name="T37" fmla="*/ 992 h 1662"/>
                  <a:gd name="T38" fmla="*/ 5949 w 7027"/>
                  <a:gd name="T39" fmla="*/ 990 h 1662"/>
                  <a:gd name="T40" fmla="*/ 5949 w 7027"/>
                  <a:gd name="T41" fmla="*/ 1023 h 1662"/>
                  <a:gd name="T42" fmla="*/ 6339 w 7027"/>
                  <a:gd name="T43" fmla="*/ 935 h 1662"/>
                  <a:gd name="T44" fmla="*/ 6342 w 7027"/>
                  <a:gd name="T45" fmla="*/ 1108 h 1662"/>
                  <a:gd name="T46" fmla="*/ 3845 w 7027"/>
                  <a:gd name="T47" fmla="*/ 964 h 1662"/>
                  <a:gd name="T48" fmla="*/ 6384 w 7027"/>
                  <a:gd name="T49" fmla="*/ 895 h 1662"/>
                  <a:gd name="T50" fmla="*/ 6391 w 7027"/>
                  <a:gd name="T51" fmla="*/ 878 h 1662"/>
                  <a:gd name="T52" fmla="*/ 6389 w 7027"/>
                  <a:gd name="T53" fmla="*/ 890 h 1662"/>
                  <a:gd name="T54" fmla="*/ 6396 w 7027"/>
                  <a:gd name="T55" fmla="*/ 850 h 1662"/>
                  <a:gd name="T56" fmla="*/ 6398 w 7027"/>
                  <a:gd name="T57" fmla="*/ 869 h 1662"/>
                  <a:gd name="T58" fmla="*/ 804 w 7027"/>
                  <a:gd name="T59" fmla="*/ 1039 h 1662"/>
                  <a:gd name="T60" fmla="*/ 3100 w 7027"/>
                  <a:gd name="T61" fmla="*/ 762 h 1662"/>
                  <a:gd name="T62" fmla="*/ 1010 w 7027"/>
                  <a:gd name="T63" fmla="*/ 753 h 1662"/>
                  <a:gd name="T64" fmla="*/ 1010 w 7027"/>
                  <a:gd name="T65" fmla="*/ 753 h 1662"/>
                  <a:gd name="T66" fmla="*/ 5133 w 7027"/>
                  <a:gd name="T67" fmla="*/ 942 h 1662"/>
                  <a:gd name="T68" fmla="*/ 3138 w 7027"/>
                  <a:gd name="T69" fmla="*/ 732 h 1662"/>
                  <a:gd name="T70" fmla="*/ 95 w 7027"/>
                  <a:gd name="T71" fmla="*/ 618 h 1662"/>
                  <a:gd name="T72" fmla="*/ 5252 w 7027"/>
                  <a:gd name="T73" fmla="*/ 609 h 1662"/>
                  <a:gd name="T74" fmla="*/ 3284 w 7027"/>
                  <a:gd name="T75" fmla="*/ 582 h 1662"/>
                  <a:gd name="T76" fmla="*/ 3284 w 7027"/>
                  <a:gd name="T77" fmla="*/ 627 h 1662"/>
                  <a:gd name="T78" fmla="*/ 300 w 7027"/>
                  <a:gd name="T79" fmla="*/ 587 h 1662"/>
                  <a:gd name="T80" fmla="*/ 7025 w 7027"/>
                  <a:gd name="T81" fmla="*/ 511 h 1662"/>
                  <a:gd name="T82" fmla="*/ 4195 w 7027"/>
                  <a:gd name="T83" fmla="*/ 502 h 1662"/>
                  <a:gd name="T84" fmla="*/ 3301 w 7027"/>
                  <a:gd name="T85" fmla="*/ 500 h 1662"/>
                  <a:gd name="T86" fmla="*/ 3301 w 7027"/>
                  <a:gd name="T87" fmla="*/ 566 h 1662"/>
                  <a:gd name="T88" fmla="*/ 4036 w 7027"/>
                  <a:gd name="T89" fmla="*/ 455 h 1662"/>
                  <a:gd name="T90" fmla="*/ 3954 w 7027"/>
                  <a:gd name="T91" fmla="*/ 897 h 1662"/>
                  <a:gd name="T92" fmla="*/ 3329 w 7027"/>
                  <a:gd name="T93" fmla="*/ 433 h 1662"/>
                  <a:gd name="T94" fmla="*/ 3329 w 7027"/>
                  <a:gd name="T95" fmla="*/ 471 h 1662"/>
                  <a:gd name="T96" fmla="*/ 4041 w 7027"/>
                  <a:gd name="T97" fmla="*/ 391 h 1662"/>
                  <a:gd name="T98" fmla="*/ 4043 w 7027"/>
                  <a:gd name="T99" fmla="*/ 448 h 1662"/>
                  <a:gd name="T100" fmla="*/ 1809 w 7027"/>
                  <a:gd name="T101" fmla="*/ 1101 h 1662"/>
                  <a:gd name="T102" fmla="*/ 1937 w 7027"/>
                  <a:gd name="T103" fmla="*/ 336 h 1662"/>
                  <a:gd name="T104" fmla="*/ 4048 w 7027"/>
                  <a:gd name="T105" fmla="*/ 327 h 1662"/>
                  <a:gd name="T106" fmla="*/ 4051 w 7027"/>
                  <a:gd name="T107" fmla="*/ 381 h 1662"/>
                  <a:gd name="T108" fmla="*/ 2026 w 7027"/>
                  <a:gd name="T109" fmla="*/ 303 h 1662"/>
                  <a:gd name="T110" fmla="*/ 4703 w 7027"/>
                  <a:gd name="T111" fmla="*/ 234 h 1662"/>
                  <a:gd name="T112" fmla="*/ 4802 w 7027"/>
                  <a:gd name="T113" fmla="*/ 173 h 1662"/>
                  <a:gd name="T114" fmla="*/ 4805 w 7027"/>
                  <a:gd name="T115" fmla="*/ 173 h 1662"/>
                  <a:gd name="T116" fmla="*/ 4854 w 7027"/>
                  <a:gd name="T117" fmla="*/ 142 h 1662"/>
                  <a:gd name="T118" fmla="*/ 4909 w 7027"/>
                  <a:gd name="T119" fmla="*/ 142 h 1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7" h="1662">
                    <a:moveTo>
                      <a:pt x="2" y="1454"/>
                    </a:moveTo>
                    <a:lnTo>
                      <a:pt x="0" y="1454"/>
                    </a:lnTo>
                    <a:lnTo>
                      <a:pt x="0" y="1454"/>
                    </a:lnTo>
                    <a:lnTo>
                      <a:pt x="0" y="1503"/>
                    </a:lnTo>
                    <a:lnTo>
                      <a:pt x="2" y="1503"/>
                    </a:lnTo>
                    <a:lnTo>
                      <a:pt x="2" y="1454"/>
                    </a:lnTo>
                    <a:moveTo>
                      <a:pt x="5665" y="1326"/>
                    </a:moveTo>
                    <a:lnTo>
                      <a:pt x="5665" y="1326"/>
                    </a:lnTo>
                    <a:lnTo>
                      <a:pt x="5665" y="1328"/>
                    </a:lnTo>
                    <a:lnTo>
                      <a:pt x="5665" y="1418"/>
                    </a:lnTo>
                    <a:lnTo>
                      <a:pt x="5665" y="1418"/>
                    </a:lnTo>
                    <a:lnTo>
                      <a:pt x="5665" y="1326"/>
                    </a:lnTo>
                    <a:moveTo>
                      <a:pt x="3712" y="1222"/>
                    </a:moveTo>
                    <a:lnTo>
                      <a:pt x="3710" y="1222"/>
                    </a:lnTo>
                    <a:lnTo>
                      <a:pt x="3710" y="1222"/>
                    </a:lnTo>
                    <a:lnTo>
                      <a:pt x="3710" y="1224"/>
                    </a:lnTo>
                    <a:lnTo>
                      <a:pt x="3710" y="1361"/>
                    </a:lnTo>
                    <a:lnTo>
                      <a:pt x="3712" y="1361"/>
                    </a:lnTo>
                    <a:lnTo>
                      <a:pt x="3712" y="1222"/>
                    </a:lnTo>
                    <a:moveTo>
                      <a:pt x="5831" y="1208"/>
                    </a:moveTo>
                    <a:lnTo>
                      <a:pt x="5831" y="1208"/>
                    </a:lnTo>
                    <a:lnTo>
                      <a:pt x="5831" y="1208"/>
                    </a:lnTo>
                    <a:lnTo>
                      <a:pt x="5831" y="1210"/>
                    </a:lnTo>
                    <a:lnTo>
                      <a:pt x="5831" y="1295"/>
                    </a:lnTo>
                    <a:lnTo>
                      <a:pt x="5831" y="1295"/>
                    </a:lnTo>
                    <a:lnTo>
                      <a:pt x="5831" y="1208"/>
                    </a:lnTo>
                    <a:moveTo>
                      <a:pt x="1667" y="1155"/>
                    </a:moveTo>
                    <a:lnTo>
                      <a:pt x="1665" y="1155"/>
                    </a:lnTo>
                    <a:lnTo>
                      <a:pt x="1665" y="1155"/>
                    </a:lnTo>
                    <a:lnTo>
                      <a:pt x="1665" y="1158"/>
                    </a:lnTo>
                    <a:lnTo>
                      <a:pt x="1665" y="1170"/>
                    </a:lnTo>
                    <a:lnTo>
                      <a:pt x="1667" y="1170"/>
                    </a:lnTo>
                    <a:lnTo>
                      <a:pt x="1667" y="1155"/>
                    </a:lnTo>
                    <a:moveTo>
                      <a:pt x="1688" y="1132"/>
                    </a:moveTo>
                    <a:lnTo>
                      <a:pt x="1688" y="1132"/>
                    </a:lnTo>
                    <a:lnTo>
                      <a:pt x="1688" y="1134"/>
                    </a:lnTo>
                    <a:lnTo>
                      <a:pt x="1688" y="1134"/>
                    </a:lnTo>
                    <a:lnTo>
                      <a:pt x="1688" y="1134"/>
                    </a:lnTo>
                    <a:lnTo>
                      <a:pt x="1688" y="1132"/>
                    </a:lnTo>
                    <a:lnTo>
                      <a:pt x="1688" y="1132"/>
                    </a:lnTo>
                    <a:lnTo>
                      <a:pt x="1688" y="1132"/>
                    </a:lnTo>
                    <a:moveTo>
                      <a:pt x="5857" y="1127"/>
                    </a:moveTo>
                    <a:lnTo>
                      <a:pt x="5855" y="1127"/>
                    </a:lnTo>
                    <a:lnTo>
                      <a:pt x="5855" y="1129"/>
                    </a:lnTo>
                    <a:lnTo>
                      <a:pt x="5855" y="1184"/>
                    </a:lnTo>
                    <a:lnTo>
                      <a:pt x="5857" y="1184"/>
                    </a:lnTo>
                    <a:lnTo>
                      <a:pt x="5857" y="1181"/>
                    </a:lnTo>
                    <a:lnTo>
                      <a:pt x="5857" y="1181"/>
                    </a:lnTo>
                    <a:lnTo>
                      <a:pt x="5857" y="1127"/>
                    </a:lnTo>
                    <a:moveTo>
                      <a:pt x="6323" y="1127"/>
                    </a:moveTo>
                    <a:lnTo>
                      <a:pt x="6323" y="1127"/>
                    </a:lnTo>
                    <a:lnTo>
                      <a:pt x="6320" y="1127"/>
                    </a:lnTo>
                    <a:lnTo>
                      <a:pt x="6320" y="1129"/>
                    </a:lnTo>
                    <a:lnTo>
                      <a:pt x="6320" y="1179"/>
                    </a:lnTo>
                    <a:lnTo>
                      <a:pt x="6323" y="1179"/>
                    </a:lnTo>
                    <a:lnTo>
                      <a:pt x="6323" y="1127"/>
                    </a:lnTo>
                    <a:moveTo>
                      <a:pt x="1447" y="1125"/>
                    </a:moveTo>
                    <a:lnTo>
                      <a:pt x="1445" y="1125"/>
                    </a:lnTo>
                    <a:lnTo>
                      <a:pt x="1445" y="1125"/>
                    </a:lnTo>
                    <a:lnTo>
                      <a:pt x="1445" y="1127"/>
                    </a:lnTo>
                    <a:lnTo>
                      <a:pt x="1445" y="1170"/>
                    </a:lnTo>
                    <a:lnTo>
                      <a:pt x="1447" y="1170"/>
                    </a:lnTo>
                    <a:lnTo>
                      <a:pt x="1447" y="1125"/>
                    </a:lnTo>
                    <a:moveTo>
                      <a:pt x="1464" y="1084"/>
                    </a:moveTo>
                    <a:lnTo>
                      <a:pt x="1464" y="1084"/>
                    </a:lnTo>
                    <a:lnTo>
                      <a:pt x="1464" y="1084"/>
                    </a:lnTo>
                    <a:lnTo>
                      <a:pt x="1464" y="1108"/>
                    </a:lnTo>
                    <a:lnTo>
                      <a:pt x="1464" y="1108"/>
                    </a:lnTo>
                    <a:lnTo>
                      <a:pt x="1464" y="1106"/>
                    </a:lnTo>
                    <a:lnTo>
                      <a:pt x="1464" y="1106"/>
                    </a:lnTo>
                    <a:lnTo>
                      <a:pt x="1464" y="1084"/>
                    </a:lnTo>
                    <a:moveTo>
                      <a:pt x="2861" y="1063"/>
                    </a:moveTo>
                    <a:lnTo>
                      <a:pt x="2859" y="1063"/>
                    </a:lnTo>
                    <a:lnTo>
                      <a:pt x="2859" y="1063"/>
                    </a:lnTo>
                    <a:lnTo>
                      <a:pt x="2859" y="1063"/>
                    </a:lnTo>
                    <a:lnTo>
                      <a:pt x="2859" y="1210"/>
                    </a:lnTo>
                    <a:lnTo>
                      <a:pt x="2861" y="1210"/>
                    </a:lnTo>
                    <a:lnTo>
                      <a:pt x="2861" y="1063"/>
                    </a:lnTo>
                    <a:moveTo>
                      <a:pt x="5933" y="1042"/>
                    </a:moveTo>
                    <a:lnTo>
                      <a:pt x="5930" y="1042"/>
                    </a:lnTo>
                    <a:lnTo>
                      <a:pt x="5930" y="1042"/>
                    </a:lnTo>
                    <a:lnTo>
                      <a:pt x="5930" y="1042"/>
                    </a:lnTo>
                    <a:lnTo>
                      <a:pt x="5930" y="1099"/>
                    </a:lnTo>
                    <a:lnTo>
                      <a:pt x="5933" y="1099"/>
                    </a:lnTo>
                    <a:lnTo>
                      <a:pt x="5933" y="1042"/>
                    </a:lnTo>
                    <a:moveTo>
                      <a:pt x="2878" y="1011"/>
                    </a:moveTo>
                    <a:lnTo>
                      <a:pt x="2875" y="1013"/>
                    </a:lnTo>
                    <a:lnTo>
                      <a:pt x="2875" y="1013"/>
                    </a:lnTo>
                    <a:lnTo>
                      <a:pt x="2875" y="1047"/>
                    </a:lnTo>
                    <a:lnTo>
                      <a:pt x="2878" y="1047"/>
                    </a:lnTo>
                    <a:lnTo>
                      <a:pt x="2878" y="1044"/>
                    </a:lnTo>
                    <a:lnTo>
                      <a:pt x="2878" y="1044"/>
                    </a:lnTo>
                    <a:lnTo>
                      <a:pt x="2878" y="1011"/>
                    </a:lnTo>
                    <a:moveTo>
                      <a:pt x="3771" y="992"/>
                    </a:moveTo>
                    <a:lnTo>
                      <a:pt x="3769" y="992"/>
                    </a:lnTo>
                    <a:lnTo>
                      <a:pt x="3769" y="994"/>
                    </a:lnTo>
                    <a:lnTo>
                      <a:pt x="3769" y="1193"/>
                    </a:lnTo>
                    <a:lnTo>
                      <a:pt x="3771" y="1193"/>
                    </a:lnTo>
                    <a:lnTo>
                      <a:pt x="3771" y="992"/>
                    </a:lnTo>
                    <a:moveTo>
                      <a:pt x="5949" y="990"/>
                    </a:moveTo>
                    <a:lnTo>
                      <a:pt x="5947" y="990"/>
                    </a:lnTo>
                    <a:lnTo>
                      <a:pt x="5947" y="992"/>
                    </a:lnTo>
                    <a:lnTo>
                      <a:pt x="5947" y="1025"/>
                    </a:lnTo>
                    <a:lnTo>
                      <a:pt x="5949" y="1025"/>
                    </a:lnTo>
                    <a:lnTo>
                      <a:pt x="5949" y="1023"/>
                    </a:lnTo>
                    <a:lnTo>
                      <a:pt x="5949" y="1023"/>
                    </a:lnTo>
                    <a:lnTo>
                      <a:pt x="5949" y="990"/>
                    </a:lnTo>
                    <a:moveTo>
                      <a:pt x="6342" y="935"/>
                    </a:moveTo>
                    <a:lnTo>
                      <a:pt x="6339" y="935"/>
                    </a:lnTo>
                    <a:lnTo>
                      <a:pt x="6339" y="935"/>
                    </a:lnTo>
                    <a:lnTo>
                      <a:pt x="6339" y="938"/>
                    </a:lnTo>
                    <a:lnTo>
                      <a:pt x="6339" y="1110"/>
                    </a:lnTo>
                    <a:lnTo>
                      <a:pt x="6339" y="1110"/>
                    </a:lnTo>
                    <a:lnTo>
                      <a:pt x="6339" y="1108"/>
                    </a:lnTo>
                    <a:lnTo>
                      <a:pt x="6342" y="1108"/>
                    </a:lnTo>
                    <a:lnTo>
                      <a:pt x="6342" y="935"/>
                    </a:lnTo>
                    <a:moveTo>
                      <a:pt x="3847" y="928"/>
                    </a:moveTo>
                    <a:lnTo>
                      <a:pt x="3845" y="928"/>
                    </a:lnTo>
                    <a:lnTo>
                      <a:pt x="3845" y="931"/>
                    </a:lnTo>
                    <a:lnTo>
                      <a:pt x="3845" y="964"/>
                    </a:lnTo>
                    <a:lnTo>
                      <a:pt x="3847" y="964"/>
                    </a:lnTo>
                    <a:lnTo>
                      <a:pt x="3847" y="928"/>
                    </a:lnTo>
                    <a:moveTo>
                      <a:pt x="6384" y="895"/>
                    </a:moveTo>
                    <a:lnTo>
                      <a:pt x="6384" y="895"/>
                    </a:lnTo>
                    <a:lnTo>
                      <a:pt x="6384" y="895"/>
                    </a:lnTo>
                    <a:lnTo>
                      <a:pt x="6384" y="897"/>
                    </a:lnTo>
                    <a:lnTo>
                      <a:pt x="6382" y="904"/>
                    </a:lnTo>
                    <a:lnTo>
                      <a:pt x="6382" y="904"/>
                    </a:lnTo>
                    <a:lnTo>
                      <a:pt x="6384" y="895"/>
                    </a:lnTo>
                    <a:moveTo>
                      <a:pt x="6391" y="878"/>
                    </a:moveTo>
                    <a:lnTo>
                      <a:pt x="6389" y="878"/>
                    </a:lnTo>
                    <a:lnTo>
                      <a:pt x="6389" y="878"/>
                    </a:lnTo>
                    <a:lnTo>
                      <a:pt x="6389" y="881"/>
                    </a:lnTo>
                    <a:lnTo>
                      <a:pt x="6389" y="890"/>
                    </a:lnTo>
                    <a:lnTo>
                      <a:pt x="6389" y="890"/>
                    </a:lnTo>
                    <a:lnTo>
                      <a:pt x="6389" y="888"/>
                    </a:lnTo>
                    <a:lnTo>
                      <a:pt x="6391" y="888"/>
                    </a:lnTo>
                    <a:lnTo>
                      <a:pt x="6391" y="878"/>
                    </a:lnTo>
                    <a:moveTo>
                      <a:pt x="6398" y="850"/>
                    </a:moveTo>
                    <a:lnTo>
                      <a:pt x="6396" y="850"/>
                    </a:lnTo>
                    <a:lnTo>
                      <a:pt x="6396" y="852"/>
                    </a:lnTo>
                    <a:lnTo>
                      <a:pt x="6396" y="871"/>
                    </a:lnTo>
                    <a:lnTo>
                      <a:pt x="6398" y="871"/>
                    </a:lnTo>
                    <a:lnTo>
                      <a:pt x="6398" y="869"/>
                    </a:lnTo>
                    <a:lnTo>
                      <a:pt x="6398" y="869"/>
                    </a:lnTo>
                    <a:lnTo>
                      <a:pt x="6398" y="850"/>
                    </a:lnTo>
                    <a:moveTo>
                      <a:pt x="806" y="826"/>
                    </a:moveTo>
                    <a:lnTo>
                      <a:pt x="804" y="826"/>
                    </a:lnTo>
                    <a:lnTo>
                      <a:pt x="804" y="829"/>
                    </a:lnTo>
                    <a:lnTo>
                      <a:pt x="804" y="1039"/>
                    </a:lnTo>
                    <a:lnTo>
                      <a:pt x="806" y="1039"/>
                    </a:lnTo>
                    <a:lnTo>
                      <a:pt x="806" y="826"/>
                    </a:lnTo>
                    <a:moveTo>
                      <a:pt x="3100" y="762"/>
                    </a:moveTo>
                    <a:lnTo>
                      <a:pt x="3100" y="762"/>
                    </a:lnTo>
                    <a:lnTo>
                      <a:pt x="3100" y="762"/>
                    </a:lnTo>
                    <a:lnTo>
                      <a:pt x="3100" y="765"/>
                    </a:lnTo>
                    <a:lnTo>
                      <a:pt x="3100" y="949"/>
                    </a:lnTo>
                    <a:lnTo>
                      <a:pt x="3100" y="949"/>
                    </a:lnTo>
                    <a:lnTo>
                      <a:pt x="3100" y="762"/>
                    </a:lnTo>
                    <a:moveTo>
                      <a:pt x="1010" y="753"/>
                    </a:moveTo>
                    <a:lnTo>
                      <a:pt x="1007" y="753"/>
                    </a:lnTo>
                    <a:lnTo>
                      <a:pt x="1007" y="755"/>
                    </a:lnTo>
                    <a:lnTo>
                      <a:pt x="1007" y="798"/>
                    </a:lnTo>
                    <a:lnTo>
                      <a:pt x="1010" y="798"/>
                    </a:lnTo>
                    <a:lnTo>
                      <a:pt x="1010" y="753"/>
                    </a:lnTo>
                    <a:moveTo>
                      <a:pt x="5133" y="732"/>
                    </a:moveTo>
                    <a:lnTo>
                      <a:pt x="5131" y="732"/>
                    </a:lnTo>
                    <a:lnTo>
                      <a:pt x="5131" y="734"/>
                    </a:lnTo>
                    <a:lnTo>
                      <a:pt x="5131" y="942"/>
                    </a:lnTo>
                    <a:lnTo>
                      <a:pt x="5133" y="942"/>
                    </a:lnTo>
                    <a:lnTo>
                      <a:pt x="5133" y="732"/>
                    </a:lnTo>
                    <a:moveTo>
                      <a:pt x="3140" y="656"/>
                    </a:moveTo>
                    <a:lnTo>
                      <a:pt x="3138" y="656"/>
                    </a:lnTo>
                    <a:lnTo>
                      <a:pt x="3138" y="658"/>
                    </a:lnTo>
                    <a:lnTo>
                      <a:pt x="3138" y="732"/>
                    </a:lnTo>
                    <a:lnTo>
                      <a:pt x="3140" y="732"/>
                    </a:lnTo>
                    <a:lnTo>
                      <a:pt x="3140" y="656"/>
                    </a:lnTo>
                    <a:moveTo>
                      <a:pt x="97" y="616"/>
                    </a:moveTo>
                    <a:lnTo>
                      <a:pt x="95" y="616"/>
                    </a:lnTo>
                    <a:lnTo>
                      <a:pt x="95" y="618"/>
                    </a:lnTo>
                    <a:lnTo>
                      <a:pt x="95" y="1423"/>
                    </a:lnTo>
                    <a:lnTo>
                      <a:pt x="97" y="1423"/>
                    </a:lnTo>
                    <a:lnTo>
                      <a:pt x="97" y="616"/>
                    </a:lnTo>
                    <a:moveTo>
                      <a:pt x="5254" y="609"/>
                    </a:moveTo>
                    <a:lnTo>
                      <a:pt x="5252" y="609"/>
                    </a:lnTo>
                    <a:lnTo>
                      <a:pt x="5252" y="611"/>
                    </a:lnTo>
                    <a:lnTo>
                      <a:pt x="5252" y="701"/>
                    </a:lnTo>
                    <a:lnTo>
                      <a:pt x="5254" y="701"/>
                    </a:lnTo>
                    <a:lnTo>
                      <a:pt x="5254" y="609"/>
                    </a:lnTo>
                    <a:moveTo>
                      <a:pt x="3284" y="582"/>
                    </a:moveTo>
                    <a:lnTo>
                      <a:pt x="3282" y="582"/>
                    </a:lnTo>
                    <a:lnTo>
                      <a:pt x="3282" y="582"/>
                    </a:lnTo>
                    <a:lnTo>
                      <a:pt x="3282" y="582"/>
                    </a:lnTo>
                    <a:lnTo>
                      <a:pt x="3282" y="627"/>
                    </a:lnTo>
                    <a:lnTo>
                      <a:pt x="3284" y="627"/>
                    </a:lnTo>
                    <a:lnTo>
                      <a:pt x="3284" y="582"/>
                    </a:lnTo>
                    <a:moveTo>
                      <a:pt x="303" y="547"/>
                    </a:moveTo>
                    <a:lnTo>
                      <a:pt x="300" y="547"/>
                    </a:lnTo>
                    <a:lnTo>
                      <a:pt x="300" y="549"/>
                    </a:lnTo>
                    <a:lnTo>
                      <a:pt x="300" y="587"/>
                    </a:lnTo>
                    <a:lnTo>
                      <a:pt x="303" y="587"/>
                    </a:lnTo>
                    <a:lnTo>
                      <a:pt x="303" y="547"/>
                    </a:lnTo>
                    <a:moveTo>
                      <a:pt x="7027" y="509"/>
                    </a:moveTo>
                    <a:lnTo>
                      <a:pt x="7025" y="509"/>
                    </a:lnTo>
                    <a:lnTo>
                      <a:pt x="7025" y="511"/>
                    </a:lnTo>
                    <a:lnTo>
                      <a:pt x="7025" y="1662"/>
                    </a:lnTo>
                    <a:lnTo>
                      <a:pt x="7027" y="1662"/>
                    </a:lnTo>
                    <a:lnTo>
                      <a:pt x="7027" y="509"/>
                    </a:lnTo>
                    <a:moveTo>
                      <a:pt x="4195" y="502"/>
                    </a:moveTo>
                    <a:lnTo>
                      <a:pt x="4195" y="502"/>
                    </a:lnTo>
                    <a:lnTo>
                      <a:pt x="4192" y="504"/>
                    </a:lnTo>
                    <a:lnTo>
                      <a:pt x="4147" y="566"/>
                    </a:lnTo>
                    <a:lnTo>
                      <a:pt x="4147" y="566"/>
                    </a:lnTo>
                    <a:lnTo>
                      <a:pt x="4195" y="502"/>
                    </a:lnTo>
                    <a:moveTo>
                      <a:pt x="3301" y="500"/>
                    </a:moveTo>
                    <a:lnTo>
                      <a:pt x="3301" y="500"/>
                    </a:lnTo>
                    <a:lnTo>
                      <a:pt x="3299" y="500"/>
                    </a:lnTo>
                    <a:lnTo>
                      <a:pt x="3299" y="502"/>
                    </a:lnTo>
                    <a:lnTo>
                      <a:pt x="3299" y="566"/>
                    </a:lnTo>
                    <a:lnTo>
                      <a:pt x="3301" y="566"/>
                    </a:lnTo>
                    <a:lnTo>
                      <a:pt x="3301" y="564"/>
                    </a:lnTo>
                    <a:lnTo>
                      <a:pt x="3301" y="564"/>
                    </a:lnTo>
                    <a:lnTo>
                      <a:pt x="3301" y="500"/>
                    </a:lnTo>
                    <a:moveTo>
                      <a:pt x="4036" y="455"/>
                    </a:moveTo>
                    <a:lnTo>
                      <a:pt x="4036" y="455"/>
                    </a:lnTo>
                    <a:lnTo>
                      <a:pt x="4036" y="455"/>
                    </a:lnTo>
                    <a:lnTo>
                      <a:pt x="4036" y="455"/>
                    </a:lnTo>
                    <a:lnTo>
                      <a:pt x="4036" y="490"/>
                    </a:lnTo>
                    <a:lnTo>
                      <a:pt x="3954" y="644"/>
                    </a:lnTo>
                    <a:lnTo>
                      <a:pt x="3954" y="897"/>
                    </a:lnTo>
                    <a:lnTo>
                      <a:pt x="3956" y="897"/>
                    </a:lnTo>
                    <a:lnTo>
                      <a:pt x="3956" y="642"/>
                    </a:lnTo>
                    <a:lnTo>
                      <a:pt x="4036" y="488"/>
                    </a:lnTo>
                    <a:lnTo>
                      <a:pt x="4036" y="455"/>
                    </a:lnTo>
                    <a:moveTo>
                      <a:pt x="3329" y="433"/>
                    </a:moveTo>
                    <a:lnTo>
                      <a:pt x="3327" y="433"/>
                    </a:lnTo>
                    <a:lnTo>
                      <a:pt x="3327" y="436"/>
                    </a:lnTo>
                    <a:lnTo>
                      <a:pt x="3327" y="474"/>
                    </a:lnTo>
                    <a:lnTo>
                      <a:pt x="3329" y="474"/>
                    </a:lnTo>
                    <a:lnTo>
                      <a:pt x="3329" y="471"/>
                    </a:lnTo>
                    <a:lnTo>
                      <a:pt x="3329" y="471"/>
                    </a:lnTo>
                    <a:lnTo>
                      <a:pt x="3329" y="433"/>
                    </a:lnTo>
                    <a:moveTo>
                      <a:pt x="4043" y="391"/>
                    </a:moveTo>
                    <a:lnTo>
                      <a:pt x="4041" y="391"/>
                    </a:lnTo>
                    <a:lnTo>
                      <a:pt x="4041" y="391"/>
                    </a:lnTo>
                    <a:lnTo>
                      <a:pt x="4041" y="393"/>
                    </a:lnTo>
                    <a:lnTo>
                      <a:pt x="4041" y="448"/>
                    </a:lnTo>
                    <a:lnTo>
                      <a:pt x="4043" y="448"/>
                    </a:lnTo>
                    <a:lnTo>
                      <a:pt x="4043" y="448"/>
                    </a:lnTo>
                    <a:lnTo>
                      <a:pt x="4043" y="448"/>
                    </a:lnTo>
                    <a:lnTo>
                      <a:pt x="4043" y="391"/>
                    </a:lnTo>
                    <a:moveTo>
                      <a:pt x="1811" y="367"/>
                    </a:moveTo>
                    <a:lnTo>
                      <a:pt x="1809" y="367"/>
                    </a:lnTo>
                    <a:lnTo>
                      <a:pt x="1809" y="369"/>
                    </a:lnTo>
                    <a:lnTo>
                      <a:pt x="1809" y="1101"/>
                    </a:lnTo>
                    <a:lnTo>
                      <a:pt x="1811" y="1101"/>
                    </a:lnTo>
                    <a:lnTo>
                      <a:pt x="1811" y="367"/>
                    </a:lnTo>
                    <a:moveTo>
                      <a:pt x="1939" y="334"/>
                    </a:moveTo>
                    <a:lnTo>
                      <a:pt x="1937" y="334"/>
                    </a:lnTo>
                    <a:lnTo>
                      <a:pt x="1937" y="336"/>
                    </a:lnTo>
                    <a:lnTo>
                      <a:pt x="1937" y="339"/>
                    </a:lnTo>
                    <a:lnTo>
                      <a:pt x="1939" y="339"/>
                    </a:lnTo>
                    <a:lnTo>
                      <a:pt x="1939" y="334"/>
                    </a:lnTo>
                    <a:moveTo>
                      <a:pt x="4051" y="327"/>
                    </a:moveTo>
                    <a:lnTo>
                      <a:pt x="4048" y="327"/>
                    </a:lnTo>
                    <a:lnTo>
                      <a:pt x="4048" y="329"/>
                    </a:lnTo>
                    <a:lnTo>
                      <a:pt x="4048" y="384"/>
                    </a:lnTo>
                    <a:lnTo>
                      <a:pt x="4051" y="384"/>
                    </a:lnTo>
                    <a:lnTo>
                      <a:pt x="4051" y="381"/>
                    </a:lnTo>
                    <a:lnTo>
                      <a:pt x="4051" y="381"/>
                    </a:lnTo>
                    <a:lnTo>
                      <a:pt x="4051" y="327"/>
                    </a:lnTo>
                    <a:moveTo>
                      <a:pt x="2029" y="294"/>
                    </a:moveTo>
                    <a:lnTo>
                      <a:pt x="2026" y="294"/>
                    </a:lnTo>
                    <a:lnTo>
                      <a:pt x="2026" y="296"/>
                    </a:lnTo>
                    <a:lnTo>
                      <a:pt x="2026" y="303"/>
                    </a:lnTo>
                    <a:lnTo>
                      <a:pt x="2029" y="303"/>
                    </a:lnTo>
                    <a:lnTo>
                      <a:pt x="2029" y="294"/>
                    </a:lnTo>
                    <a:moveTo>
                      <a:pt x="4703" y="232"/>
                    </a:moveTo>
                    <a:lnTo>
                      <a:pt x="4703" y="232"/>
                    </a:lnTo>
                    <a:lnTo>
                      <a:pt x="4703" y="234"/>
                    </a:lnTo>
                    <a:lnTo>
                      <a:pt x="4642" y="459"/>
                    </a:lnTo>
                    <a:lnTo>
                      <a:pt x="4642" y="459"/>
                    </a:lnTo>
                    <a:lnTo>
                      <a:pt x="4703" y="232"/>
                    </a:lnTo>
                    <a:moveTo>
                      <a:pt x="4805" y="173"/>
                    </a:moveTo>
                    <a:lnTo>
                      <a:pt x="4802" y="173"/>
                    </a:lnTo>
                    <a:lnTo>
                      <a:pt x="4802" y="173"/>
                    </a:lnTo>
                    <a:lnTo>
                      <a:pt x="4802" y="173"/>
                    </a:lnTo>
                    <a:lnTo>
                      <a:pt x="4802" y="201"/>
                    </a:lnTo>
                    <a:lnTo>
                      <a:pt x="4805" y="201"/>
                    </a:lnTo>
                    <a:lnTo>
                      <a:pt x="4805" y="173"/>
                    </a:lnTo>
                    <a:moveTo>
                      <a:pt x="4854" y="0"/>
                    </a:moveTo>
                    <a:lnTo>
                      <a:pt x="4852" y="0"/>
                    </a:lnTo>
                    <a:lnTo>
                      <a:pt x="4852" y="2"/>
                    </a:lnTo>
                    <a:lnTo>
                      <a:pt x="4852" y="142"/>
                    </a:lnTo>
                    <a:lnTo>
                      <a:pt x="4854" y="142"/>
                    </a:lnTo>
                    <a:lnTo>
                      <a:pt x="4854" y="0"/>
                    </a:lnTo>
                    <a:moveTo>
                      <a:pt x="4911" y="0"/>
                    </a:moveTo>
                    <a:lnTo>
                      <a:pt x="4909" y="0"/>
                    </a:lnTo>
                    <a:lnTo>
                      <a:pt x="4909" y="2"/>
                    </a:lnTo>
                    <a:lnTo>
                      <a:pt x="4909" y="142"/>
                    </a:lnTo>
                    <a:lnTo>
                      <a:pt x="4911" y="142"/>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2" name="Freeform 114"/>
              <p:cNvSpPr>
                <a:spLocks noEditPoints="1"/>
              </p:cNvSpPr>
              <p:nvPr/>
            </p:nvSpPr>
            <p:spPr bwMode="auto">
              <a:xfrm>
                <a:off x="18" y="1689"/>
                <a:ext cx="7025" cy="1664"/>
              </a:xfrm>
              <a:custGeom>
                <a:avLst/>
                <a:gdLst>
                  <a:gd name="T0" fmla="*/ 3 w 7025"/>
                  <a:gd name="T1" fmla="*/ 1505 h 1664"/>
                  <a:gd name="T2" fmla="*/ 5663 w 7025"/>
                  <a:gd name="T3" fmla="*/ 1420 h 1664"/>
                  <a:gd name="T4" fmla="*/ 3710 w 7025"/>
                  <a:gd name="T5" fmla="*/ 1221 h 1664"/>
                  <a:gd name="T6" fmla="*/ 5831 w 7025"/>
                  <a:gd name="T7" fmla="*/ 1210 h 1664"/>
                  <a:gd name="T8" fmla="*/ 5831 w 7025"/>
                  <a:gd name="T9" fmla="*/ 1297 h 1664"/>
                  <a:gd name="T10" fmla="*/ 1665 w 7025"/>
                  <a:gd name="T11" fmla="*/ 1157 h 1664"/>
                  <a:gd name="T12" fmla="*/ 1686 w 7025"/>
                  <a:gd name="T13" fmla="*/ 1131 h 1664"/>
                  <a:gd name="T14" fmla="*/ 1689 w 7025"/>
                  <a:gd name="T15" fmla="*/ 1131 h 1664"/>
                  <a:gd name="T16" fmla="*/ 5855 w 7025"/>
                  <a:gd name="T17" fmla="*/ 1183 h 1664"/>
                  <a:gd name="T18" fmla="*/ 6323 w 7025"/>
                  <a:gd name="T19" fmla="*/ 1127 h 1664"/>
                  <a:gd name="T20" fmla="*/ 6323 w 7025"/>
                  <a:gd name="T21" fmla="*/ 1181 h 1664"/>
                  <a:gd name="T22" fmla="*/ 1445 w 7025"/>
                  <a:gd name="T23" fmla="*/ 1124 h 1664"/>
                  <a:gd name="T24" fmla="*/ 1448 w 7025"/>
                  <a:gd name="T25" fmla="*/ 1124 h 1664"/>
                  <a:gd name="T26" fmla="*/ 1464 w 7025"/>
                  <a:gd name="T27" fmla="*/ 1108 h 1664"/>
                  <a:gd name="T28" fmla="*/ 2859 w 7025"/>
                  <a:gd name="T29" fmla="*/ 1063 h 1664"/>
                  <a:gd name="T30" fmla="*/ 2862 w 7025"/>
                  <a:gd name="T31" fmla="*/ 1063 h 1664"/>
                  <a:gd name="T32" fmla="*/ 5931 w 7025"/>
                  <a:gd name="T33" fmla="*/ 1101 h 1664"/>
                  <a:gd name="T34" fmla="*/ 2876 w 7025"/>
                  <a:gd name="T35" fmla="*/ 1013 h 1664"/>
                  <a:gd name="T36" fmla="*/ 2878 w 7025"/>
                  <a:gd name="T37" fmla="*/ 1011 h 1664"/>
                  <a:gd name="T38" fmla="*/ 3772 w 7025"/>
                  <a:gd name="T39" fmla="*/ 1195 h 1664"/>
                  <a:gd name="T40" fmla="*/ 5947 w 7025"/>
                  <a:gd name="T41" fmla="*/ 1025 h 1664"/>
                  <a:gd name="T42" fmla="*/ 6340 w 7025"/>
                  <a:gd name="T43" fmla="*/ 935 h 1664"/>
                  <a:gd name="T44" fmla="*/ 6340 w 7025"/>
                  <a:gd name="T45" fmla="*/ 1110 h 1664"/>
                  <a:gd name="T46" fmla="*/ 3845 w 7025"/>
                  <a:gd name="T47" fmla="*/ 928 h 1664"/>
                  <a:gd name="T48" fmla="*/ 6385 w 7025"/>
                  <a:gd name="T49" fmla="*/ 895 h 1664"/>
                  <a:gd name="T50" fmla="*/ 6382 w 7025"/>
                  <a:gd name="T51" fmla="*/ 906 h 1664"/>
                  <a:gd name="T52" fmla="*/ 6389 w 7025"/>
                  <a:gd name="T53" fmla="*/ 880 h 1664"/>
                  <a:gd name="T54" fmla="*/ 6389 w 7025"/>
                  <a:gd name="T55" fmla="*/ 878 h 1664"/>
                  <a:gd name="T56" fmla="*/ 6396 w 7025"/>
                  <a:gd name="T57" fmla="*/ 871 h 1664"/>
                  <a:gd name="T58" fmla="*/ 804 w 7025"/>
                  <a:gd name="T59" fmla="*/ 826 h 1664"/>
                  <a:gd name="T60" fmla="*/ 3100 w 7025"/>
                  <a:gd name="T61" fmla="*/ 762 h 1664"/>
                  <a:gd name="T62" fmla="*/ 3100 w 7025"/>
                  <a:gd name="T63" fmla="*/ 951 h 1664"/>
                  <a:gd name="T64" fmla="*/ 1008 w 7025"/>
                  <a:gd name="T65" fmla="*/ 800 h 1664"/>
                  <a:gd name="T66" fmla="*/ 5131 w 7025"/>
                  <a:gd name="T67" fmla="*/ 734 h 1664"/>
                  <a:gd name="T68" fmla="*/ 3138 w 7025"/>
                  <a:gd name="T69" fmla="*/ 656 h 1664"/>
                  <a:gd name="T70" fmla="*/ 97 w 7025"/>
                  <a:gd name="T71" fmla="*/ 615 h 1664"/>
                  <a:gd name="T72" fmla="*/ 97 w 7025"/>
                  <a:gd name="T73" fmla="*/ 615 h 1664"/>
                  <a:gd name="T74" fmla="*/ 5254 w 7025"/>
                  <a:gd name="T75" fmla="*/ 703 h 1664"/>
                  <a:gd name="T76" fmla="*/ 3282 w 7025"/>
                  <a:gd name="T77" fmla="*/ 584 h 1664"/>
                  <a:gd name="T78" fmla="*/ 301 w 7025"/>
                  <a:gd name="T79" fmla="*/ 547 h 1664"/>
                  <a:gd name="T80" fmla="*/ 7025 w 7025"/>
                  <a:gd name="T81" fmla="*/ 509 h 1664"/>
                  <a:gd name="T82" fmla="*/ 7025 w 7025"/>
                  <a:gd name="T83" fmla="*/ 509 h 1664"/>
                  <a:gd name="T84" fmla="*/ 4145 w 7025"/>
                  <a:gd name="T85" fmla="*/ 568 h 1664"/>
                  <a:gd name="T86" fmla="*/ 3299 w 7025"/>
                  <a:gd name="T87" fmla="*/ 502 h 1664"/>
                  <a:gd name="T88" fmla="*/ 3301 w 7025"/>
                  <a:gd name="T89" fmla="*/ 502 h 1664"/>
                  <a:gd name="T90" fmla="*/ 4034 w 7025"/>
                  <a:gd name="T91" fmla="*/ 490 h 1664"/>
                  <a:gd name="T92" fmla="*/ 4037 w 7025"/>
                  <a:gd name="T93" fmla="*/ 490 h 1664"/>
                  <a:gd name="T94" fmla="*/ 3327 w 7025"/>
                  <a:gd name="T95" fmla="*/ 473 h 1664"/>
                  <a:gd name="T96" fmla="*/ 4041 w 7025"/>
                  <a:gd name="T97" fmla="*/ 390 h 1664"/>
                  <a:gd name="T98" fmla="*/ 4044 w 7025"/>
                  <a:gd name="T99" fmla="*/ 447 h 1664"/>
                  <a:gd name="T100" fmla="*/ 1809 w 7025"/>
                  <a:gd name="T101" fmla="*/ 1103 h 1664"/>
                  <a:gd name="T102" fmla="*/ 1937 w 7025"/>
                  <a:gd name="T103" fmla="*/ 336 h 1664"/>
                  <a:gd name="T104" fmla="*/ 4049 w 7025"/>
                  <a:gd name="T105" fmla="*/ 326 h 1664"/>
                  <a:gd name="T106" fmla="*/ 4051 w 7025"/>
                  <a:gd name="T107" fmla="*/ 381 h 1664"/>
                  <a:gd name="T108" fmla="*/ 2027 w 7025"/>
                  <a:gd name="T109" fmla="*/ 305 h 1664"/>
                  <a:gd name="T110" fmla="*/ 4701 w 7025"/>
                  <a:gd name="T111" fmla="*/ 234 h 1664"/>
                  <a:gd name="T112" fmla="*/ 4803 w 7025"/>
                  <a:gd name="T113" fmla="*/ 173 h 1664"/>
                  <a:gd name="T114" fmla="*/ 4805 w 7025"/>
                  <a:gd name="T115" fmla="*/ 173 h 1664"/>
                  <a:gd name="T116" fmla="*/ 4852 w 7025"/>
                  <a:gd name="T117" fmla="*/ 144 h 1664"/>
                  <a:gd name="T118" fmla="*/ 4909 w 7025"/>
                  <a:gd name="T119" fmla="*/ 144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4">
                    <a:moveTo>
                      <a:pt x="3" y="1453"/>
                    </a:moveTo>
                    <a:lnTo>
                      <a:pt x="0" y="1453"/>
                    </a:lnTo>
                    <a:lnTo>
                      <a:pt x="0" y="1456"/>
                    </a:lnTo>
                    <a:lnTo>
                      <a:pt x="0" y="1505"/>
                    </a:lnTo>
                    <a:lnTo>
                      <a:pt x="3" y="1505"/>
                    </a:lnTo>
                    <a:lnTo>
                      <a:pt x="3" y="1453"/>
                    </a:lnTo>
                    <a:close/>
                    <a:moveTo>
                      <a:pt x="5666" y="1326"/>
                    </a:moveTo>
                    <a:lnTo>
                      <a:pt x="5663" y="1326"/>
                    </a:lnTo>
                    <a:lnTo>
                      <a:pt x="5663" y="1328"/>
                    </a:lnTo>
                    <a:lnTo>
                      <a:pt x="5663" y="1420"/>
                    </a:lnTo>
                    <a:lnTo>
                      <a:pt x="5666" y="1420"/>
                    </a:lnTo>
                    <a:lnTo>
                      <a:pt x="5666" y="1326"/>
                    </a:lnTo>
                    <a:close/>
                    <a:moveTo>
                      <a:pt x="3710" y="1221"/>
                    </a:moveTo>
                    <a:lnTo>
                      <a:pt x="3710" y="1221"/>
                    </a:lnTo>
                    <a:lnTo>
                      <a:pt x="3710" y="1221"/>
                    </a:lnTo>
                    <a:lnTo>
                      <a:pt x="3710" y="1224"/>
                    </a:lnTo>
                    <a:lnTo>
                      <a:pt x="3710" y="1363"/>
                    </a:lnTo>
                    <a:lnTo>
                      <a:pt x="3710" y="1363"/>
                    </a:lnTo>
                    <a:lnTo>
                      <a:pt x="3710" y="1221"/>
                    </a:lnTo>
                    <a:close/>
                    <a:moveTo>
                      <a:pt x="5831" y="1210"/>
                    </a:moveTo>
                    <a:lnTo>
                      <a:pt x="5831" y="1210"/>
                    </a:lnTo>
                    <a:lnTo>
                      <a:pt x="5829" y="1210"/>
                    </a:lnTo>
                    <a:lnTo>
                      <a:pt x="5829" y="1210"/>
                    </a:lnTo>
                    <a:lnTo>
                      <a:pt x="5829" y="1297"/>
                    </a:lnTo>
                    <a:lnTo>
                      <a:pt x="5831" y="1297"/>
                    </a:lnTo>
                    <a:lnTo>
                      <a:pt x="5831" y="1210"/>
                    </a:lnTo>
                    <a:close/>
                    <a:moveTo>
                      <a:pt x="1665" y="1157"/>
                    </a:moveTo>
                    <a:lnTo>
                      <a:pt x="1665" y="1157"/>
                    </a:lnTo>
                    <a:lnTo>
                      <a:pt x="1665" y="1157"/>
                    </a:lnTo>
                    <a:lnTo>
                      <a:pt x="1665" y="1157"/>
                    </a:lnTo>
                    <a:lnTo>
                      <a:pt x="1665" y="1172"/>
                    </a:lnTo>
                    <a:lnTo>
                      <a:pt x="1665" y="1172"/>
                    </a:lnTo>
                    <a:lnTo>
                      <a:pt x="1665" y="1157"/>
                    </a:lnTo>
                    <a:close/>
                    <a:moveTo>
                      <a:pt x="1689" y="1131"/>
                    </a:moveTo>
                    <a:lnTo>
                      <a:pt x="1686" y="1131"/>
                    </a:lnTo>
                    <a:lnTo>
                      <a:pt x="1686" y="1134"/>
                    </a:lnTo>
                    <a:lnTo>
                      <a:pt x="1686" y="1134"/>
                    </a:lnTo>
                    <a:lnTo>
                      <a:pt x="1689" y="1134"/>
                    </a:lnTo>
                    <a:lnTo>
                      <a:pt x="1689" y="1131"/>
                    </a:lnTo>
                    <a:lnTo>
                      <a:pt x="1689" y="1131"/>
                    </a:lnTo>
                    <a:lnTo>
                      <a:pt x="1689" y="1131"/>
                    </a:lnTo>
                    <a:close/>
                    <a:moveTo>
                      <a:pt x="5857" y="1127"/>
                    </a:moveTo>
                    <a:lnTo>
                      <a:pt x="5855" y="1127"/>
                    </a:lnTo>
                    <a:lnTo>
                      <a:pt x="5855" y="1129"/>
                    </a:lnTo>
                    <a:lnTo>
                      <a:pt x="5855" y="1183"/>
                    </a:lnTo>
                    <a:lnTo>
                      <a:pt x="5855" y="1183"/>
                    </a:lnTo>
                    <a:lnTo>
                      <a:pt x="5855" y="1183"/>
                    </a:lnTo>
                    <a:lnTo>
                      <a:pt x="5857" y="1183"/>
                    </a:lnTo>
                    <a:lnTo>
                      <a:pt x="5857" y="1127"/>
                    </a:lnTo>
                    <a:close/>
                    <a:moveTo>
                      <a:pt x="6323" y="1127"/>
                    </a:moveTo>
                    <a:lnTo>
                      <a:pt x="6321" y="1127"/>
                    </a:lnTo>
                    <a:lnTo>
                      <a:pt x="6321" y="1127"/>
                    </a:lnTo>
                    <a:lnTo>
                      <a:pt x="6321" y="1129"/>
                    </a:lnTo>
                    <a:lnTo>
                      <a:pt x="6321" y="1181"/>
                    </a:lnTo>
                    <a:lnTo>
                      <a:pt x="6323" y="1181"/>
                    </a:lnTo>
                    <a:lnTo>
                      <a:pt x="6323" y="1335"/>
                    </a:lnTo>
                    <a:lnTo>
                      <a:pt x="6323" y="1335"/>
                    </a:lnTo>
                    <a:lnTo>
                      <a:pt x="6323" y="1127"/>
                    </a:lnTo>
                    <a:close/>
                    <a:moveTo>
                      <a:pt x="1448" y="1124"/>
                    </a:moveTo>
                    <a:lnTo>
                      <a:pt x="1445" y="1124"/>
                    </a:lnTo>
                    <a:lnTo>
                      <a:pt x="1445" y="1124"/>
                    </a:lnTo>
                    <a:lnTo>
                      <a:pt x="1445" y="1127"/>
                    </a:lnTo>
                    <a:lnTo>
                      <a:pt x="1445" y="1172"/>
                    </a:lnTo>
                    <a:lnTo>
                      <a:pt x="1448" y="1172"/>
                    </a:lnTo>
                    <a:lnTo>
                      <a:pt x="1448" y="1124"/>
                    </a:lnTo>
                    <a:close/>
                    <a:moveTo>
                      <a:pt x="1464" y="1084"/>
                    </a:moveTo>
                    <a:lnTo>
                      <a:pt x="1462" y="1084"/>
                    </a:lnTo>
                    <a:lnTo>
                      <a:pt x="1462" y="1086"/>
                    </a:lnTo>
                    <a:lnTo>
                      <a:pt x="1462" y="1108"/>
                    </a:lnTo>
                    <a:lnTo>
                      <a:pt x="1464" y="1108"/>
                    </a:lnTo>
                    <a:lnTo>
                      <a:pt x="1464" y="1108"/>
                    </a:lnTo>
                    <a:lnTo>
                      <a:pt x="1464" y="1108"/>
                    </a:lnTo>
                    <a:lnTo>
                      <a:pt x="1464" y="1084"/>
                    </a:lnTo>
                    <a:close/>
                    <a:moveTo>
                      <a:pt x="2862" y="1063"/>
                    </a:moveTo>
                    <a:lnTo>
                      <a:pt x="2859" y="1063"/>
                    </a:lnTo>
                    <a:lnTo>
                      <a:pt x="2859" y="1063"/>
                    </a:lnTo>
                    <a:lnTo>
                      <a:pt x="2859" y="1065"/>
                    </a:lnTo>
                    <a:lnTo>
                      <a:pt x="2859" y="1212"/>
                    </a:lnTo>
                    <a:lnTo>
                      <a:pt x="2862" y="1212"/>
                    </a:lnTo>
                    <a:lnTo>
                      <a:pt x="2862" y="1063"/>
                    </a:lnTo>
                    <a:close/>
                    <a:moveTo>
                      <a:pt x="5931" y="1041"/>
                    </a:moveTo>
                    <a:lnTo>
                      <a:pt x="5931" y="1041"/>
                    </a:lnTo>
                    <a:lnTo>
                      <a:pt x="5931" y="1041"/>
                    </a:lnTo>
                    <a:lnTo>
                      <a:pt x="5931" y="1044"/>
                    </a:lnTo>
                    <a:lnTo>
                      <a:pt x="5931" y="1101"/>
                    </a:lnTo>
                    <a:lnTo>
                      <a:pt x="5931" y="1101"/>
                    </a:lnTo>
                    <a:lnTo>
                      <a:pt x="5931" y="1041"/>
                    </a:lnTo>
                    <a:close/>
                    <a:moveTo>
                      <a:pt x="2878" y="1011"/>
                    </a:moveTo>
                    <a:lnTo>
                      <a:pt x="2876" y="1013"/>
                    </a:lnTo>
                    <a:lnTo>
                      <a:pt x="2876" y="1013"/>
                    </a:lnTo>
                    <a:lnTo>
                      <a:pt x="2876" y="1046"/>
                    </a:lnTo>
                    <a:lnTo>
                      <a:pt x="2878" y="1046"/>
                    </a:lnTo>
                    <a:lnTo>
                      <a:pt x="2878" y="1044"/>
                    </a:lnTo>
                    <a:lnTo>
                      <a:pt x="2878" y="1044"/>
                    </a:lnTo>
                    <a:lnTo>
                      <a:pt x="2878" y="1011"/>
                    </a:lnTo>
                    <a:close/>
                    <a:moveTo>
                      <a:pt x="3772" y="994"/>
                    </a:moveTo>
                    <a:lnTo>
                      <a:pt x="3769" y="994"/>
                    </a:lnTo>
                    <a:lnTo>
                      <a:pt x="3769" y="994"/>
                    </a:lnTo>
                    <a:lnTo>
                      <a:pt x="3769" y="1195"/>
                    </a:lnTo>
                    <a:lnTo>
                      <a:pt x="3772" y="1195"/>
                    </a:lnTo>
                    <a:lnTo>
                      <a:pt x="3772" y="994"/>
                    </a:lnTo>
                    <a:close/>
                    <a:moveTo>
                      <a:pt x="5950" y="989"/>
                    </a:moveTo>
                    <a:lnTo>
                      <a:pt x="5947" y="989"/>
                    </a:lnTo>
                    <a:lnTo>
                      <a:pt x="5947" y="992"/>
                    </a:lnTo>
                    <a:lnTo>
                      <a:pt x="5947" y="1025"/>
                    </a:lnTo>
                    <a:lnTo>
                      <a:pt x="5947" y="1025"/>
                    </a:lnTo>
                    <a:lnTo>
                      <a:pt x="5947" y="1022"/>
                    </a:lnTo>
                    <a:lnTo>
                      <a:pt x="5950" y="1022"/>
                    </a:lnTo>
                    <a:lnTo>
                      <a:pt x="5950" y="989"/>
                    </a:lnTo>
                    <a:close/>
                    <a:moveTo>
                      <a:pt x="6340" y="935"/>
                    </a:moveTo>
                    <a:lnTo>
                      <a:pt x="6340" y="935"/>
                    </a:lnTo>
                    <a:lnTo>
                      <a:pt x="6340" y="935"/>
                    </a:lnTo>
                    <a:lnTo>
                      <a:pt x="6340" y="937"/>
                    </a:lnTo>
                    <a:lnTo>
                      <a:pt x="6340" y="1110"/>
                    </a:lnTo>
                    <a:lnTo>
                      <a:pt x="6340" y="1110"/>
                    </a:lnTo>
                    <a:lnTo>
                      <a:pt x="6340" y="1110"/>
                    </a:lnTo>
                    <a:lnTo>
                      <a:pt x="6340" y="1110"/>
                    </a:lnTo>
                    <a:lnTo>
                      <a:pt x="6340" y="935"/>
                    </a:lnTo>
                    <a:close/>
                    <a:moveTo>
                      <a:pt x="3845" y="928"/>
                    </a:moveTo>
                    <a:lnTo>
                      <a:pt x="3845" y="928"/>
                    </a:lnTo>
                    <a:lnTo>
                      <a:pt x="3845" y="930"/>
                    </a:lnTo>
                    <a:lnTo>
                      <a:pt x="3845" y="966"/>
                    </a:lnTo>
                    <a:lnTo>
                      <a:pt x="3845" y="966"/>
                    </a:lnTo>
                    <a:lnTo>
                      <a:pt x="3845" y="928"/>
                    </a:lnTo>
                    <a:close/>
                    <a:moveTo>
                      <a:pt x="6385" y="895"/>
                    </a:moveTo>
                    <a:lnTo>
                      <a:pt x="6385" y="895"/>
                    </a:lnTo>
                    <a:lnTo>
                      <a:pt x="6385" y="895"/>
                    </a:lnTo>
                    <a:lnTo>
                      <a:pt x="6382" y="897"/>
                    </a:lnTo>
                    <a:lnTo>
                      <a:pt x="6380" y="906"/>
                    </a:lnTo>
                    <a:lnTo>
                      <a:pt x="6382" y="906"/>
                    </a:lnTo>
                    <a:lnTo>
                      <a:pt x="6385" y="895"/>
                    </a:lnTo>
                    <a:close/>
                    <a:moveTo>
                      <a:pt x="6389" y="878"/>
                    </a:moveTo>
                    <a:lnTo>
                      <a:pt x="6389" y="878"/>
                    </a:lnTo>
                    <a:lnTo>
                      <a:pt x="6389" y="878"/>
                    </a:lnTo>
                    <a:lnTo>
                      <a:pt x="6389" y="880"/>
                    </a:lnTo>
                    <a:lnTo>
                      <a:pt x="6389" y="890"/>
                    </a:lnTo>
                    <a:lnTo>
                      <a:pt x="6389" y="890"/>
                    </a:lnTo>
                    <a:lnTo>
                      <a:pt x="6389" y="890"/>
                    </a:lnTo>
                    <a:lnTo>
                      <a:pt x="6389" y="890"/>
                    </a:lnTo>
                    <a:lnTo>
                      <a:pt x="6389" y="878"/>
                    </a:lnTo>
                    <a:close/>
                    <a:moveTo>
                      <a:pt x="6399" y="850"/>
                    </a:moveTo>
                    <a:lnTo>
                      <a:pt x="6396" y="850"/>
                    </a:lnTo>
                    <a:lnTo>
                      <a:pt x="6396" y="852"/>
                    </a:lnTo>
                    <a:lnTo>
                      <a:pt x="6396" y="871"/>
                    </a:lnTo>
                    <a:lnTo>
                      <a:pt x="6396" y="871"/>
                    </a:lnTo>
                    <a:lnTo>
                      <a:pt x="6396" y="869"/>
                    </a:lnTo>
                    <a:lnTo>
                      <a:pt x="6399" y="869"/>
                    </a:lnTo>
                    <a:lnTo>
                      <a:pt x="6399" y="850"/>
                    </a:lnTo>
                    <a:close/>
                    <a:moveTo>
                      <a:pt x="807" y="826"/>
                    </a:moveTo>
                    <a:lnTo>
                      <a:pt x="804" y="826"/>
                    </a:lnTo>
                    <a:lnTo>
                      <a:pt x="804" y="828"/>
                    </a:lnTo>
                    <a:lnTo>
                      <a:pt x="804" y="1041"/>
                    </a:lnTo>
                    <a:lnTo>
                      <a:pt x="807" y="1041"/>
                    </a:lnTo>
                    <a:lnTo>
                      <a:pt x="807" y="826"/>
                    </a:lnTo>
                    <a:close/>
                    <a:moveTo>
                      <a:pt x="3100" y="762"/>
                    </a:moveTo>
                    <a:lnTo>
                      <a:pt x="3100" y="762"/>
                    </a:lnTo>
                    <a:lnTo>
                      <a:pt x="3098" y="762"/>
                    </a:lnTo>
                    <a:lnTo>
                      <a:pt x="3098" y="764"/>
                    </a:lnTo>
                    <a:lnTo>
                      <a:pt x="3098" y="951"/>
                    </a:lnTo>
                    <a:lnTo>
                      <a:pt x="3100" y="951"/>
                    </a:lnTo>
                    <a:lnTo>
                      <a:pt x="3100" y="762"/>
                    </a:lnTo>
                    <a:close/>
                    <a:moveTo>
                      <a:pt x="1010" y="753"/>
                    </a:moveTo>
                    <a:lnTo>
                      <a:pt x="1008" y="753"/>
                    </a:lnTo>
                    <a:lnTo>
                      <a:pt x="1008" y="755"/>
                    </a:lnTo>
                    <a:lnTo>
                      <a:pt x="1008" y="800"/>
                    </a:lnTo>
                    <a:lnTo>
                      <a:pt x="1010" y="800"/>
                    </a:lnTo>
                    <a:lnTo>
                      <a:pt x="1010" y="753"/>
                    </a:lnTo>
                    <a:close/>
                    <a:moveTo>
                      <a:pt x="5131" y="731"/>
                    </a:moveTo>
                    <a:lnTo>
                      <a:pt x="5131" y="731"/>
                    </a:lnTo>
                    <a:lnTo>
                      <a:pt x="5131" y="734"/>
                    </a:lnTo>
                    <a:lnTo>
                      <a:pt x="5131" y="944"/>
                    </a:lnTo>
                    <a:lnTo>
                      <a:pt x="5131" y="944"/>
                    </a:lnTo>
                    <a:lnTo>
                      <a:pt x="5131" y="731"/>
                    </a:lnTo>
                    <a:close/>
                    <a:moveTo>
                      <a:pt x="3138" y="656"/>
                    </a:moveTo>
                    <a:lnTo>
                      <a:pt x="3138" y="656"/>
                    </a:lnTo>
                    <a:lnTo>
                      <a:pt x="3138" y="658"/>
                    </a:lnTo>
                    <a:lnTo>
                      <a:pt x="3138" y="734"/>
                    </a:lnTo>
                    <a:lnTo>
                      <a:pt x="3138" y="734"/>
                    </a:lnTo>
                    <a:lnTo>
                      <a:pt x="3138" y="656"/>
                    </a:lnTo>
                    <a:close/>
                    <a:moveTo>
                      <a:pt x="97" y="615"/>
                    </a:moveTo>
                    <a:lnTo>
                      <a:pt x="95" y="615"/>
                    </a:lnTo>
                    <a:lnTo>
                      <a:pt x="95" y="618"/>
                    </a:lnTo>
                    <a:lnTo>
                      <a:pt x="95" y="1425"/>
                    </a:lnTo>
                    <a:lnTo>
                      <a:pt x="97" y="1425"/>
                    </a:lnTo>
                    <a:lnTo>
                      <a:pt x="97" y="615"/>
                    </a:lnTo>
                    <a:close/>
                    <a:moveTo>
                      <a:pt x="5254" y="608"/>
                    </a:moveTo>
                    <a:lnTo>
                      <a:pt x="5252" y="608"/>
                    </a:lnTo>
                    <a:lnTo>
                      <a:pt x="5252" y="611"/>
                    </a:lnTo>
                    <a:lnTo>
                      <a:pt x="5252" y="703"/>
                    </a:lnTo>
                    <a:lnTo>
                      <a:pt x="5254" y="703"/>
                    </a:lnTo>
                    <a:lnTo>
                      <a:pt x="5254" y="608"/>
                    </a:lnTo>
                    <a:close/>
                    <a:moveTo>
                      <a:pt x="3282" y="582"/>
                    </a:moveTo>
                    <a:lnTo>
                      <a:pt x="3282" y="582"/>
                    </a:lnTo>
                    <a:lnTo>
                      <a:pt x="3282" y="582"/>
                    </a:lnTo>
                    <a:lnTo>
                      <a:pt x="3282" y="584"/>
                    </a:lnTo>
                    <a:lnTo>
                      <a:pt x="3282" y="629"/>
                    </a:lnTo>
                    <a:lnTo>
                      <a:pt x="3282" y="629"/>
                    </a:lnTo>
                    <a:lnTo>
                      <a:pt x="3282" y="582"/>
                    </a:lnTo>
                    <a:close/>
                    <a:moveTo>
                      <a:pt x="303" y="547"/>
                    </a:moveTo>
                    <a:lnTo>
                      <a:pt x="301" y="547"/>
                    </a:lnTo>
                    <a:lnTo>
                      <a:pt x="301" y="549"/>
                    </a:lnTo>
                    <a:lnTo>
                      <a:pt x="301" y="589"/>
                    </a:lnTo>
                    <a:lnTo>
                      <a:pt x="303" y="589"/>
                    </a:lnTo>
                    <a:lnTo>
                      <a:pt x="303" y="547"/>
                    </a:lnTo>
                    <a:close/>
                    <a:moveTo>
                      <a:pt x="7025" y="509"/>
                    </a:moveTo>
                    <a:lnTo>
                      <a:pt x="7025" y="509"/>
                    </a:lnTo>
                    <a:lnTo>
                      <a:pt x="7025" y="511"/>
                    </a:lnTo>
                    <a:lnTo>
                      <a:pt x="7025" y="1664"/>
                    </a:lnTo>
                    <a:lnTo>
                      <a:pt x="7025" y="1664"/>
                    </a:lnTo>
                    <a:lnTo>
                      <a:pt x="7025" y="509"/>
                    </a:lnTo>
                    <a:close/>
                    <a:moveTo>
                      <a:pt x="4195" y="504"/>
                    </a:moveTo>
                    <a:lnTo>
                      <a:pt x="4193" y="504"/>
                    </a:lnTo>
                    <a:lnTo>
                      <a:pt x="4193" y="504"/>
                    </a:lnTo>
                    <a:lnTo>
                      <a:pt x="4145" y="568"/>
                    </a:lnTo>
                    <a:lnTo>
                      <a:pt x="4145" y="568"/>
                    </a:lnTo>
                    <a:lnTo>
                      <a:pt x="4195" y="504"/>
                    </a:lnTo>
                    <a:close/>
                    <a:moveTo>
                      <a:pt x="3301" y="502"/>
                    </a:moveTo>
                    <a:lnTo>
                      <a:pt x="3299" y="502"/>
                    </a:lnTo>
                    <a:lnTo>
                      <a:pt x="3299" y="502"/>
                    </a:lnTo>
                    <a:lnTo>
                      <a:pt x="3299" y="502"/>
                    </a:lnTo>
                    <a:lnTo>
                      <a:pt x="3299" y="566"/>
                    </a:lnTo>
                    <a:lnTo>
                      <a:pt x="3299" y="566"/>
                    </a:lnTo>
                    <a:lnTo>
                      <a:pt x="3299" y="563"/>
                    </a:lnTo>
                    <a:lnTo>
                      <a:pt x="3301" y="563"/>
                    </a:lnTo>
                    <a:lnTo>
                      <a:pt x="3301" y="502"/>
                    </a:lnTo>
                    <a:close/>
                    <a:moveTo>
                      <a:pt x="4037" y="454"/>
                    </a:moveTo>
                    <a:lnTo>
                      <a:pt x="4034" y="454"/>
                    </a:lnTo>
                    <a:lnTo>
                      <a:pt x="4034" y="454"/>
                    </a:lnTo>
                    <a:lnTo>
                      <a:pt x="4034" y="457"/>
                    </a:lnTo>
                    <a:lnTo>
                      <a:pt x="4034" y="490"/>
                    </a:lnTo>
                    <a:lnTo>
                      <a:pt x="3954" y="644"/>
                    </a:lnTo>
                    <a:lnTo>
                      <a:pt x="3954" y="899"/>
                    </a:lnTo>
                    <a:lnTo>
                      <a:pt x="3956" y="899"/>
                    </a:lnTo>
                    <a:lnTo>
                      <a:pt x="3956" y="641"/>
                    </a:lnTo>
                    <a:lnTo>
                      <a:pt x="4037" y="490"/>
                    </a:lnTo>
                    <a:lnTo>
                      <a:pt x="4037" y="454"/>
                    </a:lnTo>
                    <a:close/>
                    <a:moveTo>
                      <a:pt x="3330" y="433"/>
                    </a:moveTo>
                    <a:lnTo>
                      <a:pt x="3327" y="433"/>
                    </a:lnTo>
                    <a:lnTo>
                      <a:pt x="3327" y="435"/>
                    </a:lnTo>
                    <a:lnTo>
                      <a:pt x="3327" y="473"/>
                    </a:lnTo>
                    <a:lnTo>
                      <a:pt x="3330" y="473"/>
                    </a:lnTo>
                    <a:lnTo>
                      <a:pt x="3330" y="433"/>
                    </a:lnTo>
                    <a:close/>
                    <a:moveTo>
                      <a:pt x="4044" y="390"/>
                    </a:moveTo>
                    <a:lnTo>
                      <a:pt x="4041" y="390"/>
                    </a:lnTo>
                    <a:lnTo>
                      <a:pt x="4041" y="390"/>
                    </a:lnTo>
                    <a:lnTo>
                      <a:pt x="4041" y="393"/>
                    </a:lnTo>
                    <a:lnTo>
                      <a:pt x="4041" y="450"/>
                    </a:lnTo>
                    <a:lnTo>
                      <a:pt x="4044" y="450"/>
                    </a:lnTo>
                    <a:lnTo>
                      <a:pt x="4044" y="447"/>
                    </a:lnTo>
                    <a:lnTo>
                      <a:pt x="4044" y="447"/>
                    </a:lnTo>
                    <a:lnTo>
                      <a:pt x="4044" y="390"/>
                    </a:lnTo>
                    <a:close/>
                    <a:moveTo>
                      <a:pt x="1809" y="369"/>
                    </a:moveTo>
                    <a:lnTo>
                      <a:pt x="1809" y="369"/>
                    </a:lnTo>
                    <a:lnTo>
                      <a:pt x="1809" y="369"/>
                    </a:lnTo>
                    <a:lnTo>
                      <a:pt x="1809" y="1103"/>
                    </a:lnTo>
                    <a:lnTo>
                      <a:pt x="1809" y="1103"/>
                    </a:lnTo>
                    <a:lnTo>
                      <a:pt x="1809" y="369"/>
                    </a:lnTo>
                    <a:close/>
                    <a:moveTo>
                      <a:pt x="1939" y="334"/>
                    </a:moveTo>
                    <a:lnTo>
                      <a:pt x="1937" y="334"/>
                    </a:lnTo>
                    <a:lnTo>
                      <a:pt x="1937" y="336"/>
                    </a:lnTo>
                    <a:lnTo>
                      <a:pt x="1937" y="341"/>
                    </a:lnTo>
                    <a:lnTo>
                      <a:pt x="1939" y="341"/>
                    </a:lnTo>
                    <a:lnTo>
                      <a:pt x="1939" y="334"/>
                    </a:lnTo>
                    <a:close/>
                    <a:moveTo>
                      <a:pt x="4051" y="326"/>
                    </a:moveTo>
                    <a:lnTo>
                      <a:pt x="4049" y="326"/>
                    </a:lnTo>
                    <a:lnTo>
                      <a:pt x="4049" y="329"/>
                    </a:lnTo>
                    <a:lnTo>
                      <a:pt x="4049" y="383"/>
                    </a:lnTo>
                    <a:lnTo>
                      <a:pt x="4051" y="383"/>
                    </a:lnTo>
                    <a:lnTo>
                      <a:pt x="4051" y="381"/>
                    </a:lnTo>
                    <a:lnTo>
                      <a:pt x="4051" y="381"/>
                    </a:lnTo>
                    <a:lnTo>
                      <a:pt x="4051" y="326"/>
                    </a:lnTo>
                    <a:close/>
                    <a:moveTo>
                      <a:pt x="2029" y="293"/>
                    </a:moveTo>
                    <a:lnTo>
                      <a:pt x="2027" y="293"/>
                    </a:lnTo>
                    <a:lnTo>
                      <a:pt x="2027" y="296"/>
                    </a:lnTo>
                    <a:lnTo>
                      <a:pt x="2027" y="305"/>
                    </a:lnTo>
                    <a:lnTo>
                      <a:pt x="2029" y="305"/>
                    </a:lnTo>
                    <a:lnTo>
                      <a:pt x="2029" y="293"/>
                    </a:lnTo>
                    <a:close/>
                    <a:moveTo>
                      <a:pt x="4703" y="232"/>
                    </a:moveTo>
                    <a:lnTo>
                      <a:pt x="4703" y="232"/>
                    </a:lnTo>
                    <a:lnTo>
                      <a:pt x="4701" y="234"/>
                    </a:lnTo>
                    <a:lnTo>
                      <a:pt x="4640" y="461"/>
                    </a:lnTo>
                    <a:lnTo>
                      <a:pt x="4642" y="459"/>
                    </a:lnTo>
                    <a:lnTo>
                      <a:pt x="4703" y="232"/>
                    </a:lnTo>
                    <a:close/>
                    <a:moveTo>
                      <a:pt x="4805" y="173"/>
                    </a:moveTo>
                    <a:lnTo>
                      <a:pt x="4803" y="173"/>
                    </a:lnTo>
                    <a:lnTo>
                      <a:pt x="4803" y="173"/>
                    </a:lnTo>
                    <a:lnTo>
                      <a:pt x="4803" y="175"/>
                    </a:lnTo>
                    <a:lnTo>
                      <a:pt x="4803" y="203"/>
                    </a:lnTo>
                    <a:lnTo>
                      <a:pt x="4805" y="203"/>
                    </a:lnTo>
                    <a:lnTo>
                      <a:pt x="4805" y="173"/>
                    </a:lnTo>
                    <a:close/>
                    <a:moveTo>
                      <a:pt x="4852" y="0"/>
                    </a:moveTo>
                    <a:lnTo>
                      <a:pt x="4852" y="0"/>
                    </a:lnTo>
                    <a:lnTo>
                      <a:pt x="4852" y="2"/>
                    </a:lnTo>
                    <a:lnTo>
                      <a:pt x="4852" y="144"/>
                    </a:lnTo>
                    <a:lnTo>
                      <a:pt x="4852" y="144"/>
                    </a:lnTo>
                    <a:lnTo>
                      <a:pt x="4852" y="0"/>
                    </a:lnTo>
                    <a:close/>
                    <a:moveTo>
                      <a:pt x="4912" y="0"/>
                    </a:moveTo>
                    <a:lnTo>
                      <a:pt x="4909" y="0"/>
                    </a:lnTo>
                    <a:lnTo>
                      <a:pt x="4909" y="2"/>
                    </a:lnTo>
                    <a:lnTo>
                      <a:pt x="4909" y="144"/>
                    </a:lnTo>
                    <a:lnTo>
                      <a:pt x="4912" y="144"/>
                    </a:lnTo>
                    <a:lnTo>
                      <a:pt x="491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3" name="Freeform 115"/>
              <p:cNvSpPr>
                <a:spLocks noEditPoints="1"/>
              </p:cNvSpPr>
              <p:nvPr/>
            </p:nvSpPr>
            <p:spPr bwMode="auto">
              <a:xfrm>
                <a:off x="18" y="1689"/>
                <a:ext cx="7025" cy="1664"/>
              </a:xfrm>
              <a:custGeom>
                <a:avLst/>
                <a:gdLst>
                  <a:gd name="T0" fmla="*/ 3 w 7025"/>
                  <a:gd name="T1" fmla="*/ 1505 h 1664"/>
                  <a:gd name="T2" fmla="*/ 5663 w 7025"/>
                  <a:gd name="T3" fmla="*/ 1420 h 1664"/>
                  <a:gd name="T4" fmla="*/ 3710 w 7025"/>
                  <a:gd name="T5" fmla="*/ 1221 h 1664"/>
                  <a:gd name="T6" fmla="*/ 5831 w 7025"/>
                  <a:gd name="T7" fmla="*/ 1210 h 1664"/>
                  <a:gd name="T8" fmla="*/ 5831 w 7025"/>
                  <a:gd name="T9" fmla="*/ 1297 h 1664"/>
                  <a:gd name="T10" fmla="*/ 1665 w 7025"/>
                  <a:gd name="T11" fmla="*/ 1157 h 1664"/>
                  <a:gd name="T12" fmla="*/ 1686 w 7025"/>
                  <a:gd name="T13" fmla="*/ 1131 h 1664"/>
                  <a:gd name="T14" fmla="*/ 1689 w 7025"/>
                  <a:gd name="T15" fmla="*/ 1131 h 1664"/>
                  <a:gd name="T16" fmla="*/ 5855 w 7025"/>
                  <a:gd name="T17" fmla="*/ 1183 h 1664"/>
                  <a:gd name="T18" fmla="*/ 6323 w 7025"/>
                  <a:gd name="T19" fmla="*/ 1127 h 1664"/>
                  <a:gd name="T20" fmla="*/ 6323 w 7025"/>
                  <a:gd name="T21" fmla="*/ 1181 h 1664"/>
                  <a:gd name="T22" fmla="*/ 1445 w 7025"/>
                  <a:gd name="T23" fmla="*/ 1124 h 1664"/>
                  <a:gd name="T24" fmla="*/ 1448 w 7025"/>
                  <a:gd name="T25" fmla="*/ 1124 h 1664"/>
                  <a:gd name="T26" fmla="*/ 1464 w 7025"/>
                  <a:gd name="T27" fmla="*/ 1108 h 1664"/>
                  <a:gd name="T28" fmla="*/ 2859 w 7025"/>
                  <a:gd name="T29" fmla="*/ 1063 h 1664"/>
                  <a:gd name="T30" fmla="*/ 2862 w 7025"/>
                  <a:gd name="T31" fmla="*/ 1063 h 1664"/>
                  <a:gd name="T32" fmla="*/ 5931 w 7025"/>
                  <a:gd name="T33" fmla="*/ 1101 h 1664"/>
                  <a:gd name="T34" fmla="*/ 2876 w 7025"/>
                  <a:gd name="T35" fmla="*/ 1013 h 1664"/>
                  <a:gd name="T36" fmla="*/ 2878 w 7025"/>
                  <a:gd name="T37" fmla="*/ 1011 h 1664"/>
                  <a:gd name="T38" fmla="*/ 3772 w 7025"/>
                  <a:gd name="T39" fmla="*/ 1195 h 1664"/>
                  <a:gd name="T40" fmla="*/ 5947 w 7025"/>
                  <a:gd name="T41" fmla="*/ 1025 h 1664"/>
                  <a:gd name="T42" fmla="*/ 6340 w 7025"/>
                  <a:gd name="T43" fmla="*/ 935 h 1664"/>
                  <a:gd name="T44" fmla="*/ 6340 w 7025"/>
                  <a:gd name="T45" fmla="*/ 1110 h 1664"/>
                  <a:gd name="T46" fmla="*/ 3845 w 7025"/>
                  <a:gd name="T47" fmla="*/ 928 h 1664"/>
                  <a:gd name="T48" fmla="*/ 6385 w 7025"/>
                  <a:gd name="T49" fmla="*/ 895 h 1664"/>
                  <a:gd name="T50" fmla="*/ 6382 w 7025"/>
                  <a:gd name="T51" fmla="*/ 906 h 1664"/>
                  <a:gd name="T52" fmla="*/ 6389 w 7025"/>
                  <a:gd name="T53" fmla="*/ 880 h 1664"/>
                  <a:gd name="T54" fmla="*/ 6389 w 7025"/>
                  <a:gd name="T55" fmla="*/ 878 h 1664"/>
                  <a:gd name="T56" fmla="*/ 6396 w 7025"/>
                  <a:gd name="T57" fmla="*/ 871 h 1664"/>
                  <a:gd name="T58" fmla="*/ 804 w 7025"/>
                  <a:gd name="T59" fmla="*/ 826 h 1664"/>
                  <a:gd name="T60" fmla="*/ 3100 w 7025"/>
                  <a:gd name="T61" fmla="*/ 762 h 1664"/>
                  <a:gd name="T62" fmla="*/ 3100 w 7025"/>
                  <a:gd name="T63" fmla="*/ 951 h 1664"/>
                  <a:gd name="T64" fmla="*/ 1008 w 7025"/>
                  <a:gd name="T65" fmla="*/ 800 h 1664"/>
                  <a:gd name="T66" fmla="*/ 5131 w 7025"/>
                  <a:gd name="T67" fmla="*/ 734 h 1664"/>
                  <a:gd name="T68" fmla="*/ 3138 w 7025"/>
                  <a:gd name="T69" fmla="*/ 656 h 1664"/>
                  <a:gd name="T70" fmla="*/ 97 w 7025"/>
                  <a:gd name="T71" fmla="*/ 615 h 1664"/>
                  <a:gd name="T72" fmla="*/ 97 w 7025"/>
                  <a:gd name="T73" fmla="*/ 615 h 1664"/>
                  <a:gd name="T74" fmla="*/ 5254 w 7025"/>
                  <a:gd name="T75" fmla="*/ 703 h 1664"/>
                  <a:gd name="T76" fmla="*/ 3282 w 7025"/>
                  <a:gd name="T77" fmla="*/ 584 h 1664"/>
                  <a:gd name="T78" fmla="*/ 301 w 7025"/>
                  <a:gd name="T79" fmla="*/ 547 h 1664"/>
                  <a:gd name="T80" fmla="*/ 7025 w 7025"/>
                  <a:gd name="T81" fmla="*/ 509 h 1664"/>
                  <a:gd name="T82" fmla="*/ 7025 w 7025"/>
                  <a:gd name="T83" fmla="*/ 509 h 1664"/>
                  <a:gd name="T84" fmla="*/ 4145 w 7025"/>
                  <a:gd name="T85" fmla="*/ 568 h 1664"/>
                  <a:gd name="T86" fmla="*/ 3299 w 7025"/>
                  <a:gd name="T87" fmla="*/ 502 h 1664"/>
                  <a:gd name="T88" fmla="*/ 3301 w 7025"/>
                  <a:gd name="T89" fmla="*/ 502 h 1664"/>
                  <a:gd name="T90" fmla="*/ 4034 w 7025"/>
                  <a:gd name="T91" fmla="*/ 490 h 1664"/>
                  <a:gd name="T92" fmla="*/ 4037 w 7025"/>
                  <a:gd name="T93" fmla="*/ 490 h 1664"/>
                  <a:gd name="T94" fmla="*/ 3327 w 7025"/>
                  <a:gd name="T95" fmla="*/ 473 h 1664"/>
                  <a:gd name="T96" fmla="*/ 4041 w 7025"/>
                  <a:gd name="T97" fmla="*/ 390 h 1664"/>
                  <a:gd name="T98" fmla="*/ 4044 w 7025"/>
                  <a:gd name="T99" fmla="*/ 447 h 1664"/>
                  <a:gd name="T100" fmla="*/ 1809 w 7025"/>
                  <a:gd name="T101" fmla="*/ 1103 h 1664"/>
                  <a:gd name="T102" fmla="*/ 1937 w 7025"/>
                  <a:gd name="T103" fmla="*/ 336 h 1664"/>
                  <a:gd name="T104" fmla="*/ 4049 w 7025"/>
                  <a:gd name="T105" fmla="*/ 326 h 1664"/>
                  <a:gd name="T106" fmla="*/ 4051 w 7025"/>
                  <a:gd name="T107" fmla="*/ 381 h 1664"/>
                  <a:gd name="T108" fmla="*/ 2027 w 7025"/>
                  <a:gd name="T109" fmla="*/ 305 h 1664"/>
                  <a:gd name="T110" fmla="*/ 4701 w 7025"/>
                  <a:gd name="T111" fmla="*/ 234 h 1664"/>
                  <a:gd name="T112" fmla="*/ 4803 w 7025"/>
                  <a:gd name="T113" fmla="*/ 173 h 1664"/>
                  <a:gd name="T114" fmla="*/ 4805 w 7025"/>
                  <a:gd name="T115" fmla="*/ 173 h 1664"/>
                  <a:gd name="T116" fmla="*/ 4852 w 7025"/>
                  <a:gd name="T117" fmla="*/ 144 h 1664"/>
                  <a:gd name="T118" fmla="*/ 4909 w 7025"/>
                  <a:gd name="T119" fmla="*/ 144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4">
                    <a:moveTo>
                      <a:pt x="3" y="1453"/>
                    </a:moveTo>
                    <a:lnTo>
                      <a:pt x="0" y="1453"/>
                    </a:lnTo>
                    <a:lnTo>
                      <a:pt x="0" y="1456"/>
                    </a:lnTo>
                    <a:lnTo>
                      <a:pt x="0" y="1505"/>
                    </a:lnTo>
                    <a:lnTo>
                      <a:pt x="3" y="1505"/>
                    </a:lnTo>
                    <a:lnTo>
                      <a:pt x="3" y="1453"/>
                    </a:lnTo>
                    <a:moveTo>
                      <a:pt x="5666" y="1326"/>
                    </a:moveTo>
                    <a:lnTo>
                      <a:pt x="5663" y="1326"/>
                    </a:lnTo>
                    <a:lnTo>
                      <a:pt x="5663" y="1328"/>
                    </a:lnTo>
                    <a:lnTo>
                      <a:pt x="5663" y="1420"/>
                    </a:lnTo>
                    <a:lnTo>
                      <a:pt x="5666" y="1420"/>
                    </a:lnTo>
                    <a:lnTo>
                      <a:pt x="5666" y="1326"/>
                    </a:lnTo>
                    <a:moveTo>
                      <a:pt x="3710" y="1221"/>
                    </a:moveTo>
                    <a:lnTo>
                      <a:pt x="3710" y="1221"/>
                    </a:lnTo>
                    <a:lnTo>
                      <a:pt x="3710" y="1221"/>
                    </a:lnTo>
                    <a:lnTo>
                      <a:pt x="3710" y="1224"/>
                    </a:lnTo>
                    <a:lnTo>
                      <a:pt x="3710" y="1363"/>
                    </a:lnTo>
                    <a:lnTo>
                      <a:pt x="3710" y="1363"/>
                    </a:lnTo>
                    <a:lnTo>
                      <a:pt x="3710" y="1221"/>
                    </a:lnTo>
                    <a:moveTo>
                      <a:pt x="5831" y="1210"/>
                    </a:moveTo>
                    <a:lnTo>
                      <a:pt x="5831" y="1210"/>
                    </a:lnTo>
                    <a:lnTo>
                      <a:pt x="5829" y="1210"/>
                    </a:lnTo>
                    <a:lnTo>
                      <a:pt x="5829" y="1210"/>
                    </a:lnTo>
                    <a:lnTo>
                      <a:pt x="5829" y="1297"/>
                    </a:lnTo>
                    <a:lnTo>
                      <a:pt x="5831" y="1297"/>
                    </a:lnTo>
                    <a:lnTo>
                      <a:pt x="5831" y="1210"/>
                    </a:lnTo>
                    <a:moveTo>
                      <a:pt x="1665" y="1157"/>
                    </a:moveTo>
                    <a:lnTo>
                      <a:pt x="1665" y="1157"/>
                    </a:lnTo>
                    <a:lnTo>
                      <a:pt x="1665" y="1157"/>
                    </a:lnTo>
                    <a:lnTo>
                      <a:pt x="1665" y="1157"/>
                    </a:lnTo>
                    <a:lnTo>
                      <a:pt x="1665" y="1172"/>
                    </a:lnTo>
                    <a:lnTo>
                      <a:pt x="1665" y="1172"/>
                    </a:lnTo>
                    <a:lnTo>
                      <a:pt x="1665" y="1157"/>
                    </a:lnTo>
                    <a:moveTo>
                      <a:pt x="1689" y="1131"/>
                    </a:moveTo>
                    <a:lnTo>
                      <a:pt x="1686" y="1131"/>
                    </a:lnTo>
                    <a:lnTo>
                      <a:pt x="1686" y="1134"/>
                    </a:lnTo>
                    <a:lnTo>
                      <a:pt x="1686" y="1134"/>
                    </a:lnTo>
                    <a:lnTo>
                      <a:pt x="1689" y="1134"/>
                    </a:lnTo>
                    <a:lnTo>
                      <a:pt x="1689" y="1131"/>
                    </a:lnTo>
                    <a:lnTo>
                      <a:pt x="1689" y="1131"/>
                    </a:lnTo>
                    <a:lnTo>
                      <a:pt x="1689" y="1131"/>
                    </a:lnTo>
                    <a:moveTo>
                      <a:pt x="5857" y="1127"/>
                    </a:moveTo>
                    <a:lnTo>
                      <a:pt x="5855" y="1127"/>
                    </a:lnTo>
                    <a:lnTo>
                      <a:pt x="5855" y="1129"/>
                    </a:lnTo>
                    <a:lnTo>
                      <a:pt x="5855" y="1183"/>
                    </a:lnTo>
                    <a:lnTo>
                      <a:pt x="5855" y="1183"/>
                    </a:lnTo>
                    <a:lnTo>
                      <a:pt x="5855" y="1183"/>
                    </a:lnTo>
                    <a:lnTo>
                      <a:pt x="5857" y="1183"/>
                    </a:lnTo>
                    <a:lnTo>
                      <a:pt x="5857" y="1127"/>
                    </a:lnTo>
                    <a:moveTo>
                      <a:pt x="6323" y="1127"/>
                    </a:moveTo>
                    <a:lnTo>
                      <a:pt x="6321" y="1127"/>
                    </a:lnTo>
                    <a:lnTo>
                      <a:pt x="6321" y="1127"/>
                    </a:lnTo>
                    <a:lnTo>
                      <a:pt x="6321" y="1129"/>
                    </a:lnTo>
                    <a:lnTo>
                      <a:pt x="6321" y="1181"/>
                    </a:lnTo>
                    <a:lnTo>
                      <a:pt x="6323" y="1181"/>
                    </a:lnTo>
                    <a:lnTo>
                      <a:pt x="6323" y="1335"/>
                    </a:lnTo>
                    <a:lnTo>
                      <a:pt x="6323" y="1335"/>
                    </a:lnTo>
                    <a:lnTo>
                      <a:pt x="6323" y="1127"/>
                    </a:lnTo>
                    <a:moveTo>
                      <a:pt x="1448" y="1124"/>
                    </a:moveTo>
                    <a:lnTo>
                      <a:pt x="1445" y="1124"/>
                    </a:lnTo>
                    <a:lnTo>
                      <a:pt x="1445" y="1124"/>
                    </a:lnTo>
                    <a:lnTo>
                      <a:pt x="1445" y="1127"/>
                    </a:lnTo>
                    <a:lnTo>
                      <a:pt x="1445" y="1172"/>
                    </a:lnTo>
                    <a:lnTo>
                      <a:pt x="1448" y="1172"/>
                    </a:lnTo>
                    <a:lnTo>
                      <a:pt x="1448" y="1124"/>
                    </a:lnTo>
                    <a:moveTo>
                      <a:pt x="1464" y="1084"/>
                    </a:moveTo>
                    <a:lnTo>
                      <a:pt x="1462" y="1084"/>
                    </a:lnTo>
                    <a:lnTo>
                      <a:pt x="1462" y="1086"/>
                    </a:lnTo>
                    <a:lnTo>
                      <a:pt x="1462" y="1108"/>
                    </a:lnTo>
                    <a:lnTo>
                      <a:pt x="1464" y="1108"/>
                    </a:lnTo>
                    <a:lnTo>
                      <a:pt x="1464" y="1108"/>
                    </a:lnTo>
                    <a:lnTo>
                      <a:pt x="1464" y="1108"/>
                    </a:lnTo>
                    <a:lnTo>
                      <a:pt x="1464" y="1084"/>
                    </a:lnTo>
                    <a:moveTo>
                      <a:pt x="2862" y="1063"/>
                    </a:moveTo>
                    <a:lnTo>
                      <a:pt x="2859" y="1063"/>
                    </a:lnTo>
                    <a:lnTo>
                      <a:pt x="2859" y="1063"/>
                    </a:lnTo>
                    <a:lnTo>
                      <a:pt x="2859" y="1065"/>
                    </a:lnTo>
                    <a:lnTo>
                      <a:pt x="2859" y="1212"/>
                    </a:lnTo>
                    <a:lnTo>
                      <a:pt x="2862" y="1212"/>
                    </a:lnTo>
                    <a:lnTo>
                      <a:pt x="2862" y="1063"/>
                    </a:lnTo>
                    <a:moveTo>
                      <a:pt x="5931" y="1041"/>
                    </a:moveTo>
                    <a:lnTo>
                      <a:pt x="5931" y="1041"/>
                    </a:lnTo>
                    <a:lnTo>
                      <a:pt x="5931" y="1041"/>
                    </a:lnTo>
                    <a:lnTo>
                      <a:pt x="5931" y="1044"/>
                    </a:lnTo>
                    <a:lnTo>
                      <a:pt x="5931" y="1101"/>
                    </a:lnTo>
                    <a:lnTo>
                      <a:pt x="5931" y="1101"/>
                    </a:lnTo>
                    <a:lnTo>
                      <a:pt x="5931" y="1041"/>
                    </a:lnTo>
                    <a:moveTo>
                      <a:pt x="2878" y="1011"/>
                    </a:moveTo>
                    <a:lnTo>
                      <a:pt x="2876" y="1013"/>
                    </a:lnTo>
                    <a:lnTo>
                      <a:pt x="2876" y="1013"/>
                    </a:lnTo>
                    <a:lnTo>
                      <a:pt x="2876" y="1046"/>
                    </a:lnTo>
                    <a:lnTo>
                      <a:pt x="2878" y="1046"/>
                    </a:lnTo>
                    <a:lnTo>
                      <a:pt x="2878" y="1044"/>
                    </a:lnTo>
                    <a:lnTo>
                      <a:pt x="2878" y="1044"/>
                    </a:lnTo>
                    <a:lnTo>
                      <a:pt x="2878" y="1011"/>
                    </a:lnTo>
                    <a:moveTo>
                      <a:pt x="3772" y="994"/>
                    </a:moveTo>
                    <a:lnTo>
                      <a:pt x="3769" y="994"/>
                    </a:lnTo>
                    <a:lnTo>
                      <a:pt x="3769" y="994"/>
                    </a:lnTo>
                    <a:lnTo>
                      <a:pt x="3769" y="1195"/>
                    </a:lnTo>
                    <a:lnTo>
                      <a:pt x="3772" y="1195"/>
                    </a:lnTo>
                    <a:lnTo>
                      <a:pt x="3772" y="994"/>
                    </a:lnTo>
                    <a:moveTo>
                      <a:pt x="5950" y="989"/>
                    </a:moveTo>
                    <a:lnTo>
                      <a:pt x="5947" y="989"/>
                    </a:lnTo>
                    <a:lnTo>
                      <a:pt x="5947" y="992"/>
                    </a:lnTo>
                    <a:lnTo>
                      <a:pt x="5947" y="1025"/>
                    </a:lnTo>
                    <a:lnTo>
                      <a:pt x="5947" y="1025"/>
                    </a:lnTo>
                    <a:lnTo>
                      <a:pt x="5947" y="1022"/>
                    </a:lnTo>
                    <a:lnTo>
                      <a:pt x="5950" y="1022"/>
                    </a:lnTo>
                    <a:lnTo>
                      <a:pt x="5950" y="989"/>
                    </a:lnTo>
                    <a:moveTo>
                      <a:pt x="6340" y="935"/>
                    </a:moveTo>
                    <a:lnTo>
                      <a:pt x="6340" y="935"/>
                    </a:lnTo>
                    <a:lnTo>
                      <a:pt x="6340" y="935"/>
                    </a:lnTo>
                    <a:lnTo>
                      <a:pt x="6340" y="937"/>
                    </a:lnTo>
                    <a:lnTo>
                      <a:pt x="6340" y="1110"/>
                    </a:lnTo>
                    <a:lnTo>
                      <a:pt x="6340" y="1110"/>
                    </a:lnTo>
                    <a:lnTo>
                      <a:pt x="6340" y="1110"/>
                    </a:lnTo>
                    <a:lnTo>
                      <a:pt x="6340" y="1110"/>
                    </a:lnTo>
                    <a:lnTo>
                      <a:pt x="6340" y="935"/>
                    </a:lnTo>
                    <a:moveTo>
                      <a:pt x="3845" y="928"/>
                    </a:moveTo>
                    <a:lnTo>
                      <a:pt x="3845" y="928"/>
                    </a:lnTo>
                    <a:lnTo>
                      <a:pt x="3845" y="930"/>
                    </a:lnTo>
                    <a:lnTo>
                      <a:pt x="3845" y="966"/>
                    </a:lnTo>
                    <a:lnTo>
                      <a:pt x="3845" y="966"/>
                    </a:lnTo>
                    <a:lnTo>
                      <a:pt x="3845" y="928"/>
                    </a:lnTo>
                    <a:moveTo>
                      <a:pt x="6385" y="895"/>
                    </a:moveTo>
                    <a:lnTo>
                      <a:pt x="6385" y="895"/>
                    </a:lnTo>
                    <a:lnTo>
                      <a:pt x="6385" y="895"/>
                    </a:lnTo>
                    <a:lnTo>
                      <a:pt x="6382" y="897"/>
                    </a:lnTo>
                    <a:lnTo>
                      <a:pt x="6380" y="906"/>
                    </a:lnTo>
                    <a:lnTo>
                      <a:pt x="6382" y="906"/>
                    </a:lnTo>
                    <a:lnTo>
                      <a:pt x="6385" y="895"/>
                    </a:lnTo>
                    <a:moveTo>
                      <a:pt x="6389" y="878"/>
                    </a:moveTo>
                    <a:lnTo>
                      <a:pt x="6389" y="878"/>
                    </a:lnTo>
                    <a:lnTo>
                      <a:pt x="6389" y="878"/>
                    </a:lnTo>
                    <a:lnTo>
                      <a:pt x="6389" y="880"/>
                    </a:lnTo>
                    <a:lnTo>
                      <a:pt x="6389" y="890"/>
                    </a:lnTo>
                    <a:lnTo>
                      <a:pt x="6389" y="890"/>
                    </a:lnTo>
                    <a:lnTo>
                      <a:pt x="6389" y="890"/>
                    </a:lnTo>
                    <a:lnTo>
                      <a:pt x="6389" y="890"/>
                    </a:lnTo>
                    <a:lnTo>
                      <a:pt x="6389" y="878"/>
                    </a:lnTo>
                    <a:moveTo>
                      <a:pt x="6399" y="850"/>
                    </a:moveTo>
                    <a:lnTo>
                      <a:pt x="6396" y="850"/>
                    </a:lnTo>
                    <a:lnTo>
                      <a:pt x="6396" y="852"/>
                    </a:lnTo>
                    <a:lnTo>
                      <a:pt x="6396" y="871"/>
                    </a:lnTo>
                    <a:lnTo>
                      <a:pt x="6396" y="871"/>
                    </a:lnTo>
                    <a:lnTo>
                      <a:pt x="6396" y="869"/>
                    </a:lnTo>
                    <a:lnTo>
                      <a:pt x="6399" y="869"/>
                    </a:lnTo>
                    <a:lnTo>
                      <a:pt x="6399" y="850"/>
                    </a:lnTo>
                    <a:moveTo>
                      <a:pt x="807" y="826"/>
                    </a:moveTo>
                    <a:lnTo>
                      <a:pt x="804" y="826"/>
                    </a:lnTo>
                    <a:lnTo>
                      <a:pt x="804" y="828"/>
                    </a:lnTo>
                    <a:lnTo>
                      <a:pt x="804" y="1041"/>
                    </a:lnTo>
                    <a:lnTo>
                      <a:pt x="807" y="1041"/>
                    </a:lnTo>
                    <a:lnTo>
                      <a:pt x="807" y="826"/>
                    </a:lnTo>
                    <a:moveTo>
                      <a:pt x="3100" y="762"/>
                    </a:moveTo>
                    <a:lnTo>
                      <a:pt x="3100" y="762"/>
                    </a:lnTo>
                    <a:lnTo>
                      <a:pt x="3098" y="762"/>
                    </a:lnTo>
                    <a:lnTo>
                      <a:pt x="3098" y="764"/>
                    </a:lnTo>
                    <a:lnTo>
                      <a:pt x="3098" y="951"/>
                    </a:lnTo>
                    <a:lnTo>
                      <a:pt x="3100" y="951"/>
                    </a:lnTo>
                    <a:lnTo>
                      <a:pt x="3100" y="762"/>
                    </a:lnTo>
                    <a:moveTo>
                      <a:pt x="1010" y="753"/>
                    </a:moveTo>
                    <a:lnTo>
                      <a:pt x="1008" y="753"/>
                    </a:lnTo>
                    <a:lnTo>
                      <a:pt x="1008" y="755"/>
                    </a:lnTo>
                    <a:lnTo>
                      <a:pt x="1008" y="800"/>
                    </a:lnTo>
                    <a:lnTo>
                      <a:pt x="1010" y="800"/>
                    </a:lnTo>
                    <a:lnTo>
                      <a:pt x="1010" y="753"/>
                    </a:lnTo>
                    <a:moveTo>
                      <a:pt x="5131" y="731"/>
                    </a:moveTo>
                    <a:lnTo>
                      <a:pt x="5131" y="731"/>
                    </a:lnTo>
                    <a:lnTo>
                      <a:pt x="5131" y="734"/>
                    </a:lnTo>
                    <a:lnTo>
                      <a:pt x="5131" y="944"/>
                    </a:lnTo>
                    <a:lnTo>
                      <a:pt x="5131" y="944"/>
                    </a:lnTo>
                    <a:lnTo>
                      <a:pt x="5131" y="731"/>
                    </a:lnTo>
                    <a:moveTo>
                      <a:pt x="3138" y="656"/>
                    </a:moveTo>
                    <a:lnTo>
                      <a:pt x="3138" y="656"/>
                    </a:lnTo>
                    <a:lnTo>
                      <a:pt x="3138" y="658"/>
                    </a:lnTo>
                    <a:lnTo>
                      <a:pt x="3138" y="734"/>
                    </a:lnTo>
                    <a:lnTo>
                      <a:pt x="3138" y="734"/>
                    </a:lnTo>
                    <a:lnTo>
                      <a:pt x="3138" y="656"/>
                    </a:lnTo>
                    <a:moveTo>
                      <a:pt x="97" y="615"/>
                    </a:moveTo>
                    <a:lnTo>
                      <a:pt x="95" y="615"/>
                    </a:lnTo>
                    <a:lnTo>
                      <a:pt x="95" y="618"/>
                    </a:lnTo>
                    <a:lnTo>
                      <a:pt x="95" y="1425"/>
                    </a:lnTo>
                    <a:lnTo>
                      <a:pt x="97" y="1425"/>
                    </a:lnTo>
                    <a:lnTo>
                      <a:pt x="97" y="615"/>
                    </a:lnTo>
                    <a:moveTo>
                      <a:pt x="5254" y="608"/>
                    </a:moveTo>
                    <a:lnTo>
                      <a:pt x="5252" y="608"/>
                    </a:lnTo>
                    <a:lnTo>
                      <a:pt x="5252" y="611"/>
                    </a:lnTo>
                    <a:lnTo>
                      <a:pt x="5252" y="703"/>
                    </a:lnTo>
                    <a:lnTo>
                      <a:pt x="5254" y="703"/>
                    </a:lnTo>
                    <a:lnTo>
                      <a:pt x="5254" y="608"/>
                    </a:lnTo>
                    <a:moveTo>
                      <a:pt x="3282" y="582"/>
                    </a:moveTo>
                    <a:lnTo>
                      <a:pt x="3282" y="582"/>
                    </a:lnTo>
                    <a:lnTo>
                      <a:pt x="3282" y="582"/>
                    </a:lnTo>
                    <a:lnTo>
                      <a:pt x="3282" y="584"/>
                    </a:lnTo>
                    <a:lnTo>
                      <a:pt x="3282" y="629"/>
                    </a:lnTo>
                    <a:lnTo>
                      <a:pt x="3282" y="629"/>
                    </a:lnTo>
                    <a:lnTo>
                      <a:pt x="3282" y="582"/>
                    </a:lnTo>
                    <a:moveTo>
                      <a:pt x="303" y="547"/>
                    </a:moveTo>
                    <a:lnTo>
                      <a:pt x="301" y="547"/>
                    </a:lnTo>
                    <a:lnTo>
                      <a:pt x="301" y="549"/>
                    </a:lnTo>
                    <a:lnTo>
                      <a:pt x="301" y="589"/>
                    </a:lnTo>
                    <a:lnTo>
                      <a:pt x="303" y="589"/>
                    </a:lnTo>
                    <a:lnTo>
                      <a:pt x="303" y="547"/>
                    </a:lnTo>
                    <a:moveTo>
                      <a:pt x="7025" y="509"/>
                    </a:moveTo>
                    <a:lnTo>
                      <a:pt x="7025" y="509"/>
                    </a:lnTo>
                    <a:lnTo>
                      <a:pt x="7025" y="511"/>
                    </a:lnTo>
                    <a:lnTo>
                      <a:pt x="7025" y="1664"/>
                    </a:lnTo>
                    <a:lnTo>
                      <a:pt x="7025" y="1664"/>
                    </a:lnTo>
                    <a:lnTo>
                      <a:pt x="7025" y="509"/>
                    </a:lnTo>
                    <a:moveTo>
                      <a:pt x="4195" y="504"/>
                    </a:moveTo>
                    <a:lnTo>
                      <a:pt x="4193" y="504"/>
                    </a:lnTo>
                    <a:lnTo>
                      <a:pt x="4193" y="504"/>
                    </a:lnTo>
                    <a:lnTo>
                      <a:pt x="4145" y="568"/>
                    </a:lnTo>
                    <a:lnTo>
                      <a:pt x="4145" y="568"/>
                    </a:lnTo>
                    <a:lnTo>
                      <a:pt x="4195" y="504"/>
                    </a:lnTo>
                    <a:moveTo>
                      <a:pt x="3301" y="502"/>
                    </a:moveTo>
                    <a:lnTo>
                      <a:pt x="3299" y="502"/>
                    </a:lnTo>
                    <a:lnTo>
                      <a:pt x="3299" y="502"/>
                    </a:lnTo>
                    <a:lnTo>
                      <a:pt x="3299" y="502"/>
                    </a:lnTo>
                    <a:lnTo>
                      <a:pt x="3299" y="566"/>
                    </a:lnTo>
                    <a:lnTo>
                      <a:pt x="3299" y="566"/>
                    </a:lnTo>
                    <a:lnTo>
                      <a:pt x="3299" y="563"/>
                    </a:lnTo>
                    <a:lnTo>
                      <a:pt x="3301" y="563"/>
                    </a:lnTo>
                    <a:lnTo>
                      <a:pt x="3301" y="502"/>
                    </a:lnTo>
                    <a:moveTo>
                      <a:pt x="4037" y="454"/>
                    </a:moveTo>
                    <a:lnTo>
                      <a:pt x="4034" y="454"/>
                    </a:lnTo>
                    <a:lnTo>
                      <a:pt x="4034" y="454"/>
                    </a:lnTo>
                    <a:lnTo>
                      <a:pt x="4034" y="457"/>
                    </a:lnTo>
                    <a:lnTo>
                      <a:pt x="4034" y="490"/>
                    </a:lnTo>
                    <a:lnTo>
                      <a:pt x="3954" y="644"/>
                    </a:lnTo>
                    <a:lnTo>
                      <a:pt x="3954" y="899"/>
                    </a:lnTo>
                    <a:lnTo>
                      <a:pt x="3956" y="899"/>
                    </a:lnTo>
                    <a:lnTo>
                      <a:pt x="3956" y="641"/>
                    </a:lnTo>
                    <a:lnTo>
                      <a:pt x="4037" y="490"/>
                    </a:lnTo>
                    <a:lnTo>
                      <a:pt x="4037" y="454"/>
                    </a:lnTo>
                    <a:moveTo>
                      <a:pt x="3330" y="433"/>
                    </a:moveTo>
                    <a:lnTo>
                      <a:pt x="3327" y="433"/>
                    </a:lnTo>
                    <a:lnTo>
                      <a:pt x="3327" y="435"/>
                    </a:lnTo>
                    <a:lnTo>
                      <a:pt x="3327" y="473"/>
                    </a:lnTo>
                    <a:lnTo>
                      <a:pt x="3330" y="473"/>
                    </a:lnTo>
                    <a:lnTo>
                      <a:pt x="3330" y="433"/>
                    </a:lnTo>
                    <a:moveTo>
                      <a:pt x="4044" y="390"/>
                    </a:moveTo>
                    <a:lnTo>
                      <a:pt x="4041" y="390"/>
                    </a:lnTo>
                    <a:lnTo>
                      <a:pt x="4041" y="390"/>
                    </a:lnTo>
                    <a:lnTo>
                      <a:pt x="4041" y="393"/>
                    </a:lnTo>
                    <a:lnTo>
                      <a:pt x="4041" y="450"/>
                    </a:lnTo>
                    <a:lnTo>
                      <a:pt x="4044" y="450"/>
                    </a:lnTo>
                    <a:lnTo>
                      <a:pt x="4044" y="447"/>
                    </a:lnTo>
                    <a:lnTo>
                      <a:pt x="4044" y="447"/>
                    </a:lnTo>
                    <a:lnTo>
                      <a:pt x="4044" y="390"/>
                    </a:lnTo>
                    <a:moveTo>
                      <a:pt x="1809" y="369"/>
                    </a:moveTo>
                    <a:lnTo>
                      <a:pt x="1809" y="369"/>
                    </a:lnTo>
                    <a:lnTo>
                      <a:pt x="1809" y="369"/>
                    </a:lnTo>
                    <a:lnTo>
                      <a:pt x="1809" y="1103"/>
                    </a:lnTo>
                    <a:lnTo>
                      <a:pt x="1809" y="1103"/>
                    </a:lnTo>
                    <a:lnTo>
                      <a:pt x="1809" y="369"/>
                    </a:lnTo>
                    <a:moveTo>
                      <a:pt x="1939" y="334"/>
                    </a:moveTo>
                    <a:lnTo>
                      <a:pt x="1937" y="334"/>
                    </a:lnTo>
                    <a:lnTo>
                      <a:pt x="1937" y="336"/>
                    </a:lnTo>
                    <a:lnTo>
                      <a:pt x="1937" y="341"/>
                    </a:lnTo>
                    <a:lnTo>
                      <a:pt x="1939" y="341"/>
                    </a:lnTo>
                    <a:lnTo>
                      <a:pt x="1939" y="334"/>
                    </a:lnTo>
                    <a:moveTo>
                      <a:pt x="4051" y="326"/>
                    </a:moveTo>
                    <a:lnTo>
                      <a:pt x="4049" y="326"/>
                    </a:lnTo>
                    <a:lnTo>
                      <a:pt x="4049" y="329"/>
                    </a:lnTo>
                    <a:lnTo>
                      <a:pt x="4049" y="383"/>
                    </a:lnTo>
                    <a:lnTo>
                      <a:pt x="4051" y="383"/>
                    </a:lnTo>
                    <a:lnTo>
                      <a:pt x="4051" y="381"/>
                    </a:lnTo>
                    <a:lnTo>
                      <a:pt x="4051" y="381"/>
                    </a:lnTo>
                    <a:lnTo>
                      <a:pt x="4051" y="326"/>
                    </a:lnTo>
                    <a:moveTo>
                      <a:pt x="2029" y="293"/>
                    </a:moveTo>
                    <a:lnTo>
                      <a:pt x="2027" y="293"/>
                    </a:lnTo>
                    <a:lnTo>
                      <a:pt x="2027" y="296"/>
                    </a:lnTo>
                    <a:lnTo>
                      <a:pt x="2027" y="305"/>
                    </a:lnTo>
                    <a:lnTo>
                      <a:pt x="2029" y="305"/>
                    </a:lnTo>
                    <a:lnTo>
                      <a:pt x="2029" y="293"/>
                    </a:lnTo>
                    <a:moveTo>
                      <a:pt x="4703" y="232"/>
                    </a:moveTo>
                    <a:lnTo>
                      <a:pt x="4703" y="232"/>
                    </a:lnTo>
                    <a:lnTo>
                      <a:pt x="4701" y="234"/>
                    </a:lnTo>
                    <a:lnTo>
                      <a:pt x="4640" y="461"/>
                    </a:lnTo>
                    <a:lnTo>
                      <a:pt x="4642" y="459"/>
                    </a:lnTo>
                    <a:lnTo>
                      <a:pt x="4703" y="232"/>
                    </a:lnTo>
                    <a:moveTo>
                      <a:pt x="4805" y="173"/>
                    </a:moveTo>
                    <a:lnTo>
                      <a:pt x="4803" y="173"/>
                    </a:lnTo>
                    <a:lnTo>
                      <a:pt x="4803" y="173"/>
                    </a:lnTo>
                    <a:lnTo>
                      <a:pt x="4803" y="175"/>
                    </a:lnTo>
                    <a:lnTo>
                      <a:pt x="4803" y="203"/>
                    </a:lnTo>
                    <a:lnTo>
                      <a:pt x="4805" y="203"/>
                    </a:lnTo>
                    <a:lnTo>
                      <a:pt x="4805" y="173"/>
                    </a:lnTo>
                    <a:moveTo>
                      <a:pt x="4852" y="0"/>
                    </a:moveTo>
                    <a:lnTo>
                      <a:pt x="4852" y="0"/>
                    </a:lnTo>
                    <a:lnTo>
                      <a:pt x="4852" y="2"/>
                    </a:lnTo>
                    <a:lnTo>
                      <a:pt x="4852" y="144"/>
                    </a:lnTo>
                    <a:lnTo>
                      <a:pt x="4852" y="144"/>
                    </a:lnTo>
                    <a:lnTo>
                      <a:pt x="4852" y="0"/>
                    </a:lnTo>
                    <a:moveTo>
                      <a:pt x="4912" y="0"/>
                    </a:moveTo>
                    <a:lnTo>
                      <a:pt x="4909" y="0"/>
                    </a:lnTo>
                    <a:lnTo>
                      <a:pt x="4909" y="2"/>
                    </a:lnTo>
                    <a:lnTo>
                      <a:pt x="4909" y="144"/>
                    </a:lnTo>
                    <a:lnTo>
                      <a:pt x="4912" y="144"/>
                    </a:lnTo>
                    <a:lnTo>
                      <a:pt x="4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4" name="Freeform 116"/>
              <p:cNvSpPr>
                <a:spLocks noEditPoints="1"/>
              </p:cNvSpPr>
              <p:nvPr/>
            </p:nvSpPr>
            <p:spPr bwMode="auto">
              <a:xfrm>
                <a:off x="21" y="1686"/>
                <a:ext cx="7025" cy="1667"/>
              </a:xfrm>
              <a:custGeom>
                <a:avLst/>
                <a:gdLst>
                  <a:gd name="T0" fmla="*/ 2 w 7025"/>
                  <a:gd name="T1" fmla="*/ 1508 h 1667"/>
                  <a:gd name="T2" fmla="*/ 5663 w 7025"/>
                  <a:gd name="T3" fmla="*/ 1423 h 1667"/>
                  <a:gd name="T4" fmla="*/ 3707 w 7025"/>
                  <a:gd name="T5" fmla="*/ 1222 h 1667"/>
                  <a:gd name="T6" fmla="*/ 5831 w 7025"/>
                  <a:gd name="T7" fmla="*/ 1210 h 1667"/>
                  <a:gd name="T8" fmla="*/ 5831 w 7025"/>
                  <a:gd name="T9" fmla="*/ 1300 h 1667"/>
                  <a:gd name="T10" fmla="*/ 1662 w 7025"/>
                  <a:gd name="T11" fmla="*/ 1160 h 1667"/>
                  <a:gd name="T12" fmla="*/ 1686 w 7025"/>
                  <a:gd name="T13" fmla="*/ 1132 h 1667"/>
                  <a:gd name="T14" fmla="*/ 1688 w 7025"/>
                  <a:gd name="T15" fmla="*/ 1134 h 1667"/>
                  <a:gd name="T16" fmla="*/ 5854 w 7025"/>
                  <a:gd name="T17" fmla="*/ 1186 h 1667"/>
                  <a:gd name="T18" fmla="*/ 6323 w 7025"/>
                  <a:gd name="T19" fmla="*/ 1130 h 1667"/>
                  <a:gd name="T20" fmla="*/ 6323 w 7025"/>
                  <a:gd name="T21" fmla="*/ 1338 h 1667"/>
                  <a:gd name="T22" fmla="*/ 1445 w 7025"/>
                  <a:gd name="T23" fmla="*/ 1127 h 1667"/>
                  <a:gd name="T24" fmla="*/ 1461 w 7025"/>
                  <a:gd name="T25" fmla="*/ 1085 h 1667"/>
                  <a:gd name="T26" fmla="*/ 1463 w 7025"/>
                  <a:gd name="T27" fmla="*/ 1108 h 1667"/>
                  <a:gd name="T28" fmla="*/ 2859 w 7025"/>
                  <a:gd name="T29" fmla="*/ 1066 h 1667"/>
                  <a:gd name="T30" fmla="*/ 5930 w 7025"/>
                  <a:gd name="T31" fmla="*/ 1042 h 1667"/>
                  <a:gd name="T32" fmla="*/ 5930 w 7025"/>
                  <a:gd name="T33" fmla="*/ 1042 h 1667"/>
                  <a:gd name="T34" fmla="*/ 2877 w 7025"/>
                  <a:gd name="T35" fmla="*/ 1047 h 1667"/>
                  <a:gd name="T36" fmla="*/ 3769 w 7025"/>
                  <a:gd name="T37" fmla="*/ 995 h 1667"/>
                  <a:gd name="T38" fmla="*/ 5949 w 7025"/>
                  <a:gd name="T39" fmla="*/ 990 h 1667"/>
                  <a:gd name="T40" fmla="*/ 5947 w 7025"/>
                  <a:gd name="T41" fmla="*/ 1023 h 1667"/>
                  <a:gd name="T42" fmla="*/ 6337 w 7025"/>
                  <a:gd name="T43" fmla="*/ 936 h 1667"/>
                  <a:gd name="T44" fmla="*/ 6339 w 7025"/>
                  <a:gd name="T45" fmla="*/ 1111 h 1667"/>
                  <a:gd name="T46" fmla="*/ 3842 w 7025"/>
                  <a:gd name="T47" fmla="*/ 969 h 1667"/>
                  <a:gd name="T48" fmla="*/ 6382 w 7025"/>
                  <a:gd name="T49" fmla="*/ 895 h 1667"/>
                  <a:gd name="T50" fmla="*/ 6389 w 7025"/>
                  <a:gd name="T51" fmla="*/ 879 h 1667"/>
                  <a:gd name="T52" fmla="*/ 6389 w 7025"/>
                  <a:gd name="T53" fmla="*/ 893 h 1667"/>
                  <a:gd name="T54" fmla="*/ 6396 w 7025"/>
                  <a:gd name="T55" fmla="*/ 850 h 1667"/>
                  <a:gd name="T56" fmla="*/ 6396 w 7025"/>
                  <a:gd name="T57" fmla="*/ 869 h 1667"/>
                  <a:gd name="T58" fmla="*/ 804 w 7025"/>
                  <a:gd name="T59" fmla="*/ 1044 h 1667"/>
                  <a:gd name="T60" fmla="*/ 3097 w 7025"/>
                  <a:gd name="T61" fmla="*/ 763 h 1667"/>
                  <a:gd name="T62" fmla="*/ 1009 w 7025"/>
                  <a:gd name="T63" fmla="*/ 753 h 1667"/>
                  <a:gd name="T64" fmla="*/ 1009 w 7025"/>
                  <a:gd name="T65" fmla="*/ 753 h 1667"/>
                  <a:gd name="T66" fmla="*/ 5131 w 7025"/>
                  <a:gd name="T67" fmla="*/ 947 h 1667"/>
                  <a:gd name="T68" fmla="*/ 3135 w 7025"/>
                  <a:gd name="T69" fmla="*/ 737 h 1667"/>
                  <a:gd name="T70" fmla="*/ 94 w 7025"/>
                  <a:gd name="T71" fmla="*/ 618 h 1667"/>
                  <a:gd name="T72" fmla="*/ 5251 w 7025"/>
                  <a:gd name="T73" fmla="*/ 611 h 1667"/>
                  <a:gd name="T74" fmla="*/ 3282 w 7025"/>
                  <a:gd name="T75" fmla="*/ 583 h 1667"/>
                  <a:gd name="T76" fmla="*/ 3282 w 7025"/>
                  <a:gd name="T77" fmla="*/ 632 h 1667"/>
                  <a:gd name="T78" fmla="*/ 300 w 7025"/>
                  <a:gd name="T79" fmla="*/ 592 h 1667"/>
                  <a:gd name="T80" fmla="*/ 7022 w 7025"/>
                  <a:gd name="T81" fmla="*/ 512 h 1667"/>
                  <a:gd name="T82" fmla="*/ 4192 w 7025"/>
                  <a:gd name="T83" fmla="*/ 505 h 1667"/>
                  <a:gd name="T84" fmla="*/ 3298 w 7025"/>
                  <a:gd name="T85" fmla="*/ 502 h 1667"/>
                  <a:gd name="T86" fmla="*/ 3298 w 7025"/>
                  <a:gd name="T87" fmla="*/ 566 h 1667"/>
                  <a:gd name="T88" fmla="*/ 4034 w 7025"/>
                  <a:gd name="T89" fmla="*/ 455 h 1667"/>
                  <a:gd name="T90" fmla="*/ 3953 w 7025"/>
                  <a:gd name="T91" fmla="*/ 902 h 1667"/>
                  <a:gd name="T92" fmla="*/ 3329 w 7025"/>
                  <a:gd name="T93" fmla="*/ 436 h 1667"/>
                  <a:gd name="T94" fmla="*/ 3329 w 7025"/>
                  <a:gd name="T95" fmla="*/ 436 h 1667"/>
                  <a:gd name="T96" fmla="*/ 4041 w 7025"/>
                  <a:gd name="T97" fmla="*/ 450 h 1667"/>
                  <a:gd name="T98" fmla="*/ 1809 w 7025"/>
                  <a:gd name="T99" fmla="*/ 370 h 1667"/>
                  <a:gd name="T100" fmla="*/ 1809 w 7025"/>
                  <a:gd name="T101" fmla="*/ 370 h 1667"/>
                  <a:gd name="T102" fmla="*/ 1939 w 7025"/>
                  <a:gd name="T103" fmla="*/ 344 h 1667"/>
                  <a:gd name="T104" fmla="*/ 4048 w 7025"/>
                  <a:gd name="T105" fmla="*/ 384 h 1667"/>
                  <a:gd name="T106" fmla="*/ 2029 w 7025"/>
                  <a:gd name="T107" fmla="*/ 294 h 1667"/>
                  <a:gd name="T108" fmla="*/ 2029 w 7025"/>
                  <a:gd name="T109" fmla="*/ 294 h 1667"/>
                  <a:gd name="T110" fmla="*/ 4641 w 7025"/>
                  <a:gd name="T111" fmla="*/ 462 h 1667"/>
                  <a:gd name="T112" fmla="*/ 4802 w 7025"/>
                  <a:gd name="T113" fmla="*/ 176 h 1667"/>
                  <a:gd name="T114" fmla="*/ 4849 w 7025"/>
                  <a:gd name="T115" fmla="*/ 0 h 1667"/>
                  <a:gd name="T116" fmla="*/ 4909 w 7025"/>
                  <a:gd name="T117" fmla="*/ 0 h 1667"/>
                  <a:gd name="T118" fmla="*/ 4909 w 7025"/>
                  <a:gd name="T119"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7">
                    <a:moveTo>
                      <a:pt x="2" y="1454"/>
                    </a:moveTo>
                    <a:lnTo>
                      <a:pt x="0" y="1454"/>
                    </a:lnTo>
                    <a:lnTo>
                      <a:pt x="0" y="1456"/>
                    </a:lnTo>
                    <a:lnTo>
                      <a:pt x="0" y="1508"/>
                    </a:lnTo>
                    <a:lnTo>
                      <a:pt x="2" y="1508"/>
                    </a:lnTo>
                    <a:lnTo>
                      <a:pt x="2" y="1454"/>
                    </a:lnTo>
                    <a:close/>
                    <a:moveTo>
                      <a:pt x="5665" y="1326"/>
                    </a:moveTo>
                    <a:lnTo>
                      <a:pt x="5663" y="1326"/>
                    </a:lnTo>
                    <a:lnTo>
                      <a:pt x="5663" y="1329"/>
                    </a:lnTo>
                    <a:lnTo>
                      <a:pt x="5663" y="1423"/>
                    </a:lnTo>
                    <a:lnTo>
                      <a:pt x="5665" y="1423"/>
                    </a:lnTo>
                    <a:lnTo>
                      <a:pt x="5665" y="1326"/>
                    </a:lnTo>
                    <a:close/>
                    <a:moveTo>
                      <a:pt x="3710" y="1222"/>
                    </a:moveTo>
                    <a:lnTo>
                      <a:pt x="3710" y="1222"/>
                    </a:lnTo>
                    <a:lnTo>
                      <a:pt x="3707" y="1222"/>
                    </a:lnTo>
                    <a:lnTo>
                      <a:pt x="3707" y="1224"/>
                    </a:lnTo>
                    <a:lnTo>
                      <a:pt x="3707" y="1366"/>
                    </a:lnTo>
                    <a:lnTo>
                      <a:pt x="3710" y="1366"/>
                    </a:lnTo>
                    <a:lnTo>
                      <a:pt x="3710" y="1222"/>
                    </a:lnTo>
                    <a:close/>
                    <a:moveTo>
                      <a:pt x="5831" y="1210"/>
                    </a:moveTo>
                    <a:lnTo>
                      <a:pt x="5828" y="1210"/>
                    </a:lnTo>
                    <a:lnTo>
                      <a:pt x="5828" y="1210"/>
                    </a:lnTo>
                    <a:lnTo>
                      <a:pt x="5828" y="1213"/>
                    </a:lnTo>
                    <a:lnTo>
                      <a:pt x="5828" y="1300"/>
                    </a:lnTo>
                    <a:lnTo>
                      <a:pt x="5831" y="1300"/>
                    </a:lnTo>
                    <a:lnTo>
                      <a:pt x="5831" y="1210"/>
                    </a:lnTo>
                    <a:close/>
                    <a:moveTo>
                      <a:pt x="1664" y="1158"/>
                    </a:moveTo>
                    <a:lnTo>
                      <a:pt x="1664" y="1158"/>
                    </a:lnTo>
                    <a:lnTo>
                      <a:pt x="1662" y="1158"/>
                    </a:lnTo>
                    <a:lnTo>
                      <a:pt x="1662" y="1160"/>
                    </a:lnTo>
                    <a:lnTo>
                      <a:pt x="1662" y="1175"/>
                    </a:lnTo>
                    <a:lnTo>
                      <a:pt x="1664" y="1175"/>
                    </a:lnTo>
                    <a:lnTo>
                      <a:pt x="1664" y="1158"/>
                    </a:lnTo>
                    <a:close/>
                    <a:moveTo>
                      <a:pt x="1688" y="1132"/>
                    </a:moveTo>
                    <a:lnTo>
                      <a:pt x="1686" y="1132"/>
                    </a:lnTo>
                    <a:lnTo>
                      <a:pt x="1686" y="1134"/>
                    </a:lnTo>
                    <a:lnTo>
                      <a:pt x="1686" y="1134"/>
                    </a:lnTo>
                    <a:lnTo>
                      <a:pt x="1688" y="1134"/>
                    </a:lnTo>
                    <a:lnTo>
                      <a:pt x="1688" y="1134"/>
                    </a:lnTo>
                    <a:lnTo>
                      <a:pt x="1688" y="1134"/>
                    </a:lnTo>
                    <a:lnTo>
                      <a:pt x="1688" y="1132"/>
                    </a:lnTo>
                    <a:close/>
                    <a:moveTo>
                      <a:pt x="5854" y="1130"/>
                    </a:moveTo>
                    <a:lnTo>
                      <a:pt x="5854" y="1130"/>
                    </a:lnTo>
                    <a:lnTo>
                      <a:pt x="5854" y="1130"/>
                    </a:lnTo>
                    <a:lnTo>
                      <a:pt x="5854" y="1186"/>
                    </a:lnTo>
                    <a:lnTo>
                      <a:pt x="5854" y="1186"/>
                    </a:lnTo>
                    <a:lnTo>
                      <a:pt x="5854" y="1184"/>
                    </a:lnTo>
                    <a:lnTo>
                      <a:pt x="5854" y="1184"/>
                    </a:lnTo>
                    <a:lnTo>
                      <a:pt x="5854" y="1130"/>
                    </a:lnTo>
                    <a:close/>
                    <a:moveTo>
                      <a:pt x="6323" y="1130"/>
                    </a:moveTo>
                    <a:lnTo>
                      <a:pt x="6320" y="1130"/>
                    </a:lnTo>
                    <a:lnTo>
                      <a:pt x="6320" y="1130"/>
                    </a:lnTo>
                    <a:lnTo>
                      <a:pt x="6320" y="1130"/>
                    </a:lnTo>
                    <a:lnTo>
                      <a:pt x="6320" y="1338"/>
                    </a:lnTo>
                    <a:lnTo>
                      <a:pt x="6323" y="1338"/>
                    </a:lnTo>
                    <a:lnTo>
                      <a:pt x="6323" y="1130"/>
                    </a:lnTo>
                    <a:close/>
                    <a:moveTo>
                      <a:pt x="1447" y="1127"/>
                    </a:moveTo>
                    <a:lnTo>
                      <a:pt x="1445" y="1127"/>
                    </a:lnTo>
                    <a:lnTo>
                      <a:pt x="1445" y="1127"/>
                    </a:lnTo>
                    <a:lnTo>
                      <a:pt x="1445" y="1127"/>
                    </a:lnTo>
                    <a:lnTo>
                      <a:pt x="1445" y="1175"/>
                    </a:lnTo>
                    <a:lnTo>
                      <a:pt x="1447" y="1175"/>
                    </a:lnTo>
                    <a:lnTo>
                      <a:pt x="1447" y="1127"/>
                    </a:lnTo>
                    <a:close/>
                    <a:moveTo>
                      <a:pt x="1463" y="1085"/>
                    </a:moveTo>
                    <a:lnTo>
                      <a:pt x="1461" y="1085"/>
                    </a:lnTo>
                    <a:lnTo>
                      <a:pt x="1461" y="1087"/>
                    </a:lnTo>
                    <a:lnTo>
                      <a:pt x="1461" y="1111"/>
                    </a:lnTo>
                    <a:lnTo>
                      <a:pt x="1463" y="1111"/>
                    </a:lnTo>
                    <a:lnTo>
                      <a:pt x="1463" y="1108"/>
                    </a:lnTo>
                    <a:lnTo>
                      <a:pt x="1463" y="1108"/>
                    </a:lnTo>
                    <a:lnTo>
                      <a:pt x="1463" y="1085"/>
                    </a:lnTo>
                    <a:close/>
                    <a:moveTo>
                      <a:pt x="2859" y="1063"/>
                    </a:moveTo>
                    <a:lnTo>
                      <a:pt x="2859" y="1063"/>
                    </a:lnTo>
                    <a:lnTo>
                      <a:pt x="2859" y="1063"/>
                    </a:lnTo>
                    <a:lnTo>
                      <a:pt x="2859" y="1066"/>
                    </a:lnTo>
                    <a:lnTo>
                      <a:pt x="2859" y="1215"/>
                    </a:lnTo>
                    <a:lnTo>
                      <a:pt x="2859" y="1215"/>
                    </a:lnTo>
                    <a:lnTo>
                      <a:pt x="2859" y="1063"/>
                    </a:lnTo>
                    <a:close/>
                    <a:moveTo>
                      <a:pt x="5930" y="1042"/>
                    </a:moveTo>
                    <a:lnTo>
                      <a:pt x="5930" y="1042"/>
                    </a:lnTo>
                    <a:lnTo>
                      <a:pt x="5928" y="1042"/>
                    </a:lnTo>
                    <a:lnTo>
                      <a:pt x="5928" y="1044"/>
                    </a:lnTo>
                    <a:lnTo>
                      <a:pt x="5928" y="1104"/>
                    </a:lnTo>
                    <a:lnTo>
                      <a:pt x="5930" y="1104"/>
                    </a:lnTo>
                    <a:lnTo>
                      <a:pt x="5930" y="1042"/>
                    </a:lnTo>
                    <a:close/>
                    <a:moveTo>
                      <a:pt x="2877" y="1014"/>
                    </a:moveTo>
                    <a:lnTo>
                      <a:pt x="2875" y="1014"/>
                    </a:lnTo>
                    <a:lnTo>
                      <a:pt x="2875" y="1014"/>
                    </a:lnTo>
                    <a:lnTo>
                      <a:pt x="2875" y="1047"/>
                    </a:lnTo>
                    <a:lnTo>
                      <a:pt x="2877" y="1047"/>
                    </a:lnTo>
                    <a:lnTo>
                      <a:pt x="2877" y="1044"/>
                    </a:lnTo>
                    <a:lnTo>
                      <a:pt x="2877" y="1044"/>
                    </a:lnTo>
                    <a:lnTo>
                      <a:pt x="2877" y="1014"/>
                    </a:lnTo>
                    <a:close/>
                    <a:moveTo>
                      <a:pt x="3769" y="995"/>
                    </a:moveTo>
                    <a:lnTo>
                      <a:pt x="3769" y="995"/>
                    </a:lnTo>
                    <a:lnTo>
                      <a:pt x="3769" y="997"/>
                    </a:lnTo>
                    <a:lnTo>
                      <a:pt x="3769" y="1198"/>
                    </a:lnTo>
                    <a:lnTo>
                      <a:pt x="3769" y="1198"/>
                    </a:lnTo>
                    <a:lnTo>
                      <a:pt x="3769" y="995"/>
                    </a:lnTo>
                    <a:close/>
                    <a:moveTo>
                      <a:pt x="5949" y="990"/>
                    </a:moveTo>
                    <a:lnTo>
                      <a:pt x="5947" y="990"/>
                    </a:lnTo>
                    <a:lnTo>
                      <a:pt x="5947" y="992"/>
                    </a:lnTo>
                    <a:lnTo>
                      <a:pt x="5947" y="1025"/>
                    </a:lnTo>
                    <a:lnTo>
                      <a:pt x="5947" y="1025"/>
                    </a:lnTo>
                    <a:lnTo>
                      <a:pt x="5947" y="1023"/>
                    </a:lnTo>
                    <a:lnTo>
                      <a:pt x="5949" y="1023"/>
                    </a:lnTo>
                    <a:lnTo>
                      <a:pt x="5949" y="990"/>
                    </a:lnTo>
                    <a:close/>
                    <a:moveTo>
                      <a:pt x="6339" y="936"/>
                    </a:moveTo>
                    <a:lnTo>
                      <a:pt x="6339" y="936"/>
                    </a:lnTo>
                    <a:lnTo>
                      <a:pt x="6337" y="936"/>
                    </a:lnTo>
                    <a:lnTo>
                      <a:pt x="6337" y="938"/>
                    </a:lnTo>
                    <a:lnTo>
                      <a:pt x="6337" y="1113"/>
                    </a:lnTo>
                    <a:lnTo>
                      <a:pt x="6339" y="1113"/>
                    </a:lnTo>
                    <a:lnTo>
                      <a:pt x="6339" y="1111"/>
                    </a:lnTo>
                    <a:lnTo>
                      <a:pt x="6339" y="1111"/>
                    </a:lnTo>
                    <a:lnTo>
                      <a:pt x="6339" y="936"/>
                    </a:lnTo>
                    <a:close/>
                    <a:moveTo>
                      <a:pt x="3845" y="928"/>
                    </a:moveTo>
                    <a:lnTo>
                      <a:pt x="3842" y="928"/>
                    </a:lnTo>
                    <a:lnTo>
                      <a:pt x="3842" y="931"/>
                    </a:lnTo>
                    <a:lnTo>
                      <a:pt x="3842" y="969"/>
                    </a:lnTo>
                    <a:lnTo>
                      <a:pt x="3845" y="969"/>
                    </a:lnTo>
                    <a:lnTo>
                      <a:pt x="3845" y="928"/>
                    </a:lnTo>
                    <a:close/>
                    <a:moveTo>
                      <a:pt x="6384" y="895"/>
                    </a:moveTo>
                    <a:lnTo>
                      <a:pt x="6384" y="895"/>
                    </a:lnTo>
                    <a:lnTo>
                      <a:pt x="6382" y="895"/>
                    </a:lnTo>
                    <a:lnTo>
                      <a:pt x="6382" y="898"/>
                    </a:lnTo>
                    <a:lnTo>
                      <a:pt x="6379" y="909"/>
                    </a:lnTo>
                    <a:lnTo>
                      <a:pt x="6382" y="909"/>
                    </a:lnTo>
                    <a:lnTo>
                      <a:pt x="6384" y="895"/>
                    </a:lnTo>
                    <a:close/>
                    <a:moveTo>
                      <a:pt x="6389" y="879"/>
                    </a:moveTo>
                    <a:lnTo>
                      <a:pt x="6389" y="879"/>
                    </a:lnTo>
                    <a:lnTo>
                      <a:pt x="6386" y="879"/>
                    </a:lnTo>
                    <a:lnTo>
                      <a:pt x="6386" y="881"/>
                    </a:lnTo>
                    <a:lnTo>
                      <a:pt x="6386" y="893"/>
                    </a:lnTo>
                    <a:lnTo>
                      <a:pt x="6389" y="893"/>
                    </a:lnTo>
                    <a:lnTo>
                      <a:pt x="6389" y="891"/>
                    </a:lnTo>
                    <a:lnTo>
                      <a:pt x="6389" y="891"/>
                    </a:lnTo>
                    <a:lnTo>
                      <a:pt x="6389" y="879"/>
                    </a:lnTo>
                    <a:close/>
                    <a:moveTo>
                      <a:pt x="6396" y="850"/>
                    </a:moveTo>
                    <a:lnTo>
                      <a:pt x="6396" y="850"/>
                    </a:lnTo>
                    <a:lnTo>
                      <a:pt x="6396" y="853"/>
                    </a:lnTo>
                    <a:lnTo>
                      <a:pt x="6396" y="872"/>
                    </a:lnTo>
                    <a:lnTo>
                      <a:pt x="6396" y="872"/>
                    </a:lnTo>
                    <a:lnTo>
                      <a:pt x="6396" y="869"/>
                    </a:lnTo>
                    <a:lnTo>
                      <a:pt x="6396" y="869"/>
                    </a:lnTo>
                    <a:lnTo>
                      <a:pt x="6396" y="850"/>
                    </a:lnTo>
                    <a:close/>
                    <a:moveTo>
                      <a:pt x="804" y="829"/>
                    </a:moveTo>
                    <a:lnTo>
                      <a:pt x="804" y="829"/>
                    </a:lnTo>
                    <a:lnTo>
                      <a:pt x="804" y="829"/>
                    </a:lnTo>
                    <a:lnTo>
                      <a:pt x="804" y="1044"/>
                    </a:lnTo>
                    <a:lnTo>
                      <a:pt x="804" y="1044"/>
                    </a:lnTo>
                    <a:lnTo>
                      <a:pt x="804" y="829"/>
                    </a:lnTo>
                    <a:close/>
                    <a:moveTo>
                      <a:pt x="3100" y="763"/>
                    </a:moveTo>
                    <a:lnTo>
                      <a:pt x="3100" y="763"/>
                    </a:lnTo>
                    <a:lnTo>
                      <a:pt x="3097" y="763"/>
                    </a:lnTo>
                    <a:lnTo>
                      <a:pt x="3097" y="765"/>
                    </a:lnTo>
                    <a:lnTo>
                      <a:pt x="3097" y="954"/>
                    </a:lnTo>
                    <a:lnTo>
                      <a:pt x="3100" y="954"/>
                    </a:lnTo>
                    <a:lnTo>
                      <a:pt x="3100" y="763"/>
                    </a:lnTo>
                    <a:close/>
                    <a:moveTo>
                      <a:pt x="1009" y="753"/>
                    </a:moveTo>
                    <a:lnTo>
                      <a:pt x="1007" y="753"/>
                    </a:lnTo>
                    <a:lnTo>
                      <a:pt x="1007" y="756"/>
                    </a:lnTo>
                    <a:lnTo>
                      <a:pt x="1007" y="803"/>
                    </a:lnTo>
                    <a:lnTo>
                      <a:pt x="1009" y="803"/>
                    </a:lnTo>
                    <a:lnTo>
                      <a:pt x="1009" y="753"/>
                    </a:lnTo>
                    <a:close/>
                    <a:moveTo>
                      <a:pt x="5131" y="732"/>
                    </a:moveTo>
                    <a:lnTo>
                      <a:pt x="5128" y="732"/>
                    </a:lnTo>
                    <a:lnTo>
                      <a:pt x="5128" y="734"/>
                    </a:lnTo>
                    <a:lnTo>
                      <a:pt x="5128" y="947"/>
                    </a:lnTo>
                    <a:lnTo>
                      <a:pt x="5131" y="947"/>
                    </a:lnTo>
                    <a:lnTo>
                      <a:pt x="5131" y="732"/>
                    </a:lnTo>
                    <a:close/>
                    <a:moveTo>
                      <a:pt x="3138" y="659"/>
                    </a:moveTo>
                    <a:lnTo>
                      <a:pt x="3135" y="659"/>
                    </a:lnTo>
                    <a:lnTo>
                      <a:pt x="3135" y="659"/>
                    </a:lnTo>
                    <a:lnTo>
                      <a:pt x="3135" y="737"/>
                    </a:lnTo>
                    <a:lnTo>
                      <a:pt x="3138" y="737"/>
                    </a:lnTo>
                    <a:lnTo>
                      <a:pt x="3138" y="659"/>
                    </a:lnTo>
                    <a:close/>
                    <a:moveTo>
                      <a:pt x="97" y="618"/>
                    </a:moveTo>
                    <a:lnTo>
                      <a:pt x="94" y="618"/>
                    </a:lnTo>
                    <a:lnTo>
                      <a:pt x="94" y="618"/>
                    </a:lnTo>
                    <a:lnTo>
                      <a:pt x="94" y="1428"/>
                    </a:lnTo>
                    <a:lnTo>
                      <a:pt x="97" y="1428"/>
                    </a:lnTo>
                    <a:lnTo>
                      <a:pt x="97" y="618"/>
                    </a:lnTo>
                    <a:close/>
                    <a:moveTo>
                      <a:pt x="5251" y="611"/>
                    </a:moveTo>
                    <a:lnTo>
                      <a:pt x="5251" y="611"/>
                    </a:lnTo>
                    <a:lnTo>
                      <a:pt x="5251" y="611"/>
                    </a:lnTo>
                    <a:lnTo>
                      <a:pt x="5251" y="706"/>
                    </a:lnTo>
                    <a:lnTo>
                      <a:pt x="5251" y="706"/>
                    </a:lnTo>
                    <a:lnTo>
                      <a:pt x="5251" y="611"/>
                    </a:lnTo>
                    <a:close/>
                    <a:moveTo>
                      <a:pt x="3282" y="583"/>
                    </a:moveTo>
                    <a:lnTo>
                      <a:pt x="3282" y="583"/>
                    </a:lnTo>
                    <a:lnTo>
                      <a:pt x="3279" y="583"/>
                    </a:lnTo>
                    <a:lnTo>
                      <a:pt x="3279" y="585"/>
                    </a:lnTo>
                    <a:lnTo>
                      <a:pt x="3279" y="632"/>
                    </a:lnTo>
                    <a:lnTo>
                      <a:pt x="3282" y="632"/>
                    </a:lnTo>
                    <a:lnTo>
                      <a:pt x="3282" y="583"/>
                    </a:lnTo>
                    <a:close/>
                    <a:moveTo>
                      <a:pt x="302" y="547"/>
                    </a:moveTo>
                    <a:lnTo>
                      <a:pt x="300" y="547"/>
                    </a:lnTo>
                    <a:lnTo>
                      <a:pt x="300" y="550"/>
                    </a:lnTo>
                    <a:lnTo>
                      <a:pt x="300" y="592"/>
                    </a:lnTo>
                    <a:lnTo>
                      <a:pt x="302" y="592"/>
                    </a:lnTo>
                    <a:lnTo>
                      <a:pt x="302" y="547"/>
                    </a:lnTo>
                    <a:close/>
                    <a:moveTo>
                      <a:pt x="7025" y="509"/>
                    </a:moveTo>
                    <a:lnTo>
                      <a:pt x="7022" y="509"/>
                    </a:lnTo>
                    <a:lnTo>
                      <a:pt x="7022" y="512"/>
                    </a:lnTo>
                    <a:lnTo>
                      <a:pt x="7022" y="1667"/>
                    </a:lnTo>
                    <a:lnTo>
                      <a:pt x="7025" y="1667"/>
                    </a:lnTo>
                    <a:lnTo>
                      <a:pt x="7025" y="509"/>
                    </a:lnTo>
                    <a:close/>
                    <a:moveTo>
                      <a:pt x="4192" y="505"/>
                    </a:moveTo>
                    <a:lnTo>
                      <a:pt x="4192" y="505"/>
                    </a:lnTo>
                    <a:lnTo>
                      <a:pt x="4192" y="507"/>
                    </a:lnTo>
                    <a:lnTo>
                      <a:pt x="4142" y="571"/>
                    </a:lnTo>
                    <a:lnTo>
                      <a:pt x="4142" y="573"/>
                    </a:lnTo>
                    <a:lnTo>
                      <a:pt x="4192" y="505"/>
                    </a:lnTo>
                    <a:close/>
                    <a:moveTo>
                      <a:pt x="3298" y="502"/>
                    </a:moveTo>
                    <a:lnTo>
                      <a:pt x="3298" y="502"/>
                    </a:lnTo>
                    <a:lnTo>
                      <a:pt x="3298" y="502"/>
                    </a:lnTo>
                    <a:lnTo>
                      <a:pt x="3298" y="505"/>
                    </a:lnTo>
                    <a:lnTo>
                      <a:pt x="3298" y="566"/>
                    </a:lnTo>
                    <a:lnTo>
                      <a:pt x="3298" y="566"/>
                    </a:lnTo>
                    <a:lnTo>
                      <a:pt x="3298" y="564"/>
                    </a:lnTo>
                    <a:lnTo>
                      <a:pt x="3298" y="564"/>
                    </a:lnTo>
                    <a:lnTo>
                      <a:pt x="3298" y="502"/>
                    </a:lnTo>
                    <a:close/>
                    <a:moveTo>
                      <a:pt x="4036" y="455"/>
                    </a:moveTo>
                    <a:lnTo>
                      <a:pt x="4034" y="455"/>
                    </a:lnTo>
                    <a:lnTo>
                      <a:pt x="4034" y="455"/>
                    </a:lnTo>
                    <a:lnTo>
                      <a:pt x="4034" y="457"/>
                    </a:lnTo>
                    <a:lnTo>
                      <a:pt x="4034" y="493"/>
                    </a:lnTo>
                    <a:lnTo>
                      <a:pt x="3953" y="644"/>
                    </a:lnTo>
                    <a:lnTo>
                      <a:pt x="3953" y="902"/>
                    </a:lnTo>
                    <a:lnTo>
                      <a:pt x="3953" y="902"/>
                    </a:lnTo>
                    <a:lnTo>
                      <a:pt x="3953" y="642"/>
                    </a:lnTo>
                    <a:lnTo>
                      <a:pt x="4036" y="490"/>
                    </a:lnTo>
                    <a:lnTo>
                      <a:pt x="4036" y="455"/>
                    </a:lnTo>
                    <a:close/>
                    <a:moveTo>
                      <a:pt x="3329" y="436"/>
                    </a:moveTo>
                    <a:lnTo>
                      <a:pt x="3327" y="436"/>
                    </a:lnTo>
                    <a:lnTo>
                      <a:pt x="3327" y="436"/>
                    </a:lnTo>
                    <a:lnTo>
                      <a:pt x="3327" y="476"/>
                    </a:lnTo>
                    <a:lnTo>
                      <a:pt x="3329" y="476"/>
                    </a:lnTo>
                    <a:lnTo>
                      <a:pt x="3329" y="436"/>
                    </a:lnTo>
                    <a:close/>
                    <a:moveTo>
                      <a:pt x="4041" y="391"/>
                    </a:moveTo>
                    <a:lnTo>
                      <a:pt x="4041" y="391"/>
                    </a:lnTo>
                    <a:lnTo>
                      <a:pt x="4041" y="391"/>
                    </a:lnTo>
                    <a:lnTo>
                      <a:pt x="4041" y="393"/>
                    </a:lnTo>
                    <a:lnTo>
                      <a:pt x="4041" y="450"/>
                    </a:lnTo>
                    <a:lnTo>
                      <a:pt x="4041" y="450"/>
                    </a:lnTo>
                    <a:lnTo>
                      <a:pt x="4041" y="448"/>
                    </a:lnTo>
                    <a:lnTo>
                      <a:pt x="4041" y="448"/>
                    </a:lnTo>
                    <a:lnTo>
                      <a:pt x="4041" y="391"/>
                    </a:lnTo>
                    <a:close/>
                    <a:moveTo>
                      <a:pt x="1809" y="370"/>
                    </a:moveTo>
                    <a:lnTo>
                      <a:pt x="1806" y="370"/>
                    </a:lnTo>
                    <a:lnTo>
                      <a:pt x="1806" y="372"/>
                    </a:lnTo>
                    <a:lnTo>
                      <a:pt x="1806" y="1106"/>
                    </a:lnTo>
                    <a:lnTo>
                      <a:pt x="1809" y="1106"/>
                    </a:lnTo>
                    <a:lnTo>
                      <a:pt x="1809" y="370"/>
                    </a:lnTo>
                    <a:close/>
                    <a:moveTo>
                      <a:pt x="1939" y="334"/>
                    </a:moveTo>
                    <a:lnTo>
                      <a:pt x="1936" y="334"/>
                    </a:lnTo>
                    <a:lnTo>
                      <a:pt x="1936" y="337"/>
                    </a:lnTo>
                    <a:lnTo>
                      <a:pt x="1936" y="344"/>
                    </a:lnTo>
                    <a:lnTo>
                      <a:pt x="1939" y="344"/>
                    </a:lnTo>
                    <a:lnTo>
                      <a:pt x="1939" y="334"/>
                    </a:lnTo>
                    <a:close/>
                    <a:moveTo>
                      <a:pt x="4050" y="329"/>
                    </a:moveTo>
                    <a:lnTo>
                      <a:pt x="4048" y="329"/>
                    </a:lnTo>
                    <a:lnTo>
                      <a:pt x="4048" y="329"/>
                    </a:lnTo>
                    <a:lnTo>
                      <a:pt x="4048" y="384"/>
                    </a:lnTo>
                    <a:lnTo>
                      <a:pt x="4050" y="384"/>
                    </a:lnTo>
                    <a:lnTo>
                      <a:pt x="4050" y="382"/>
                    </a:lnTo>
                    <a:lnTo>
                      <a:pt x="4050" y="382"/>
                    </a:lnTo>
                    <a:lnTo>
                      <a:pt x="4050" y="329"/>
                    </a:lnTo>
                    <a:close/>
                    <a:moveTo>
                      <a:pt x="2029" y="294"/>
                    </a:moveTo>
                    <a:lnTo>
                      <a:pt x="2026" y="294"/>
                    </a:lnTo>
                    <a:lnTo>
                      <a:pt x="2026" y="296"/>
                    </a:lnTo>
                    <a:lnTo>
                      <a:pt x="2026" y="308"/>
                    </a:lnTo>
                    <a:lnTo>
                      <a:pt x="2029" y="308"/>
                    </a:lnTo>
                    <a:lnTo>
                      <a:pt x="2029" y="294"/>
                    </a:lnTo>
                    <a:close/>
                    <a:moveTo>
                      <a:pt x="4703" y="232"/>
                    </a:moveTo>
                    <a:lnTo>
                      <a:pt x="4700" y="232"/>
                    </a:lnTo>
                    <a:lnTo>
                      <a:pt x="4700" y="235"/>
                    </a:lnTo>
                    <a:lnTo>
                      <a:pt x="4639" y="462"/>
                    </a:lnTo>
                    <a:lnTo>
                      <a:pt x="4641" y="462"/>
                    </a:lnTo>
                    <a:lnTo>
                      <a:pt x="4703" y="232"/>
                    </a:lnTo>
                    <a:close/>
                    <a:moveTo>
                      <a:pt x="4802" y="173"/>
                    </a:moveTo>
                    <a:lnTo>
                      <a:pt x="4802" y="173"/>
                    </a:lnTo>
                    <a:lnTo>
                      <a:pt x="4802" y="173"/>
                    </a:lnTo>
                    <a:lnTo>
                      <a:pt x="4802" y="176"/>
                    </a:lnTo>
                    <a:lnTo>
                      <a:pt x="4802" y="206"/>
                    </a:lnTo>
                    <a:lnTo>
                      <a:pt x="4802" y="206"/>
                    </a:lnTo>
                    <a:lnTo>
                      <a:pt x="4802" y="173"/>
                    </a:lnTo>
                    <a:close/>
                    <a:moveTo>
                      <a:pt x="4852" y="0"/>
                    </a:moveTo>
                    <a:lnTo>
                      <a:pt x="4849" y="0"/>
                    </a:lnTo>
                    <a:lnTo>
                      <a:pt x="4849" y="3"/>
                    </a:lnTo>
                    <a:lnTo>
                      <a:pt x="4849" y="147"/>
                    </a:lnTo>
                    <a:lnTo>
                      <a:pt x="4852" y="147"/>
                    </a:lnTo>
                    <a:lnTo>
                      <a:pt x="4852" y="0"/>
                    </a:lnTo>
                    <a:close/>
                    <a:moveTo>
                      <a:pt x="4909" y="0"/>
                    </a:moveTo>
                    <a:lnTo>
                      <a:pt x="4909" y="0"/>
                    </a:lnTo>
                    <a:lnTo>
                      <a:pt x="4909" y="3"/>
                    </a:lnTo>
                    <a:lnTo>
                      <a:pt x="4909" y="147"/>
                    </a:lnTo>
                    <a:lnTo>
                      <a:pt x="4909" y="147"/>
                    </a:lnTo>
                    <a:lnTo>
                      <a:pt x="4909" y="0"/>
                    </a:lnTo>
                    <a:close/>
                  </a:path>
                </a:pathLst>
              </a:custGeom>
              <a:solidFill>
                <a:srgbClr val="CBCB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5" name="Freeform 117"/>
              <p:cNvSpPr>
                <a:spLocks noEditPoints="1"/>
              </p:cNvSpPr>
              <p:nvPr/>
            </p:nvSpPr>
            <p:spPr bwMode="auto">
              <a:xfrm>
                <a:off x="21" y="1686"/>
                <a:ext cx="7025" cy="1667"/>
              </a:xfrm>
              <a:custGeom>
                <a:avLst/>
                <a:gdLst>
                  <a:gd name="T0" fmla="*/ 2 w 7025"/>
                  <a:gd name="T1" fmla="*/ 1508 h 1667"/>
                  <a:gd name="T2" fmla="*/ 5663 w 7025"/>
                  <a:gd name="T3" fmla="*/ 1423 h 1667"/>
                  <a:gd name="T4" fmla="*/ 3707 w 7025"/>
                  <a:gd name="T5" fmla="*/ 1222 h 1667"/>
                  <a:gd name="T6" fmla="*/ 5831 w 7025"/>
                  <a:gd name="T7" fmla="*/ 1210 h 1667"/>
                  <a:gd name="T8" fmla="*/ 5831 w 7025"/>
                  <a:gd name="T9" fmla="*/ 1300 h 1667"/>
                  <a:gd name="T10" fmla="*/ 1662 w 7025"/>
                  <a:gd name="T11" fmla="*/ 1160 h 1667"/>
                  <a:gd name="T12" fmla="*/ 1686 w 7025"/>
                  <a:gd name="T13" fmla="*/ 1132 h 1667"/>
                  <a:gd name="T14" fmla="*/ 1688 w 7025"/>
                  <a:gd name="T15" fmla="*/ 1134 h 1667"/>
                  <a:gd name="T16" fmla="*/ 5854 w 7025"/>
                  <a:gd name="T17" fmla="*/ 1186 h 1667"/>
                  <a:gd name="T18" fmla="*/ 6323 w 7025"/>
                  <a:gd name="T19" fmla="*/ 1130 h 1667"/>
                  <a:gd name="T20" fmla="*/ 6323 w 7025"/>
                  <a:gd name="T21" fmla="*/ 1338 h 1667"/>
                  <a:gd name="T22" fmla="*/ 1445 w 7025"/>
                  <a:gd name="T23" fmla="*/ 1127 h 1667"/>
                  <a:gd name="T24" fmla="*/ 1461 w 7025"/>
                  <a:gd name="T25" fmla="*/ 1085 h 1667"/>
                  <a:gd name="T26" fmla="*/ 1463 w 7025"/>
                  <a:gd name="T27" fmla="*/ 1108 h 1667"/>
                  <a:gd name="T28" fmla="*/ 2859 w 7025"/>
                  <a:gd name="T29" fmla="*/ 1066 h 1667"/>
                  <a:gd name="T30" fmla="*/ 5930 w 7025"/>
                  <a:gd name="T31" fmla="*/ 1042 h 1667"/>
                  <a:gd name="T32" fmla="*/ 5930 w 7025"/>
                  <a:gd name="T33" fmla="*/ 1042 h 1667"/>
                  <a:gd name="T34" fmla="*/ 2877 w 7025"/>
                  <a:gd name="T35" fmla="*/ 1047 h 1667"/>
                  <a:gd name="T36" fmla="*/ 3769 w 7025"/>
                  <a:gd name="T37" fmla="*/ 995 h 1667"/>
                  <a:gd name="T38" fmla="*/ 5949 w 7025"/>
                  <a:gd name="T39" fmla="*/ 990 h 1667"/>
                  <a:gd name="T40" fmla="*/ 5947 w 7025"/>
                  <a:gd name="T41" fmla="*/ 1023 h 1667"/>
                  <a:gd name="T42" fmla="*/ 6337 w 7025"/>
                  <a:gd name="T43" fmla="*/ 936 h 1667"/>
                  <a:gd name="T44" fmla="*/ 6339 w 7025"/>
                  <a:gd name="T45" fmla="*/ 1111 h 1667"/>
                  <a:gd name="T46" fmla="*/ 3842 w 7025"/>
                  <a:gd name="T47" fmla="*/ 969 h 1667"/>
                  <a:gd name="T48" fmla="*/ 6382 w 7025"/>
                  <a:gd name="T49" fmla="*/ 895 h 1667"/>
                  <a:gd name="T50" fmla="*/ 6389 w 7025"/>
                  <a:gd name="T51" fmla="*/ 879 h 1667"/>
                  <a:gd name="T52" fmla="*/ 6389 w 7025"/>
                  <a:gd name="T53" fmla="*/ 893 h 1667"/>
                  <a:gd name="T54" fmla="*/ 6396 w 7025"/>
                  <a:gd name="T55" fmla="*/ 850 h 1667"/>
                  <a:gd name="T56" fmla="*/ 6396 w 7025"/>
                  <a:gd name="T57" fmla="*/ 869 h 1667"/>
                  <a:gd name="T58" fmla="*/ 804 w 7025"/>
                  <a:gd name="T59" fmla="*/ 1044 h 1667"/>
                  <a:gd name="T60" fmla="*/ 3097 w 7025"/>
                  <a:gd name="T61" fmla="*/ 763 h 1667"/>
                  <a:gd name="T62" fmla="*/ 1009 w 7025"/>
                  <a:gd name="T63" fmla="*/ 753 h 1667"/>
                  <a:gd name="T64" fmla="*/ 1009 w 7025"/>
                  <a:gd name="T65" fmla="*/ 753 h 1667"/>
                  <a:gd name="T66" fmla="*/ 5131 w 7025"/>
                  <a:gd name="T67" fmla="*/ 947 h 1667"/>
                  <a:gd name="T68" fmla="*/ 3135 w 7025"/>
                  <a:gd name="T69" fmla="*/ 737 h 1667"/>
                  <a:gd name="T70" fmla="*/ 94 w 7025"/>
                  <a:gd name="T71" fmla="*/ 618 h 1667"/>
                  <a:gd name="T72" fmla="*/ 5251 w 7025"/>
                  <a:gd name="T73" fmla="*/ 611 h 1667"/>
                  <a:gd name="T74" fmla="*/ 3282 w 7025"/>
                  <a:gd name="T75" fmla="*/ 583 h 1667"/>
                  <a:gd name="T76" fmla="*/ 3282 w 7025"/>
                  <a:gd name="T77" fmla="*/ 632 h 1667"/>
                  <a:gd name="T78" fmla="*/ 300 w 7025"/>
                  <a:gd name="T79" fmla="*/ 592 h 1667"/>
                  <a:gd name="T80" fmla="*/ 7022 w 7025"/>
                  <a:gd name="T81" fmla="*/ 512 h 1667"/>
                  <a:gd name="T82" fmla="*/ 4192 w 7025"/>
                  <a:gd name="T83" fmla="*/ 505 h 1667"/>
                  <a:gd name="T84" fmla="*/ 3298 w 7025"/>
                  <a:gd name="T85" fmla="*/ 502 h 1667"/>
                  <a:gd name="T86" fmla="*/ 3298 w 7025"/>
                  <a:gd name="T87" fmla="*/ 566 h 1667"/>
                  <a:gd name="T88" fmla="*/ 4034 w 7025"/>
                  <a:gd name="T89" fmla="*/ 455 h 1667"/>
                  <a:gd name="T90" fmla="*/ 3953 w 7025"/>
                  <a:gd name="T91" fmla="*/ 902 h 1667"/>
                  <a:gd name="T92" fmla="*/ 3329 w 7025"/>
                  <a:gd name="T93" fmla="*/ 436 h 1667"/>
                  <a:gd name="T94" fmla="*/ 3329 w 7025"/>
                  <a:gd name="T95" fmla="*/ 436 h 1667"/>
                  <a:gd name="T96" fmla="*/ 4041 w 7025"/>
                  <a:gd name="T97" fmla="*/ 450 h 1667"/>
                  <a:gd name="T98" fmla="*/ 1809 w 7025"/>
                  <a:gd name="T99" fmla="*/ 370 h 1667"/>
                  <a:gd name="T100" fmla="*/ 1809 w 7025"/>
                  <a:gd name="T101" fmla="*/ 370 h 1667"/>
                  <a:gd name="T102" fmla="*/ 1939 w 7025"/>
                  <a:gd name="T103" fmla="*/ 344 h 1667"/>
                  <a:gd name="T104" fmla="*/ 4048 w 7025"/>
                  <a:gd name="T105" fmla="*/ 384 h 1667"/>
                  <a:gd name="T106" fmla="*/ 2029 w 7025"/>
                  <a:gd name="T107" fmla="*/ 294 h 1667"/>
                  <a:gd name="T108" fmla="*/ 2029 w 7025"/>
                  <a:gd name="T109" fmla="*/ 294 h 1667"/>
                  <a:gd name="T110" fmla="*/ 4641 w 7025"/>
                  <a:gd name="T111" fmla="*/ 462 h 1667"/>
                  <a:gd name="T112" fmla="*/ 4802 w 7025"/>
                  <a:gd name="T113" fmla="*/ 176 h 1667"/>
                  <a:gd name="T114" fmla="*/ 4849 w 7025"/>
                  <a:gd name="T115" fmla="*/ 0 h 1667"/>
                  <a:gd name="T116" fmla="*/ 4909 w 7025"/>
                  <a:gd name="T117" fmla="*/ 0 h 1667"/>
                  <a:gd name="T118" fmla="*/ 4909 w 7025"/>
                  <a:gd name="T119"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25" h="1667">
                    <a:moveTo>
                      <a:pt x="2" y="1454"/>
                    </a:moveTo>
                    <a:lnTo>
                      <a:pt x="0" y="1454"/>
                    </a:lnTo>
                    <a:lnTo>
                      <a:pt x="0" y="1456"/>
                    </a:lnTo>
                    <a:lnTo>
                      <a:pt x="0" y="1508"/>
                    </a:lnTo>
                    <a:lnTo>
                      <a:pt x="2" y="1508"/>
                    </a:lnTo>
                    <a:lnTo>
                      <a:pt x="2" y="1454"/>
                    </a:lnTo>
                    <a:moveTo>
                      <a:pt x="5665" y="1326"/>
                    </a:moveTo>
                    <a:lnTo>
                      <a:pt x="5663" y="1326"/>
                    </a:lnTo>
                    <a:lnTo>
                      <a:pt x="5663" y="1329"/>
                    </a:lnTo>
                    <a:lnTo>
                      <a:pt x="5663" y="1423"/>
                    </a:lnTo>
                    <a:lnTo>
                      <a:pt x="5665" y="1423"/>
                    </a:lnTo>
                    <a:lnTo>
                      <a:pt x="5665" y="1326"/>
                    </a:lnTo>
                    <a:moveTo>
                      <a:pt x="3710" y="1222"/>
                    </a:moveTo>
                    <a:lnTo>
                      <a:pt x="3710" y="1222"/>
                    </a:lnTo>
                    <a:lnTo>
                      <a:pt x="3707" y="1222"/>
                    </a:lnTo>
                    <a:lnTo>
                      <a:pt x="3707" y="1224"/>
                    </a:lnTo>
                    <a:lnTo>
                      <a:pt x="3707" y="1366"/>
                    </a:lnTo>
                    <a:lnTo>
                      <a:pt x="3710" y="1366"/>
                    </a:lnTo>
                    <a:lnTo>
                      <a:pt x="3710" y="1222"/>
                    </a:lnTo>
                    <a:moveTo>
                      <a:pt x="5831" y="1210"/>
                    </a:moveTo>
                    <a:lnTo>
                      <a:pt x="5828" y="1210"/>
                    </a:lnTo>
                    <a:lnTo>
                      <a:pt x="5828" y="1210"/>
                    </a:lnTo>
                    <a:lnTo>
                      <a:pt x="5828" y="1213"/>
                    </a:lnTo>
                    <a:lnTo>
                      <a:pt x="5828" y="1300"/>
                    </a:lnTo>
                    <a:lnTo>
                      <a:pt x="5831" y="1300"/>
                    </a:lnTo>
                    <a:lnTo>
                      <a:pt x="5831" y="1210"/>
                    </a:lnTo>
                    <a:moveTo>
                      <a:pt x="1664" y="1158"/>
                    </a:moveTo>
                    <a:lnTo>
                      <a:pt x="1664" y="1158"/>
                    </a:lnTo>
                    <a:lnTo>
                      <a:pt x="1662" y="1158"/>
                    </a:lnTo>
                    <a:lnTo>
                      <a:pt x="1662" y="1160"/>
                    </a:lnTo>
                    <a:lnTo>
                      <a:pt x="1662" y="1175"/>
                    </a:lnTo>
                    <a:lnTo>
                      <a:pt x="1664" y="1175"/>
                    </a:lnTo>
                    <a:lnTo>
                      <a:pt x="1664" y="1158"/>
                    </a:lnTo>
                    <a:moveTo>
                      <a:pt x="1688" y="1132"/>
                    </a:moveTo>
                    <a:lnTo>
                      <a:pt x="1686" y="1132"/>
                    </a:lnTo>
                    <a:lnTo>
                      <a:pt x="1686" y="1134"/>
                    </a:lnTo>
                    <a:lnTo>
                      <a:pt x="1686" y="1134"/>
                    </a:lnTo>
                    <a:lnTo>
                      <a:pt x="1688" y="1134"/>
                    </a:lnTo>
                    <a:lnTo>
                      <a:pt x="1688" y="1134"/>
                    </a:lnTo>
                    <a:lnTo>
                      <a:pt x="1688" y="1134"/>
                    </a:lnTo>
                    <a:lnTo>
                      <a:pt x="1688" y="1132"/>
                    </a:lnTo>
                    <a:moveTo>
                      <a:pt x="5854" y="1130"/>
                    </a:moveTo>
                    <a:lnTo>
                      <a:pt x="5854" y="1130"/>
                    </a:lnTo>
                    <a:lnTo>
                      <a:pt x="5854" y="1130"/>
                    </a:lnTo>
                    <a:lnTo>
                      <a:pt x="5854" y="1186"/>
                    </a:lnTo>
                    <a:lnTo>
                      <a:pt x="5854" y="1186"/>
                    </a:lnTo>
                    <a:lnTo>
                      <a:pt x="5854" y="1184"/>
                    </a:lnTo>
                    <a:lnTo>
                      <a:pt x="5854" y="1184"/>
                    </a:lnTo>
                    <a:lnTo>
                      <a:pt x="5854" y="1130"/>
                    </a:lnTo>
                    <a:moveTo>
                      <a:pt x="6323" y="1130"/>
                    </a:moveTo>
                    <a:lnTo>
                      <a:pt x="6320" y="1130"/>
                    </a:lnTo>
                    <a:lnTo>
                      <a:pt x="6320" y="1130"/>
                    </a:lnTo>
                    <a:lnTo>
                      <a:pt x="6320" y="1130"/>
                    </a:lnTo>
                    <a:lnTo>
                      <a:pt x="6320" y="1338"/>
                    </a:lnTo>
                    <a:lnTo>
                      <a:pt x="6323" y="1338"/>
                    </a:lnTo>
                    <a:lnTo>
                      <a:pt x="6323" y="1130"/>
                    </a:lnTo>
                    <a:moveTo>
                      <a:pt x="1447" y="1127"/>
                    </a:moveTo>
                    <a:lnTo>
                      <a:pt x="1445" y="1127"/>
                    </a:lnTo>
                    <a:lnTo>
                      <a:pt x="1445" y="1127"/>
                    </a:lnTo>
                    <a:lnTo>
                      <a:pt x="1445" y="1127"/>
                    </a:lnTo>
                    <a:lnTo>
                      <a:pt x="1445" y="1175"/>
                    </a:lnTo>
                    <a:lnTo>
                      <a:pt x="1447" y="1175"/>
                    </a:lnTo>
                    <a:lnTo>
                      <a:pt x="1447" y="1127"/>
                    </a:lnTo>
                    <a:moveTo>
                      <a:pt x="1463" y="1085"/>
                    </a:moveTo>
                    <a:lnTo>
                      <a:pt x="1461" y="1085"/>
                    </a:lnTo>
                    <a:lnTo>
                      <a:pt x="1461" y="1087"/>
                    </a:lnTo>
                    <a:lnTo>
                      <a:pt x="1461" y="1111"/>
                    </a:lnTo>
                    <a:lnTo>
                      <a:pt x="1463" y="1111"/>
                    </a:lnTo>
                    <a:lnTo>
                      <a:pt x="1463" y="1108"/>
                    </a:lnTo>
                    <a:lnTo>
                      <a:pt x="1463" y="1108"/>
                    </a:lnTo>
                    <a:lnTo>
                      <a:pt x="1463" y="1085"/>
                    </a:lnTo>
                    <a:moveTo>
                      <a:pt x="2859" y="1063"/>
                    </a:moveTo>
                    <a:lnTo>
                      <a:pt x="2859" y="1063"/>
                    </a:lnTo>
                    <a:lnTo>
                      <a:pt x="2859" y="1063"/>
                    </a:lnTo>
                    <a:lnTo>
                      <a:pt x="2859" y="1066"/>
                    </a:lnTo>
                    <a:lnTo>
                      <a:pt x="2859" y="1215"/>
                    </a:lnTo>
                    <a:lnTo>
                      <a:pt x="2859" y="1215"/>
                    </a:lnTo>
                    <a:lnTo>
                      <a:pt x="2859" y="1063"/>
                    </a:lnTo>
                    <a:moveTo>
                      <a:pt x="5930" y="1042"/>
                    </a:moveTo>
                    <a:lnTo>
                      <a:pt x="5930" y="1042"/>
                    </a:lnTo>
                    <a:lnTo>
                      <a:pt x="5928" y="1042"/>
                    </a:lnTo>
                    <a:lnTo>
                      <a:pt x="5928" y="1044"/>
                    </a:lnTo>
                    <a:lnTo>
                      <a:pt x="5928" y="1104"/>
                    </a:lnTo>
                    <a:lnTo>
                      <a:pt x="5930" y="1104"/>
                    </a:lnTo>
                    <a:lnTo>
                      <a:pt x="5930" y="1042"/>
                    </a:lnTo>
                    <a:moveTo>
                      <a:pt x="2877" y="1014"/>
                    </a:moveTo>
                    <a:lnTo>
                      <a:pt x="2875" y="1014"/>
                    </a:lnTo>
                    <a:lnTo>
                      <a:pt x="2875" y="1014"/>
                    </a:lnTo>
                    <a:lnTo>
                      <a:pt x="2875" y="1047"/>
                    </a:lnTo>
                    <a:lnTo>
                      <a:pt x="2877" y="1047"/>
                    </a:lnTo>
                    <a:lnTo>
                      <a:pt x="2877" y="1044"/>
                    </a:lnTo>
                    <a:lnTo>
                      <a:pt x="2877" y="1044"/>
                    </a:lnTo>
                    <a:lnTo>
                      <a:pt x="2877" y="1014"/>
                    </a:lnTo>
                    <a:moveTo>
                      <a:pt x="3769" y="995"/>
                    </a:moveTo>
                    <a:lnTo>
                      <a:pt x="3769" y="995"/>
                    </a:lnTo>
                    <a:lnTo>
                      <a:pt x="3769" y="997"/>
                    </a:lnTo>
                    <a:lnTo>
                      <a:pt x="3769" y="1198"/>
                    </a:lnTo>
                    <a:lnTo>
                      <a:pt x="3769" y="1198"/>
                    </a:lnTo>
                    <a:lnTo>
                      <a:pt x="3769" y="995"/>
                    </a:lnTo>
                    <a:moveTo>
                      <a:pt x="5949" y="990"/>
                    </a:moveTo>
                    <a:lnTo>
                      <a:pt x="5947" y="990"/>
                    </a:lnTo>
                    <a:lnTo>
                      <a:pt x="5947" y="992"/>
                    </a:lnTo>
                    <a:lnTo>
                      <a:pt x="5947" y="1025"/>
                    </a:lnTo>
                    <a:lnTo>
                      <a:pt x="5947" y="1025"/>
                    </a:lnTo>
                    <a:lnTo>
                      <a:pt x="5947" y="1023"/>
                    </a:lnTo>
                    <a:lnTo>
                      <a:pt x="5949" y="1023"/>
                    </a:lnTo>
                    <a:lnTo>
                      <a:pt x="5949" y="990"/>
                    </a:lnTo>
                    <a:moveTo>
                      <a:pt x="6339" y="936"/>
                    </a:moveTo>
                    <a:lnTo>
                      <a:pt x="6339" y="936"/>
                    </a:lnTo>
                    <a:lnTo>
                      <a:pt x="6337" y="936"/>
                    </a:lnTo>
                    <a:lnTo>
                      <a:pt x="6337" y="938"/>
                    </a:lnTo>
                    <a:lnTo>
                      <a:pt x="6337" y="1113"/>
                    </a:lnTo>
                    <a:lnTo>
                      <a:pt x="6339" y="1113"/>
                    </a:lnTo>
                    <a:lnTo>
                      <a:pt x="6339" y="1111"/>
                    </a:lnTo>
                    <a:lnTo>
                      <a:pt x="6339" y="1111"/>
                    </a:lnTo>
                    <a:lnTo>
                      <a:pt x="6339" y="936"/>
                    </a:lnTo>
                    <a:moveTo>
                      <a:pt x="3845" y="928"/>
                    </a:moveTo>
                    <a:lnTo>
                      <a:pt x="3842" y="928"/>
                    </a:lnTo>
                    <a:lnTo>
                      <a:pt x="3842" y="931"/>
                    </a:lnTo>
                    <a:lnTo>
                      <a:pt x="3842" y="969"/>
                    </a:lnTo>
                    <a:lnTo>
                      <a:pt x="3845" y="969"/>
                    </a:lnTo>
                    <a:lnTo>
                      <a:pt x="3845" y="928"/>
                    </a:lnTo>
                    <a:moveTo>
                      <a:pt x="6384" y="895"/>
                    </a:moveTo>
                    <a:lnTo>
                      <a:pt x="6384" y="895"/>
                    </a:lnTo>
                    <a:lnTo>
                      <a:pt x="6382" y="895"/>
                    </a:lnTo>
                    <a:lnTo>
                      <a:pt x="6382" y="898"/>
                    </a:lnTo>
                    <a:lnTo>
                      <a:pt x="6379" y="909"/>
                    </a:lnTo>
                    <a:lnTo>
                      <a:pt x="6382" y="909"/>
                    </a:lnTo>
                    <a:lnTo>
                      <a:pt x="6384" y="895"/>
                    </a:lnTo>
                    <a:moveTo>
                      <a:pt x="6389" y="879"/>
                    </a:moveTo>
                    <a:lnTo>
                      <a:pt x="6389" y="879"/>
                    </a:lnTo>
                    <a:lnTo>
                      <a:pt x="6386" y="879"/>
                    </a:lnTo>
                    <a:lnTo>
                      <a:pt x="6386" y="881"/>
                    </a:lnTo>
                    <a:lnTo>
                      <a:pt x="6386" y="893"/>
                    </a:lnTo>
                    <a:lnTo>
                      <a:pt x="6389" y="893"/>
                    </a:lnTo>
                    <a:lnTo>
                      <a:pt x="6389" y="891"/>
                    </a:lnTo>
                    <a:lnTo>
                      <a:pt x="6389" y="891"/>
                    </a:lnTo>
                    <a:lnTo>
                      <a:pt x="6389" y="879"/>
                    </a:lnTo>
                    <a:moveTo>
                      <a:pt x="6396" y="850"/>
                    </a:moveTo>
                    <a:lnTo>
                      <a:pt x="6396" y="850"/>
                    </a:lnTo>
                    <a:lnTo>
                      <a:pt x="6396" y="853"/>
                    </a:lnTo>
                    <a:lnTo>
                      <a:pt x="6396" y="872"/>
                    </a:lnTo>
                    <a:lnTo>
                      <a:pt x="6396" y="872"/>
                    </a:lnTo>
                    <a:lnTo>
                      <a:pt x="6396" y="869"/>
                    </a:lnTo>
                    <a:lnTo>
                      <a:pt x="6396" y="869"/>
                    </a:lnTo>
                    <a:lnTo>
                      <a:pt x="6396" y="850"/>
                    </a:lnTo>
                    <a:moveTo>
                      <a:pt x="804" y="829"/>
                    </a:moveTo>
                    <a:lnTo>
                      <a:pt x="804" y="829"/>
                    </a:lnTo>
                    <a:lnTo>
                      <a:pt x="804" y="829"/>
                    </a:lnTo>
                    <a:lnTo>
                      <a:pt x="804" y="1044"/>
                    </a:lnTo>
                    <a:lnTo>
                      <a:pt x="804" y="1044"/>
                    </a:lnTo>
                    <a:lnTo>
                      <a:pt x="804" y="829"/>
                    </a:lnTo>
                    <a:moveTo>
                      <a:pt x="3100" y="763"/>
                    </a:moveTo>
                    <a:lnTo>
                      <a:pt x="3100" y="763"/>
                    </a:lnTo>
                    <a:lnTo>
                      <a:pt x="3097" y="763"/>
                    </a:lnTo>
                    <a:lnTo>
                      <a:pt x="3097" y="765"/>
                    </a:lnTo>
                    <a:lnTo>
                      <a:pt x="3097" y="954"/>
                    </a:lnTo>
                    <a:lnTo>
                      <a:pt x="3100" y="954"/>
                    </a:lnTo>
                    <a:lnTo>
                      <a:pt x="3100" y="763"/>
                    </a:lnTo>
                    <a:moveTo>
                      <a:pt x="1009" y="753"/>
                    </a:moveTo>
                    <a:lnTo>
                      <a:pt x="1007" y="753"/>
                    </a:lnTo>
                    <a:lnTo>
                      <a:pt x="1007" y="756"/>
                    </a:lnTo>
                    <a:lnTo>
                      <a:pt x="1007" y="803"/>
                    </a:lnTo>
                    <a:lnTo>
                      <a:pt x="1009" y="803"/>
                    </a:lnTo>
                    <a:lnTo>
                      <a:pt x="1009" y="753"/>
                    </a:lnTo>
                    <a:moveTo>
                      <a:pt x="5131" y="732"/>
                    </a:moveTo>
                    <a:lnTo>
                      <a:pt x="5128" y="732"/>
                    </a:lnTo>
                    <a:lnTo>
                      <a:pt x="5128" y="734"/>
                    </a:lnTo>
                    <a:lnTo>
                      <a:pt x="5128" y="947"/>
                    </a:lnTo>
                    <a:lnTo>
                      <a:pt x="5131" y="947"/>
                    </a:lnTo>
                    <a:lnTo>
                      <a:pt x="5131" y="732"/>
                    </a:lnTo>
                    <a:moveTo>
                      <a:pt x="3138" y="659"/>
                    </a:moveTo>
                    <a:lnTo>
                      <a:pt x="3135" y="659"/>
                    </a:lnTo>
                    <a:lnTo>
                      <a:pt x="3135" y="659"/>
                    </a:lnTo>
                    <a:lnTo>
                      <a:pt x="3135" y="737"/>
                    </a:lnTo>
                    <a:lnTo>
                      <a:pt x="3138" y="737"/>
                    </a:lnTo>
                    <a:lnTo>
                      <a:pt x="3138" y="659"/>
                    </a:lnTo>
                    <a:moveTo>
                      <a:pt x="97" y="618"/>
                    </a:moveTo>
                    <a:lnTo>
                      <a:pt x="94" y="618"/>
                    </a:lnTo>
                    <a:lnTo>
                      <a:pt x="94" y="618"/>
                    </a:lnTo>
                    <a:lnTo>
                      <a:pt x="94" y="1428"/>
                    </a:lnTo>
                    <a:lnTo>
                      <a:pt x="97" y="1428"/>
                    </a:lnTo>
                    <a:lnTo>
                      <a:pt x="97" y="618"/>
                    </a:lnTo>
                    <a:moveTo>
                      <a:pt x="5251" y="611"/>
                    </a:moveTo>
                    <a:lnTo>
                      <a:pt x="5251" y="611"/>
                    </a:lnTo>
                    <a:lnTo>
                      <a:pt x="5251" y="611"/>
                    </a:lnTo>
                    <a:lnTo>
                      <a:pt x="5251" y="706"/>
                    </a:lnTo>
                    <a:lnTo>
                      <a:pt x="5251" y="706"/>
                    </a:lnTo>
                    <a:lnTo>
                      <a:pt x="5251" y="611"/>
                    </a:lnTo>
                    <a:moveTo>
                      <a:pt x="3282" y="583"/>
                    </a:moveTo>
                    <a:lnTo>
                      <a:pt x="3282" y="583"/>
                    </a:lnTo>
                    <a:lnTo>
                      <a:pt x="3279" y="583"/>
                    </a:lnTo>
                    <a:lnTo>
                      <a:pt x="3279" y="585"/>
                    </a:lnTo>
                    <a:lnTo>
                      <a:pt x="3279" y="632"/>
                    </a:lnTo>
                    <a:lnTo>
                      <a:pt x="3282" y="632"/>
                    </a:lnTo>
                    <a:lnTo>
                      <a:pt x="3282" y="583"/>
                    </a:lnTo>
                    <a:moveTo>
                      <a:pt x="302" y="547"/>
                    </a:moveTo>
                    <a:lnTo>
                      <a:pt x="300" y="547"/>
                    </a:lnTo>
                    <a:lnTo>
                      <a:pt x="300" y="550"/>
                    </a:lnTo>
                    <a:lnTo>
                      <a:pt x="300" y="592"/>
                    </a:lnTo>
                    <a:lnTo>
                      <a:pt x="302" y="592"/>
                    </a:lnTo>
                    <a:lnTo>
                      <a:pt x="302" y="547"/>
                    </a:lnTo>
                    <a:moveTo>
                      <a:pt x="7025" y="509"/>
                    </a:moveTo>
                    <a:lnTo>
                      <a:pt x="7022" y="509"/>
                    </a:lnTo>
                    <a:lnTo>
                      <a:pt x="7022" y="512"/>
                    </a:lnTo>
                    <a:lnTo>
                      <a:pt x="7022" y="1667"/>
                    </a:lnTo>
                    <a:lnTo>
                      <a:pt x="7025" y="1667"/>
                    </a:lnTo>
                    <a:lnTo>
                      <a:pt x="7025" y="509"/>
                    </a:lnTo>
                    <a:moveTo>
                      <a:pt x="4192" y="505"/>
                    </a:moveTo>
                    <a:lnTo>
                      <a:pt x="4192" y="505"/>
                    </a:lnTo>
                    <a:lnTo>
                      <a:pt x="4192" y="507"/>
                    </a:lnTo>
                    <a:lnTo>
                      <a:pt x="4142" y="571"/>
                    </a:lnTo>
                    <a:lnTo>
                      <a:pt x="4142" y="573"/>
                    </a:lnTo>
                    <a:lnTo>
                      <a:pt x="4192" y="505"/>
                    </a:lnTo>
                    <a:moveTo>
                      <a:pt x="3298" y="502"/>
                    </a:moveTo>
                    <a:lnTo>
                      <a:pt x="3298" y="502"/>
                    </a:lnTo>
                    <a:lnTo>
                      <a:pt x="3298" y="502"/>
                    </a:lnTo>
                    <a:lnTo>
                      <a:pt x="3298" y="505"/>
                    </a:lnTo>
                    <a:lnTo>
                      <a:pt x="3298" y="566"/>
                    </a:lnTo>
                    <a:lnTo>
                      <a:pt x="3298" y="566"/>
                    </a:lnTo>
                    <a:lnTo>
                      <a:pt x="3298" y="564"/>
                    </a:lnTo>
                    <a:lnTo>
                      <a:pt x="3298" y="564"/>
                    </a:lnTo>
                    <a:lnTo>
                      <a:pt x="3298" y="502"/>
                    </a:lnTo>
                    <a:moveTo>
                      <a:pt x="4036" y="455"/>
                    </a:moveTo>
                    <a:lnTo>
                      <a:pt x="4034" y="455"/>
                    </a:lnTo>
                    <a:lnTo>
                      <a:pt x="4034" y="455"/>
                    </a:lnTo>
                    <a:lnTo>
                      <a:pt x="4034" y="457"/>
                    </a:lnTo>
                    <a:lnTo>
                      <a:pt x="4034" y="493"/>
                    </a:lnTo>
                    <a:lnTo>
                      <a:pt x="3953" y="644"/>
                    </a:lnTo>
                    <a:lnTo>
                      <a:pt x="3953" y="902"/>
                    </a:lnTo>
                    <a:lnTo>
                      <a:pt x="3953" y="902"/>
                    </a:lnTo>
                    <a:lnTo>
                      <a:pt x="3953" y="642"/>
                    </a:lnTo>
                    <a:lnTo>
                      <a:pt x="4036" y="490"/>
                    </a:lnTo>
                    <a:lnTo>
                      <a:pt x="4036" y="455"/>
                    </a:lnTo>
                    <a:moveTo>
                      <a:pt x="3329" y="436"/>
                    </a:moveTo>
                    <a:lnTo>
                      <a:pt x="3327" y="436"/>
                    </a:lnTo>
                    <a:lnTo>
                      <a:pt x="3327" y="436"/>
                    </a:lnTo>
                    <a:lnTo>
                      <a:pt x="3327" y="476"/>
                    </a:lnTo>
                    <a:lnTo>
                      <a:pt x="3329" y="476"/>
                    </a:lnTo>
                    <a:lnTo>
                      <a:pt x="3329" y="436"/>
                    </a:lnTo>
                    <a:moveTo>
                      <a:pt x="4041" y="391"/>
                    </a:moveTo>
                    <a:lnTo>
                      <a:pt x="4041" y="391"/>
                    </a:lnTo>
                    <a:lnTo>
                      <a:pt x="4041" y="391"/>
                    </a:lnTo>
                    <a:lnTo>
                      <a:pt x="4041" y="393"/>
                    </a:lnTo>
                    <a:lnTo>
                      <a:pt x="4041" y="450"/>
                    </a:lnTo>
                    <a:lnTo>
                      <a:pt x="4041" y="450"/>
                    </a:lnTo>
                    <a:lnTo>
                      <a:pt x="4041" y="448"/>
                    </a:lnTo>
                    <a:lnTo>
                      <a:pt x="4041" y="448"/>
                    </a:lnTo>
                    <a:lnTo>
                      <a:pt x="4041" y="391"/>
                    </a:lnTo>
                    <a:moveTo>
                      <a:pt x="1809" y="370"/>
                    </a:moveTo>
                    <a:lnTo>
                      <a:pt x="1806" y="370"/>
                    </a:lnTo>
                    <a:lnTo>
                      <a:pt x="1806" y="372"/>
                    </a:lnTo>
                    <a:lnTo>
                      <a:pt x="1806" y="1106"/>
                    </a:lnTo>
                    <a:lnTo>
                      <a:pt x="1809" y="1106"/>
                    </a:lnTo>
                    <a:lnTo>
                      <a:pt x="1809" y="370"/>
                    </a:lnTo>
                    <a:moveTo>
                      <a:pt x="1939" y="334"/>
                    </a:moveTo>
                    <a:lnTo>
                      <a:pt x="1936" y="334"/>
                    </a:lnTo>
                    <a:lnTo>
                      <a:pt x="1936" y="337"/>
                    </a:lnTo>
                    <a:lnTo>
                      <a:pt x="1936" y="344"/>
                    </a:lnTo>
                    <a:lnTo>
                      <a:pt x="1939" y="344"/>
                    </a:lnTo>
                    <a:lnTo>
                      <a:pt x="1939" y="334"/>
                    </a:lnTo>
                    <a:moveTo>
                      <a:pt x="4050" y="329"/>
                    </a:moveTo>
                    <a:lnTo>
                      <a:pt x="4048" y="329"/>
                    </a:lnTo>
                    <a:lnTo>
                      <a:pt x="4048" y="329"/>
                    </a:lnTo>
                    <a:lnTo>
                      <a:pt x="4048" y="384"/>
                    </a:lnTo>
                    <a:lnTo>
                      <a:pt x="4050" y="384"/>
                    </a:lnTo>
                    <a:lnTo>
                      <a:pt x="4050" y="382"/>
                    </a:lnTo>
                    <a:lnTo>
                      <a:pt x="4050" y="382"/>
                    </a:lnTo>
                    <a:lnTo>
                      <a:pt x="4050" y="329"/>
                    </a:lnTo>
                    <a:moveTo>
                      <a:pt x="2029" y="294"/>
                    </a:moveTo>
                    <a:lnTo>
                      <a:pt x="2026" y="294"/>
                    </a:lnTo>
                    <a:lnTo>
                      <a:pt x="2026" y="296"/>
                    </a:lnTo>
                    <a:lnTo>
                      <a:pt x="2026" y="308"/>
                    </a:lnTo>
                    <a:lnTo>
                      <a:pt x="2029" y="308"/>
                    </a:lnTo>
                    <a:lnTo>
                      <a:pt x="2029" y="294"/>
                    </a:lnTo>
                    <a:moveTo>
                      <a:pt x="4703" y="232"/>
                    </a:moveTo>
                    <a:lnTo>
                      <a:pt x="4700" y="232"/>
                    </a:lnTo>
                    <a:lnTo>
                      <a:pt x="4700" y="235"/>
                    </a:lnTo>
                    <a:lnTo>
                      <a:pt x="4639" y="462"/>
                    </a:lnTo>
                    <a:lnTo>
                      <a:pt x="4641" y="462"/>
                    </a:lnTo>
                    <a:lnTo>
                      <a:pt x="4703" y="232"/>
                    </a:lnTo>
                    <a:moveTo>
                      <a:pt x="4802" y="173"/>
                    </a:moveTo>
                    <a:lnTo>
                      <a:pt x="4802" y="173"/>
                    </a:lnTo>
                    <a:lnTo>
                      <a:pt x="4802" y="173"/>
                    </a:lnTo>
                    <a:lnTo>
                      <a:pt x="4802" y="176"/>
                    </a:lnTo>
                    <a:lnTo>
                      <a:pt x="4802" y="206"/>
                    </a:lnTo>
                    <a:lnTo>
                      <a:pt x="4802" y="206"/>
                    </a:lnTo>
                    <a:lnTo>
                      <a:pt x="4802" y="173"/>
                    </a:lnTo>
                    <a:moveTo>
                      <a:pt x="4852" y="0"/>
                    </a:moveTo>
                    <a:lnTo>
                      <a:pt x="4849" y="0"/>
                    </a:lnTo>
                    <a:lnTo>
                      <a:pt x="4849" y="3"/>
                    </a:lnTo>
                    <a:lnTo>
                      <a:pt x="4849" y="147"/>
                    </a:lnTo>
                    <a:lnTo>
                      <a:pt x="4852" y="147"/>
                    </a:lnTo>
                    <a:lnTo>
                      <a:pt x="4852" y="0"/>
                    </a:lnTo>
                    <a:moveTo>
                      <a:pt x="4909" y="0"/>
                    </a:moveTo>
                    <a:lnTo>
                      <a:pt x="4909" y="0"/>
                    </a:lnTo>
                    <a:lnTo>
                      <a:pt x="4909" y="3"/>
                    </a:lnTo>
                    <a:lnTo>
                      <a:pt x="4909" y="147"/>
                    </a:lnTo>
                    <a:lnTo>
                      <a:pt x="4909" y="147"/>
                    </a:lnTo>
                    <a:lnTo>
                      <a:pt x="49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6" name="Freeform 118"/>
              <p:cNvSpPr>
                <a:spLocks noEditPoints="1"/>
              </p:cNvSpPr>
              <p:nvPr/>
            </p:nvSpPr>
            <p:spPr bwMode="auto">
              <a:xfrm>
                <a:off x="23" y="1686"/>
                <a:ext cx="7025" cy="1667"/>
              </a:xfrm>
              <a:custGeom>
                <a:avLst/>
                <a:gdLst>
                  <a:gd name="T0" fmla="*/ 0 w 7025"/>
                  <a:gd name="T1" fmla="*/ 1508 h 1667"/>
                  <a:gd name="T2" fmla="*/ 5663 w 7025"/>
                  <a:gd name="T3" fmla="*/ 1423 h 1667"/>
                  <a:gd name="T4" fmla="*/ 3708 w 7025"/>
                  <a:gd name="T5" fmla="*/ 1222 h 1667"/>
                  <a:gd name="T6" fmla="*/ 5831 w 7025"/>
                  <a:gd name="T7" fmla="*/ 1208 h 1667"/>
                  <a:gd name="T8" fmla="*/ 5831 w 7025"/>
                  <a:gd name="T9" fmla="*/ 1300 h 1667"/>
                  <a:gd name="T10" fmla="*/ 1662 w 7025"/>
                  <a:gd name="T11" fmla="*/ 1158 h 1667"/>
                  <a:gd name="T12" fmla="*/ 1686 w 7025"/>
                  <a:gd name="T13" fmla="*/ 1132 h 1667"/>
                  <a:gd name="T14" fmla="*/ 1688 w 7025"/>
                  <a:gd name="T15" fmla="*/ 1132 h 1667"/>
                  <a:gd name="T16" fmla="*/ 5852 w 7025"/>
                  <a:gd name="T17" fmla="*/ 1184 h 1667"/>
                  <a:gd name="T18" fmla="*/ 6321 w 7025"/>
                  <a:gd name="T19" fmla="*/ 1127 h 1667"/>
                  <a:gd name="T20" fmla="*/ 1445 w 7025"/>
                  <a:gd name="T21" fmla="*/ 1125 h 1667"/>
                  <a:gd name="T22" fmla="*/ 1445 w 7025"/>
                  <a:gd name="T23" fmla="*/ 1175 h 1667"/>
                  <a:gd name="T24" fmla="*/ 1461 w 7025"/>
                  <a:gd name="T25" fmla="*/ 1108 h 1667"/>
                  <a:gd name="T26" fmla="*/ 2859 w 7025"/>
                  <a:gd name="T27" fmla="*/ 1061 h 1667"/>
                  <a:gd name="T28" fmla="*/ 2859 w 7025"/>
                  <a:gd name="T29" fmla="*/ 1215 h 1667"/>
                  <a:gd name="T30" fmla="*/ 5928 w 7025"/>
                  <a:gd name="T31" fmla="*/ 1042 h 1667"/>
                  <a:gd name="T32" fmla="*/ 2875 w 7025"/>
                  <a:gd name="T33" fmla="*/ 1011 h 1667"/>
                  <a:gd name="T34" fmla="*/ 2878 w 7025"/>
                  <a:gd name="T35" fmla="*/ 1042 h 1667"/>
                  <a:gd name="T36" fmla="*/ 3767 w 7025"/>
                  <a:gd name="T37" fmla="*/ 1198 h 1667"/>
                  <a:gd name="T38" fmla="*/ 5947 w 7025"/>
                  <a:gd name="T39" fmla="*/ 990 h 1667"/>
                  <a:gd name="T40" fmla="*/ 5949 w 7025"/>
                  <a:gd name="T41" fmla="*/ 990 h 1667"/>
                  <a:gd name="T42" fmla="*/ 6337 w 7025"/>
                  <a:gd name="T43" fmla="*/ 1111 h 1667"/>
                  <a:gd name="T44" fmla="*/ 3845 w 7025"/>
                  <a:gd name="T45" fmla="*/ 926 h 1667"/>
                  <a:gd name="T46" fmla="*/ 3845 w 7025"/>
                  <a:gd name="T47" fmla="*/ 926 h 1667"/>
                  <a:gd name="T48" fmla="*/ 6380 w 7025"/>
                  <a:gd name="T49" fmla="*/ 909 h 1667"/>
                  <a:gd name="T50" fmla="*/ 6387 w 7025"/>
                  <a:gd name="T51" fmla="*/ 879 h 1667"/>
                  <a:gd name="T52" fmla="*/ 6389 w 7025"/>
                  <a:gd name="T53" fmla="*/ 888 h 1667"/>
                  <a:gd name="T54" fmla="*/ 6394 w 7025"/>
                  <a:gd name="T55" fmla="*/ 869 h 1667"/>
                  <a:gd name="T56" fmla="*/ 804 w 7025"/>
                  <a:gd name="T57" fmla="*/ 827 h 1667"/>
                  <a:gd name="T58" fmla="*/ 804 w 7025"/>
                  <a:gd name="T59" fmla="*/ 827 h 1667"/>
                  <a:gd name="T60" fmla="*/ 3098 w 7025"/>
                  <a:gd name="T61" fmla="*/ 954 h 1667"/>
                  <a:gd name="T62" fmla="*/ 1007 w 7025"/>
                  <a:gd name="T63" fmla="*/ 753 h 1667"/>
                  <a:gd name="T64" fmla="*/ 5129 w 7025"/>
                  <a:gd name="T65" fmla="*/ 732 h 1667"/>
                  <a:gd name="T66" fmla="*/ 3138 w 7025"/>
                  <a:gd name="T67" fmla="*/ 656 h 1667"/>
                  <a:gd name="T68" fmla="*/ 3138 w 7025"/>
                  <a:gd name="T69" fmla="*/ 656 h 1667"/>
                  <a:gd name="T70" fmla="*/ 97 w 7025"/>
                  <a:gd name="T71" fmla="*/ 1428 h 1667"/>
                  <a:gd name="T72" fmla="*/ 5249 w 7025"/>
                  <a:gd name="T73" fmla="*/ 706 h 1667"/>
                  <a:gd name="T74" fmla="*/ 3280 w 7025"/>
                  <a:gd name="T75" fmla="*/ 580 h 1667"/>
                  <a:gd name="T76" fmla="*/ 300 w 7025"/>
                  <a:gd name="T77" fmla="*/ 547 h 1667"/>
                  <a:gd name="T78" fmla="*/ 300 w 7025"/>
                  <a:gd name="T79" fmla="*/ 547 h 1667"/>
                  <a:gd name="T80" fmla="*/ 7025 w 7025"/>
                  <a:gd name="T81" fmla="*/ 1667 h 1667"/>
                  <a:gd name="T82" fmla="*/ 4140 w 7025"/>
                  <a:gd name="T83" fmla="*/ 573 h 1667"/>
                  <a:gd name="T84" fmla="*/ 3296 w 7025"/>
                  <a:gd name="T85" fmla="*/ 500 h 1667"/>
                  <a:gd name="T86" fmla="*/ 3299 w 7025"/>
                  <a:gd name="T87" fmla="*/ 561 h 1667"/>
                  <a:gd name="T88" fmla="*/ 4034 w 7025"/>
                  <a:gd name="T89" fmla="*/ 455 h 1667"/>
                  <a:gd name="T90" fmla="*/ 3954 w 7025"/>
                  <a:gd name="T91" fmla="*/ 640 h 1667"/>
                  <a:gd name="T92" fmla="*/ 3327 w 7025"/>
                  <a:gd name="T93" fmla="*/ 436 h 1667"/>
                  <a:gd name="T94" fmla="*/ 4041 w 7025"/>
                  <a:gd name="T95" fmla="*/ 391 h 1667"/>
                  <a:gd name="T96" fmla="*/ 4041 w 7025"/>
                  <a:gd name="T97" fmla="*/ 445 h 1667"/>
                  <a:gd name="T98" fmla="*/ 1807 w 7025"/>
                  <a:gd name="T99" fmla="*/ 370 h 1667"/>
                  <a:gd name="T100" fmla="*/ 1937 w 7025"/>
                  <a:gd name="T101" fmla="*/ 332 h 1667"/>
                  <a:gd name="T102" fmla="*/ 4051 w 7025"/>
                  <a:gd name="T103" fmla="*/ 327 h 1667"/>
                  <a:gd name="T104" fmla="*/ 4048 w 7025"/>
                  <a:gd name="T105" fmla="*/ 382 h 1667"/>
                  <a:gd name="T106" fmla="*/ 2027 w 7025"/>
                  <a:gd name="T107" fmla="*/ 294 h 1667"/>
                  <a:gd name="T108" fmla="*/ 4701 w 7025"/>
                  <a:gd name="T109" fmla="*/ 230 h 1667"/>
                  <a:gd name="T110" fmla="*/ 4803 w 7025"/>
                  <a:gd name="T111" fmla="*/ 171 h 1667"/>
                  <a:gd name="T112" fmla="*/ 4803 w 7025"/>
                  <a:gd name="T113" fmla="*/ 206 h 1667"/>
                  <a:gd name="T114" fmla="*/ 4850 w 7025"/>
                  <a:gd name="T115" fmla="*/ 147 h 1667"/>
                  <a:gd name="T116" fmla="*/ 4907 w 7025"/>
                  <a:gd name="T117"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67">
                    <a:moveTo>
                      <a:pt x="0" y="1452"/>
                    </a:moveTo>
                    <a:lnTo>
                      <a:pt x="0" y="1452"/>
                    </a:lnTo>
                    <a:lnTo>
                      <a:pt x="0" y="1454"/>
                    </a:lnTo>
                    <a:lnTo>
                      <a:pt x="0" y="1508"/>
                    </a:lnTo>
                    <a:lnTo>
                      <a:pt x="0" y="1508"/>
                    </a:lnTo>
                    <a:lnTo>
                      <a:pt x="0" y="1452"/>
                    </a:lnTo>
                    <a:close/>
                    <a:moveTo>
                      <a:pt x="5666" y="1326"/>
                    </a:moveTo>
                    <a:lnTo>
                      <a:pt x="5663" y="1326"/>
                    </a:lnTo>
                    <a:lnTo>
                      <a:pt x="5663" y="1326"/>
                    </a:lnTo>
                    <a:lnTo>
                      <a:pt x="5663" y="1423"/>
                    </a:lnTo>
                    <a:lnTo>
                      <a:pt x="5666" y="1423"/>
                    </a:lnTo>
                    <a:lnTo>
                      <a:pt x="5666" y="1326"/>
                    </a:lnTo>
                    <a:close/>
                    <a:moveTo>
                      <a:pt x="3710" y="1222"/>
                    </a:moveTo>
                    <a:lnTo>
                      <a:pt x="3708" y="1222"/>
                    </a:lnTo>
                    <a:lnTo>
                      <a:pt x="3708" y="1222"/>
                    </a:lnTo>
                    <a:lnTo>
                      <a:pt x="3708" y="1222"/>
                    </a:lnTo>
                    <a:lnTo>
                      <a:pt x="3708" y="1366"/>
                    </a:lnTo>
                    <a:lnTo>
                      <a:pt x="3710" y="1366"/>
                    </a:lnTo>
                    <a:lnTo>
                      <a:pt x="3710" y="1222"/>
                    </a:lnTo>
                    <a:close/>
                    <a:moveTo>
                      <a:pt x="5831" y="1208"/>
                    </a:moveTo>
                    <a:lnTo>
                      <a:pt x="5829" y="1208"/>
                    </a:lnTo>
                    <a:lnTo>
                      <a:pt x="5829" y="1208"/>
                    </a:lnTo>
                    <a:lnTo>
                      <a:pt x="5829" y="1210"/>
                    </a:lnTo>
                    <a:lnTo>
                      <a:pt x="5829" y="1300"/>
                    </a:lnTo>
                    <a:lnTo>
                      <a:pt x="5831" y="1300"/>
                    </a:lnTo>
                    <a:lnTo>
                      <a:pt x="5831" y="1208"/>
                    </a:lnTo>
                    <a:close/>
                    <a:moveTo>
                      <a:pt x="1665" y="1156"/>
                    </a:moveTo>
                    <a:lnTo>
                      <a:pt x="1665" y="1156"/>
                    </a:lnTo>
                    <a:lnTo>
                      <a:pt x="1662" y="1156"/>
                    </a:lnTo>
                    <a:lnTo>
                      <a:pt x="1662" y="1158"/>
                    </a:lnTo>
                    <a:lnTo>
                      <a:pt x="1662" y="1175"/>
                    </a:lnTo>
                    <a:lnTo>
                      <a:pt x="1665" y="1175"/>
                    </a:lnTo>
                    <a:lnTo>
                      <a:pt x="1665" y="1156"/>
                    </a:lnTo>
                    <a:close/>
                    <a:moveTo>
                      <a:pt x="1688" y="1132"/>
                    </a:moveTo>
                    <a:lnTo>
                      <a:pt x="1686" y="1132"/>
                    </a:lnTo>
                    <a:lnTo>
                      <a:pt x="1686" y="1132"/>
                    </a:lnTo>
                    <a:lnTo>
                      <a:pt x="1686" y="1134"/>
                    </a:lnTo>
                    <a:lnTo>
                      <a:pt x="1686" y="1134"/>
                    </a:lnTo>
                    <a:lnTo>
                      <a:pt x="1686" y="1132"/>
                    </a:lnTo>
                    <a:lnTo>
                      <a:pt x="1688" y="1132"/>
                    </a:lnTo>
                    <a:lnTo>
                      <a:pt x="1688" y="1132"/>
                    </a:lnTo>
                    <a:close/>
                    <a:moveTo>
                      <a:pt x="5855" y="1127"/>
                    </a:moveTo>
                    <a:lnTo>
                      <a:pt x="5852" y="1127"/>
                    </a:lnTo>
                    <a:lnTo>
                      <a:pt x="5852" y="1130"/>
                    </a:lnTo>
                    <a:lnTo>
                      <a:pt x="5852" y="1184"/>
                    </a:lnTo>
                    <a:lnTo>
                      <a:pt x="5855" y="1184"/>
                    </a:lnTo>
                    <a:lnTo>
                      <a:pt x="5855" y="1127"/>
                    </a:lnTo>
                    <a:close/>
                    <a:moveTo>
                      <a:pt x="6323" y="1127"/>
                    </a:moveTo>
                    <a:lnTo>
                      <a:pt x="6321" y="1127"/>
                    </a:lnTo>
                    <a:lnTo>
                      <a:pt x="6321" y="1127"/>
                    </a:lnTo>
                    <a:lnTo>
                      <a:pt x="6321" y="1130"/>
                    </a:lnTo>
                    <a:lnTo>
                      <a:pt x="6321" y="1338"/>
                    </a:lnTo>
                    <a:lnTo>
                      <a:pt x="6323" y="1338"/>
                    </a:lnTo>
                    <a:lnTo>
                      <a:pt x="6323" y="1127"/>
                    </a:lnTo>
                    <a:close/>
                    <a:moveTo>
                      <a:pt x="1445" y="1125"/>
                    </a:moveTo>
                    <a:lnTo>
                      <a:pt x="1445" y="1125"/>
                    </a:lnTo>
                    <a:lnTo>
                      <a:pt x="1445" y="1125"/>
                    </a:lnTo>
                    <a:lnTo>
                      <a:pt x="1445" y="1127"/>
                    </a:lnTo>
                    <a:lnTo>
                      <a:pt x="1445" y="1175"/>
                    </a:lnTo>
                    <a:lnTo>
                      <a:pt x="1445" y="1175"/>
                    </a:lnTo>
                    <a:lnTo>
                      <a:pt x="1445" y="1125"/>
                    </a:lnTo>
                    <a:close/>
                    <a:moveTo>
                      <a:pt x="1464" y="1082"/>
                    </a:moveTo>
                    <a:lnTo>
                      <a:pt x="1461" y="1082"/>
                    </a:lnTo>
                    <a:lnTo>
                      <a:pt x="1461" y="1085"/>
                    </a:lnTo>
                    <a:lnTo>
                      <a:pt x="1461" y="1108"/>
                    </a:lnTo>
                    <a:lnTo>
                      <a:pt x="1464" y="1108"/>
                    </a:lnTo>
                    <a:lnTo>
                      <a:pt x="1464" y="1106"/>
                    </a:lnTo>
                    <a:lnTo>
                      <a:pt x="1464" y="1106"/>
                    </a:lnTo>
                    <a:lnTo>
                      <a:pt x="1464" y="1082"/>
                    </a:lnTo>
                    <a:close/>
                    <a:moveTo>
                      <a:pt x="2859" y="1061"/>
                    </a:moveTo>
                    <a:lnTo>
                      <a:pt x="2859" y="1061"/>
                    </a:lnTo>
                    <a:lnTo>
                      <a:pt x="2857" y="1061"/>
                    </a:lnTo>
                    <a:lnTo>
                      <a:pt x="2857" y="1063"/>
                    </a:lnTo>
                    <a:lnTo>
                      <a:pt x="2857" y="1215"/>
                    </a:lnTo>
                    <a:lnTo>
                      <a:pt x="2859" y="1215"/>
                    </a:lnTo>
                    <a:lnTo>
                      <a:pt x="2859" y="1061"/>
                    </a:lnTo>
                    <a:close/>
                    <a:moveTo>
                      <a:pt x="5930" y="1040"/>
                    </a:moveTo>
                    <a:lnTo>
                      <a:pt x="5930" y="1040"/>
                    </a:lnTo>
                    <a:lnTo>
                      <a:pt x="5928" y="1040"/>
                    </a:lnTo>
                    <a:lnTo>
                      <a:pt x="5928" y="1042"/>
                    </a:lnTo>
                    <a:lnTo>
                      <a:pt x="5928" y="1104"/>
                    </a:lnTo>
                    <a:lnTo>
                      <a:pt x="5930" y="1104"/>
                    </a:lnTo>
                    <a:lnTo>
                      <a:pt x="5930" y="1040"/>
                    </a:lnTo>
                    <a:close/>
                    <a:moveTo>
                      <a:pt x="2878" y="1011"/>
                    </a:moveTo>
                    <a:lnTo>
                      <a:pt x="2875" y="1011"/>
                    </a:lnTo>
                    <a:lnTo>
                      <a:pt x="2875" y="1014"/>
                    </a:lnTo>
                    <a:lnTo>
                      <a:pt x="2875" y="1044"/>
                    </a:lnTo>
                    <a:lnTo>
                      <a:pt x="2875" y="1044"/>
                    </a:lnTo>
                    <a:lnTo>
                      <a:pt x="2875" y="1042"/>
                    </a:lnTo>
                    <a:lnTo>
                      <a:pt x="2878" y="1042"/>
                    </a:lnTo>
                    <a:lnTo>
                      <a:pt x="2878" y="1011"/>
                    </a:lnTo>
                    <a:close/>
                    <a:moveTo>
                      <a:pt x="3769" y="992"/>
                    </a:moveTo>
                    <a:lnTo>
                      <a:pt x="3767" y="992"/>
                    </a:lnTo>
                    <a:lnTo>
                      <a:pt x="3767" y="995"/>
                    </a:lnTo>
                    <a:lnTo>
                      <a:pt x="3767" y="1198"/>
                    </a:lnTo>
                    <a:lnTo>
                      <a:pt x="3769" y="1198"/>
                    </a:lnTo>
                    <a:lnTo>
                      <a:pt x="3769" y="992"/>
                    </a:lnTo>
                    <a:close/>
                    <a:moveTo>
                      <a:pt x="5949" y="990"/>
                    </a:moveTo>
                    <a:lnTo>
                      <a:pt x="5947" y="990"/>
                    </a:lnTo>
                    <a:lnTo>
                      <a:pt x="5947" y="990"/>
                    </a:lnTo>
                    <a:lnTo>
                      <a:pt x="5947" y="1023"/>
                    </a:lnTo>
                    <a:lnTo>
                      <a:pt x="5947" y="1023"/>
                    </a:lnTo>
                    <a:lnTo>
                      <a:pt x="5947" y="1023"/>
                    </a:lnTo>
                    <a:lnTo>
                      <a:pt x="5949" y="1023"/>
                    </a:lnTo>
                    <a:lnTo>
                      <a:pt x="5949" y="990"/>
                    </a:lnTo>
                    <a:close/>
                    <a:moveTo>
                      <a:pt x="6339" y="936"/>
                    </a:moveTo>
                    <a:lnTo>
                      <a:pt x="6339" y="936"/>
                    </a:lnTo>
                    <a:lnTo>
                      <a:pt x="6337" y="936"/>
                    </a:lnTo>
                    <a:lnTo>
                      <a:pt x="6337" y="936"/>
                    </a:lnTo>
                    <a:lnTo>
                      <a:pt x="6337" y="1111"/>
                    </a:lnTo>
                    <a:lnTo>
                      <a:pt x="6339" y="1111"/>
                    </a:lnTo>
                    <a:lnTo>
                      <a:pt x="6339" y="1108"/>
                    </a:lnTo>
                    <a:lnTo>
                      <a:pt x="6339" y="1108"/>
                    </a:lnTo>
                    <a:lnTo>
                      <a:pt x="6339" y="936"/>
                    </a:lnTo>
                    <a:close/>
                    <a:moveTo>
                      <a:pt x="3845" y="926"/>
                    </a:moveTo>
                    <a:lnTo>
                      <a:pt x="3843" y="926"/>
                    </a:lnTo>
                    <a:lnTo>
                      <a:pt x="3843" y="928"/>
                    </a:lnTo>
                    <a:lnTo>
                      <a:pt x="3843" y="969"/>
                    </a:lnTo>
                    <a:lnTo>
                      <a:pt x="3845" y="969"/>
                    </a:lnTo>
                    <a:lnTo>
                      <a:pt x="3845" y="926"/>
                    </a:lnTo>
                    <a:close/>
                    <a:moveTo>
                      <a:pt x="6384" y="893"/>
                    </a:moveTo>
                    <a:lnTo>
                      <a:pt x="6384" y="893"/>
                    </a:lnTo>
                    <a:lnTo>
                      <a:pt x="6382" y="893"/>
                    </a:lnTo>
                    <a:lnTo>
                      <a:pt x="6382" y="895"/>
                    </a:lnTo>
                    <a:lnTo>
                      <a:pt x="6380" y="909"/>
                    </a:lnTo>
                    <a:lnTo>
                      <a:pt x="6380" y="909"/>
                    </a:lnTo>
                    <a:lnTo>
                      <a:pt x="6384" y="893"/>
                    </a:lnTo>
                    <a:close/>
                    <a:moveTo>
                      <a:pt x="6389" y="879"/>
                    </a:moveTo>
                    <a:lnTo>
                      <a:pt x="6387" y="879"/>
                    </a:lnTo>
                    <a:lnTo>
                      <a:pt x="6387" y="879"/>
                    </a:lnTo>
                    <a:lnTo>
                      <a:pt x="6387" y="879"/>
                    </a:lnTo>
                    <a:lnTo>
                      <a:pt x="6387" y="891"/>
                    </a:lnTo>
                    <a:lnTo>
                      <a:pt x="6387" y="891"/>
                    </a:lnTo>
                    <a:lnTo>
                      <a:pt x="6389" y="888"/>
                    </a:lnTo>
                    <a:lnTo>
                      <a:pt x="6389" y="888"/>
                    </a:lnTo>
                    <a:lnTo>
                      <a:pt x="6389" y="879"/>
                    </a:lnTo>
                    <a:close/>
                    <a:moveTo>
                      <a:pt x="6396" y="850"/>
                    </a:moveTo>
                    <a:lnTo>
                      <a:pt x="6394" y="850"/>
                    </a:lnTo>
                    <a:lnTo>
                      <a:pt x="6394" y="850"/>
                    </a:lnTo>
                    <a:lnTo>
                      <a:pt x="6394" y="869"/>
                    </a:lnTo>
                    <a:lnTo>
                      <a:pt x="6396" y="869"/>
                    </a:lnTo>
                    <a:lnTo>
                      <a:pt x="6396" y="869"/>
                    </a:lnTo>
                    <a:lnTo>
                      <a:pt x="6396" y="869"/>
                    </a:lnTo>
                    <a:lnTo>
                      <a:pt x="6396" y="850"/>
                    </a:lnTo>
                    <a:close/>
                    <a:moveTo>
                      <a:pt x="804" y="827"/>
                    </a:moveTo>
                    <a:lnTo>
                      <a:pt x="802" y="827"/>
                    </a:lnTo>
                    <a:lnTo>
                      <a:pt x="802" y="829"/>
                    </a:lnTo>
                    <a:lnTo>
                      <a:pt x="802" y="1044"/>
                    </a:lnTo>
                    <a:lnTo>
                      <a:pt x="804" y="1044"/>
                    </a:lnTo>
                    <a:lnTo>
                      <a:pt x="804" y="827"/>
                    </a:lnTo>
                    <a:close/>
                    <a:moveTo>
                      <a:pt x="3100" y="763"/>
                    </a:moveTo>
                    <a:lnTo>
                      <a:pt x="3100" y="763"/>
                    </a:lnTo>
                    <a:lnTo>
                      <a:pt x="3098" y="763"/>
                    </a:lnTo>
                    <a:lnTo>
                      <a:pt x="3098" y="763"/>
                    </a:lnTo>
                    <a:lnTo>
                      <a:pt x="3098" y="954"/>
                    </a:lnTo>
                    <a:lnTo>
                      <a:pt x="3100" y="954"/>
                    </a:lnTo>
                    <a:lnTo>
                      <a:pt x="3100" y="763"/>
                    </a:lnTo>
                    <a:close/>
                    <a:moveTo>
                      <a:pt x="1007" y="753"/>
                    </a:moveTo>
                    <a:lnTo>
                      <a:pt x="1007" y="753"/>
                    </a:lnTo>
                    <a:lnTo>
                      <a:pt x="1007" y="753"/>
                    </a:lnTo>
                    <a:lnTo>
                      <a:pt x="1007" y="803"/>
                    </a:lnTo>
                    <a:lnTo>
                      <a:pt x="1007" y="803"/>
                    </a:lnTo>
                    <a:lnTo>
                      <a:pt x="1007" y="753"/>
                    </a:lnTo>
                    <a:close/>
                    <a:moveTo>
                      <a:pt x="5131" y="732"/>
                    </a:moveTo>
                    <a:lnTo>
                      <a:pt x="5129" y="732"/>
                    </a:lnTo>
                    <a:lnTo>
                      <a:pt x="5129" y="732"/>
                    </a:lnTo>
                    <a:lnTo>
                      <a:pt x="5129" y="947"/>
                    </a:lnTo>
                    <a:lnTo>
                      <a:pt x="5131" y="947"/>
                    </a:lnTo>
                    <a:lnTo>
                      <a:pt x="5131" y="732"/>
                    </a:lnTo>
                    <a:close/>
                    <a:moveTo>
                      <a:pt x="3138" y="656"/>
                    </a:moveTo>
                    <a:lnTo>
                      <a:pt x="3136" y="656"/>
                    </a:lnTo>
                    <a:lnTo>
                      <a:pt x="3136" y="659"/>
                    </a:lnTo>
                    <a:lnTo>
                      <a:pt x="3136" y="737"/>
                    </a:lnTo>
                    <a:lnTo>
                      <a:pt x="3138" y="737"/>
                    </a:lnTo>
                    <a:lnTo>
                      <a:pt x="3138" y="656"/>
                    </a:lnTo>
                    <a:close/>
                    <a:moveTo>
                      <a:pt x="97" y="616"/>
                    </a:moveTo>
                    <a:lnTo>
                      <a:pt x="95" y="616"/>
                    </a:lnTo>
                    <a:lnTo>
                      <a:pt x="95" y="618"/>
                    </a:lnTo>
                    <a:lnTo>
                      <a:pt x="95" y="1428"/>
                    </a:lnTo>
                    <a:lnTo>
                      <a:pt x="97" y="1428"/>
                    </a:lnTo>
                    <a:lnTo>
                      <a:pt x="97" y="616"/>
                    </a:lnTo>
                    <a:close/>
                    <a:moveTo>
                      <a:pt x="5252" y="609"/>
                    </a:moveTo>
                    <a:lnTo>
                      <a:pt x="5249" y="609"/>
                    </a:lnTo>
                    <a:lnTo>
                      <a:pt x="5249" y="611"/>
                    </a:lnTo>
                    <a:lnTo>
                      <a:pt x="5249" y="706"/>
                    </a:lnTo>
                    <a:lnTo>
                      <a:pt x="5252" y="706"/>
                    </a:lnTo>
                    <a:lnTo>
                      <a:pt x="5252" y="609"/>
                    </a:lnTo>
                    <a:close/>
                    <a:moveTo>
                      <a:pt x="3282" y="580"/>
                    </a:moveTo>
                    <a:lnTo>
                      <a:pt x="3280" y="580"/>
                    </a:lnTo>
                    <a:lnTo>
                      <a:pt x="3280" y="580"/>
                    </a:lnTo>
                    <a:lnTo>
                      <a:pt x="3280" y="583"/>
                    </a:lnTo>
                    <a:lnTo>
                      <a:pt x="3280" y="632"/>
                    </a:lnTo>
                    <a:lnTo>
                      <a:pt x="3282" y="632"/>
                    </a:lnTo>
                    <a:lnTo>
                      <a:pt x="3282" y="580"/>
                    </a:lnTo>
                    <a:close/>
                    <a:moveTo>
                      <a:pt x="300" y="547"/>
                    </a:moveTo>
                    <a:lnTo>
                      <a:pt x="300" y="547"/>
                    </a:lnTo>
                    <a:lnTo>
                      <a:pt x="300" y="547"/>
                    </a:lnTo>
                    <a:lnTo>
                      <a:pt x="300" y="592"/>
                    </a:lnTo>
                    <a:lnTo>
                      <a:pt x="300" y="592"/>
                    </a:lnTo>
                    <a:lnTo>
                      <a:pt x="300" y="547"/>
                    </a:lnTo>
                    <a:close/>
                    <a:moveTo>
                      <a:pt x="7025" y="507"/>
                    </a:moveTo>
                    <a:lnTo>
                      <a:pt x="7023" y="507"/>
                    </a:lnTo>
                    <a:lnTo>
                      <a:pt x="7023" y="509"/>
                    </a:lnTo>
                    <a:lnTo>
                      <a:pt x="7023" y="1667"/>
                    </a:lnTo>
                    <a:lnTo>
                      <a:pt x="7025" y="1667"/>
                    </a:lnTo>
                    <a:lnTo>
                      <a:pt x="7025" y="507"/>
                    </a:lnTo>
                    <a:close/>
                    <a:moveTo>
                      <a:pt x="4192" y="502"/>
                    </a:moveTo>
                    <a:lnTo>
                      <a:pt x="4192" y="502"/>
                    </a:lnTo>
                    <a:lnTo>
                      <a:pt x="4190" y="505"/>
                    </a:lnTo>
                    <a:lnTo>
                      <a:pt x="4140" y="573"/>
                    </a:lnTo>
                    <a:lnTo>
                      <a:pt x="4140" y="573"/>
                    </a:lnTo>
                    <a:lnTo>
                      <a:pt x="4192" y="502"/>
                    </a:lnTo>
                    <a:close/>
                    <a:moveTo>
                      <a:pt x="3299" y="500"/>
                    </a:moveTo>
                    <a:lnTo>
                      <a:pt x="3299" y="500"/>
                    </a:lnTo>
                    <a:lnTo>
                      <a:pt x="3296" y="500"/>
                    </a:lnTo>
                    <a:lnTo>
                      <a:pt x="3296" y="502"/>
                    </a:lnTo>
                    <a:lnTo>
                      <a:pt x="3296" y="564"/>
                    </a:lnTo>
                    <a:lnTo>
                      <a:pt x="3299" y="564"/>
                    </a:lnTo>
                    <a:lnTo>
                      <a:pt x="3299" y="561"/>
                    </a:lnTo>
                    <a:lnTo>
                      <a:pt x="3299" y="561"/>
                    </a:lnTo>
                    <a:lnTo>
                      <a:pt x="3299" y="500"/>
                    </a:lnTo>
                    <a:close/>
                    <a:moveTo>
                      <a:pt x="4036" y="453"/>
                    </a:moveTo>
                    <a:lnTo>
                      <a:pt x="4034" y="453"/>
                    </a:lnTo>
                    <a:lnTo>
                      <a:pt x="4034" y="453"/>
                    </a:lnTo>
                    <a:lnTo>
                      <a:pt x="4034" y="455"/>
                    </a:lnTo>
                    <a:lnTo>
                      <a:pt x="4034" y="490"/>
                    </a:lnTo>
                    <a:lnTo>
                      <a:pt x="3951" y="642"/>
                    </a:lnTo>
                    <a:lnTo>
                      <a:pt x="3951" y="902"/>
                    </a:lnTo>
                    <a:lnTo>
                      <a:pt x="3954" y="902"/>
                    </a:lnTo>
                    <a:lnTo>
                      <a:pt x="3954" y="640"/>
                    </a:lnTo>
                    <a:lnTo>
                      <a:pt x="4036" y="488"/>
                    </a:lnTo>
                    <a:lnTo>
                      <a:pt x="4036" y="453"/>
                    </a:lnTo>
                    <a:close/>
                    <a:moveTo>
                      <a:pt x="3327" y="434"/>
                    </a:moveTo>
                    <a:lnTo>
                      <a:pt x="3327" y="434"/>
                    </a:lnTo>
                    <a:lnTo>
                      <a:pt x="3327" y="436"/>
                    </a:lnTo>
                    <a:lnTo>
                      <a:pt x="3327" y="476"/>
                    </a:lnTo>
                    <a:lnTo>
                      <a:pt x="3327" y="476"/>
                    </a:lnTo>
                    <a:lnTo>
                      <a:pt x="3327" y="434"/>
                    </a:lnTo>
                    <a:close/>
                    <a:moveTo>
                      <a:pt x="4041" y="391"/>
                    </a:moveTo>
                    <a:lnTo>
                      <a:pt x="4041" y="391"/>
                    </a:lnTo>
                    <a:lnTo>
                      <a:pt x="4039" y="391"/>
                    </a:lnTo>
                    <a:lnTo>
                      <a:pt x="4039" y="391"/>
                    </a:lnTo>
                    <a:lnTo>
                      <a:pt x="4039" y="448"/>
                    </a:lnTo>
                    <a:lnTo>
                      <a:pt x="4041" y="448"/>
                    </a:lnTo>
                    <a:lnTo>
                      <a:pt x="4041" y="445"/>
                    </a:lnTo>
                    <a:lnTo>
                      <a:pt x="4041" y="445"/>
                    </a:lnTo>
                    <a:lnTo>
                      <a:pt x="4041" y="391"/>
                    </a:lnTo>
                    <a:close/>
                    <a:moveTo>
                      <a:pt x="1809" y="367"/>
                    </a:moveTo>
                    <a:lnTo>
                      <a:pt x="1807" y="367"/>
                    </a:lnTo>
                    <a:lnTo>
                      <a:pt x="1807" y="370"/>
                    </a:lnTo>
                    <a:lnTo>
                      <a:pt x="1807" y="1106"/>
                    </a:lnTo>
                    <a:lnTo>
                      <a:pt x="1809" y="1106"/>
                    </a:lnTo>
                    <a:lnTo>
                      <a:pt x="1809" y="367"/>
                    </a:lnTo>
                    <a:close/>
                    <a:moveTo>
                      <a:pt x="1937" y="332"/>
                    </a:moveTo>
                    <a:lnTo>
                      <a:pt x="1937" y="332"/>
                    </a:lnTo>
                    <a:lnTo>
                      <a:pt x="1937" y="334"/>
                    </a:lnTo>
                    <a:lnTo>
                      <a:pt x="1937" y="344"/>
                    </a:lnTo>
                    <a:lnTo>
                      <a:pt x="1937" y="344"/>
                    </a:lnTo>
                    <a:lnTo>
                      <a:pt x="1937" y="332"/>
                    </a:lnTo>
                    <a:close/>
                    <a:moveTo>
                      <a:pt x="4051" y="327"/>
                    </a:moveTo>
                    <a:lnTo>
                      <a:pt x="4048" y="327"/>
                    </a:lnTo>
                    <a:lnTo>
                      <a:pt x="4048" y="329"/>
                    </a:lnTo>
                    <a:lnTo>
                      <a:pt x="4048" y="382"/>
                    </a:lnTo>
                    <a:lnTo>
                      <a:pt x="4048" y="382"/>
                    </a:lnTo>
                    <a:lnTo>
                      <a:pt x="4048" y="382"/>
                    </a:lnTo>
                    <a:lnTo>
                      <a:pt x="4051" y="382"/>
                    </a:lnTo>
                    <a:lnTo>
                      <a:pt x="4051" y="327"/>
                    </a:lnTo>
                    <a:close/>
                    <a:moveTo>
                      <a:pt x="2029" y="292"/>
                    </a:moveTo>
                    <a:lnTo>
                      <a:pt x="2027" y="292"/>
                    </a:lnTo>
                    <a:lnTo>
                      <a:pt x="2027" y="294"/>
                    </a:lnTo>
                    <a:lnTo>
                      <a:pt x="2027" y="308"/>
                    </a:lnTo>
                    <a:lnTo>
                      <a:pt x="2029" y="308"/>
                    </a:lnTo>
                    <a:lnTo>
                      <a:pt x="2029" y="292"/>
                    </a:lnTo>
                    <a:close/>
                    <a:moveTo>
                      <a:pt x="4703" y="230"/>
                    </a:moveTo>
                    <a:lnTo>
                      <a:pt x="4701" y="230"/>
                    </a:lnTo>
                    <a:lnTo>
                      <a:pt x="4701" y="232"/>
                    </a:lnTo>
                    <a:lnTo>
                      <a:pt x="4639" y="462"/>
                    </a:lnTo>
                    <a:lnTo>
                      <a:pt x="4639" y="460"/>
                    </a:lnTo>
                    <a:lnTo>
                      <a:pt x="4703" y="230"/>
                    </a:lnTo>
                    <a:close/>
                    <a:moveTo>
                      <a:pt x="4803" y="171"/>
                    </a:moveTo>
                    <a:lnTo>
                      <a:pt x="4803" y="171"/>
                    </a:lnTo>
                    <a:lnTo>
                      <a:pt x="4800" y="171"/>
                    </a:lnTo>
                    <a:lnTo>
                      <a:pt x="4800" y="173"/>
                    </a:lnTo>
                    <a:lnTo>
                      <a:pt x="4800" y="206"/>
                    </a:lnTo>
                    <a:lnTo>
                      <a:pt x="4803" y="206"/>
                    </a:lnTo>
                    <a:lnTo>
                      <a:pt x="4803" y="171"/>
                    </a:lnTo>
                    <a:close/>
                    <a:moveTo>
                      <a:pt x="4852" y="0"/>
                    </a:moveTo>
                    <a:lnTo>
                      <a:pt x="4850" y="0"/>
                    </a:lnTo>
                    <a:lnTo>
                      <a:pt x="4850" y="0"/>
                    </a:lnTo>
                    <a:lnTo>
                      <a:pt x="4850" y="147"/>
                    </a:lnTo>
                    <a:lnTo>
                      <a:pt x="4852" y="147"/>
                    </a:lnTo>
                    <a:lnTo>
                      <a:pt x="4852" y="0"/>
                    </a:lnTo>
                    <a:close/>
                    <a:moveTo>
                      <a:pt x="4909" y="0"/>
                    </a:moveTo>
                    <a:lnTo>
                      <a:pt x="4907" y="0"/>
                    </a:lnTo>
                    <a:lnTo>
                      <a:pt x="4907" y="0"/>
                    </a:lnTo>
                    <a:lnTo>
                      <a:pt x="4907" y="147"/>
                    </a:lnTo>
                    <a:lnTo>
                      <a:pt x="4909" y="147"/>
                    </a:lnTo>
                    <a:lnTo>
                      <a:pt x="4909" y="0"/>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7" name="Freeform 119"/>
              <p:cNvSpPr>
                <a:spLocks noEditPoints="1"/>
              </p:cNvSpPr>
              <p:nvPr/>
            </p:nvSpPr>
            <p:spPr bwMode="auto">
              <a:xfrm>
                <a:off x="23" y="1686"/>
                <a:ext cx="7025" cy="1667"/>
              </a:xfrm>
              <a:custGeom>
                <a:avLst/>
                <a:gdLst>
                  <a:gd name="T0" fmla="*/ 0 w 7025"/>
                  <a:gd name="T1" fmla="*/ 1508 h 1667"/>
                  <a:gd name="T2" fmla="*/ 5663 w 7025"/>
                  <a:gd name="T3" fmla="*/ 1423 h 1667"/>
                  <a:gd name="T4" fmla="*/ 3708 w 7025"/>
                  <a:gd name="T5" fmla="*/ 1222 h 1667"/>
                  <a:gd name="T6" fmla="*/ 5831 w 7025"/>
                  <a:gd name="T7" fmla="*/ 1208 h 1667"/>
                  <a:gd name="T8" fmla="*/ 5831 w 7025"/>
                  <a:gd name="T9" fmla="*/ 1300 h 1667"/>
                  <a:gd name="T10" fmla="*/ 1662 w 7025"/>
                  <a:gd name="T11" fmla="*/ 1158 h 1667"/>
                  <a:gd name="T12" fmla="*/ 1686 w 7025"/>
                  <a:gd name="T13" fmla="*/ 1132 h 1667"/>
                  <a:gd name="T14" fmla="*/ 1688 w 7025"/>
                  <a:gd name="T15" fmla="*/ 1132 h 1667"/>
                  <a:gd name="T16" fmla="*/ 5852 w 7025"/>
                  <a:gd name="T17" fmla="*/ 1184 h 1667"/>
                  <a:gd name="T18" fmla="*/ 6321 w 7025"/>
                  <a:gd name="T19" fmla="*/ 1127 h 1667"/>
                  <a:gd name="T20" fmla="*/ 1445 w 7025"/>
                  <a:gd name="T21" fmla="*/ 1125 h 1667"/>
                  <a:gd name="T22" fmla="*/ 1445 w 7025"/>
                  <a:gd name="T23" fmla="*/ 1175 h 1667"/>
                  <a:gd name="T24" fmla="*/ 1461 w 7025"/>
                  <a:gd name="T25" fmla="*/ 1108 h 1667"/>
                  <a:gd name="T26" fmla="*/ 2859 w 7025"/>
                  <a:gd name="T27" fmla="*/ 1061 h 1667"/>
                  <a:gd name="T28" fmla="*/ 2859 w 7025"/>
                  <a:gd name="T29" fmla="*/ 1215 h 1667"/>
                  <a:gd name="T30" fmla="*/ 5928 w 7025"/>
                  <a:gd name="T31" fmla="*/ 1042 h 1667"/>
                  <a:gd name="T32" fmla="*/ 2875 w 7025"/>
                  <a:gd name="T33" fmla="*/ 1011 h 1667"/>
                  <a:gd name="T34" fmla="*/ 2878 w 7025"/>
                  <a:gd name="T35" fmla="*/ 1042 h 1667"/>
                  <a:gd name="T36" fmla="*/ 3767 w 7025"/>
                  <a:gd name="T37" fmla="*/ 1198 h 1667"/>
                  <a:gd name="T38" fmla="*/ 5947 w 7025"/>
                  <a:gd name="T39" fmla="*/ 990 h 1667"/>
                  <a:gd name="T40" fmla="*/ 5949 w 7025"/>
                  <a:gd name="T41" fmla="*/ 990 h 1667"/>
                  <a:gd name="T42" fmla="*/ 6337 w 7025"/>
                  <a:gd name="T43" fmla="*/ 1111 h 1667"/>
                  <a:gd name="T44" fmla="*/ 3845 w 7025"/>
                  <a:gd name="T45" fmla="*/ 926 h 1667"/>
                  <a:gd name="T46" fmla="*/ 3845 w 7025"/>
                  <a:gd name="T47" fmla="*/ 926 h 1667"/>
                  <a:gd name="T48" fmla="*/ 6380 w 7025"/>
                  <a:gd name="T49" fmla="*/ 909 h 1667"/>
                  <a:gd name="T50" fmla="*/ 6387 w 7025"/>
                  <a:gd name="T51" fmla="*/ 879 h 1667"/>
                  <a:gd name="T52" fmla="*/ 6389 w 7025"/>
                  <a:gd name="T53" fmla="*/ 888 h 1667"/>
                  <a:gd name="T54" fmla="*/ 6394 w 7025"/>
                  <a:gd name="T55" fmla="*/ 869 h 1667"/>
                  <a:gd name="T56" fmla="*/ 804 w 7025"/>
                  <a:gd name="T57" fmla="*/ 827 h 1667"/>
                  <a:gd name="T58" fmla="*/ 804 w 7025"/>
                  <a:gd name="T59" fmla="*/ 827 h 1667"/>
                  <a:gd name="T60" fmla="*/ 3098 w 7025"/>
                  <a:gd name="T61" fmla="*/ 954 h 1667"/>
                  <a:gd name="T62" fmla="*/ 1007 w 7025"/>
                  <a:gd name="T63" fmla="*/ 753 h 1667"/>
                  <a:gd name="T64" fmla="*/ 5129 w 7025"/>
                  <a:gd name="T65" fmla="*/ 732 h 1667"/>
                  <a:gd name="T66" fmla="*/ 3138 w 7025"/>
                  <a:gd name="T67" fmla="*/ 656 h 1667"/>
                  <a:gd name="T68" fmla="*/ 3138 w 7025"/>
                  <a:gd name="T69" fmla="*/ 656 h 1667"/>
                  <a:gd name="T70" fmla="*/ 97 w 7025"/>
                  <a:gd name="T71" fmla="*/ 1428 h 1667"/>
                  <a:gd name="T72" fmla="*/ 5249 w 7025"/>
                  <a:gd name="T73" fmla="*/ 706 h 1667"/>
                  <a:gd name="T74" fmla="*/ 3280 w 7025"/>
                  <a:gd name="T75" fmla="*/ 580 h 1667"/>
                  <a:gd name="T76" fmla="*/ 300 w 7025"/>
                  <a:gd name="T77" fmla="*/ 547 h 1667"/>
                  <a:gd name="T78" fmla="*/ 300 w 7025"/>
                  <a:gd name="T79" fmla="*/ 547 h 1667"/>
                  <a:gd name="T80" fmla="*/ 7025 w 7025"/>
                  <a:gd name="T81" fmla="*/ 1667 h 1667"/>
                  <a:gd name="T82" fmla="*/ 4140 w 7025"/>
                  <a:gd name="T83" fmla="*/ 573 h 1667"/>
                  <a:gd name="T84" fmla="*/ 3296 w 7025"/>
                  <a:gd name="T85" fmla="*/ 500 h 1667"/>
                  <a:gd name="T86" fmla="*/ 3299 w 7025"/>
                  <a:gd name="T87" fmla="*/ 561 h 1667"/>
                  <a:gd name="T88" fmla="*/ 4034 w 7025"/>
                  <a:gd name="T89" fmla="*/ 455 h 1667"/>
                  <a:gd name="T90" fmla="*/ 3954 w 7025"/>
                  <a:gd name="T91" fmla="*/ 640 h 1667"/>
                  <a:gd name="T92" fmla="*/ 3327 w 7025"/>
                  <a:gd name="T93" fmla="*/ 436 h 1667"/>
                  <a:gd name="T94" fmla="*/ 4041 w 7025"/>
                  <a:gd name="T95" fmla="*/ 391 h 1667"/>
                  <a:gd name="T96" fmla="*/ 4041 w 7025"/>
                  <a:gd name="T97" fmla="*/ 445 h 1667"/>
                  <a:gd name="T98" fmla="*/ 1807 w 7025"/>
                  <a:gd name="T99" fmla="*/ 370 h 1667"/>
                  <a:gd name="T100" fmla="*/ 1937 w 7025"/>
                  <a:gd name="T101" fmla="*/ 332 h 1667"/>
                  <a:gd name="T102" fmla="*/ 4051 w 7025"/>
                  <a:gd name="T103" fmla="*/ 327 h 1667"/>
                  <a:gd name="T104" fmla="*/ 4048 w 7025"/>
                  <a:gd name="T105" fmla="*/ 382 h 1667"/>
                  <a:gd name="T106" fmla="*/ 2027 w 7025"/>
                  <a:gd name="T107" fmla="*/ 294 h 1667"/>
                  <a:gd name="T108" fmla="*/ 4701 w 7025"/>
                  <a:gd name="T109" fmla="*/ 230 h 1667"/>
                  <a:gd name="T110" fmla="*/ 4803 w 7025"/>
                  <a:gd name="T111" fmla="*/ 171 h 1667"/>
                  <a:gd name="T112" fmla="*/ 4803 w 7025"/>
                  <a:gd name="T113" fmla="*/ 206 h 1667"/>
                  <a:gd name="T114" fmla="*/ 4850 w 7025"/>
                  <a:gd name="T115" fmla="*/ 147 h 1667"/>
                  <a:gd name="T116" fmla="*/ 4907 w 7025"/>
                  <a:gd name="T117" fmla="*/ 0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67">
                    <a:moveTo>
                      <a:pt x="0" y="1452"/>
                    </a:moveTo>
                    <a:lnTo>
                      <a:pt x="0" y="1452"/>
                    </a:lnTo>
                    <a:lnTo>
                      <a:pt x="0" y="1454"/>
                    </a:lnTo>
                    <a:lnTo>
                      <a:pt x="0" y="1508"/>
                    </a:lnTo>
                    <a:lnTo>
                      <a:pt x="0" y="1508"/>
                    </a:lnTo>
                    <a:lnTo>
                      <a:pt x="0" y="1452"/>
                    </a:lnTo>
                    <a:moveTo>
                      <a:pt x="5666" y="1326"/>
                    </a:moveTo>
                    <a:lnTo>
                      <a:pt x="5663" y="1326"/>
                    </a:lnTo>
                    <a:lnTo>
                      <a:pt x="5663" y="1326"/>
                    </a:lnTo>
                    <a:lnTo>
                      <a:pt x="5663" y="1423"/>
                    </a:lnTo>
                    <a:lnTo>
                      <a:pt x="5666" y="1423"/>
                    </a:lnTo>
                    <a:lnTo>
                      <a:pt x="5666" y="1326"/>
                    </a:lnTo>
                    <a:moveTo>
                      <a:pt x="3710" y="1222"/>
                    </a:moveTo>
                    <a:lnTo>
                      <a:pt x="3708" y="1222"/>
                    </a:lnTo>
                    <a:lnTo>
                      <a:pt x="3708" y="1222"/>
                    </a:lnTo>
                    <a:lnTo>
                      <a:pt x="3708" y="1222"/>
                    </a:lnTo>
                    <a:lnTo>
                      <a:pt x="3708" y="1366"/>
                    </a:lnTo>
                    <a:lnTo>
                      <a:pt x="3710" y="1366"/>
                    </a:lnTo>
                    <a:lnTo>
                      <a:pt x="3710" y="1222"/>
                    </a:lnTo>
                    <a:moveTo>
                      <a:pt x="5831" y="1208"/>
                    </a:moveTo>
                    <a:lnTo>
                      <a:pt x="5829" y="1208"/>
                    </a:lnTo>
                    <a:lnTo>
                      <a:pt x="5829" y="1208"/>
                    </a:lnTo>
                    <a:lnTo>
                      <a:pt x="5829" y="1210"/>
                    </a:lnTo>
                    <a:lnTo>
                      <a:pt x="5829" y="1300"/>
                    </a:lnTo>
                    <a:lnTo>
                      <a:pt x="5831" y="1300"/>
                    </a:lnTo>
                    <a:lnTo>
                      <a:pt x="5831" y="1208"/>
                    </a:lnTo>
                    <a:moveTo>
                      <a:pt x="1665" y="1156"/>
                    </a:moveTo>
                    <a:lnTo>
                      <a:pt x="1665" y="1156"/>
                    </a:lnTo>
                    <a:lnTo>
                      <a:pt x="1662" y="1156"/>
                    </a:lnTo>
                    <a:lnTo>
                      <a:pt x="1662" y="1158"/>
                    </a:lnTo>
                    <a:lnTo>
                      <a:pt x="1662" y="1175"/>
                    </a:lnTo>
                    <a:lnTo>
                      <a:pt x="1665" y="1175"/>
                    </a:lnTo>
                    <a:lnTo>
                      <a:pt x="1665" y="1156"/>
                    </a:lnTo>
                    <a:moveTo>
                      <a:pt x="1688" y="1132"/>
                    </a:moveTo>
                    <a:lnTo>
                      <a:pt x="1686" y="1132"/>
                    </a:lnTo>
                    <a:lnTo>
                      <a:pt x="1686" y="1132"/>
                    </a:lnTo>
                    <a:lnTo>
                      <a:pt x="1686" y="1134"/>
                    </a:lnTo>
                    <a:lnTo>
                      <a:pt x="1686" y="1134"/>
                    </a:lnTo>
                    <a:lnTo>
                      <a:pt x="1686" y="1132"/>
                    </a:lnTo>
                    <a:lnTo>
                      <a:pt x="1688" y="1132"/>
                    </a:lnTo>
                    <a:lnTo>
                      <a:pt x="1688" y="1132"/>
                    </a:lnTo>
                    <a:moveTo>
                      <a:pt x="5855" y="1127"/>
                    </a:moveTo>
                    <a:lnTo>
                      <a:pt x="5852" y="1127"/>
                    </a:lnTo>
                    <a:lnTo>
                      <a:pt x="5852" y="1130"/>
                    </a:lnTo>
                    <a:lnTo>
                      <a:pt x="5852" y="1184"/>
                    </a:lnTo>
                    <a:lnTo>
                      <a:pt x="5855" y="1184"/>
                    </a:lnTo>
                    <a:lnTo>
                      <a:pt x="5855" y="1127"/>
                    </a:lnTo>
                    <a:moveTo>
                      <a:pt x="6323" y="1127"/>
                    </a:moveTo>
                    <a:lnTo>
                      <a:pt x="6321" y="1127"/>
                    </a:lnTo>
                    <a:lnTo>
                      <a:pt x="6321" y="1127"/>
                    </a:lnTo>
                    <a:lnTo>
                      <a:pt x="6321" y="1130"/>
                    </a:lnTo>
                    <a:lnTo>
                      <a:pt x="6321" y="1338"/>
                    </a:lnTo>
                    <a:lnTo>
                      <a:pt x="6323" y="1338"/>
                    </a:lnTo>
                    <a:lnTo>
                      <a:pt x="6323" y="1127"/>
                    </a:lnTo>
                    <a:moveTo>
                      <a:pt x="1445" y="1125"/>
                    </a:moveTo>
                    <a:lnTo>
                      <a:pt x="1445" y="1125"/>
                    </a:lnTo>
                    <a:lnTo>
                      <a:pt x="1445" y="1125"/>
                    </a:lnTo>
                    <a:lnTo>
                      <a:pt x="1445" y="1127"/>
                    </a:lnTo>
                    <a:lnTo>
                      <a:pt x="1445" y="1175"/>
                    </a:lnTo>
                    <a:lnTo>
                      <a:pt x="1445" y="1175"/>
                    </a:lnTo>
                    <a:lnTo>
                      <a:pt x="1445" y="1125"/>
                    </a:lnTo>
                    <a:moveTo>
                      <a:pt x="1464" y="1082"/>
                    </a:moveTo>
                    <a:lnTo>
                      <a:pt x="1461" y="1082"/>
                    </a:lnTo>
                    <a:lnTo>
                      <a:pt x="1461" y="1085"/>
                    </a:lnTo>
                    <a:lnTo>
                      <a:pt x="1461" y="1108"/>
                    </a:lnTo>
                    <a:lnTo>
                      <a:pt x="1464" y="1108"/>
                    </a:lnTo>
                    <a:lnTo>
                      <a:pt x="1464" y="1106"/>
                    </a:lnTo>
                    <a:lnTo>
                      <a:pt x="1464" y="1106"/>
                    </a:lnTo>
                    <a:lnTo>
                      <a:pt x="1464" y="1082"/>
                    </a:lnTo>
                    <a:moveTo>
                      <a:pt x="2859" y="1061"/>
                    </a:moveTo>
                    <a:lnTo>
                      <a:pt x="2859" y="1061"/>
                    </a:lnTo>
                    <a:lnTo>
                      <a:pt x="2857" y="1061"/>
                    </a:lnTo>
                    <a:lnTo>
                      <a:pt x="2857" y="1063"/>
                    </a:lnTo>
                    <a:lnTo>
                      <a:pt x="2857" y="1215"/>
                    </a:lnTo>
                    <a:lnTo>
                      <a:pt x="2859" y="1215"/>
                    </a:lnTo>
                    <a:lnTo>
                      <a:pt x="2859" y="1061"/>
                    </a:lnTo>
                    <a:moveTo>
                      <a:pt x="5930" y="1040"/>
                    </a:moveTo>
                    <a:lnTo>
                      <a:pt x="5930" y="1040"/>
                    </a:lnTo>
                    <a:lnTo>
                      <a:pt x="5928" y="1040"/>
                    </a:lnTo>
                    <a:lnTo>
                      <a:pt x="5928" y="1042"/>
                    </a:lnTo>
                    <a:lnTo>
                      <a:pt x="5928" y="1104"/>
                    </a:lnTo>
                    <a:lnTo>
                      <a:pt x="5930" y="1104"/>
                    </a:lnTo>
                    <a:lnTo>
                      <a:pt x="5930" y="1040"/>
                    </a:lnTo>
                    <a:moveTo>
                      <a:pt x="2878" y="1011"/>
                    </a:moveTo>
                    <a:lnTo>
                      <a:pt x="2875" y="1011"/>
                    </a:lnTo>
                    <a:lnTo>
                      <a:pt x="2875" y="1014"/>
                    </a:lnTo>
                    <a:lnTo>
                      <a:pt x="2875" y="1044"/>
                    </a:lnTo>
                    <a:lnTo>
                      <a:pt x="2875" y="1044"/>
                    </a:lnTo>
                    <a:lnTo>
                      <a:pt x="2875" y="1042"/>
                    </a:lnTo>
                    <a:lnTo>
                      <a:pt x="2878" y="1042"/>
                    </a:lnTo>
                    <a:lnTo>
                      <a:pt x="2878" y="1011"/>
                    </a:lnTo>
                    <a:moveTo>
                      <a:pt x="3769" y="992"/>
                    </a:moveTo>
                    <a:lnTo>
                      <a:pt x="3767" y="992"/>
                    </a:lnTo>
                    <a:lnTo>
                      <a:pt x="3767" y="995"/>
                    </a:lnTo>
                    <a:lnTo>
                      <a:pt x="3767" y="1198"/>
                    </a:lnTo>
                    <a:lnTo>
                      <a:pt x="3769" y="1198"/>
                    </a:lnTo>
                    <a:lnTo>
                      <a:pt x="3769" y="992"/>
                    </a:lnTo>
                    <a:moveTo>
                      <a:pt x="5949" y="990"/>
                    </a:moveTo>
                    <a:lnTo>
                      <a:pt x="5947" y="990"/>
                    </a:lnTo>
                    <a:lnTo>
                      <a:pt x="5947" y="990"/>
                    </a:lnTo>
                    <a:lnTo>
                      <a:pt x="5947" y="1023"/>
                    </a:lnTo>
                    <a:lnTo>
                      <a:pt x="5947" y="1023"/>
                    </a:lnTo>
                    <a:lnTo>
                      <a:pt x="5947" y="1023"/>
                    </a:lnTo>
                    <a:lnTo>
                      <a:pt x="5949" y="1023"/>
                    </a:lnTo>
                    <a:lnTo>
                      <a:pt x="5949" y="990"/>
                    </a:lnTo>
                    <a:moveTo>
                      <a:pt x="6339" y="936"/>
                    </a:moveTo>
                    <a:lnTo>
                      <a:pt x="6339" y="936"/>
                    </a:lnTo>
                    <a:lnTo>
                      <a:pt x="6337" y="936"/>
                    </a:lnTo>
                    <a:lnTo>
                      <a:pt x="6337" y="936"/>
                    </a:lnTo>
                    <a:lnTo>
                      <a:pt x="6337" y="1111"/>
                    </a:lnTo>
                    <a:lnTo>
                      <a:pt x="6339" y="1111"/>
                    </a:lnTo>
                    <a:lnTo>
                      <a:pt x="6339" y="1108"/>
                    </a:lnTo>
                    <a:lnTo>
                      <a:pt x="6339" y="1108"/>
                    </a:lnTo>
                    <a:lnTo>
                      <a:pt x="6339" y="936"/>
                    </a:lnTo>
                    <a:moveTo>
                      <a:pt x="3845" y="926"/>
                    </a:moveTo>
                    <a:lnTo>
                      <a:pt x="3843" y="926"/>
                    </a:lnTo>
                    <a:lnTo>
                      <a:pt x="3843" y="928"/>
                    </a:lnTo>
                    <a:lnTo>
                      <a:pt x="3843" y="969"/>
                    </a:lnTo>
                    <a:lnTo>
                      <a:pt x="3845" y="969"/>
                    </a:lnTo>
                    <a:lnTo>
                      <a:pt x="3845" y="926"/>
                    </a:lnTo>
                    <a:moveTo>
                      <a:pt x="6384" y="893"/>
                    </a:moveTo>
                    <a:lnTo>
                      <a:pt x="6384" y="893"/>
                    </a:lnTo>
                    <a:lnTo>
                      <a:pt x="6382" y="893"/>
                    </a:lnTo>
                    <a:lnTo>
                      <a:pt x="6382" y="895"/>
                    </a:lnTo>
                    <a:lnTo>
                      <a:pt x="6380" y="909"/>
                    </a:lnTo>
                    <a:lnTo>
                      <a:pt x="6380" y="909"/>
                    </a:lnTo>
                    <a:lnTo>
                      <a:pt x="6384" y="893"/>
                    </a:lnTo>
                    <a:moveTo>
                      <a:pt x="6389" y="879"/>
                    </a:moveTo>
                    <a:lnTo>
                      <a:pt x="6387" y="879"/>
                    </a:lnTo>
                    <a:lnTo>
                      <a:pt x="6387" y="879"/>
                    </a:lnTo>
                    <a:lnTo>
                      <a:pt x="6387" y="879"/>
                    </a:lnTo>
                    <a:lnTo>
                      <a:pt x="6387" y="891"/>
                    </a:lnTo>
                    <a:lnTo>
                      <a:pt x="6387" y="891"/>
                    </a:lnTo>
                    <a:lnTo>
                      <a:pt x="6389" y="888"/>
                    </a:lnTo>
                    <a:lnTo>
                      <a:pt x="6389" y="888"/>
                    </a:lnTo>
                    <a:lnTo>
                      <a:pt x="6389" y="879"/>
                    </a:lnTo>
                    <a:moveTo>
                      <a:pt x="6396" y="850"/>
                    </a:moveTo>
                    <a:lnTo>
                      <a:pt x="6394" y="850"/>
                    </a:lnTo>
                    <a:lnTo>
                      <a:pt x="6394" y="850"/>
                    </a:lnTo>
                    <a:lnTo>
                      <a:pt x="6394" y="869"/>
                    </a:lnTo>
                    <a:lnTo>
                      <a:pt x="6396" y="869"/>
                    </a:lnTo>
                    <a:lnTo>
                      <a:pt x="6396" y="869"/>
                    </a:lnTo>
                    <a:lnTo>
                      <a:pt x="6396" y="869"/>
                    </a:lnTo>
                    <a:lnTo>
                      <a:pt x="6396" y="850"/>
                    </a:lnTo>
                    <a:moveTo>
                      <a:pt x="804" y="827"/>
                    </a:moveTo>
                    <a:lnTo>
                      <a:pt x="802" y="827"/>
                    </a:lnTo>
                    <a:lnTo>
                      <a:pt x="802" y="829"/>
                    </a:lnTo>
                    <a:lnTo>
                      <a:pt x="802" y="1044"/>
                    </a:lnTo>
                    <a:lnTo>
                      <a:pt x="804" y="1044"/>
                    </a:lnTo>
                    <a:lnTo>
                      <a:pt x="804" y="827"/>
                    </a:lnTo>
                    <a:moveTo>
                      <a:pt x="3100" y="763"/>
                    </a:moveTo>
                    <a:lnTo>
                      <a:pt x="3100" y="763"/>
                    </a:lnTo>
                    <a:lnTo>
                      <a:pt x="3098" y="763"/>
                    </a:lnTo>
                    <a:lnTo>
                      <a:pt x="3098" y="763"/>
                    </a:lnTo>
                    <a:lnTo>
                      <a:pt x="3098" y="954"/>
                    </a:lnTo>
                    <a:lnTo>
                      <a:pt x="3100" y="954"/>
                    </a:lnTo>
                    <a:lnTo>
                      <a:pt x="3100" y="763"/>
                    </a:lnTo>
                    <a:moveTo>
                      <a:pt x="1007" y="753"/>
                    </a:moveTo>
                    <a:lnTo>
                      <a:pt x="1007" y="753"/>
                    </a:lnTo>
                    <a:lnTo>
                      <a:pt x="1007" y="753"/>
                    </a:lnTo>
                    <a:lnTo>
                      <a:pt x="1007" y="803"/>
                    </a:lnTo>
                    <a:lnTo>
                      <a:pt x="1007" y="803"/>
                    </a:lnTo>
                    <a:lnTo>
                      <a:pt x="1007" y="753"/>
                    </a:lnTo>
                    <a:moveTo>
                      <a:pt x="5131" y="732"/>
                    </a:moveTo>
                    <a:lnTo>
                      <a:pt x="5129" y="732"/>
                    </a:lnTo>
                    <a:lnTo>
                      <a:pt x="5129" y="732"/>
                    </a:lnTo>
                    <a:lnTo>
                      <a:pt x="5129" y="947"/>
                    </a:lnTo>
                    <a:lnTo>
                      <a:pt x="5131" y="947"/>
                    </a:lnTo>
                    <a:lnTo>
                      <a:pt x="5131" y="732"/>
                    </a:lnTo>
                    <a:moveTo>
                      <a:pt x="3138" y="656"/>
                    </a:moveTo>
                    <a:lnTo>
                      <a:pt x="3136" y="656"/>
                    </a:lnTo>
                    <a:lnTo>
                      <a:pt x="3136" y="659"/>
                    </a:lnTo>
                    <a:lnTo>
                      <a:pt x="3136" y="737"/>
                    </a:lnTo>
                    <a:lnTo>
                      <a:pt x="3138" y="737"/>
                    </a:lnTo>
                    <a:lnTo>
                      <a:pt x="3138" y="656"/>
                    </a:lnTo>
                    <a:moveTo>
                      <a:pt x="97" y="616"/>
                    </a:moveTo>
                    <a:lnTo>
                      <a:pt x="95" y="616"/>
                    </a:lnTo>
                    <a:lnTo>
                      <a:pt x="95" y="618"/>
                    </a:lnTo>
                    <a:lnTo>
                      <a:pt x="95" y="1428"/>
                    </a:lnTo>
                    <a:lnTo>
                      <a:pt x="97" y="1428"/>
                    </a:lnTo>
                    <a:lnTo>
                      <a:pt x="97" y="616"/>
                    </a:lnTo>
                    <a:moveTo>
                      <a:pt x="5252" y="609"/>
                    </a:moveTo>
                    <a:lnTo>
                      <a:pt x="5249" y="609"/>
                    </a:lnTo>
                    <a:lnTo>
                      <a:pt x="5249" y="611"/>
                    </a:lnTo>
                    <a:lnTo>
                      <a:pt x="5249" y="706"/>
                    </a:lnTo>
                    <a:lnTo>
                      <a:pt x="5252" y="706"/>
                    </a:lnTo>
                    <a:lnTo>
                      <a:pt x="5252" y="609"/>
                    </a:lnTo>
                    <a:moveTo>
                      <a:pt x="3282" y="580"/>
                    </a:moveTo>
                    <a:lnTo>
                      <a:pt x="3280" y="580"/>
                    </a:lnTo>
                    <a:lnTo>
                      <a:pt x="3280" y="580"/>
                    </a:lnTo>
                    <a:lnTo>
                      <a:pt x="3280" y="583"/>
                    </a:lnTo>
                    <a:lnTo>
                      <a:pt x="3280" y="632"/>
                    </a:lnTo>
                    <a:lnTo>
                      <a:pt x="3282" y="632"/>
                    </a:lnTo>
                    <a:lnTo>
                      <a:pt x="3282" y="580"/>
                    </a:lnTo>
                    <a:moveTo>
                      <a:pt x="300" y="547"/>
                    </a:moveTo>
                    <a:lnTo>
                      <a:pt x="300" y="547"/>
                    </a:lnTo>
                    <a:lnTo>
                      <a:pt x="300" y="547"/>
                    </a:lnTo>
                    <a:lnTo>
                      <a:pt x="300" y="592"/>
                    </a:lnTo>
                    <a:lnTo>
                      <a:pt x="300" y="592"/>
                    </a:lnTo>
                    <a:lnTo>
                      <a:pt x="300" y="547"/>
                    </a:lnTo>
                    <a:moveTo>
                      <a:pt x="7025" y="507"/>
                    </a:moveTo>
                    <a:lnTo>
                      <a:pt x="7023" y="507"/>
                    </a:lnTo>
                    <a:lnTo>
                      <a:pt x="7023" y="509"/>
                    </a:lnTo>
                    <a:lnTo>
                      <a:pt x="7023" y="1667"/>
                    </a:lnTo>
                    <a:lnTo>
                      <a:pt x="7025" y="1667"/>
                    </a:lnTo>
                    <a:lnTo>
                      <a:pt x="7025" y="507"/>
                    </a:lnTo>
                    <a:moveTo>
                      <a:pt x="4192" y="502"/>
                    </a:moveTo>
                    <a:lnTo>
                      <a:pt x="4192" y="502"/>
                    </a:lnTo>
                    <a:lnTo>
                      <a:pt x="4190" y="505"/>
                    </a:lnTo>
                    <a:lnTo>
                      <a:pt x="4140" y="573"/>
                    </a:lnTo>
                    <a:lnTo>
                      <a:pt x="4140" y="573"/>
                    </a:lnTo>
                    <a:lnTo>
                      <a:pt x="4192" y="502"/>
                    </a:lnTo>
                    <a:moveTo>
                      <a:pt x="3299" y="500"/>
                    </a:moveTo>
                    <a:lnTo>
                      <a:pt x="3299" y="500"/>
                    </a:lnTo>
                    <a:lnTo>
                      <a:pt x="3296" y="500"/>
                    </a:lnTo>
                    <a:lnTo>
                      <a:pt x="3296" y="502"/>
                    </a:lnTo>
                    <a:lnTo>
                      <a:pt x="3296" y="564"/>
                    </a:lnTo>
                    <a:lnTo>
                      <a:pt x="3299" y="564"/>
                    </a:lnTo>
                    <a:lnTo>
                      <a:pt x="3299" y="561"/>
                    </a:lnTo>
                    <a:lnTo>
                      <a:pt x="3299" y="561"/>
                    </a:lnTo>
                    <a:lnTo>
                      <a:pt x="3299" y="500"/>
                    </a:lnTo>
                    <a:moveTo>
                      <a:pt x="4036" y="453"/>
                    </a:moveTo>
                    <a:lnTo>
                      <a:pt x="4034" y="453"/>
                    </a:lnTo>
                    <a:lnTo>
                      <a:pt x="4034" y="453"/>
                    </a:lnTo>
                    <a:lnTo>
                      <a:pt x="4034" y="455"/>
                    </a:lnTo>
                    <a:lnTo>
                      <a:pt x="4034" y="490"/>
                    </a:lnTo>
                    <a:lnTo>
                      <a:pt x="3951" y="642"/>
                    </a:lnTo>
                    <a:lnTo>
                      <a:pt x="3951" y="902"/>
                    </a:lnTo>
                    <a:lnTo>
                      <a:pt x="3954" y="902"/>
                    </a:lnTo>
                    <a:lnTo>
                      <a:pt x="3954" y="640"/>
                    </a:lnTo>
                    <a:lnTo>
                      <a:pt x="4036" y="488"/>
                    </a:lnTo>
                    <a:lnTo>
                      <a:pt x="4036" y="453"/>
                    </a:lnTo>
                    <a:moveTo>
                      <a:pt x="3327" y="434"/>
                    </a:moveTo>
                    <a:lnTo>
                      <a:pt x="3327" y="434"/>
                    </a:lnTo>
                    <a:lnTo>
                      <a:pt x="3327" y="436"/>
                    </a:lnTo>
                    <a:lnTo>
                      <a:pt x="3327" y="476"/>
                    </a:lnTo>
                    <a:lnTo>
                      <a:pt x="3327" y="476"/>
                    </a:lnTo>
                    <a:lnTo>
                      <a:pt x="3327" y="434"/>
                    </a:lnTo>
                    <a:moveTo>
                      <a:pt x="4041" y="391"/>
                    </a:moveTo>
                    <a:lnTo>
                      <a:pt x="4041" y="391"/>
                    </a:lnTo>
                    <a:lnTo>
                      <a:pt x="4039" y="391"/>
                    </a:lnTo>
                    <a:lnTo>
                      <a:pt x="4039" y="391"/>
                    </a:lnTo>
                    <a:lnTo>
                      <a:pt x="4039" y="448"/>
                    </a:lnTo>
                    <a:lnTo>
                      <a:pt x="4041" y="448"/>
                    </a:lnTo>
                    <a:lnTo>
                      <a:pt x="4041" y="445"/>
                    </a:lnTo>
                    <a:lnTo>
                      <a:pt x="4041" y="445"/>
                    </a:lnTo>
                    <a:lnTo>
                      <a:pt x="4041" y="391"/>
                    </a:lnTo>
                    <a:moveTo>
                      <a:pt x="1809" y="367"/>
                    </a:moveTo>
                    <a:lnTo>
                      <a:pt x="1807" y="367"/>
                    </a:lnTo>
                    <a:lnTo>
                      <a:pt x="1807" y="370"/>
                    </a:lnTo>
                    <a:lnTo>
                      <a:pt x="1807" y="1106"/>
                    </a:lnTo>
                    <a:lnTo>
                      <a:pt x="1809" y="1106"/>
                    </a:lnTo>
                    <a:lnTo>
                      <a:pt x="1809" y="367"/>
                    </a:lnTo>
                    <a:moveTo>
                      <a:pt x="1937" y="332"/>
                    </a:moveTo>
                    <a:lnTo>
                      <a:pt x="1937" y="332"/>
                    </a:lnTo>
                    <a:lnTo>
                      <a:pt x="1937" y="334"/>
                    </a:lnTo>
                    <a:lnTo>
                      <a:pt x="1937" y="344"/>
                    </a:lnTo>
                    <a:lnTo>
                      <a:pt x="1937" y="344"/>
                    </a:lnTo>
                    <a:lnTo>
                      <a:pt x="1937" y="332"/>
                    </a:lnTo>
                    <a:moveTo>
                      <a:pt x="4051" y="327"/>
                    </a:moveTo>
                    <a:lnTo>
                      <a:pt x="4048" y="327"/>
                    </a:lnTo>
                    <a:lnTo>
                      <a:pt x="4048" y="329"/>
                    </a:lnTo>
                    <a:lnTo>
                      <a:pt x="4048" y="382"/>
                    </a:lnTo>
                    <a:lnTo>
                      <a:pt x="4048" y="382"/>
                    </a:lnTo>
                    <a:lnTo>
                      <a:pt x="4048" y="382"/>
                    </a:lnTo>
                    <a:lnTo>
                      <a:pt x="4051" y="382"/>
                    </a:lnTo>
                    <a:lnTo>
                      <a:pt x="4051" y="327"/>
                    </a:lnTo>
                    <a:moveTo>
                      <a:pt x="2029" y="292"/>
                    </a:moveTo>
                    <a:lnTo>
                      <a:pt x="2027" y="292"/>
                    </a:lnTo>
                    <a:lnTo>
                      <a:pt x="2027" y="294"/>
                    </a:lnTo>
                    <a:lnTo>
                      <a:pt x="2027" y="308"/>
                    </a:lnTo>
                    <a:lnTo>
                      <a:pt x="2029" y="308"/>
                    </a:lnTo>
                    <a:lnTo>
                      <a:pt x="2029" y="292"/>
                    </a:lnTo>
                    <a:moveTo>
                      <a:pt x="4703" y="230"/>
                    </a:moveTo>
                    <a:lnTo>
                      <a:pt x="4701" y="230"/>
                    </a:lnTo>
                    <a:lnTo>
                      <a:pt x="4701" y="232"/>
                    </a:lnTo>
                    <a:lnTo>
                      <a:pt x="4639" y="462"/>
                    </a:lnTo>
                    <a:lnTo>
                      <a:pt x="4639" y="460"/>
                    </a:lnTo>
                    <a:lnTo>
                      <a:pt x="4703" y="230"/>
                    </a:lnTo>
                    <a:moveTo>
                      <a:pt x="4803" y="171"/>
                    </a:moveTo>
                    <a:lnTo>
                      <a:pt x="4803" y="171"/>
                    </a:lnTo>
                    <a:lnTo>
                      <a:pt x="4800" y="171"/>
                    </a:lnTo>
                    <a:lnTo>
                      <a:pt x="4800" y="173"/>
                    </a:lnTo>
                    <a:lnTo>
                      <a:pt x="4800" y="206"/>
                    </a:lnTo>
                    <a:lnTo>
                      <a:pt x="4803" y="206"/>
                    </a:lnTo>
                    <a:lnTo>
                      <a:pt x="4803" y="171"/>
                    </a:lnTo>
                    <a:moveTo>
                      <a:pt x="4852" y="0"/>
                    </a:moveTo>
                    <a:lnTo>
                      <a:pt x="4850" y="0"/>
                    </a:lnTo>
                    <a:lnTo>
                      <a:pt x="4850" y="0"/>
                    </a:lnTo>
                    <a:lnTo>
                      <a:pt x="4850" y="147"/>
                    </a:lnTo>
                    <a:lnTo>
                      <a:pt x="4852" y="147"/>
                    </a:lnTo>
                    <a:lnTo>
                      <a:pt x="4852" y="0"/>
                    </a:lnTo>
                    <a:moveTo>
                      <a:pt x="4909" y="0"/>
                    </a:moveTo>
                    <a:lnTo>
                      <a:pt x="4907" y="0"/>
                    </a:lnTo>
                    <a:lnTo>
                      <a:pt x="4907" y="0"/>
                    </a:lnTo>
                    <a:lnTo>
                      <a:pt x="4907" y="147"/>
                    </a:lnTo>
                    <a:lnTo>
                      <a:pt x="4909" y="147"/>
                    </a:lnTo>
                    <a:lnTo>
                      <a:pt x="49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8" name="Freeform 120"/>
              <p:cNvSpPr>
                <a:spLocks noEditPoints="1"/>
              </p:cNvSpPr>
              <p:nvPr/>
            </p:nvSpPr>
            <p:spPr bwMode="auto">
              <a:xfrm>
                <a:off x="23" y="1684"/>
                <a:ext cx="7028" cy="1669"/>
              </a:xfrm>
              <a:custGeom>
                <a:avLst/>
                <a:gdLst>
                  <a:gd name="T0" fmla="*/ 3 w 7028"/>
                  <a:gd name="T1" fmla="*/ 1510 h 1669"/>
                  <a:gd name="T2" fmla="*/ 5666 w 7028"/>
                  <a:gd name="T3" fmla="*/ 1425 h 1669"/>
                  <a:gd name="T4" fmla="*/ 3710 w 7028"/>
                  <a:gd name="T5" fmla="*/ 1222 h 1669"/>
                  <a:gd name="T6" fmla="*/ 5831 w 7028"/>
                  <a:gd name="T7" fmla="*/ 1207 h 1669"/>
                  <a:gd name="T8" fmla="*/ 5831 w 7028"/>
                  <a:gd name="T9" fmla="*/ 1302 h 1669"/>
                  <a:gd name="T10" fmla="*/ 1665 w 7028"/>
                  <a:gd name="T11" fmla="*/ 1158 h 1669"/>
                  <a:gd name="T12" fmla="*/ 1688 w 7028"/>
                  <a:gd name="T13" fmla="*/ 1132 h 1669"/>
                  <a:gd name="T14" fmla="*/ 5857 w 7028"/>
                  <a:gd name="T15" fmla="*/ 1127 h 1669"/>
                  <a:gd name="T16" fmla="*/ 5857 w 7028"/>
                  <a:gd name="T17" fmla="*/ 1127 h 1669"/>
                  <a:gd name="T18" fmla="*/ 6323 w 7028"/>
                  <a:gd name="T19" fmla="*/ 1340 h 1669"/>
                  <a:gd name="T20" fmla="*/ 1445 w 7028"/>
                  <a:gd name="T21" fmla="*/ 1125 h 1669"/>
                  <a:gd name="T22" fmla="*/ 1464 w 7028"/>
                  <a:gd name="T23" fmla="*/ 1082 h 1669"/>
                  <a:gd name="T24" fmla="*/ 1464 w 7028"/>
                  <a:gd name="T25" fmla="*/ 1106 h 1669"/>
                  <a:gd name="T26" fmla="*/ 2859 w 7028"/>
                  <a:gd name="T27" fmla="*/ 1063 h 1669"/>
                  <a:gd name="T28" fmla="*/ 5933 w 7028"/>
                  <a:gd name="T29" fmla="*/ 1042 h 1669"/>
                  <a:gd name="T30" fmla="*/ 5933 w 7028"/>
                  <a:gd name="T31" fmla="*/ 1106 h 1669"/>
                  <a:gd name="T32" fmla="*/ 2878 w 7028"/>
                  <a:gd name="T33" fmla="*/ 1044 h 1669"/>
                  <a:gd name="T34" fmla="*/ 3772 w 7028"/>
                  <a:gd name="T35" fmla="*/ 992 h 1669"/>
                  <a:gd name="T36" fmla="*/ 3772 w 7028"/>
                  <a:gd name="T37" fmla="*/ 992 h 1669"/>
                  <a:gd name="T38" fmla="*/ 5949 w 7028"/>
                  <a:gd name="T39" fmla="*/ 1025 h 1669"/>
                  <a:gd name="T40" fmla="*/ 6342 w 7028"/>
                  <a:gd name="T41" fmla="*/ 935 h 1669"/>
                  <a:gd name="T42" fmla="*/ 6339 w 7028"/>
                  <a:gd name="T43" fmla="*/ 1108 h 1669"/>
                  <a:gd name="T44" fmla="*/ 3845 w 7028"/>
                  <a:gd name="T45" fmla="*/ 928 h 1669"/>
                  <a:gd name="T46" fmla="*/ 6384 w 7028"/>
                  <a:gd name="T47" fmla="*/ 895 h 1669"/>
                  <a:gd name="T48" fmla="*/ 6387 w 7028"/>
                  <a:gd name="T49" fmla="*/ 895 h 1669"/>
                  <a:gd name="T50" fmla="*/ 6389 w 7028"/>
                  <a:gd name="T51" fmla="*/ 890 h 1669"/>
                  <a:gd name="T52" fmla="*/ 6399 w 7028"/>
                  <a:gd name="T53" fmla="*/ 850 h 1669"/>
                  <a:gd name="T54" fmla="*/ 6399 w 7028"/>
                  <a:gd name="T55" fmla="*/ 869 h 1669"/>
                  <a:gd name="T56" fmla="*/ 804 w 7028"/>
                  <a:gd name="T57" fmla="*/ 829 h 1669"/>
                  <a:gd name="T58" fmla="*/ 3100 w 7028"/>
                  <a:gd name="T59" fmla="*/ 762 h 1669"/>
                  <a:gd name="T60" fmla="*/ 3102 w 7028"/>
                  <a:gd name="T61" fmla="*/ 762 h 1669"/>
                  <a:gd name="T62" fmla="*/ 1010 w 7028"/>
                  <a:gd name="T63" fmla="*/ 805 h 1669"/>
                  <a:gd name="T64" fmla="*/ 5131 w 7028"/>
                  <a:gd name="T65" fmla="*/ 949 h 1669"/>
                  <a:gd name="T66" fmla="*/ 3138 w 7028"/>
                  <a:gd name="T67" fmla="*/ 658 h 1669"/>
                  <a:gd name="T68" fmla="*/ 97 w 7028"/>
                  <a:gd name="T69" fmla="*/ 616 h 1669"/>
                  <a:gd name="T70" fmla="*/ 5254 w 7028"/>
                  <a:gd name="T71" fmla="*/ 608 h 1669"/>
                  <a:gd name="T72" fmla="*/ 5254 w 7028"/>
                  <a:gd name="T73" fmla="*/ 608 h 1669"/>
                  <a:gd name="T74" fmla="*/ 3282 w 7028"/>
                  <a:gd name="T75" fmla="*/ 634 h 1669"/>
                  <a:gd name="T76" fmla="*/ 300 w 7028"/>
                  <a:gd name="T77" fmla="*/ 549 h 1669"/>
                  <a:gd name="T78" fmla="*/ 7025 w 7028"/>
                  <a:gd name="T79" fmla="*/ 509 h 1669"/>
                  <a:gd name="T80" fmla="*/ 4195 w 7028"/>
                  <a:gd name="T81" fmla="*/ 502 h 1669"/>
                  <a:gd name="T82" fmla="*/ 4195 w 7028"/>
                  <a:gd name="T83" fmla="*/ 502 h 1669"/>
                  <a:gd name="T84" fmla="*/ 3299 w 7028"/>
                  <a:gd name="T85" fmla="*/ 563 h 1669"/>
                  <a:gd name="T86" fmla="*/ 4039 w 7028"/>
                  <a:gd name="T87" fmla="*/ 455 h 1669"/>
                  <a:gd name="T88" fmla="*/ 3954 w 7028"/>
                  <a:gd name="T89" fmla="*/ 642 h 1669"/>
                  <a:gd name="T90" fmla="*/ 4039 w 7028"/>
                  <a:gd name="T91" fmla="*/ 455 h 1669"/>
                  <a:gd name="T92" fmla="*/ 3329 w 7028"/>
                  <a:gd name="T93" fmla="*/ 478 h 1669"/>
                  <a:gd name="T94" fmla="*/ 4041 w 7028"/>
                  <a:gd name="T95" fmla="*/ 393 h 1669"/>
                  <a:gd name="T96" fmla="*/ 4044 w 7028"/>
                  <a:gd name="T97" fmla="*/ 391 h 1669"/>
                  <a:gd name="T98" fmla="*/ 1811 w 7028"/>
                  <a:gd name="T99" fmla="*/ 1108 h 1669"/>
                  <a:gd name="T100" fmla="*/ 1937 w 7028"/>
                  <a:gd name="T101" fmla="*/ 346 h 1669"/>
                  <a:gd name="T102" fmla="*/ 4051 w 7028"/>
                  <a:gd name="T103" fmla="*/ 329 h 1669"/>
                  <a:gd name="T104" fmla="*/ 4051 w 7028"/>
                  <a:gd name="T105" fmla="*/ 327 h 1669"/>
                  <a:gd name="T106" fmla="*/ 2029 w 7028"/>
                  <a:gd name="T107" fmla="*/ 310 h 1669"/>
                  <a:gd name="T108" fmla="*/ 4639 w 7028"/>
                  <a:gd name="T109" fmla="*/ 462 h 1669"/>
                  <a:gd name="T110" fmla="*/ 4803 w 7028"/>
                  <a:gd name="T111" fmla="*/ 170 h 1669"/>
                  <a:gd name="T112" fmla="*/ 4855 w 7028"/>
                  <a:gd name="T113" fmla="*/ 0 h 1669"/>
                  <a:gd name="T114" fmla="*/ 4855 w 7028"/>
                  <a:gd name="T115" fmla="*/ 0 h 1669"/>
                  <a:gd name="T116" fmla="*/ 4911 w 7028"/>
                  <a:gd name="T117" fmla="*/ 149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8" h="1669">
                    <a:moveTo>
                      <a:pt x="3" y="1451"/>
                    </a:moveTo>
                    <a:lnTo>
                      <a:pt x="0" y="1451"/>
                    </a:lnTo>
                    <a:lnTo>
                      <a:pt x="0" y="1454"/>
                    </a:lnTo>
                    <a:lnTo>
                      <a:pt x="0" y="1510"/>
                    </a:lnTo>
                    <a:lnTo>
                      <a:pt x="3" y="1510"/>
                    </a:lnTo>
                    <a:lnTo>
                      <a:pt x="3" y="1451"/>
                    </a:lnTo>
                    <a:close/>
                    <a:moveTo>
                      <a:pt x="5668" y="1326"/>
                    </a:moveTo>
                    <a:lnTo>
                      <a:pt x="5666" y="1326"/>
                    </a:lnTo>
                    <a:lnTo>
                      <a:pt x="5666" y="1328"/>
                    </a:lnTo>
                    <a:lnTo>
                      <a:pt x="5666" y="1425"/>
                    </a:lnTo>
                    <a:lnTo>
                      <a:pt x="5668" y="1425"/>
                    </a:lnTo>
                    <a:lnTo>
                      <a:pt x="5668" y="1326"/>
                    </a:lnTo>
                    <a:close/>
                    <a:moveTo>
                      <a:pt x="3712" y="1222"/>
                    </a:moveTo>
                    <a:lnTo>
                      <a:pt x="3710" y="1222"/>
                    </a:lnTo>
                    <a:lnTo>
                      <a:pt x="3710" y="1222"/>
                    </a:lnTo>
                    <a:lnTo>
                      <a:pt x="3710" y="1224"/>
                    </a:lnTo>
                    <a:lnTo>
                      <a:pt x="3710" y="1368"/>
                    </a:lnTo>
                    <a:lnTo>
                      <a:pt x="3712" y="1368"/>
                    </a:lnTo>
                    <a:lnTo>
                      <a:pt x="3712" y="1222"/>
                    </a:lnTo>
                    <a:close/>
                    <a:moveTo>
                      <a:pt x="5831" y="1207"/>
                    </a:moveTo>
                    <a:lnTo>
                      <a:pt x="5831" y="1207"/>
                    </a:lnTo>
                    <a:lnTo>
                      <a:pt x="5831" y="1207"/>
                    </a:lnTo>
                    <a:lnTo>
                      <a:pt x="5831" y="1210"/>
                    </a:lnTo>
                    <a:lnTo>
                      <a:pt x="5831" y="1302"/>
                    </a:lnTo>
                    <a:lnTo>
                      <a:pt x="5831" y="1302"/>
                    </a:lnTo>
                    <a:lnTo>
                      <a:pt x="5831" y="1207"/>
                    </a:lnTo>
                    <a:close/>
                    <a:moveTo>
                      <a:pt x="1667" y="1155"/>
                    </a:moveTo>
                    <a:lnTo>
                      <a:pt x="1665" y="1155"/>
                    </a:lnTo>
                    <a:lnTo>
                      <a:pt x="1665" y="1155"/>
                    </a:lnTo>
                    <a:lnTo>
                      <a:pt x="1665" y="1158"/>
                    </a:lnTo>
                    <a:lnTo>
                      <a:pt x="1665" y="1177"/>
                    </a:lnTo>
                    <a:lnTo>
                      <a:pt x="1667" y="1177"/>
                    </a:lnTo>
                    <a:lnTo>
                      <a:pt x="1667" y="1155"/>
                    </a:lnTo>
                    <a:close/>
                    <a:moveTo>
                      <a:pt x="1691" y="1132"/>
                    </a:moveTo>
                    <a:lnTo>
                      <a:pt x="1688" y="1132"/>
                    </a:lnTo>
                    <a:lnTo>
                      <a:pt x="1688" y="1134"/>
                    </a:lnTo>
                    <a:lnTo>
                      <a:pt x="1688" y="1134"/>
                    </a:lnTo>
                    <a:lnTo>
                      <a:pt x="1691" y="1134"/>
                    </a:lnTo>
                    <a:lnTo>
                      <a:pt x="1691" y="1132"/>
                    </a:lnTo>
                    <a:close/>
                    <a:moveTo>
                      <a:pt x="5857" y="1127"/>
                    </a:moveTo>
                    <a:lnTo>
                      <a:pt x="5855" y="1127"/>
                    </a:lnTo>
                    <a:lnTo>
                      <a:pt x="5855" y="1129"/>
                    </a:lnTo>
                    <a:lnTo>
                      <a:pt x="5855" y="1186"/>
                    </a:lnTo>
                    <a:lnTo>
                      <a:pt x="5857" y="1186"/>
                    </a:lnTo>
                    <a:lnTo>
                      <a:pt x="5857" y="1127"/>
                    </a:lnTo>
                    <a:close/>
                    <a:moveTo>
                      <a:pt x="6323" y="1127"/>
                    </a:moveTo>
                    <a:lnTo>
                      <a:pt x="6323" y="1127"/>
                    </a:lnTo>
                    <a:lnTo>
                      <a:pt x="6323" y="1127"/>
                    </a:lnTo>
                    <a:lnTo>
                      <a:pt x="6323" y="1129"/>
                    </a:lnTo>
                    <a:lnTo>
                      <a:pt x="6323" y="1340"/>
                    </a:lnTo>
                    <a:lnTo>
                      <a:pt x="6323" y="1340"/>
                    </a:lnTo>
                    <a:lnTo>
                      <a:pt x="6323" y="1127"/>
                    </a:lnTo>
                    <a:close/>
                    <a:moveTo>
                      <a:pt x="1447" y="1125"/>
                    </a:moveTo>
                    <a:lnTo>
                      <a:pt x="1447" y="1125"/>
                    </a:lnTo>
                    <a:lnTo>
                      <a:pt x="1445" y="1125"/>
                    </a:lnTo>
                    <a:lnTo>
                      <a:pt x="1445" y="1127"/>
                    </a:lnTo>
                    <a:lnTo>
                      <a:pt x="1445" y="1177"/>
                    </a:lnTo>
                    <a:lnTo>
                      <a:pt x="1447" y="1177"/>
                    </a:lnTo>
                    <a:lnTo>
                      <a:pt x="1447" y="1125"/>
                    </a:lnTo>
                    <a:close/>
                    <a:moveTo>
                      <a:pt x="1464" y="1082"/>
                    </a:moveTo>
                    <a:lnTo>
                      <a:pt x="1464" y="1082"/>
                    </a:lnTo>
                    <a:lnTo>
                      <a:pt x="1464" y="1084"/>
                    </a:lnTo>
                    <a:lnTo>
                      <a:pt x="1464" y="1108"/>
                    </a:lnTo>
                    <a:lnTo>
                      <a:pt x="1464" y="1108"/>
                    </a:lnTo>
                    <a:lnTo>
                      <a:pt x="1464" y="1106"/>
                    </a:lnTo>
                    <a:lnTo>
                      <a:pt x="1464" y="1106"/>
                    </a:lnTo>
                    <a:lnTo>
                      <a:pt x="1464" y="1082"/>
                    </a:lnTo>
                    <a:close/>
                    <a:moveTo>
                      <a:pt x="2861" y="1063"/>
                    </a:moveTo>
                    <a:lnTo>
                      <a:pt x="2859" y="1063"/>
                    </a:lnTo>
                    <a:lnTo>
                      <a:pt x="2859" y="1063"/>
                    </a:lnTo>
                    <a:lnTo>
                      <a:pt x="2859" y="1063"/>
                    </a:lnTo>
                    <a:lnTo>
                      <a:pt x="2859" y="1217"/>
                    </a:lnTo>
                    <a:lnTo>
                      <a:pt x="2861" y="1217"/>
                    </a:lnTo>
                    <a:lnTo>
                      <a:pt x="2861" y="1063"/>
                    </a:lnTo>
                    <a:close/>
                    <a:moveTo>
                      <a:pt x="5933" y="1042"/>
                    </a:moveTo>
                    <a:lnTo>
                      <a:pt x="5933" y="1042"/>
                    </a:lnTo>
                    <a:lnTo>
                      <a:pt x="5930" y="1042"/>
                    </a:lnTo>
                    <a:lnTo>
                      <a:pt x="5930" y="1042"/>
                    </a:lnTo>
                    <a:lnTo>
                      <a:pt x="5930" y="1106"/>
                    </a:lnTo>
                    <a:lnTo>
                      <a:pt x="5933" y="1106"/>
                    </a:lnTo>
                    <a:lnTo>
                      <a:pt x="5933" y="1042"/>
                    </a:lnTo>
                    <a:close/>
                    <a:moveTo>
                      <a:pt x="2878" y="1011"/>
                    </a:moveTo>
                    <a:lnTo>
                      <a:pt x="2878" y="1011"/>
                    </a:lnTo>
                    <a:lnTo>
                      <a:pt x="2878" y="1013"/>
                    </a:lnTo>
                    <a:lnTo>
                      <a:pt x="2878" y="1044"/>
                    </a:lnTo>
                    <a:lnTo>
                      <a:pt x="2878" y="1044"/>
                    </a:lnTo>
                    <a:lnTo>
                      <a:pt x="2878" y="1044"/>
                    </a:lnTo>
                    <a:lnTo>
                      <a:pt x="2878" y="1044"/>
                    </a:lnTo>
                    <a:lnTo>
                      <a:pt x="2878" y="1011"/>
                    </a:lnTo>
                    <a:close/>
                    <a:moveTo>
                      <a:pt x="3772" y="992"/>
                    </a:moveTo>
                    <a:lnTo>
                      <a:pt x="3769" y="992"/>
                    </a:lnTo>
                    <a:lnTo>
                      <a:pt x="3769" y="994"/>
                    </a:lnTo>
                    <a:lnTo>
                      <a:pt x="3769" y="1200"/>
                    </a:lnTo>
                    <a:lnTo>
                      <a:pt x="3772" y="1200"/>
                    </a:lnTo>
                    <a:lnTo>
                      <a:pt x="3772" y="992"/>
                    </a:lnTo>
                    <a:close/>
                    <a:moveTo>
                      <a:pt x="5949" y="990"/>
                    </a:moveTo>
                    <a:lnTo>
                      <a:pt x="5949" y="990"/>
                    </a:lnTo>
                    <a:lnTo>
                      <a:pt x="5949" y="992"/>
                    </a:lnTo>
                    <a:lnTo>
                      <a:pt x="5949" y="1025"/>
                    </a:lnTo>
                    <a:lnTo>
                      <a:pt x="5949" y="1025"/>
                    </a:lnTo>
                    <a:lnTo>
                      <a:pt x="5949" y="1023"/>
                    </a:lnTo>
                    <a:lnTo>
                      <a:pt x="5949" y="1023"/>
                    </a:lnTo>
                    <a:lnTo>
                      <a:pt x="5949" y="990"/>
                    </a:lnTo>
                    <a:close/>
                    <a:moveTo>
                      <a:pt x="6342" y="935"/>
                    </a:moveTo>
                    <a:lnTo>
                      <a:pt x="6342" y="935"/>
                    </a:lnTo>
                    <a:lnTo>
                      <a:pt x="6339" y="935"/>
                    </a:lnTo>
                    <a:lnTo>
                      <a:pt x="6339" y="938"/>
                    </a:lnTo>
                    <a:lnTo>
                      <a:pt x="6339" y="1110"/>
                    </a:lnTo>
                    <a:lnTo>
                      <a:pt x="6339" y="1110"/>
                    </a:lnTo>
                    <a:lnTo>
                      <a:pt x="6339" y="1108"/>
                    </a:lnTo>
                    <a:lnTo>
                      <a:pt x="6342" y="1108"/>
                    </a:lnTo>
                    <a:lnTo>
                      <a:pt x="6342" y="935"/>
                    </a:lnTo>
                    <a:close/>
                    <a:moveTo>
                      <a:pt x="3847" y="928"/>
                    </a:moveTo>
                    <a:lnTo>
                      <a:pt x="3845" y="928"/>
                    </a:lnTo>
                    <a:lnTo>
                      <a:pt x="3845" y="928"/>
                    </a:lnTo>
                    <a:lnTo>
                      <a:pt x="3845" y="971"/>
                    </a:lnTo>
                    <a:lnTo>
                      <a:pt x="3847" y="971"/>
                    </a:lnTo>
                    <a:lnTo>
                      <a:pt x="3847" y="928"/>
                    </a:lnTo>
                    <a:close/>
                    <a:moveTo>
                      <a:pt x="6387" y="895"/>
                    </a:moveTo>
                    <a:lnTo>
                      <a:pt x="6384" y="895"/>
                    </a:lnTo>
                    <a:lnTo>
                      <a:pt x="6384" y="895"/>
                    </a:lnTo>
                    <a:lnTo>
                      <a:pt x="6384" y="895"/>
                    </a:lnTo>
                    <a:lnTo>
                      <a:pt x="6380" y="911"/>
                    </a:lnTo>
                    <a:lnTo>
                      <a:pt x="6382" y="911"/>
                    </a:lnTo>
                    <a:lnTo>
                      <a:pt x="6387" y="895"/>
                    </a:lnTo>
                    <a:close/>
                    <a:moveTo>
                      <a:pt x="6391" y="878"/>
                    </a:moveTo>
                    <a:lnTo>
                      <a:pt x="6389" y="878"/>
                    </a:lnTo>
                    <a:lnTo>
                      <a:pt x="6389" y="878"/>
                    </a:lnTo>
                    <a:lnTo>
                      <a:pt x="6389" y="881"/>
                    </a:lnTo>
                    <a:lnTo>
                      <a:pt x="6389" y="890"/>
                    </a:lnTo>
                    <a:lnTo>
                      <a:pt x="6389" y="890"/>
                    </a:lnTo>
                    <a:lnTo>
                      <a:pt x="6389" y="888"/>
                    </a:lnTo>
                    <a:lnTo>
                      <a:pt x="6391" y="888"/>
                    </a:lnTo>
                    <a:lnTo>
                      <a:pt x="6391" y="878"/>
                    </a:lnTo>
                    <a:close/>
                    <a:moveTo>
                      <a:pt x="6399" y="850"/>
                    </a:moveTo>
                    <a:lnTo>
                      <a:pt x="6396" y="850"/>
                    </a:lnTo>
                    <a:lnTo>
                      <a:pt x="6396" y="852"/>
                    </a:lnTo>
                    <a:lnTo>
                      <a:pt x="6396" y="871"/>
                    </a:lnTo>
                    <a:lnTo>
                      <a:pt x="6399" y="871"/>
                    </a:lnTo>
                    <a:lnTo>
                      <a:pt x="6399" y="869"/>
                    </a:lnTo>
                    <a:lnTo>
                      <a:pt x="6399" y="869"/>
                    </a:lnTo>
                    <a:lnTo>
                      <a:pt x="6399" y="850"/>
                    </a:lnTo>
                    <a:close/>
                    <a:moveTo>
                      <a:pt x="806" y="826"/>
                    </a:moveTo>
                    <a:lnTo>
                      <a:pt x="804" y="826"/>
                    </a:lnTo>
                    <a:lnTo>
                      <a:pt x="804" y="829"/>
                    </a:lnTo>
                    <a:lnTo>
                      <a:pt x="804" y="1046"/>
                    </a:lnTo>
                    <a:lnTo>
                      <a:pt x="806" y="1046"/>
                    </a:lnTo>
                    <a:lnTo>
                      <a:pt x="806" y="826"/>
                    </a:lnTo>
                    <a:close/>
                    <a:moveTo>
                      <a:pt x="3102" y="762"/>
                    </a:moveTo>
                    <a:lnTo>
                      <a:pt x="3100" y="762"/>
                    </a:lnTo>
                    <a:lnTo>
                      <a:pt x="3100" y="762"/>
                    </a:lnTo>
                    <a:lnTo>
                      <a:pt x="3100" y="765"/>
                    </a:lnTo>
                    <a:lnTo>
                      <a:pt x="3100" y="956"/>
                    </a:lnTo>
                    <a:lnTo>
                      <a:pt x="3102" y="956"/>
                    </a:lnTo>
                    <a:lnTo>
                      <a:pt x="3102" y="762"/>
                    </a:lnTo>
                    <a:close/>
                    <a:moveTo>
                      <a:pt x="1010" y="753"/>
                    </a:moveTo>
                    <a:lnTo>
                      <a:pt x="1007" y="753"/>
                    </a:lnTo>
                    <a:lnTo>
                      <a:pt x="1007" y="755"/>
                    </a:lnTo>
                    <a:lnTo>
                      <a:pt x="1007" y="805"/>
                    </a:lnTo>
                    <a:lnTo>
                      <a:pt x="1010" y="805"/>
                    </a:lnTo>
                    <a:lnTo>
                      <a:pt x="1010" y="753"/>
                    </a:lnTo>
                    <a:close/>
                    <a:moveTo>
                      <a:pt x="5134" y="732"/>
                    </a:moveTo>
                    <a:lnTo>
                      <a:pt x="5131" y="732"/>
                    </a:lnTo>
                    <a:lnTo>
                      <a:pt x="5131" y="734"/>
                    </a:lnTo>
                    <a:lnTo>
                      <a:pt x="5131" y="949"/>
                    </a:lnTo>
                    <a:lnTo>
                      <a:pt x="5134" y="949"/>
                    </a:lnTo>
                    <a:lnTo>
                      <a:pt x="5134" y="732"/>
                    </a:lnTo>
                    <a:close/>
                    <a:moveTo>
                      <a:pt x="3140" y="656"/>
                    </a:moveTo>
                    <a:lnTo>
                      <a:pt x="3138" y="656"/>
                    </a:lnTo>
                    <a:lnTo>
                      <a:pt x="3138" y="658"/>
                    </a:lnTo>
                    <a:lnTo>
                      <a:pt x="3138" y="739"/>
                    </a:lnTo>
                    <a:lnTo>
                      <a:pt x="3140" y="739"/>
                    </a:lnTo>
                    <a:lnTo>
                      <a:pt x="3140" y="656"/>
                    </a:lnTo>
                    <a:close/>
                    <a:moveTo>
                      <a:pt x="97" y="616"/>
                    </a:moveTo>
                    <a:lnTo>
                      <a:pt x="97" y="616"/>
                    </a:lnTo>
                    <a:lnTo>
                      <a:pt x="97" y="618"/>
                    </a:lnTo>
                    <a:lnTo>
                      <a:pt x="97" y="1430"/>
                    </a:lnTo>
                    <a:lnTo>
                      <a:pt x="97" y="1430"/>
                    </a:lnTo>
                    <a:lnTo>
                      <a:pt x="97" y="616"/>
                    </a:lnTo>
                    <a:close/>
                    <a:moveTo>
                      <a:pt x="5254" y="608"/>
                    </a:moveTo>
                    <a:lnTo>
                      <a:pt x="5252" y="608"/>
                    </a:lnTo>
                    <a:lnTo>
                      <a:pt x="5252" y="611"/>
                    </a:lnTo>
                    <a:lnTo>
                      <a:pt x="5252" y="708"/>
                    </a:lnTo>
                    <a:lnTo>
                      <a:pt x="5254" y="708"/>
                    </a:lnTo>
                    <a:lnTo>
                      <a:pt x="5254" y="608"/>
                    </a:lnTo>
                    <a:close/>
                    <a:moveTo>
                      <a:pt x="3284" y="580"/>
                    </a:moveTo>
                    <a:lnTo>
                      <a:pt x="3282" y="580"/>
                    </a:lnTo>
                    <a:lnTo>
                      <a:pt x="3282" y="580"/>
                    </a:lnTo>
                    <a:lnTo>
                      <a:pt x="3282" y="582"/>
                    </a:lnTo>
                    <a:lnTo>
                      <a:pt x="3282" y="634"/>
                    </a:lnTo>
                    <a:lnTo>
                      <a:pt x="3284" y="634"/>
                    </a:lnTo>
                    <a:lnTo>
                      <a:pt x="3284" y="580"/>
                    </a:lnTo>
                    <a:close/>
                    <a:moveTo>
                      <a:pt x="303" y="547"/>
                    </a:moveTo>
                    <a:lnTo>
                      <a:pt x="300" y="547"/>
                    </a:lnTo>
                    <a:lnTo>
                      <a:pt x="300" y="549"/>
                    </a:lnTo>
                    <a:lnTo>
                      <a:pt x="300" y="594"/>
                    </a:lnTo>
                    <a:lnTo>
                      <a:pt x="303" y="594"/>
                    </a:lnTo>
                    <a:lnTo>
                      <a:pt x="303" y="547"/>
                    </a:lnTo>
                    <a:close/>
                    <a:moveTo>
                      <a:pt x="7028" y="509"/>
                    </a:moveTo>
                    <a:lnTo>
                      <a:pt x="7025" y="509"/>
                    </a:lnTo>
                    <a:lnTo>
                      <a:pt x="7025" y="509"/>
                    </a:lnTo>
                    <a:lnTo>
                      <a:pt x="7025" y="1669"/>
                    </a:lnTo>
                    <a:lnTo>
                      <a:pt x="7028" y="1669"/>
                    </a:lnTo>
                    <a:lnTo>
                      <a:pt x="7028" y="509"/>
                    </a:lnTo>
                    <a:close/>
                    <a:moveTo>
                      <a:pt x="4195" y="502"/>
                    </a:moveTo>
                    <a:lnTo>
                      <a:pt x="4195" y="502"/>
                    </a:lnTo>
                    <a:lnTo>
                      <a:pt x="4192" y="504"/>
                    </a:lnTo>
                    <a:lnTo>
                      <a:pt x="4140" y="575"/>
                    </a:lnTo>
                    <a:lnTo>
                      <a:pt x="4140" y="575"/>
                    </a:lnTo>
                    <a:lnTo>
                      <a:pt x="4195" y="502"/>
                    </a:lnTo>
                    <a:close/>
                    <a:moveTo>
                      <a:pt x="3301" y="500"/>
                    </a:moveTo>
                    <a:lnTo>
                      <a:pt x="3301" y="500"/>
                    </a:lnTo>
                    <a:lnTo>
                      <a:pt x="3299" y="500"/>
                    </a:lnTo>
                    <a:lnTo>
                      <a:pt x="3299" y="502"/>
                    </a:lnTo>
                    <a:lnTo>
                      <a:pt x="3299" y="563"/>
                    </a:lnTo>
                    <a:lnTo>
                      <a:pt x="3301" y="563"/>
                    </a:lnTo>
                    <a:lnTo>
                      <a:pt x="3301" y="563"/>
                    </a:lnTo>
                    <a:lnTo>
                      <a:pt x="3301" y="563"/>
                    </a:lnTo>
                    <a:lnTo>
                      <a:pt x="3301" y="500"/>
                    </a:lnTo>
                    <a:close/>
                    <a:moveTo>
                      <a:pt x="4039" y="455"/>
                    </a:moveTo>
                    <a:lnTo>
                      <a:pt x="4036" y="455"/>
                    </a:lnTo>
                    <a:lnTo>
                      <a:pt x="4036" y="455"/>
                    </a:lnTo>
                    <a:lnTo>
                      <a:pt x="4036" y="455"/>
                    </a:lnTo>
                    <a:lnTo>
                      <a:pt x="4036" y="490"/>
                    </a:lnTo>
                    <a:lnTo>
                      <a:pt x="3954" y="642"/>
                    </a:lnTo>
                    <a:lnTo>
                      <a:pt x="3954" y="904"/>
                    </a:lnTo>
                    <a:lnTo>
                      <a:pt x="3956" y="904"/>
                    </a:lnTo>
                    <a:lnTo>
                      <a:pt x="3956" y="642"/>
                    </a:lnTo>
                    <a:lnTo>
                      <a:pt x="4039" y="488"/>
                    </a:lnTo>
                    <a:lnTo>
                      <a:pt x="4039" y="455"/>
                    </a:lnTo>
                    <a:close/>
                    <a:moveTo>
                      <a:pt x="3329" y="433"/>
                    </a:moveTo>
                    <a:lnTo>
                      <a:pt x="3327" y="433"/>
                    </a:lnTo>
                    <a:lnTo>
                      <a:pt x="3327" y="436"/>
                    </a:lnTo>
                    <a:lnTo>
                      <a:pt x="3327" y="478"/>
                    </a:lnTo>
                    <a:lnTo>
                      <a:pt x="3329" y="478"/>
                    </a:lnTo>
                    <a:lnTo>
                      <a:pt x="3329" y="433"/>
                    </a:lnTo>
                    <a:close/>
                    <a:moveTo>
                      <a:pt x="4044" y="391"/>
                    </a:moveTo>
                    <a:lnTo>
                      <a:pt x="4041" y="391"/>
                    </a:lnTo>
                    <a:lnTo>
                      <a:pt x="4041" y="391"/>
                    </a:lnTo>
                    <a:lnTo>
                      <a:pt x="4041" y="393"/>
                    </a:lnTo>
                    <a:lnTo>
                      <a:pt x="4041" y="447"/>
                    </a:lnTo>
                    <a:lnTo>
                      <a:pt x="4044" y="447"/>
                    </a:lnTo>
                    <a:lnTo>
                      <a:pt x="4044" y="445"/>
                    </a:lnTo>
                    <a:lnTo>
                      <a:pt x="4044" y="445"/>
                    </a:lnTo>
                    <a:lnTo>
                      <a:pt x="4044" y="391"/>
                    </a:lnTo>
                    <a:close/>
                    <a:moveTo>
                      <a:pt x="1811" y="367"/>
                    </a:moveTo>
                    <a:lnTo>
                      <a:pt x="1809" y="367"/>
                    </a:lnTo>
                    <a:lnTo>
                      <a:pt x="1809" y="369"/>
                    </a:lnTo>
                    <a:lnTo>
                      <a:pt x="1809" y="1108"/>
                    </a:lnTo>
                    <a:lnTo>
                      <a:pt x="1811" y="1108"/>
                    </a:lnTo>
                    <a:lnTo>
                      <a:pt x="1811" y="367"/>
                    </a:lnTo>
                    <a:close/>
                    <a:moveTo>
                      <a:pt x="1939" y="334"/>
                    </a:moveTo>
                    <a:lnTo>
                      <a:pt x="1937" y="334"/>
                    </a:lnTo>
                    <a:lnTo>
                      <a:pt x="1937" y="334"/>
                    </a:lnTo>
                    <a:lnTo>
                      <a:pt x="1937" y="346"/>
                    </a:lnTo>
                    <a:lnTo>
                      <a:pt x="1939" y="346"/>
                    </a:lnTo>
                    <a:lnTo>
                      <a:pt x="1939" y="334"/>
                    </a:lnTo>
                    <a:close/>
                    <a:moveTo>
                      <a:pt x="4051" y="327"/>
                    </a:moveTo>
                    <a:lnTo>
                      <a:pt x="4051" y="327"/>
                    </a:lnTo>
                    <a:lnTo>
                      <a:pt x="4051" y="329"/>
                    </a:lnTo>
                    <a:lnTo>
                      <a:pt x="4051" y="384"/>
                    </a:lnTo>
                    <a:lnTo>
                      <a:pt x="4051" y="384"/>
                    </a:lnTo>
                    <a:lnTo>
                      <a:pt x="4051" y="381"/>
                    </a:lnTo>
                    <a:lnTo>
                      <a:pt x="4051" y="381"/>
                    </a:lnTo>
                    <a:lnTo>
                      <a:pt x="4051" y="327"/>
                    </a:lnTo>
                    <a:close/>
                    <a:moveTo>
                      <a:pt x="2029" y="294"/>
                    </a:moveTo>
                    <a:lnTo>
                      <a:pt x="2029" y="294"/>
                    </a:lnTo>
                    <a:lnTo>
                      <a:pt x="2029" y="294"/>
                    </a:lnTo>
                    <a:lnTo>
                      <a:pt x="2029" y="310"/>
                    </a:lnTo>
                    <a:lnTo>
                      <a:pt x="2029" y="310"/>
                    </a:lnTo>
                    <a:lnTo>
                      <a:pt x="2029" y="294"/>
                    </a:lnTo>
                    <a:close/>
                    <a:moveTo>
                      <a:pt x="4706" y="232"/>
                    </a:moveTo>
                    <a:lnTo>
                      <a:pt x="4703" y="232"/>
                    </a:lnTo>
                    <a:lnTo>
                      <a:pt x="4703" y="232"/>
                    </a:lnTo>
                    <a:lnTo>
                      <a:pt x="4639" y="462"/>
                    </a:lnTo>
                    <a:lnTo>
                      <a:pt x="4642" y="462"/>
                    </a:lnTo>
                    <a:lnTo>
                      <a:pt x="4706" y="232"/>
                    </a:lnTo>
                    <a:close/>
                    <a:moveTo>
                      <a:pt x="4805" y="170"/>
                    </a:moveTo>
                    <a:lnTo>
                      <a:pt x="4803" y="170"/>
                    </a:lnTo>
                    <a:lnTo>
                      <a:pt x="4803" y="170"/>
                    </a:lnTo>
                    <a:lnTo>
                      <a:pt x="4803" y="173"/>
                    </a:lnTo>
                    <a:lnTo>
                      <a:pt x="4803" y="208"/>
                    </a:lnTo>
                    <a:lnTo>
                      <a:pt x="4805" y="208"/>
                    </a:lnTo>
                    <a:lnTo>
                      <a:pt x="4805" y="170"/>
                    </a:lnTo>
                    <a:close/>
                    <a:moveTo>
                      <a:pt x="4855" y="0"/>
                    </a:moveTo>
                    <a:lnTo>
                      <a:pt x="4852" y="0"/>
                    </a:lnTo>
                    <a:lnTo>
                      <a:pt x="4852" y="2"/>
                    </a:lnTo>
                    <a:lnTo>
                      <a:pt x="4852" y="149"/>
                    </a:lnTo>
                    <a:lnTo>
                      <a:pt x="4855" y="149"/>
                    </a:lnTo>
                    <a:lnTo>
                      <a:pt x="4855" y="0"/>
                    </a:lnTo>
                    <a:close/>
                    <a:moveTo>
                      <a:pt x="4911" y="0"/>
                    </a:moveTo>
                    <a:lnTo>
                      <a:pt x="4909" y="0"/>
                    </a:lnTo>
                    <a:lnTo>
                      <a:pt x="4909" y="2"/>
                    </a:lnTo>
                    <a:lnTo>
                      <a:pt x="4909" y="149"/>
                    </a:lnTo>
                    <a:lnTo>
                      <a:pt x="4911" y="149"/>
                    </a:lnTo>
                    <a:lnTo>
                      <a:pt x="4911" y="0"/>
                    </a:lnTo>
                    <a:close/>
                  </a:path>
                </a:pathLst>
              </a:custGeom>
              <a:solidFill>
                <a:srgbClr val="C8C8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99" name="Freeform 121"/>
              <p:cNvSpPr>
                <a:spLocks noEditPoints="1"/>
              </p:cNvSpPr>
              <p:nvPr/>
            </p:nvSpPr>
            <p:spPr bwMode="auto">
              <a:xfrm>
                <a:off x="23" y="1684"/>
                <a:ext cx="7028" cy="1669"/>
              </a:xfrm>
              <a:custGeom>
                <a:avLst/>
                <a:gdLst>
                  <a:gd name="T0" fmla="*/ 3 w 7028"/>
                  <a:gd name="T1" fmla="*/ 1510 h 1669"/>
                  <a:gd name="T2" fmla="*/ 5666 w 7028"/>
                  <a:gd name="T3" fmla="*/ 1425 h 1669"/>
                  <a:gd name="T4" fmla="*/ 3710 w 7028"/>
                  <a:gd name="T5" fmla="*/ 1222 h 1669"/>
                  <a:gd name="T6" fmla="*/ 5831 w 7028"/>
                  <a:gd name="T7" fmla="*/ 1207 h 1669"/>
                  <a:gd name="T8" fmla="*/ 5831 w 7028"/>
                  <a:gd name="T9" fmla="*/ 1302 h 1669"/>
                  <a:gd name="T10" fmla="*/ 1665 w 7028"/>
                  <a:gd name="T11" fmla="*/ 1158 h 1669"/>
                  <a:gd name="T12" fmla="*/ 1688 w 7028"/>
                  <a:gd name="T13" fmla="*/ 1132 h 1669"/>
                  <a:gd name="T14" fmla="*/ 5857 w 7028"/>
                  <a:gd name="T15" fmla="*/ 1127 h 1669"/>
                  <a:gd name="T16" fmla="*/ 5857 w 7028"/>
                  <a:gd name="T17" fmla="*/ 1127 h 1669"/>
                  <a:gd name="T18" fmla="*/ 6323 w 7028"/>
                  <a:gd name="T19" fmla="*/ 1340 h 1669"/>
                  <a:gd name="T20" fmla="*/ 1445 w 7028"/>
                  <a:gd name="T21" fmla="*/ 1125 h 1669"/>
                  <a:gd name="T22" fmla="*/ 1464 w 7028"/>
                  <a:gd name="T23" fmla="*/ 1082 h 1669"/>
                  <a:gd name="T24" fmla="*/ 1464 w 7028"/>
                  <a:gd name="T25" fmla="*/ 1106 h 1669"/>
                  <a:gd name="T26" fmla="*/ 2859 w 7028"/>
                  <a:gd name="T27" fmla="*/ 1063 h 1669"/>
                  <a:gd name="T28" fmla="*/ 5933 w 7028"/>
                  <a:gd name="T29" fmla="*/ 1042 h 1669"/>
                  <a:gd name="T30" fmla="*/ 5933 w 7028"/>
                  <a:gd name="T31" fmla="*/ 1106 h 1669"/>
                  <a:gd name="T32" fmla="*/ 2878 w 7028"/>
                  <a:gd name="T33" fmla="*/ 1044 h 1669"/>
                  <a:gd name="T34" fmla="*/ 3772 w 7028"/>
                  <a:gd name="T35" fmla="*/ 992 h 1669"/>
                  <a:gd name="T36" fmla="*/ 3772 w 7028"/>
                  <a:gd name="T37" fmla="*/ 992 h 1669"/>
                  <a:gd name="T38" fmla="*/ 5949 w 7028"/>
                  <a:gd name="T39" fmla="*/ 1025 h 1669"/>
                  <a:gd name="T40" fmla="*/ 6342 w 7028"/>
                  <a:gd name="T41" fmla="*/ 935 h 1669"/>
                  <a:gd name="T42" fmla="*/ 6339 w 7028"/>
                  <a:gd name="T43" fmla="*/ 1108 h 1669"/>
                  <a:gd name="T44" fmla="*/ 3845 w 7028"/>
                  <a:gd name="T45" fmla="*/ 928 h 1669"/>
                  <a:gd name="T46" fmla="*/ 6384 w 7028"/>
                  <a:gd name="T47" fmla="*/ 895 h 1669"/>
                  <a:gd name="T48" fmla="*/ 6387 w 7028"/>
                  <a:gd name="T49" fmla="*/ 895 h 1669"/>
                  <a:gd name="T50" fmla="*/ 6389 w 7028"/>
                  <a:gd name="T51" fmla="*/ 890 h 1669"/>
                  <a:gd name="T52" fmla="*/ 6399 w 7028"/>
                  <a:gd name="T53" fmla="*/ 850 h 1669"/>
                  <a:gd name="T54" fmla="*/ 6399 w 7028"/>
                  <a:gd name="T55" fmla="*/ 869 h 1669"/>
                  <a:gd name="T56" fmla="*/ 804 w 7028"/>
                  <a:gd name="T57" fmla="*/ 829 h 1669"/>
                  <a:gd name="T58" fmla="*/ 3100 w 7028"/>
                  <a:gd name="T59" fmla="*/ 762 h 1669"/>
                  <a:gd name="T60" fmla="*/ 3102 w 7028"/>
                  <a:gd name="T61" fmla="*/ 762 h 1669"/>
                  <a:gd name="T62" fmla="*/ 1010 w 7028"/>
                  <a:gd name="T63" fmla="*/ 805 h 1669"/>
                  <a:gd name="T64" fmla="*/ 5131 w 7028"/>
                  <a:gd name="T65" fmla="*/ 949 h 1669"/>
                  <a:gd name="T66" fmla="*/ 3138 w 7028"/>
                  <a:gd name="T67" fmla="*/ 658 h 1669"/>
                  <a:gd name="T68" fmla="*/ 97 w 7028"/>
                  <a:gd name="T69" fmla="*/ 616 h 1669"/>
                  <a:gd name="T70" fmla="*/ 5254 w 7028"/>
                  <a:gd name="T71" fmla="*/ 608 h 1669"/>
                  <a:gd name="T72" fmla="*/ 5254 w 7028"/>
                  <a:gd name="T73" fmla="*/ 608 h 1669"/>
                  <a:gd name="T74" fmla="*/ 3282 w 7028"/>
                  <a:gd name="T75" fmla="*/ 634 h 1669"/>
                  <a:gd name="T76" fmla="*/ 300 w 7028"/>
                  <a:gd name="T77" fmla="*/ 549 h 1669"/>
                  <a:gd name="T78" fmla="*/ 7025 w 7028"/>
                  <a:gd name="T79" fmla="*/ 509 h 1669"/>
                  <a:gd name="T80" fmla="*/ 4195 w 7028"/>
                  <a:gd name="T81" fmla="*/ 502 h 1669"/>
                  <a:gd name="T82" fmla="*/ 4195 w 7028"/>
                  <a:gd name="T83" fmla="*/ 502 h 1669"/>
                  <a:gd name="T84" fmla="*/ 3299 w 7028"/>
                  <a:gd name="T85" fmla="*/ 563 h 1669"/>
                  <a:gd name="T86" fmla="*/ 4039 w 7028"/>
                  <a:gd name="T87" fmla="*/ 455 h 1669"/>
                  <a:gd name="T88" fmla="*/ 3954 w 7028"/>
                  <a:gd name="T89" fmla="*/ 642 h 1669"/>
                  <a:gd name="T90" fmla="*/ 4039 w 7028"/>
                  <a:gd name="T91" fmla="*/ 455 h 1669"/>
                  <a:gd name="T92" fmla="*/ 3329 w 7028"/>
                  <a:gd name="T93" fmla="*/ 478 h 1669"/>
                  <a:gd name="T94" fmla="*/ 4041 w 7028"/>
                  <a:gd name="T95" fmla="*/ 393 h 1669"/>
                  <a:gd name="T96" fmla="*/ 4044 w 7028"/>
                  <a:gd name="T97" fmla="*/ 391 h 1669"/>
                  <a:gd name="T98" fmla="*/ 1811 w 7028"/>
                  <a:gd name="T99" fmla="*/ 1108 h 1669"/>
                  <a:gd name="T100" fmla="*/ 1937 w 7028"/>
                  <a:gd name="T101" fmla="*/ 346 h 1669"/>
                  <a:gd name="T102" fmla="*/ 4051 w 7028"/>
                  <a:gd name="T103" fmla="*/ 329 h 1669"/>
                  <a:gd name="T104" fmla="*/ 4051 w 7028"/>
                  <a:gd name="T105" fmla="*/ 327 h 1669"/>
                  <a:gd name="T106" fmla="*/ 2029 w 7028"/>
                  <a:gd name="T107" fmla="*/ 310 h 1669"/>
                  <a:gd name="T108" fmla="*/ 4639 w 7028"/>
                  <a:gd name="T109" fmla="*/ 462 h 1669"/>
                  <a:gd name="T110" fmla="*/ 4803 w 7028"/>
                  <a:gd name="T111" fmla="*/ 170 h 1669"/>
                  <a:gd name="T112" fmla="*/ 4855 w 7028"/>
                  <a:gd name="T113" fmla="*/ 0 h 1669"/>
                  <a:gd name="T114" fmla="*/ 4855 w 7028"/>
                  <a:gd name="T115" fmla="*/ 0 h 1669"/>
                  <a:gd name="T116" fmla="*/ 4911 w 7028"/>
                  <a:gd name="T117" fmla="*/ 149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8" h="1669">
                    <a:moveTo>
                      <a:pt x="3" y="1451"/>
                    </a:moveTo>
                    <a:lnTo>
                      <a:pt x="0" y="1451"/>
                    </a:lnTo>
                    <a:lnTo>
                      <a:pt x="0" y="1454"/>
                    </a:lnTo>
                    <a:lnTo>
                      <a:pt x="0" y="1510"/>
                    </a:lnTo>
                    <a:lnTo>
                      <a:pt x="3" y="1510"/>
                    </a:lnTo>
                    <a:lnTo>
                      <a:pt x="3" y="1451"/>
                    </a:lnTo>
                    <a:moveTo>
                      <a:pt x="5668" y="1326"/>
                    </a:moveTo>
                    <a:lnTo>
                      <a:pt x="5666" y="1326"/>
                    </a:lnTo>
                    <a:lnTo>
                      <a:pt x="5666" y="1328"/>
                    </a:lnTo>
                    <a:lnTo>
                      <a:pt x="5666" y="1425"/>
                    </a:lnTo>
                    <a:lnTo>
                      <a:pt x="5668" y="1425"/>
                    </a:lnTo>
                    <a:lnTo>
                      <a:pt x="5668" y="1326"/>
                    </a:lnTo>
                    <a:moveTo>
                      <a:pt x="3712" y="1222"/>
                    </a:moveTo>
                    <a:lnTo>
                      <a:pt x="3710" y="1222"/>
                    </a:lnTo>
                    <a:lnTo>
                      <a:pt x="3710" y="1222"/>
                    </a:lnTo>
                    <a:lnTo>
                      <a:pt x="3710" y="1224"/>
                    </a:lnTo>
                    <a:lnTo>
                      <a:pt x="3710" y="1368"/>
                    </a:lnTo>
                    <a:lnTo>
                      <a:pt x="3712" y="1368"/>
                    </a:lnTo>
                    <a:lnTo>
                      <a:pt x="3712" y="1222"/>
                    </a:lnTo>
                    <a:moveTo>
                      <a:pt x="5831" y="1207"/>
                    </a:moveTo>
                    <a:lnTo>
                      <a:pt x="5831" y="1207"/>
                    </a:lnTo>
                    <a:lnTo>
                      <a:pt x="5831" y="1207"/>
                    </a:lnTo>
                    <a:lnTo>
                      <a:pt x="5831" y="1210"/>
                    </a:lnTo>
                    <a:lnTo>
                      <a:pt x="5831" y="1302"/>
                    </a:lnTo>
                    <a:lnTo>
                      <a:pt x="5831" y="1302"/>
                    </a:lnTo>
                    <a:lnTo>
                      <a:pt x="5831" y="1207"/>
                    </a:lnTo>
                    <a:moveTo>
                      <a:pt x="1667" y="1155"/>
                    </a:moveTo>
                    <a:lnTo>
                      <a:pt x="1665" y="1155"/>
                    </a:lnTo>
                    <a:lnTo>
                      <a:pt x="1665" y="1155"/>
                    </a:lnTo>
                    <a:lnTo>
                      <a:pt x="1665" y="1158"/>
                    </a:lnTo>
                    <a:lnTo>
                      <a:pt x="1665" y="1177"/>
                    </a:lnTo>
                    <a:lnTo>
                      <a:pt x="1667" y="1177"/>
                    </a:lnTo>
                    <a:lnTo>
                      <a:pt x="1667" y="1155"/>
                    </a:lnTo>
                    <a:moveTo>
                      <a:pt x="1691" y="1132"/>
                    </a:moveTo>
                    <a:lnTo>
                      <a:pt x="1688" y="1132"/>
                    </a:lnTo>
                    <a:lnTo>
                      <a:pt x="1688" y="1134"/>
                    </a:lnTo>
                    <a:lnTo>
                      <a:pt x="1688" y="1134"/>
                    </a:lnTo>
                    <a:lnTo>
                      <a:pt x="1691" y="1134"/>
                    </a:lnTo>
                    <a:lnTo>
                      <a:pt x="1691" y="1132"/>
                    </a:lnTo>
                    <a:moveTo>
                      <a:pt x="5857" y="1127"/>
                    </a:moveTo>
                    <a:lnTo>
                      <a:pt x="5855" y="1127"/>
                    </a:lnTo>
                    <a:lnTo>
                      <a:pt x="5855" y="1129"/>
                    </a:lnTo>
                    <a:lnTo>
                      <a:pt x="5855" y="1186"/>
                    </a:lnTo>
                    <a:lnTo>
                      <a:pt x="5857" y="1186"/>
                    </a:lnTo>
                    <a:lnTo>
                      <a:pt x="5857" y="1127"/>
                    </a:lnTo>
                    <a:moveTo>
                      <a:pt x="6323" y="1127"/>
                    </a:moveTo>
                    <a:lnTo>
                      <a:pt x="6323" y="1127"/>
                    </a:lnTo>
                    <a:lnTo>
                      <a:pt x="6323" y="1127"/>
                    </a:lnTo>
                    <a:lnTo>
                      <a:pt x="6323" y="1129"/>
                    </a:lnTo>
                    <a:lnTo>
                      <a:pt x="6323" y="1340"/>
                    </a:lnTo>
                    <a:lnTo>
                      <a:pt x="6323" y="1340"/>
                    </a:lnTo>
                    <a:lnTo>
                      <a:pt x="6323" y="1127"/>
                    </a:lnTo>
                    <a:moveTo>
                      <a:pt x="1447" y="1125"/>
                    </a:moveTo>
                    <a:lnTo>
                      <a:pt x="1447" y="1125"/>
                    </a:lnTo>
                    <a:lnTo>
                      <a:pt x="1445" y="1125"/>
                    </a:lnTo>
                    <a:lnTo>
                      <a:pt x="1445" y="1127"/>
                    </a:lnTo>
                    <a:lnTo>
                      <a:pt x="1445" y="1177"/>
                    </a:lnTo>
                    <a:lnTo>
                      <a:pt x="1447" y="1177"/>
                    </a:lnTo>
                    <a:lnTo>
                      <a:pt x="1447" y="1125"/>
                    </a:lnTo>
                    <a:moveTo>
                      <a:pt x="1464" y="1082"/>
                    </a:moveTo>
                    <a:lnTo>
                      <a:pt x="1464" y="1082"/>
                    </a:lnTo>
                    <a:lnTo>
                      <a:pt x="1464" y="1084"/>
                    </a:lnTo>
                    <a:lnTo>
                      <a:pt x="1464" y="1108"/>
                    </a:lnTo>
                    <a:lnTo>
                      <a:pt x="1464" y="1108"/>
                    </a:lnTo>
                    <a:lnTo>
                      <a:pt x="1464" y="1106"/>
                    </a:lnTo>
                    <a:lnTo>
                      <a:pt x="1464" y="1106"/>
                    </a:lnTo>
                    <a:lnTo>
                      <a:pt x="1464" y="1082"/>
                    </a:lnTo>
                    <a:moveTo>
                      <a:pt x="2861" y="1063"/>
                    </a:moveTo>
                    <a:lnTo>
                      <a:pt x="2859" y="1063"/>
                    </a:lnTo>
                    <a:lnTo>
                      <a:pt x="2859" y="1063"/>
                    </a:lnTo>
                    <a:lnTo>
                      <a:pt x="2859" y="1063"/>
                    </a:lnTo>
                    <a:lnTo>
                      <a:pt x="2859" y="1217"/>
                    </a:lnTo>
                    <a:lnTo>
                      <a:pt x="2861" y="1217"/>
                    </a:lnTo>
                    <a:lnTo>
                      <a:pt x="2861" y="1063"/>
                    </a:lnTo>
                    <a:moveTo>
                      <a:pt x="5933" y="1042"/>
                    </a:moveTo>
                    <a:lnTo>
                      <a:pt x="5933" y="1042"/>
                    </a:lnTo>
                    <a:lnTo>
                      <a:pt x="5930" y="1042"/>
                    </a:lnTo>
                    <a:lnTo>
                      <a:pt x="5930" y="1042"/>
                    </a:lnTo>
                    <a:lnTo>
                      <a:pt x="5930" y="1106"/>
                    </a:lnTo>
                    <a:lnTo>
                      <a:pt x="5933" y="1106"/>
                    </a:lnTo>
                    <a:lnTo>
                      <a:pt x="5933" y="1042"/>
                    </a:lnTo>
                    <a:moveTo>
                      <a:pt x="2878" y="1011"/>
                    </a:moveTo>
                    <a:lnTo>
                      <a:pt x="2878" y="1011"/>
                    </a:lnTo>
                    <a:lnTo>
                      <a:pt x="2878" y="1013"/>
                    </a:lnTo>
                    <a:lnTo>
                      <a:pt x="2878" y="1044"/>
                    </a:lnTo>
                    <a:lnTo>
                      <a:pt x="2878" y="1044"/>
                    </a:lnTo>
                    <a:lnTo>
                      <a:pt x="2878" y="1044"/>
                    </a:lnTo>
                    <a:lnTo>
                      <a:pt x="2878" y="1044"/>
                    </a:lnTo>
                    <a:lnTo>
                      <a:pt x="2878" y="1011"/>
                    </a:lnTo>
                    <a:moveTo>
                      <a:pt x="3772" y="992"/>
                    </a:moveTo>
                    <a:lnTo>
                      <a:pt x="3769" y="992"/>
                    </a:lnTo>
                    <a:lnTo>
                      <a:pt x="3769" y="994"/>
                    </a:lnTo>
                    <a:lnTo>
                      <a:pt x="3769" y="1200"/>
                    </a:lnTo>
                    <a:lnTo>
                      <a:pt x="3772" y="1200"/>
                    </a:lnTo>
                    <a:lnTo>
                      <a:pt x="3772" y="992"/>
                    </a:lnTo>
                    <a:moveTo>
                      <a:pt x="5949" y="990"/>
                    </a:moveTo>
                    <a:lnTo>
                      <a:pt x="5949" y="990"/>
                    </a:lnTo>
                    <a:lnTo>
                      <a:pt x="5949" y="992"/>
                    </a:lnTo>
                    <a:lnTo>
                      <a:pt x="5949" y="1025"/>
                    </a:lnTo>
                    <a:lnTo>
                      <a:pt x="5949" y="1025"/>
                    </a:lnTo>
                    <a:lnTo>
                      <a:pt x="5949" y="1023"/>
                    </a:lnTo>
                    <a:lnTo>
                      <a:pt x="5949" y="1023"/>
                    </a:lnTo>
                    <a:lnTo>
                      <a:pt x="5949" y="990"/>
                    </a:lnTo>
                    <a:moveTo>
                      <a:pt x="6342" y="935"/>
                    </a:moveTo>
                    <a:lnTo>
                      <a:pt x="6342" y="935"/>
                    </a:lnTo>
                    <a:lnTo>
                      <a:pt x="6339" y="935"/>
                    </a:lnTo>
                    <a:lnTo>
                      <a:pt x="6339" y="938"/>
                    </a:lnTo>
                    <a:lnTo>
                      <a:pt x="6339" y="1110"/>
                    </a:lnTo>
                    <a:lnTo>
                      <a:pt x="6339" y="1110"/>
                    </a:lnTo>
                    <a:lnTo>
                      <a:pt x="6339" y="1108"/>
                    </a:lnTo>
                    <a:lnTo>
                      <a:pt x="6342" y="1108"/>
                    </a:lnTo>
                    <a:lnTo>
                      <a:pt x="6342" y="935"/>
                    </a:lnTo>
                    <a:moveTo>
                      <a:pt x="3847" y="928"/>
                    </a:moveTo>
                    <a:lnTo>
                      <a:pt x="3845" y="928"/>
                    </a:lnTo>
                    <a:lnTo>
                      <a:pt x="3845" y="928"/>
                    </a:lnTo>
                    <a:lnTo>
                      <a:pt x="3845" y="971"/>
                    </a:lnTo>
                    <a:lnTo>
                      <a:pt x="3847" y="971"/>
                    </a:lnTo>
                    <a:lnTo>
                      <a:pt x="3847" y="928"/>
                    </a:lnTo>
                    <a:moveTo>
                      <a:pt x="6387" y="895"/>
                    </a:moveTo>
                    <a:lnTo>
                      <a:pt x="6384" y="895"/>
                    </a:lnTo>
                    <a:lnTo>
                      <a:pt x="6384" y="895"/>
                    </a:lnTo>
                    <a:lnTo>
                      <a:pt x="6384" y="895"/>
                    </a:lnTo>
                    <a:lnTo>
                      <a:pt x="6380" y="911"/>
                    </a:lnTo>
                    <a:lnTo>
                      <a:pt x="6382" y="911"/>
                    </a:lnTo>
                    <a:lnTo>
                      <a:pt x="6387" y="895"/>
                    </a:lnTo>
                    <a:moveTo>
                      <a:pt x="6391" y="878"/>
                    </a:moveTo>
                    <a:lnTo>
                      <a:pt x="6389" y="878"/>
                    </a:lnTo>
                    <a:lnTo>
                      <a:pt x="6389" y="878"/>
                    </a:lnTo>
                    <a:lnTo>
                      <a:pt x="6389" y="881"/>
                    </a:lnTo>
                    <a:lnTo>
                      <a:pt x="6389" y="890"/>
                    </a:lnTo>
                    <a:lnTo>
                      <a:pt x="6389" y="890"/>
                    </a:lnTo>
                    <a:lnTo>
                      <a:pt x="6389" y="888"/>
                    </a:lnTo>
                    <a:lnTo>
                      <a:pt x="6391" y="888"/>
                    </a:lnTo>
                    <a:lnTo>
                      <a:pt x="6391" y="878"/>
                    </a:lnTo>
                    <a:moveTo>
                      <a:pt x="6399" y="850"/>
                    </a:moveTo>
                    <a:lnTo>
                      <a:pt x="6396" y="850"/>
                    </a:lnTo>
                    <a:lnTo>
                      <a:pt x="6396" y="852"/>
                    </a:lnTo>
                    <a:lnTo>
                      <a:pt x="6396" y="871"/>
                    </a:lnTo>
                    <a:lnTo>
                      <a:pt x="6399" y="871"/>
                    </a:lnTo>
                    <a:lnTo>
                      <a:pt x="6399" y="869"/>
                    </a:lnTo>
                    <a:lnTo>
                      <a:pt x="6399" y="869"/>
                    </a:lnTo>
                    <a:lnTo>
                      <a:pt x="6399" y="850"/>
                    </a:lnTo>
                    <a:moveTo>
                      <a:pt x="806" y="826"/>
                    </a:moveTo>
                    <a:lnTo>
                      <a:pt x="804" y="826"/>
                    </a:lnTo>
                    <a:lnTo>
                      <a:pt x="804" y="829"/>
                    </a:lnTo>
                    <a:lnTo>
                      <a:pt x="804" y="1046"/>
                    </a:lnTo>
                    <a:lnTo>
                      <a:pt x="806" y="1046"/>
                    </a:lnTo>
                    <a:lnTo>
                      <a:pt x="806" y="826"/>
                    </a:lnTo>
                    <a:moveTo>
                      <a:pt x="3102" y="762"/>
                    </a:moveTo>
                    <a:lnTo>
                      <a:pt x="3100" y="762"/>
                    </a:lnTo>
                    <a:lnTo>
                      <a:pt x="3100" y="762"/>
                    </a:lnTo>
                    <a:lnTo>
                      <a:pt x="3100" y="765"/>
                    </a:lnTo>
                    <a:lnTo>
                      <a:pt x="3100" y="956"/>
                    </a:lnTo>
                    <a:lnTo>
                      <a:pt x="3102" y="956"/>
                    </a:lnTo>
                    <a:lnTo>
                      <a:pt x="3102" y="762"/>
                    </a:lnTo>
                    <a:moveTo>
                      <a:pt x="1010" y="753"/>
                    </a:moveTo>
                    <a:lnTo>
                      <a:pt x="1007" y="753"/>
                    </a:lnTo>
                    <a:lnTo>
                      <a:pt x="1007" y="755"/>
                    </a:lnTo>
                    <a:lnTo>
                      <a:pt x="1007" y="805"/>
                    </a:lnTo>
                    <a:lnTo>
                      <a:pt x="1010" y="805"/>
                    </a:lnTo>
                    <a:lnTo>
                      <a:pt x="1010" y="753"/>
                    </a:lnTo>
                    <a:moveTo>
                      <a:pt x="5134" y="732"/>
                    </a:moveTo>
                    <a:lnTo>
                      <a:pt x="5131" y="732"/>
                    </a:lnTo>
                    <a:lnTo>
                      <a:pt x="5131" y="734"/>
                    </a:lnTo>
                    <a:lnTo>
                      <a:pt x="5131" y="949"/>
                    </a:lnTo>
                    <a:lnTo>
                      <a:pt x="5134" y="949"/>
                    </a:lnTo>
                    <a:lnTo>
                      <a:pt x="5134" y="732"/>
                    </a:lnTo>
                    <a:moveTo>
                      <a:pt x="3140" y="656"/>
                    </a:moveTo>
                    <a:lnTo>
                      <a:pt x="3138" y="656"/>
                    </a:lnTo>
                    <a:lnTo>
                      <a:pt x="3138" y="658"/>
                    </a:lnTo>
                    <a:lnTo>
                      <a:pt x="3138" y="739"/>
                    </a:lnTo>
                    <a:lnTo>
                      <a:pt x="3140" y="739"/>
                    </a:lnTo>
                    <a:lnTo>
                      <a:pt x="3140" y="656"/>
                    </a:lnTo>
                    <a:moveTo>
                      <a:pt x="97" y="616"/>
                    </a:moveTo>
                    <a:lnTo>
                      <a:pt x="97" y="616"/>
                    </a:lnTo>
                    <a:lnTo>
                      <a:pt x="97" y="618"/>
                    </a:lnTo>
                    <a:lnTo>
                      <a:pt x="97" y="1430"/>
                    </a:lnTo>
                    <a:lnTo>
                      <a:pt x="97" y="1430"/>
                    </a:lnTo>
                    <a:lnTo>
                      <a:pt x="97" y="616"/>
                    </a:lnTo>
                    <a:moveTo>
                      <a:pt x="5254" y="608"/>
                    </a:moveTo>
                    <a:lnTo>
                      <a:pt x="5252" y="608"/>
                    </a:lnTo>
                    <a:lnTo>
                      <a:pt x="5252" y="611"/>
                    </a:lnTo>
                    <a:lnTo>
                      <a:pt x="5252" y="708"/>
                    </a:lnTo>
                    <a:lnTo>
                      <a:pt x="5254" y="708"/>
                    </a:lnTo>
                    <a:lnTo>
                      <a:pt x="5254" y="608"/>
                    </a:lnTo>
                    <a:moveTo>
                      <a:pt x="3284" y="580"/>
                    </a:moveTo>
                    <a:lnTo>
                      <a:pt x="3282" y="580"/>
                    </a:lnTo>
                    <a:lnTo>
                      <a:pt x="3282" y="580"/>
                    </a:lnTo>
                    <a:lnTo>
                      <a:pt x="3282" y="582"/>
                    </a:lnTo>
                    <a:lnTo>
                      <a:pt x="3282" y="634"/>
                    </a:lnTo>
                    <a:lnTo>
                      <a:pt x="3284" y="634"/>
                    </a:lnTo>
                    <a:lnTo>
                      <a:pt x="3284" y="580"/>
                    </a:lnTo>
                    <a:moveTo>
                      <a:pt x="303" y="547"/>
                    </a:moveTo>
                    <a:lnTo>
                      <a:pt x="300" y="547"/>
                    </a:lnTo>
                    <a:lnTo>
                      <a:pt x="300" y="549"/>
                    </a:lnTo>
                    <a:lnTo>
                      <a:pt x="300" y="594"/>
                    </a:lnTo>
                    <a:lnTo>
                      <a:pt x="303" y="594"/>
                    </a:lnTo>
                    <a:lnTo>
                      <a:pt x="303" y="547"/>
                    </a:lnTo>
                    <a:moveTo>
                      <a:pt x="7028" y="509"/>
                    </a:moveTo>
                    <a:lnTo>
                      <a:pt x="7025" y="509"/>
                    </a:lnTo>
                    <a:lnTo>
                      <a:pt x="7025" y="509"/>
                    </a:lnTo>
                    <a:lnTo>
                      <a:pt x="7025" y="1669"/>
                    </a:lnTo>
                    <a:lnTo>
                      <a:pt x="7028" y="1669"/>
                    </a:lnTo>
                    <a:lnTo>
                      <a:pt x="7028" y="509"/>
                    </a:lnTo>
                    <a:moveTo>
                      <a:pt x="4195" y="502"/>
                    </a:moveTo>
                    <a:lnTo>
                      <a:pt x="4195" y="502"/>
                    </a:lnTo>
                    <a:lnTo>
                      <a:pt x="4192" y="504"/>
                    </a:lnTo>
                    <a:lnTo>
                      <a:pt x="4140" y="575"/>
                    </a:lnTo>
                    <a:lnTo>
                      <a:pt x="4140" y="575"/>
                    </a:lnTo>
                    <a:lnTo>
                      <a:pt x="4195" y="502"/>
                    </a:lnTo>
                    <a:moveTo>
                      <a:pt x="3301" y="500"/>
                    </a:moveTo>
                    <a:lnTo>
                      <a:pt x="3301" y="500"/>
                    </a:lnTo>
                    <a:lnTo>
                      <a:pt x="3299" y="500"/>
                    </a:lnTo>
                    <a:lnTo>
                      <a:pt x="3299" y="502"/>
                    </a:lnTo>
                    <a:lnTo>
                      <a:pt x="3299" y="563"/>
                    </a:lnTo>
                    <a:lnTo>
                      <a:pt x="3301" y="563"/>
                    </a:lnTo>
                    <a:lnTo>
                      <a:pt x="3301" y="563"/>
                    </a:lnTo>
                    <a:lnTo>
                      <a:pt x="3301" y="563"/>
                    </a:lnTo>
                    <a:lnTo>
                      <a:pt x="3301" y="500"/>
                    </a:lnTo>
                    <a:moveTo>
                      <a:pt x="4039" y="455"/>
                    </a:moveTo>
                    <a:lnTo>
                      <a:pt x="4036" y="455"/>
                    </a:lnTo>
                    <a:lnTo>
                      <a:pt x="4036" y="455"/>
                    </a:lnTo>
                    <a:lnTo>
                      <a:pt x="4036" y="455"/>
                    </a:lnTo>
                    <a:lnTo>
                      <a:pt x="4036" y="490"/>
                    </a:lnTo>
                    <a:lnTo>
                      <a:pt x="3954" y="642"/>
                    </a:lnTo>
                    <a:lnTo>
                      <a:pt x="3954" y="904"/>
                    </a:lnTo>
                    <a:lnTo>
                      <a:pt x="3956" y="904"/>
                    </a:lnTo>
                    <a:lnTo>
                      <a:pt x="3956" y="642"/>
                    </a:lnTo>
                    <a:lnTo>
                      <a:pt x="4039" y="488"/>
                    </a:lnTo>
                    <a:lnTo>
                      <a:pt x="4039" y="455"/>
                    </a:lnTo>
                    <a:moveTo>
                      <a:pt x="3329" y="433"/>
                    </a:moveTo>
                    <a:lnTo>
                      <a:pt x="3327" y="433"/>
                    </a:lnTo>
                    <a:lnTo>
                      <a:pt x="3327" y="436"/>
                    </a:lnTo>
                    <a:lnTo>
                      <a:pt x="3327" y="478"/>
                    </a:lnTo>
                    <a:lnTo>
                      <a:pt x="3329" y="478"/>
                    </a:lnTo>
                    <a:lnTo>
                      <a:pt x="3329" y="433"/>
                    </a:lnTo>
                    <a:moveTo>
                      <a:pt x="4044" y="391"/>
                    </a:moveTo>
                    <a:lnTo>
                      <a:pt x="4041" y="391"/>
                    </a:lnTo>
                    <a:lnTo>
                      <a:pt x="4041" y="391"/>
                    </a:lnTo>
                    <a:lnTo>
                      <a:pt x="4041" y="393"/>
                    </a:lnTo>
                    <a:lnTo>
                      <a:pt x="4041" y="447"/>
                    </a:lnTo>
                    <a:lnTo>
                      <a:pt x="4044" y="447"/>
                    </a:lnTo>
                    <a:lnTo>
                      <a:pt x="4044" y="445"/>
                    </a:lnTo>
                    <a:lnTo>
                      <a:pt x="4044" y="445"/>
                    </a:lnTo>
                    <a:lnTo>
                      <a:pt x="4044" y="391"/>
                    </a:lnTo>
                    <a:moveTo>
                      <a:pt x="1811" y="367"/>
                    </a:moveTo>
                    <a:lnTo>
                      <a:pt x="1809" y="367"/>
                    </a:lnTo>
                    <a:lnTo>
                      <a:pt x="1809" y="369"/>
                    </a:lnTo>
                    <a:lnTo>
                      <a:pt x="1809" y="1108"/>
                    </a:lnTo>
                    <a:lnTo>
                      <a:pt x="1811" y="1108"/>
                    </a:lnTo>
                    <a:lnTo>
                      <a:pt x="1811" y="367"/>
                    </a:lnTo>
                    <a:moveTo>
                      <a:pt x="1939" y="334"/>
                    </a:moveTo>
                    <a:lnTo>
                      <a:pt x="1937" y="334"/>
                    </a:lnTo>
                    <a:lnTo>
                      <a:pt x="1937" y="334"/>
                    </a:lnTo>
                    <a:lnTo>
                      <a:pt x="1937" y="346"/>
                    </a:lnTo>
                    <a:lnTo>
                      <a:pt x="1939" y="346"/>
                    </a:lnTo>
                    <a:lnTo>
                      <a:pt x="1939" y="334"/>
                    </a:lnTo>
                    <a:moveTo>
                      <a:pt x="4051" y="327"/>
                    </a:moveTo>
                    <a:lnTo>
                      <a:pt x="4051" y="327"/>
                    </a:lnTo>
                    <a:lnTo>
                      <a:pt x="4051" y="329"/>
                    </a:lnTo>
                    <a:lnTo>
                      <a:pt x="4051" y="384"/>
                    </a:lnTo>
                    <a:lnTo>
                      <a:pt x="4051" y="384"/>
                    </a:lnTo>
                    <a:lnTo>
                      <a:pt x="4051" y="381"/>
                    </a:lnTo>
                    <a:lnTo>
                      <a:pt x="4051" y="381"/>
                    </a:lnTo>
                    <a:lnTo>
                      <a:pt x="4051" y="327"/>
                    </a:lnTo>
                    <a:moveTo>
                      <a:pt x="2029" y="294"/>
                    </a:moveTo>
                    <a:lnTo>
                      <a:pt x="2029" y="294"/>
                    </a:lnTo>
                    <a:lnTo>
                      <a:pt x="2029" y="294"/>
                    </a:lnTo>
                    <a:lnTo>
                      <a:pt x="2029" y="310"/>
                    </a:lnTo>
                    <a:lnTo>
                      <a:pt x="2029" y="310"/>
                    </a:lnTo>
                    <a:lnTo>
                      <a:pt x="2029" y="294"/>
                    </a:lnTo>
                    <a:moveTo>
                      <a:pt x="4706" y="232"/>
                    </a:moveTo>
                    <a:lnTo>
                      <a:pt x="4703" y="232"/>
                    </a:lnTo>
                    <a:lnTo>
                      <a:pt x="4703" y="232"/>
                    </a:lnTo>
                    <a:lnTo>
                      <a:pt x="4639" y="462"/>
                    </a:lnTo>
                    <a:lnTo>
                      <a:pt x="4642" y="462"/>
                    </a:lnTo>
                    <a:lnTo>
                      <a:pt x="4706" y="232"/>
                    </a:lnTo>
                    <a:moveTo>
                      <a:pt x="4805" y="170"/>
                    </a:moveTo>
                    <a:lnTo>
                      <a:pt x="4803" y="170"/>
                    </a:lnTo>
                    <a:lnTo>
                      <a:pt x="4803" y="170"/>
                    </a:lnTo>
                    <a:lnTo>
                      <a:pt x="4803" y="173"/>
                    </a:lnTo>
                    <a:lnTo>
                      <a:pt x="4803" y="208"/>
                    </a:lnTo>
                    <a:lnTo>
                      <a:pt x="4805" y="208"/>
                    </a:lnTo>
                    <a:lnTo>
                      <a:pt x="4805" y="170"/>
                    </a:lnTo>
                    <a:moveTo>
                      <a:pt x="4855" y="0"/>
                    </a:moveTo>
                    <a:lnTo>
                      <a:pt x="4852" y="0"/>
                    </a:lnTo>
                    <a:lnTo>
                      <a:pt x="4852" y="2"/>
                    </a:lnTo>
                    <a:lnTo>
                      <a:pt x="4852" y="149"/>
                    </a:lnTo>
                    <a:lnTo>
                      <a:pt x="4855" y="149"/>
                    </a:lnTo>
                    <a:lnTo>
                      <a:pt x="4855" y="0"/>
                    </a:lnTo>
                    <a:moveTo>
                      <a:pt x="4911" y="0"/>
                    </a:moveTo>
                    <a:lnTo>
                      <a:pt x="4909" y="0"/>
                    </a:lnTo>
                    <a:lnTo>
                      <a:pt x="4909" y="2"/>
                    </a:lnTo>
                    <a:lnTo>
                      <a:pt x="4909" y="149"/>
                    </a:lnTo>
                    <a:lnTo>
                      <a:pt x="4911" y="149"/>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0" name="Freeform 122"/>
              <p:cNvSpPr>
                <a:spLocks noEditPoints="1"/>
              </p:cNvSpPr>
              <p:nvPr/>
            </p:nvSpPr>
            <p:spPr bwMode="auto">
              <a:xfrm>
                <a:off x="26" y="1682"/>
                <a:ext cx="7025" cy="1671"/>
              </a:xfrm>
              <a:custGeom>
                <a:avLst/>
                <a:gdLst>
                  <a:gd name="T0" fmla="*/ 2 w 7025"/>
                  <a:gd name="T1" fmla="*/ 1512 h 1671"/>
                  <a:gd name="T2" fmla="*/ 5665 w 7025"/>
                  <a:gd name="T3" fmla="*/ 1427 h 1671"/>
                  <a:gd name="T4" fmla="*/ 3709 w 7025"/>
                  <a:gd name="T5" fmla="*/ 1221 h 1671"/>
                  <a:gd name="T6" fmla="*/ 5830 w 7025"/>
                  <a:gd name="T7" fmla="*/ 1207 h 1671"/>
                  <a:gd name="T8" fmla="*/ 5830 w 7025"/>
                  <a:gd name="T9" fmla="*/ 1304 h 1671"/>
                  <a:gd name="T10" fmla="*/ 1664 w 7025"/>
                  <a:gd name="T11" fmla="*/ 1157 h 1671"/>
                  <a:gd name="T12" fmla="*/ 1688 w 7025"/>
                  <a:gd name="T13" fmla="*/ 1131 h 1671"/>
                  <a:gd name="T14" fmla="*/ 5856 w 7025"/>
                  <a:gd name="T15" fmla="*/ 1127 h 1671"/>
                  <a:gd name="T16" fmla="*/ 5856 w 7025"/>
                  <a:gd name="T17" fmla="*/ 1188 h 1671"/>
                  <a:gd name="T18" fmla="*/ 6320 w 7025"/>
                  <a:gd name="T19" fmla="*/ 1129 h 1671"/>
                  <a:gd name="T20" fmla="*/ 1444 w 7025"/>
                  <a:gd name="T21" fmla="*/ 1124 h 1671"/>
                  <a:gd name="T22" fmla="*/ 1447 w 7025"/>
                  <a:gd name="T23" fmla="*/ 1124 h 1671"/>
                  <a:gd name="T24" fmla="*/ 1463 w 7025"/>
                  <a:gd name="T25" fmla="*/ 1108 h 1671"/>
                  <a:gd name="T26" fmla="*/ 2858 w 7025"/>
                  <a:gd name="T27" fmla="*/ 1063 h 1671"/>
                  <a:gd name="T28" fmla="*/ 2861 w 7025"/>
                  <a:gd name="T29" fmla="*/ 1063 h 1671"/>
                  <a:gd name="T30" fmla="*/ 5930 w 7025"/>
                  <a:gd name="T31" fmla="*/ 1108 h 1671"/>
                  <a:gd name="T32" fmla="*/ 2875 w 7025"/>
                  <a:gd name="T33" fmla="*/ 1013 h 1671"/>
                  <a:gd name="T34" fmla="*/ 2877 w 7025"/>
                  <a:gd name="T35" fmla="*/ 1011 h 1671"/>
                  <a:gd name="T36" fmla="*/ 3771 w 7025"/>
                  <a:gd name="T37" fmla="*/ 1202 h 1671"/>
                  <a:gd name="T38" fmla="*/ 5946 w 7025"/>
                  <a:gd name="T39" fmla="*/ 1025 h 1671"/>
                  <a:gd name="T40" fmla="*/ 6339 w 7025"/>
                  <a:gd name="T41" fmla="*/ 935 h 1671"/>
                  <a:gd name="T42" fmla="*/ 6339 w 7025"/>
                  <a:gd name="T43" fmla="*/ 1110 h 1671"/>
                  <a:gd name="T44" fmla="*/ 3844 w 7025"/>
                  <a:gd name="T45" fmla="*/ 928 h 1671"/>
                  <a:gd name="T46" fmla="*/ 6384 w 7025"/>
                  <a:gd name="T47" fmla="*/ 895 h 1671"/>
                  <a:gd name="T48" fmla="*/ 6379 w 7025"/>
                  <a:gd name="T49" fmla="*/ 913 h 1671"/>
                  <a:gd name="T50" fmla="*/ 6388 w 7025"/>
                  <a:gd name="T51" fmla="*/ 880 h 1671"/>
                  <a:gd name="T52" fmla="*/ 6388 w 7025"/>
                  <a:gd name="T53" fmla="*/ 878 h 1671"/>
                  <a:gd name="T54" fmla="*/ 6398 w 7025"/>
                  <a:gd name="T55" fmla="*/ 871 h 1671"/>
                  <a:gd name="T56" fmla="*/ 803 w 7025"/>
                  <a:gd name="T57" fmla="*/ 826 h 1671"/>
                  <a:gd name="T58" fmla="*/ 3099 w 7025"/>
                  <a:gd name="T59" fmla="*/ 762 h 1671"/>
                  <a:gd name="T60" fmla="*/ 3099 w 7025"/>
                  <a:gd name="T61" fmla="*/ 958 h 1671"/>
                  <a:gd name="T62" fmla="*/ 1007 w 7025"/>
                  <a:gd name="T63" fmla="*/ 807 h 1671"/>
                  <a:gd name="T64" fmla="*/ 5131 w 7025"/>
                  <a:gd name="T65" fmla="*/ 734 h 1671"/>
                  <a:gd name="T66" fmla="*/ 3137 w 7025"/>
                  <a:gd name="T67" fmla="*/ 655 h 1671"/>
                  <a:gd name="T68" fmla="*/ 97 w 7025"/>
                  <a:gd name="T69" fmla="*/ 615 h 1671"/>
                  <a:gd name="T70" fmla="*/ 97 w 7025"/>
                  <a:gd name="T71" fmla="*/ 615 h 1671"/>
                  <a:gd name="T72" fmla="*/ 5253 w 7025"/>
                  <a:gd name="T73" fmla="*/ 710 h 1671"/>
                  <a:gd name="T74" fmla="*/ 3281 w 7025"/>
                  <a:gd name="T75" fmla="*/ 582 h 1671"/>
                  <a:gd name="T76" fmla="*/ 300 w 7025"/>
                  <a:gd name="T77" fmla="*/ 547 h 1671"/>
                  <a:gd name="T78" fmla="*/ 7025 w 7025"/>
                  <a:gd name="T79" fmla="*/ 509 h 1671"/>
                  <a:gd name="T80" fmla="*/ 7025 w 7025"/>
                  <a:gd name="T81" fmla="*/ 509 h 1671"/>
                  <a:gd name="T82" fmla="*/ 4137 w 7025"/>
                  <a:gd name="T83" fmla="*/ 577 h 1671"/>
                  <a:gd name="T84" fmla="*/ 3298 w 7025"/>
                  <a:gd name="T85" fmla="*/ 502 h 1671"/>
                  <a:gd name="T86" fmla="*/ 3300 w 7025"/>
                  <a:gd name="T87" fmla="*/ 502 h 1671"/>
                  <a:gd name="T88" fmla="*/ 4036 w 7025"/>
                  <a:gd name="T89" fmla="*/ 490 h 1671"/>
                  <a:gd name="T90" fmla="*/ 4036 w 7025"/>
                  <a:gd name="T91" fmla="*/ 487 h 1671"/>
                  <a:gd name="T92" fmla="*/ 3326 w 7025"/>
                  <a:gd name="T93" fmla="*/ 480 h 1671"/>
                  <a:gd name="T94" fmla="*/ 4041 w 7025"/>
                  <a:gd name="T95" fmla="*/ 390 h 1671"/>
                  <a:gd name="T96" fmla="*/ 4043 w 7025"/>
                  <a:gd name="T97" fmla="*/ 447 h 1671"/>
                  <a:gd name="T98" fmla="*/ 1808 w 7025"/>
                  <a:gd name="T99" fmla="*/ 1110 h 1671"/>
                  <a:gd name="T100" fmla="*/ 1936 w 7025"/>
                  <a:gd name="T101" fmla="*/ 336 h 1671"/>
                  <a:gd name="T102" fmla="*/ 4048 w 7025"/>
                  <a:gd name="T103" fmla="*/ 326 h 1671"/>
                  <a:gd name="T104" fmla="*/ 4050 w 7025"/>
                  <a:gd name="T105" fmla="*/ 381 h 1671"/>
                  <a:gd name="T106" fmla="*/ 2026 w 7025"/>
                  <a:gd name="T107" fmla="*/ 312 h 1671"/>
                  <a:gd name="T108" fmla="*/ 4703 w 7025"/>
                  <a:gd name="T109" fmla="*/ 234 h 1671"/>
                  <a:gd name="T110" fmla="*/ 4802 w 7025"/>
                  <a:gd name="T111" fmla="*/ 172 h 1671"/>
                  <a:gd name="T112" fmla="*/ 4804 w 7025"/>
                  <a:gd name="T113" fmla="*/ 172 h 1671"/>
                  <a:gd name="T114" fmla="*/ 4852 w 7025"/>
                  <a:gd name="T115" fmla="*/ 151 h 1671"/>
                  <a:gd name="T116" fmla="*/ 4908 w 7025"/>
                  <a:gd name="T117" fmla="*/ 15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1">
                    <a:moveTo>
                      <a:pt x="2" y="1453"/>
                    </a:moveTo>
                    <a:lnTo>
                      <a:pt x="0" y="1453"/>
                    </a:lnTo>
                    <a:lnTo>
                      <a:pt x="0" y="1453"/>
                    </a:lnTo>
                    <a:lnTo>
                      <a:pt x="0" y="1512"/>
                    </a:lnTo>
                    <a:lnTo>
                      <a:pt x="2" y="1512"/>
                    </a:lnTo>
                    <a:lnTo>
                      <a:pt x="2" y="1453"/>
                    </a:lnTo>
                    <a:close/>
                    <a:moveTo>
                      <a:pt x="5665" y="1325"/>
                    </a:moveTo>
                    <a:lnTo>
                      <a:pt x="5665" y="1325"/>
                    </a:lnTo>
                    <a:lnTo>
                      <a:pt x="5665" y="1328"/>
                    </a:lnTo>
                    <a:lnTo>
                      <a:pt x="5665" y="1427"/>
                    </a:lnTo>
                    <a:lnTo>
                      <a:pt x="5665" y="1427"/>
                    </a:lnTo>
                    <a:lnTo>
                      <a:pt x="5665" y="1325"/>
                    </a:lnTo>
                    <a:close/>
                    <a:moveTo>
                      <a:pt x="3712" y="1221"/>
                    </a:moveTo>
                    <a:lnTo>
                      <a:pt x="3709" y="1221"/>
                    </a:lnTo>
                    <a:lnTo>
                      <a:pt x="3709" y="1221"/>
                    </a:lnTo>
                    <a:lnTo>
                      <a:pt x="3709" y="1224"/>
                    </a:lnTo>
                    <a:lnTo>
                      <a:pt x="3709" y="1370"/>
                    </a:lnTo>
                    <a:lnTo>
                      <a:pt x="3712" y="1370"/>
                    </a:lnTo>
                    <a:lnTo>
                      <a:pt x="3712" y="1221"/>
                    </a:lnTo>
                    <a:close/>
                    <a:moveTo>
                      <a:pt x="5830" y="1207"/>
                    </a:moveTo>
                    <a:lnTo>
                      <a:pt x="5830" y="1207"/>
                    </a:lnTo>
                    <a:lnTo>
                      <a:pt x="5828" y="1207"/>
                    </a:lnTo>
                    <a:lnTo>
                      <a:pt x="5828" y="1209"/>
                    </a:lnTo>
                    <a:lnTo>
                      <a:pt x="5828" y="1304"/>
                    </a:lnTo>
                    <a:lnTo>
                      <a:pt x="5830" y="1304"/>
                    </a:lnTo>
                    <a:lnTo>
                      <a:pt x="5830" y="1207"/>
                    </a:lnTo>
                    <a:close/>
                    <a:moveTo>
                      <a:pt x="1667" y="1157"/>
                    </a:moveTo>
                    <a:lnTo>
                      <a:pt x="1664" y="1157"/>
                    </a:lnTo>
                    <a:lnTo>
                      <a:pt x="1664" y="1157"/>
                    </a:lnTo>
                    <a:lnTo>
                      <a:pt x="1664" y="1157"/>
                    </a:lnTo>
                    <a:lnTo>
                      <a:pt x="1664" y="1179"/>
                    </a:lnTo>
                    <a:lnTo>
                      <a:pt x="1667" y="1179"/>
                    </a:lnTo>
                    <a:lnTo>
                      <a:pt x="1667" y="1157"/>
                    </a:lnTo>
                    <a:close/>
                    <a:moveTo>
                      <a:pt x="1688" y="1131"/>
                    </a:moveTo>
                    <a:lnTo>
                      <a:pt x="1688" y="1131"/>
                    </a:lnTo>
                    <a:lnTo>
                      <a:pt x="1688" y="1134"/>
                    </a:lnTo>
                    <a:lnTo>
                      <a:pt x="1688" y="1136"/>
                    </a:lnTo>
                    <a:lnTo>
                      <a:pt x="1688" y="1136"/>
                    </a:lnTo>
                    <a:lnTo>
                      <a:pt x="1688" y="1131"/>
                    </a:lnTo>
                    <a:close/>
                    <a:moveTo>
                      <a:pt x="5856" y="1127"/>
                    </a:moveTo>
                    <a:lnTo>
                      <a:pt x="5854" y="1127"/>
                    </a:lnTo>
                    <a:lnTo>
                      <a:pt x="5854" y="1127"/>
                    </a:lnTo>
                    <a:lnTo>
                      <a:pt x="5854" y="1129"/>
                    </a:lnTo>
                    <a:lnTo>
                      <a:pt x="5854" y="1188"/>
                    </a:lnTo>
                    <a:lnTo>
                      <a:pt x="5856" y="1188"/>
                    </a:lnTo>
                    <a:lnTo>
                      <a:pt x="5856" y="1127"/>
                    </a:lnTo>
                    <a:close/>
                    <a:moveTo>
                      <a:pt x="6322" y="1127"/>
                    </a:moveTo>
                    <a:lnTo>
                      <a:pt x="6322" y="1127"/>
                    </a:lnTo>
                    <a:lnTo>
                      <a:pt x="6320" y="1127"/>
                    </a:lnTo>
                    <a:lnTo>
                      <a:pt x="6320" y="1129"/>
                    </a:lnTo>
                    <a:lnTo>
                      <a:pt x="6320" y="1342"/>
                    </a:lnTo>
                    <a:lnTo>
                      <a:pt x="6322" y="1342"/>
                    </a:lnTo>
                    <a:lnTo>
                      <a:pt x="6322" y="1127"/>
                    </a:lnTo>
                    <a:close/>
                    <a:moveTo>
                      <a:pt x="1447" y="1124"/>
                    </a:moveTo>
                    <a:lnTo>
                      <a:pt x="1444" y="1124"/>
                    </a:lnTo>
                    <a:lnTo>
                      <a:pt x="1444" y="1124"/>
                    </a:lnTo>
                    <a:lnTo>
                      <a:pt x="1444" y="1127"/>
                    </a:lnTo>
                    <a:lnTo>
                      <a:pt x="1444" y="1179"/>
                    </a:lnTo>
                    <a:lnTo>
                      <a:pt x="1447" y="1179"/>
                    </a:lnTo>
                    <a:lnTo>
                      <a:pt x="1447" y="1124"/>
                    </a:lnTo>
                    <a:close/>
                    <a:moveTo>
                      <a:pt x="1463" y="1084"/>
                    </a:moveTo>
                    <a:lnTo>
                      <a:pt x="1461" y="1084"/>
                    </a:lnTo>
                    <a:lnTo>
                      <a:pt x="1461" y="1084"/>
                    </a:lnTo>
                    <a:lnTo>
                      <a:pt x="1461" y="1108"/>
                    </a:lnTo>
                    <a:lnTo>
                      <a:pt x="1463" y="1108"/>
                    </a:lnTo>
                    <a:lnTo>
                      <a:pt x="1463" y="1105"/>
                    </a:lnTo>
                    <a:lnTo>
                      <a:pt x="1463" y="1105"/>
                    </a:lnTo>
                    <a:lnTo>
                      <a:pt x="1463" y="1084"/>
                    </a:lnTo>
                    <a:close/>
                    <a:moveTo>
                      <a:pt x="2861" y="1063"/>
                    </a:moveTo>
                    <a:lnTo>
                      <a:pt x="2858" y="1063"/>
                    </a:lnTo>
                    <a:lnTo>
                      <a:pt x="2858" y="1063"/>
                    </a:lnTo>
                    <a:lnTo>
                      <a:pt x="2858" y="1065"/>
                    </a:lnTo>
                    <a:lnTo>
                      <a:pt x="2858" y="1219"/>
                    </a:lnTo>
                    <a:lnTo>
                      <a:pt x="2861" y="1219"/>
                    </a:lnTo>
                    <a:lnTo>
                      <a:pt x="2861" y="1063"/>
                    </a:lnTo>
                    <a:close/>
                    <a:moveTo>
                      <a:pt x="5930" y="1041"/>
                    </a:moveTo>
                    <a:lnTo>
                      <a:pt x="5930" y="1041"/>
                    </a:lnTo>
                    <a:lnTo>
                      <a:pt x="5930" y="1041"/>
                    </a:lnTo>
                    <a:lnTo>
                      <a:pt x="5930" y="1044"/>
                    </a:lnTo>
                    <a:lnTo>
                      <a:pt x="5930" y="1108"/>
                    </a:lnTo>
                    <a:lnTo>
                      <a:pt x="5930" y="1108"/>
                    </a:lnTo>
                    <a:lnTo>
                      <a:pt x="5930" y="1041"/>
                    </a:lnTo>
                    <a:close/>
                    <a:moveTo>
                      <a:pt x="2877" y="1011"/>
                    </a:moveTo>
                    <a:lnTo>
                      <a:pt x="2875" y="1013"/>
                    </a:lnTo>
                    <a:lnTo>
                      <a:pt x="2875" y="1013"/>
                    </a:lnTo>
                    <a:lnTo>
                      <a:pt x="2875" y="1046"/>
                    </a:lnTo>
                    <a:lnTo>
                      <a:pt x="2877" y="1046"/>
                    </a:lnTo>
                    <a:lnTo>
                      <a:pt x="2877" y="1044"/>
                    </a:lnTo>
                    <a:lnTo>
                      <a:pt x="2877" y="1044"/>
                    </a:lnTo>
                    <a:lnTo>
                      <a:pt x="2877" y="1011"/>
                    </a:lnTo>
                    <a:close/>
                    <a:moveTo>
                      <a:pt x="3771" y="992"/>
                    </a:moveTo>
                    <a:lnTo>
                      <a:pt x="3769" y="992"/>
                    </a:lnTo>
                    <a:lnTo>
                      <a:pt x="3769" y="994"/>
                    </a:lnTo>
                    <a:lnTo>
                      <a:pt x="3769" y="1202"/>
                    </a:lnTo>
                    <a:lnTo>
                      <a:pt x="3771" y="1202"/>
                    </a:lnTo>
                    <a:lnTo>
                      <a:pt x="3771" y="992"/>
                    </a:lnTo>
                    <a:close/>
                    <a:moveTo>
                      <a:pt x="5949" y="989"/>
                    </a:moveTo>
                    <a:lnTo>
                      <a:pt x="5946" y="989"/>
                    </a:lnTo>
                    <a:lnTo>
                      <a:pt x="5946" y="992"/>
                    </a:lnTo>
                    <a:lnTo>
                      <a:pt x="5946" y="1025"/>
                    </a:lnTo>
                    <a:lnTo>
                      <a:pt x="5949" y="1025"/>
                    </a:lnTo>
                    <a:lnTo>
                      <a:pt x="5949" y="1022"/>
                    </a:lnTo>
                    <a:lnTo>
                      <a:pt x="5949" y="1022"/>
                    </a:lnTo>
                    <a:lnTo>
                      <a:pt x="5949" y="989"/>
                    </a:lnTo>
                    <a:close/>
                    <a:moveTo>
                      <a:pt x="6339" y="935"/>
                    </a:moveTo>
                    <a:lnTo>
                      <a:pt x="6339" y="935"/>
                    </a:lnTo>
                    <a:lnTo>
                      <a:pt x="6339" y="935"/>
                    </a:lnTo>
                    <a:lnTo>
                      <a:pt x="6339" y="937"/>
                    </a:lnTo>
                    <a:lnTo>
                      <a:pt x="6339" y="1110"/>
                    </a:lnTo>
                    <a:lnTo>
                      <a:pt x="6339" y="1110"/>
                    </a:lnTo>
                    <a:lnTo>
                      <a:pt x="6339" y="1110"/>
                    </a:lnTo>
                    <a:lnTo>
                      <a:pt x="6339" y="1110"/>
                    </a:lnTo>
                    <a:lnTo>
                      <a:pt x="6339" y="935"/>
                    </a:lnTo>
                    <a:close/>
                    <a:moveTo>
                      <a:pt x="3844" y="928"/>
                    </a:moveTo>
                    <a:lnTo>
                      <a:pt x="3844" y="928"/>
                    </a:lnTo>
                    <a:lnTo>
                      <a:pt x="3844" y="930"/>
                    </a:lnTo>
                    <a:lnTo>
                      <a:pt x="3844" y="973"/>
                    </a:lnTo>
                    <a:lnTo>
                      <a:pt x="3844" y="973"/>
                    </a:lnTo>
                    <a:lnTo>
                      <a:pt x="3844" y="928"/>
                    </a:lnTo>
                    <a:close/>
                    <a:moveTo>
                      <a:pt x="6384" y="895"/>
                    </a:moveTo>
                    <a:lnTo>
                      <a:pt x="6384" y="895"/>
                    </a:lnTo>
                    <a:lnTo>
                      <a:pt x="6384" y="895"/>
                    </a:lnTo>
                    <a:lnTo>
                      <a:pt x="6384" y="897"/>
                    </a:lnTo>
                    <a:lnTo>
                      <a:pt x="6379" y="913"/>
                    </a:lnTo>
                    <a:lnTo>
                      <a:pt x="6379" y="913"/>
                    </a:lnTo>
                    <a:lnTo>
                      <a:pt x="6384" y="895"/>
                    </a:lnTo>
                    <a:close/>
                    <a:moveTo>
                      <a:pt x="6388" y="878"/>
                    </a:moveTo>
                    <a:lnTo>
                      <a:pt x="6388" y="878"/>
                    </a:lnTo>
                    <a:lnTo>
                      <a:pt x="6388" y="878"/>
                    </a:lnTo>
                    <a:lnTo>
                      <a:pt x="6388" y="880"/>
                    </a:lnTo>
                    <a:lnTo>
                      <a:pt x="6388" y="890"/>
                    </a:lnTo>
                    <a:lnTo>
                      <a:pt x="6388" y="890"/>
                    </a:lnTo>
                    <a:lnTo>
                      <a:pt x="6388" y="890"/>
                    </a:lnTo>
                    <a:lnTo>
                      <a:pt x="6388" y="890"/>
                    </a:lnTo>
                    <a:lnTo>
                      <a:pt x="6388" y="878"/>
                    </a:lnTo>
                    <a:close/>
                    <a:moveTo>
                      <a:pt x="6398" y="850"/>
                    </a:moveTo>
                    <a:lnTo>
                      <a:pt x="6396" y="850"/>
                    </a:lnTo>
                    <a:lnTo>
                      <a:pt x="6396" y="852"/>
                    </a:lnTo>
                    <a:lnTo>
                      <a:pt x="6396" y="871"/>
                    </a:lnTo>
                    <a:lnTo>
                      <a:pt x="6398" y="871"/>
                    </a:lnTo>
                    <a:lnTo>
                      <a:pt x="6398" y="869"/>
                    </a:lnTo>
                    <a:lnTo>
                      <a:pt x="6398" y="869"/>
                    </a:lnTo>
                    <a:lnTo>
                      <a:pt x="6398" y="850"/>
                    </a:lnTo>
                    <a:close/>
                    <a:moveTo>
                      <a:pt x="806" y="826"/>
                    </a:moveTo>
                    <a:lnTo>
                      <a:pt x="803" y="826"/>
                    </a:lnTo>
                    <a:lnTo>
                      <a:pt x="803" y="828"/>
                    </a:lnTo>
                    <a:lnTo>
                      <a:pt x="803" y="1048"/>
                    </a:lnTo>
                    <a:lnTo>
                      <a:pt x="806" y="1048"/>
                    </a:lnTo>
                    <a:lnTo>
                      <a:pt x="806" y="826"/>
                    </a:lnTo>
                    <a:close/>
                    <a:moveTo>
                      <a:pt x="3099" y="762"/>
                    </a:moveTo>
                    <a:lnTo>
                      <a:pt x="3099" y="762"/>
                    </a:lnTo>
                    <a:lnTo>
                      <a:pt x="3099" y="762"/>
                    </a:lnTo>
                    <a:lnTo>
                      <a:pt x="3099" y="764"/>
                    </a:lnTo>
                    <a:lnTo>
                      <a:pt x="3099" y="958"/>
                    </a:lnTo>
                    <a:lnTo>
                      <a:pt x="3099" y="958"/>
                    </a:lnTo>
                    <a:lnTo>
                      <a:pt x="3099" y="762"/>
                    </a:lnTo>
                    <a:close/>
                    <a:moveTo>
                      <a:pt x="1009" y="752"/>
                    </a:moveTo>
                    <a:lnTo>
                      <a:pt x="1007" y="752"/>
                    </a:lnTo>
                    <a:lnTo>
                      <a:pt x="1007" y="755"/>
                    </a:lnTo>
                    <a:lnTo>
                      <a:pt x="1007" y="807"/>
                    </a:lnTo>
                    <a:lnTo>
                      <a:pt x="1009" y="807"/>
                    </a:lnTo>
                    <a:lnTo>
                      <a:pt x="1009" y="752"/>
                    </a:lnTo>
                    <a:close/>
                    <a:moveTo>
                      <a:pt x="5133" y="731"/>
                    </a:moveTo>
                    <a:lnTo>
                      <a:pt x="5131" y="731"/>
                    </a:lnTo>
                    <a:lnTo>
                      <a:pt x="5131" y="734"/>
                    </a:lnTo>
                    <a:lnTo>
                      <a:pt x="5131" y="951"/>
                    </a:lnTo>
                    <a:lnTo>
                      <a:pt x="5133" y="951"/>
                    </a:lnTo>
                    <a:lnTo>
                      <a:pt x="5133" y="731"/>
                    </a:lnTo>
                    <a:close/>
                    <a:moveTo>
                      <a:pt x="3140" y="655"/>
                    </a:moveTo>
                    <a:lnTo>
                      <a:pt x="3137" y="655"/>
                    </a:lnTo>
                    <a:lnTo>
                      <a:pt x="3137" y="658"/>
                    </a:lnTo>
                    <a:lnTo>
                      <a:pt x="3137" y="741"/>
                    </a:lnTo>
                    <a:lnTo>
                      <a:pt x="3140" y="741"/>
                    </a:lnTo>
                    <a:lnTo>
                      <a:pt x="3140" y="655"/>
                    </a:lnTo>
                    <a:close/>
                    <a:moveTo>
                      <a:pt x="97" y="615"/>
                    </a:moveTo>
                    <a:lnTo>
                      <a:pt x="94" y="615"/>
                    </a:lnTo>
                    <a:lnTo>
                      <a:pt x="94" y="618"/>
                    </a:lnTo>
                    <a:lnTo>
                      <a:pt x="94" y="1432"/>
                    </a:lnTo>
                    <a:lnTo>
                      <a:pt x="97" y="1432"/>
                    </a:lnTo>
                    <a:lnTo>
                      <a:pt x="97" y="615"/>
                    </a:lnTo>
                    <a:close/>
                    <a:moveTo>
                      <a:pt x="5253" y="608"/>
                    </a:moveTo>
                    <a:lnTo>
                      <a:pt x="5251" y="608"/>
                    </a:lnTo>
                    <a:lnTo>
                      <a:pt x="5251" y="610"/>
                    </a:lnTo>
                    <a:lnTo>
                      <a:pt x="5251" y="710"/>
                    </a:lnTo>
                    <a:lnTo>
                      <a:pt x="5253" y="710"/>
                    </a:lnTo>
                    <a:lnTo>
                      <a:pt x="5253" y="608"/>
                    </a:lnTo>
                    <a:close/>
                    <a:moveTo>
                      <a:pt x="3281" y="582"/>
                    </a:moveTo>
                    <a:lnTo>
                      <a:pt x="3281" y="582"/>
                    </a:lnTo>
                    <a:lnTo>
                      <a:pt x="3281" y="582"/>
                    </a:lnTo>
                    <a:lnTo>
                      <a:pt x="3281" y="582"/>
                    </a:lnTo>
                    <a:lnTo>
                      <a:pt x="3281" y="636"/>
                    </a:lnTo>
                    <a:lnTo>
                      <a:pt x="3281" y="636"/>
                    </a:lnTo>
                    <a:lnTo>
                      <a:pt x="3281" y="582"/>
                    </a:lnTo>
                    <a:close/>
                    <a:moveTo>
                      <a:pt x="302" y="547"/>
                    </a:moveTo>
                    <a:lnTo>
                      <a:pt x="300" y="547"/>
                    </a:lnTo>
                    <a:lnTo>
                      <a:pt x="300" y="549"/>
                    </a:lnTo>
                    <a:lnTo>
                      <a:pt x="300" y="596"/>
                    </a:lnTo>
                    <a:lnTo>
                      <a:pt x="302" y="596"/>
                    </a:lnTo>
                    <a:lnTo>
                      <a:pt x="302" y="547"/>
                    </a:lnTo>
                    <a:close/>
                    <a:moveTo>
                      <a:pt x="7025" y="509"/>
                    </a:moveTo>
                    <a:lnTo>
                      <a:pt x="7025" y="509"/>
                    </a:lnTo>
                    <a:lnTo>
                      <a:pt x="7025" y="511"/>
                    </a:lnTo>
                    <a:lnTo>
                      <a:pt x="7025" y="1671"/>
                    </a:lnTo>
                    <a:lnTo>
                      <a:pt x="7025" y="1671"/>
                    </a:lnTo>
                    <a:lnTo>
                      <a:pt x="7025" y="509"/>
                    </a:lnTo>
                    <a:close/>
                    <a:moveTo>
                      <a:pt x="4194" y="502"/>
                    </a:moveTo>
                    <a:lnTo>
                      <a:pt x="4192" y="502"/>
                    </a:lnTo>
                    <a:lnTo>
                      <a:pt x="4192" y="504"/>
                    </a:lnTo>
                    <a:lnTo>
                      <a:pt x="4137" y="577"/>
                    </a:lnTo>
                    <a:lnTo>
                      <a:pt x="4137" y="577"/>
                    </a:lnTo>
                    <a:lnTo>
                      <a:pt x="4194" y="502"/>
                    </a:lnTo>
                    <a:close/>
                    <a:moveTo>
                      <a:pt x="3300" y="502"/>
                    </a:moveTo>
                    <a:lnTo>
                      <a:pt x="3298" y="502"/>
                    </a:lnTo>
                    <a:lnTo>
                      <a:pt x="3298" y="502"/>
                    </a:lnTo>
                    <a:lnTo>
                      <a:pt x="3298" y="502"/>
                    </a:lnTo>
                    <a:lnTo>
                      <a:pt x="3298" y="565"/>
                    </a:lnTo>
                    <a:lnTo>
                      <a:pt x="3300" y="565"/>
                    </a:lnTo>
                    <a:lnTo>
                      <a:pt x="3300" y="563"/>
                    </a:lnTo>
                    <a:lnTo>
                      <a:pt x="3300" y="563"/>
                    </a:lnTo>
                    <a:lnTo>
                      <a:pt x="3300" y="502"/>
                    </a:lnTo>
                    <a:close/>
                    <a:moveTo>
                      <a:pt x="4036" y="454"/>
                    </a:moveTo>
                    <a:lnTo>
                      <a:pt x="4036" y="454"/>
                    </a:lnTo>
                    <a:lnTo>
                      <a:pt x="4036" y="454"/>
                    </a:lnTo>
                    <a:lnTo>
                      <a:pt x="4036" y="457"/>
                    </a:lnTo>
                    <a:lnTo>
                      <a:pt x="4036" y="490"/>
                    </a:lnTo>
                    <a:lnTo>
                      <a:pt x="3953" y="644"/>
                    </a:lnTo>
                    <a:lnTo>
                      <a:pt x="3953" y="906"/>
                    </a:lnTo>
                    <a:lnTo>
                      <a:pt x="3955" y="906"/>
                    </a:lnTo>
                    <a:lnTo>
                      <a:pt x="3955" y="641"/>
                    </a:lnTo>
                    <a:lnTo>
                      <a:pt x="4036" y="487"/>
                    </a:lnTo>
                    <a:lnTo>
                      <a:pt x="4036" y="454"/>
                    </a:lnTo>
                    <a:close/>
                    <a:moveTo>
                      <a:pt x="3329" y="433"/>
                    </a:moveTo>
                    <a:lnTo>
                      <a:pt x="3326" y="433"/>
                    </a:lnTo>
                    <a:lnTo>
                      <a:pt x="3326" y="435"/>
                    </a:lnTo>
                    <a:lnTo>
                      <a:pt x="3326" y="480"/>
                    </a:lnTo>
                    <a:lnTo>
                      <a:pt x="3329" y="480"/>
                    </a:lnTo>
                    <a:lnTo>
                      <a:pt x="3329" y="433"/>
                    </a:lnTo>
                    <a:close/>
                    <a:moveTo>
                      <a:pt x="4043" y="390"/>
                    </a:moveTo>
                    <a:lnTo>
                      <a:pt x="4041" y="390"/>
                    </a:lnTo>
                    <a:lnTo>
                      <a:pt x="4041" y="390"/>
                    </a:lnTo>
                    <a:lnTo>
                      <a:pt x="4041" y="393"/>
                    </a:lnTo>
                    <a:lnTo>
                      <a:pt x="4041" y="447"/>
                    </a:lnTo>
                    <a:lnTo>
                      <a:pt x="4043" y="447"/>
                    </a:lnTo>
                    <a:lnTo>
                      <a:pt x="4043" y="447"/>
                    </a:lnTo>
                    <a:lnTo>
                      <a:pt x="4043" y="447"/>
                    </a:lnTo>
                    <a:lnTo>
                      <a:pt x="4043" y="390"/>
                    </a:lnTo>
                    <a:close/>
                    <a:moveTo>
                      <a:pt x="1811" y="369"/>
                    </a:moveTo>
                    <a:lnTo>
                      <a:pt x="1808" y="369"/>
                    </a:lnTo>
                    <a:lnTo>
                      <a:pt x="1808" y="369"/>
                    </a:lnTo>
                    <a:lnTo>
                      <a:pt x="1808" y="1110"/>
                    </a:lnTo>
                    <a:lnTo>
                      <a:pt x="1811" y="1110"/>
                    </a:lnTo>
                    <a:lnTo>
                      <a:pt x="1811" y="369"/>
                    </a:lnTo>
                    <a:close/>
                    <a:moveTo>
                      <a:pt x="1938" y="333"/>
                    </a:moveTo>
                    <a:lnTo>
                      <a:pt x="1936" y="333"/>
                    </a:lnTo>
                    <a:lnTo>
                      <a:pt x="1936" y="336"/>
                    </a:lnTo>
                    <a:lnTo>
                      <a:pt x="1936" y="348"/>
                    </a:lnTo>
                    <a:lnTo>
                      <a:pt x="1938" y="348"/>
                    </a:lnTo>
                    <a:lnTo>
                      <a:pt x="1938" y="333"/>
                    </a:lnTo>
                    <a:close/>
                    <a:moveTo>
                      <a:pt x="4050" y="326"/>
                    </a:moveTo>
                    <a:lnTo>
                      <a:pt x="4048" y="326"/>
                    </a:lnTo>
                    <a:lnTo>
                      <a:pt x="4048" y="329"/>
                    </a:lnTo>
                    <a:lnTo>
                      <a:pt x="4048" y="383"/>
                    </a:lnTo>
                    <a:lnTo>
                      <a:pt x="4050" y="383"/>
                    </a:lnTo>
                    <a:lnTo>
                      <a:pt x="4050" y="381"/>
                    </a:lnTo>
                    <a:lnTo>
                      <a:pt x="4050" y="381"/>
                    </a:lnTo>
                    <a:lnTo>
                      <a:pt x="4050" y="326"/>
                    </a:lnTo>
                    <a:close/>
                    <a:moveTo>
                      <a:pt x="2028" y="293"/>
                    </a:moveTo>
                    <a:lnTo>
                      <a:pt x="2026" y="293"/>
                    </a:lnTo>
                    <a:lnTo>
                      <a:pt x="2026" y="296"/>
                    </a:lnTo>
                    <a:lnTo>
                      <a:pt x="2026" y="312"/>
                    </a:lnTo>
                    <a:lnTo>
                      <a:pt x="2028" y="312"/>
                    </a:lnTo>
                    <a:lnTo>
                      <a:pt x="2028" y="293"/>
                    </a:lnTo>
                    <a:close/>
                    <a:moveTo>
                      <a:pt x="4703" y="232"/>
                    </a:moveTo>
                    <a:lnTo>
                      <a:pt x="4703" y="232"/>
                    </a:lnTo>
                    <a:lnTo>
                      <a:pt x="4703" y="234"/>
                    </a:lnTo>
                    <a:lnTo>
                      <a:pt x="4639" y="464"/>
                    </a:lnTo>
                    <a:lnTo>
                      <a:pt x="4641" y="461"/>
                    </a:lnTo>
                    <a:lnTo>
                      <a:pt x="4703" y="232"/>
                    </a:lnTo>
                    <a:close/>
                    <a:moveTo>
                      <a:pt x="4804" y="172"/>
                    </a:moveTo>
                    <a:lnTo>
                      <a:pt x="4802" y="172"/>
                    </a:lnTo>
                    <a:lnTo>
                      <a:pt x="4802" y="172"/>
                    </a:lnTo>
                    <a:lnTo>
                      <a:pt x="4802" y="172"/>
                    </a:lnTo>
                    <a:lnTo>
                      <a:pt x="4802" y="210"/>
                    </a:lnTo>
                    <a:lnTo>
                      <a:pt x="4804" y="210"/>
                    </a:lnTo>
                    <a:lnTo>
                      <a:pt x="4804" y="172"/>
                    </a:lnTo>
                    <a:close/>
                    <a:moveTo>
                      <a:pt x="4852" y="0"/>
                    </a:moveTo>
                    <a:lnTo>
                      <a:pt x="4852" y="0"/>
                    </a:lnTo>
                    <a:lnTo>
                      <a:pt x="4852" y="2"/>
                    </a:lnTo>
                    <a:lnTo>
                      <a:pt x="4852" y="151"/>
                    </a:lnTo>
                    <a:lnTo>
                      <a:pt x="4852" y="151"/>
                    </a:lnTo>
                    <a:lnTo>
                      <a:pt x="4852" y="0"/>
                    </a:lnTo>
                    <a:close/>
                    <a:moveTo>
                      <a:pt x="4911" y="0"/>
                    </a:moveTo>
                    <a:lnTo>
                      <a:pt x="4908" y="0"/>
                    </a:lnTo>
                    <a:lnTo>
                      <a:pt x="4908" y="2"/>
                    </a:lnTo>
                    <a:lnTo>
                      <a:pt x="4908" y="151"/>
                    </a:lnTo>
                    <a:lnTo>
                      <a:pt x="4911" y="151"/>
                    </a:lnTo>
                    <a:lnTo>
                      <a:pt x="4911" y="0"/>
                    </a:lnTo>
                    <a:close/>
                  </a:path>
                </a:pathLst>
              </a:custGeom>
              <a:solidFill>
                <a:srgbClr val="C7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1" name="Freeform 123"/>
              <p:cNvSpPr>
                <a:spLocks noEditPoints="1"/>
              </p:cNvSpPr>
              <p:nvPr/>
            </p:nvSpPr>
            <p:spPr bwMode="auto">
              <a:xfrm>
                <a:off x="26" y="1682"/>
                <a:ext cx="7025" cy="1671"/>
              </a:xfrm>
              <a:custGeom>
                <a:avLst/>
                <a:gdLst>
                  <a:gd name="T0" fmla="*/ 2 w 7025"/>
                  <a:gd name="T1" fmla="*/ 1512 h 1671"/>
                  <a:gd name="T2" fmla="*/ 5665 w 7025"/>
                  <a:gd name="T3" fmla="*/ 1427 h 1671"/>
                  <a:gd name="T4" fmla="*/ 3709 w 7025"/>
                  <a:gd name="T5" fmla="*/ 1221 h 1671"/>
                  <a:gd name="T6" fmla="*/ 5830 w 7025"/>
                  <a:gd name="T7" fmla="*/ 1207 h 1671"/>
                  <a:gd name="T8" fmla="*/ 5830 w 7025"/>
                  <a:gd name="T9" fmla="*/ 1304 h 1671"/>
                  <a:gd name="T10" fmla="*/ 1664 w 7025"/>
                  <a:gd name="T11" fmla="*/ 1157 h 1671"/>
                  <a:gd name="T12" fmla="*/ 1688 w 7025"/>
                  <a:gd name="T13" fmla="*/ 1131 h 1671"/>
                  <a:gd name="T14" fmla="*/ 5856 w 7025"/>
                  <a:gd name="T15" fmla="*/ 1127 h 1671"/>
                  <a:gd name="T16" fmla="*/ 5856 w 7025"/>
                  <a:gd name="T17" fmla="*/ 1188 h 1671"/>
                  <a:gd name="T18" fmla="*/ 6320 w 7025"/>
                  <a:gd name="T19" fmla="*/ 1129 h 1671"/>
                  <a:gd name="T20" fmla="*/ 1444 w 7025"/>
                  <a:gd name="T21" fmla="*/ 1124 h 1671"/>
                  <a:gd name="T22" fmla="*/ 1447 w 7025"/>
                  <a:gd name="T23" fmla="*/ 1124 h 1671"/>
                  <a:gd name="T24" fmla="*/ 1463 w 7025"/>
                  <a:gd name="T25" fmla="*/ 1108 h 1671"/>
                  <a:gd name="T26" fmla="*/ 2858 w 7025"/>
                  <a:gd name="T27" fmla="*/ 1063 h 1671"/>
                  <a:gd name="T28" fmla="*/ 2861 w 7025"/>
                  <a:gd name="T29" fmla="*/ 1063 h 1671"/>
                  <a:gd name="T30" fmla="*/ 5930 w 7025"/>
                  <a:gd name="T31" fmla="*/ 1108 h 1671"/>
                  <a:gd name="T32" fmla="*/ 2875 w 7025"/>
                  <a:gd name="T33" fmla="*/ 1013 h 1671"/>
                  <a:gd name="T34" fmla="*/ 2877 w 7025"/>
                  <a:gd name="T35" fmla="*/ 1011 h 1671"/>
                  <a:gd name="T36" fmla="*/ 3771 w 7025"/>
                  <a:gd name="T37" fmla="*/ 1202 h 1671"/>
                  <a:gd name="T38" fmla="*/ 5946 w 7025"/>
                  <a:gd name="T39" fmla="*/ 1025 h 1671"/>
                  <a:gd name="T40" fmla="*/ 6339 w 7025"/>
                  <a:gd name="T41" fmla="*/ 935 h 1671"/>
                  <a:gd name="T42" fmla="*/ 6339 w 7025"/>
                  <a:gd name="T43" fmla="*/ 1110 h 1671"/>
                  <a:gd name="T44" fmla="*/ 3844 w 7025"/>
                  <a:gd name="T45" fmla="*/ 928 h 1671"/>
                  <a:gd name="T46" fmla="*/ 6384 w 7025"/>
                  <a:gd name="T47" fmla="*/ 895 h 1671"/>
                  <a:gd name="T48" fmla="*/ 6379 w 7025"/>
                  <a:gd name="T49" fmla="*/ 913 h 1671"/>
                  <a:gd name="T50" fmla="*/ 6388 w 7025"/>
                  <a:gd name="T51" fmla="*/ 880 h 1671"/>
                  <a:gd name="T52" fmla="*/ 6388 w 7025"/>
                  <a:gd name="T53" fmla="*/ 878 h 1671"/>
                  <a:gd name="T54" fmla="*/ 6398 w 7025"/>
                  <a:gd name="T55" fmla="*/ 871 h 1671"/>
                  <a:gd name="T56" fmla="*/ 803 w 7025"/>
                  <a:gd name="T57" fmla="*/ 826 h 1671"/>
                  <a:gd name="T58" fmla="*/ 3099 w 7025"/>
                  <a:gd name="T59" fmla="*/ 762 h 1671"/>
                  <a:gd name="T60" fmla="*/ 3099 w 7025"/>
                  <a:gd name="T61" fmla="*/ 958 h 1671"/>
                  <a:gd name="T62" fmla="*/ 1007 w 7025"/>
                  <a:gd name="T63" fmla="*/ 807 h 1671"/>
                  <a:gd name="T64" fmla="*/ 5131 w 7025"/>
                  <a:gd name="T65" fmla="*/ 734 h 1671"/>
                  <a:gd name="T66" fmla="*/ 3137 w 7025"/>
                  <a:gd name="T67" fmla="*/ 655 h 1671"/>
                  <a:gd name="T68" fmla="*/ 97 w 7025"/>
                  <a:gd name="T69" fmla="*/ 615 h 1671"/>
                  <a:gd name="T70" fmla="*/ 97 w 7025"/>
                  <a:gd name="T71" fmla="*/ 615 h 1671"/>
                  <a:gd name="T72" fmla="*/ 5253 w 7025"/>
                  <a:gd name="T73" fmla="*/ 710 h 1671"/>
                  <a:gd name="T74" fmla="*/ 3281 w 7025"/>
                  <a:gd name="T75" fmla="*/ 582 h 1671"/>
                  <a:gd name="T76" fmla="*/ 300 w 7025"/>
                  <a:gd name="T77" fmla="*/ 547 h 1671"/>
                  <a:gd name="T78" fmla="*/ 7025 w 7025"/>
                  <a:gd name="T79" fmla="*/ 509 h 1671"/>
                  <a:gd name="T80" fmla="*/ 7025 w 7025"/>
                  <a:gd name="T81" fmla="*/ 509 h 1671"/>
                  <a:gd name="T82" fmla="*/ 4137 w 7025"/>
                  <a:gd name="T83" fmla="*/ 577 h 1671"/>
                  <a:gd name="T84" fmla="*/ 3298 w 7025"/>
                  <a:gd name="T85" fmla="*/ 502 h 1671"/>
                  <a:gd name="T86" fmla="*/ 3300 w 7025"/>
                  <a:gd name="T87" fmla="*/ 502 h 1671"/>
                  <a:gd name="T88" fmla="*/ 4036 w 7025"/>
                  <a:gd name="T89" fmla="*/ 490 h 1671"/>
                  <a:gd name="T90" fmla="*/ 4036 w 7025"/>
                  <a:gd name="T91" fmla="*/ 487 h 1671"/>
                  <a:gd name="T92" fmla="*/ 3326 w 7025"/>
                  <a:gd name="T93" fmla="*/ 480 h 1671"/>
                  <a:gd name="T94" fmla="*/ 4041 w 7025"/>
                  <a:gd name="T95" fmla="*/ 390 h 1671"/>
                  <a:gd name="T96" fmla="*/ 4043 w 7025"/>
                  <a:gd name="T97" fmla="*/ 447 h 1671"/>
                  <a:gd name="T98" fmla="*/ 1808 w 7025"/>
                  <a:gd name="T99" fmla="*/ 1110 h 1671"/>
                  <a:gd name="T100" fmla="*/ 1936 w 7025"/>
                  <a:gd name="T101" fmla="*/ 336 h 1671"/>
                  <a:gd name="T102" fmla="*/ 4048 w 7025"/>
                  <a:gd name="T103" fmla="*/ 326 h 1671"/>
                  <a:gd name="T104" fmla="*/ 4050 w 7025"/>
                  <a:gd name="T105" fmla="*/ 381 h 1671"/>
                  <a:gd name="T106" fmla="*/ 2026 w 7025"/>
                  <a:gd name="T107" fmla="*/ 312 h 1671"/>
                  <a:gd name="T108" fmla="*/ 4703 w 7025"/>
                  <a:gd name="T109" fmla="*/ 234 h 1671"/>
                  <a:gd name="T110" fmla="*/ 4802 w 7025"/>
                  <a:gd name="T111" fmla="*/ 172 h 1671"/>
                  <a:gd name="T112" fmla="*/ 4804 w 7025"/>
                  <a:gd name="T113" fmla="*/ 172 h 1671"/>
                  <a:gd name="T114" fmla="*/ 4852 w 7025"/>
                  <a:gd name="T115" fmla="*/ 151 h 1671"/>
                  <a:gd name="T116" fmla="*/ 4908 w 7025"/>
                  <a:gd name="T117" fmla="*/ 15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1">
                    <a:moveTo>
                      <a:pt x="2" y="1453"/>
                    </a:moveTo>
                    <a:lnTo>
                      <a:pt x="0" y="1453"/>
                    </a:lnTo>
                    <a:lnTo>
                      <a:pt x="0" y="1453"/>
                    </a:lnTo>
                    <a:lnTo>
                      <a:pt x="0" y="1512"/>
                    </a:lnTo>
                    <a:lnTo>
                      <a:pt x="2" y="1512"/>
                    </a:lnTo>
                    <a:lnTo>
                      <a:pt x="2" y="1453"/>
                    </a:lnTo>
                    <a:moveTo>
                      <a:pt x="5665" y="1325"/>
                    </a:moveTo>
                    <a:lnTo>
                      <a:pt x="5665" y="1325"/>
                    </a:lnTo>
                    <a:lnTo>
                      <a:pt x="5665" y="1328"/>
                    </a:lnTo>
                    <a:lnTo>
                      <a:pt x="5665" y="1427"/>
                    </a:lnTo>
                    <a:lnTo>
                      <a:pt x="5665" y="1427"/>
                    </a:lnTo>
                    <a:lnTo>
                      <a:pt x="5665" y="1325"/>
                    </a:lnTo>
                    <a:moveTo>
                      <a:pt x="3712" y="1221"/>
                    </a:moveTo>
                    <a:lnTo>
                      <a:pt x="3709" y="1221"/>
                    </a:lnTo>
                    <a:lnTo>
                      <a:pt x="3709" y="1221"/>
                    </a:lnTo>
                    <a:lnTo>
                      <a:pt x="3709" y="1224"/>
                    </a:lnTo>
                    <a:lnTo>
                      <a:pt x="3709" y="1370"/>
                    </a:lnTo>
                    <a:lnTo>
                      <a:pt x="3712" y="1370"/>
                    </a:lnTo>
                    <a:lnTo>
                      <a:pt x="3712" y="1221"/>
                    </a:lnTo>
                    <a:moveTo>
                      <a:pt x="5830" y="1207"/>
                    </a:moveTo>
                    <a:lnTo>
                      <a:pt x="5830" y="1207"/>
                    </a:lnTo>
                    <a:lnTo>
                      <a:pt x="5828" y="1207"/>
                    </a:lnTo>
                    <a:lnTo>
                      <a:pt x="5828" y="1209"/>
                    </a:lnTo>
                    <a:lnTo>
                      <a:pt x="5828" y="1304"/>
                    </a:lnTo>
                    <a:lnTo>
                      <a:pt x="5830" y="1304"/>
                    </a:lnTo>
                    <a:lnTo>
                      <a:pt x="5830" y="1207"/>
                    </a:lnTo>
                    <a:moveTo>
                      <a:pt x="1667" y="1157"/>
                    </a:moveTo>
                    <a:lnTo>
                      <a:pt x="1664" y="1157"/>
                    </a:lnTo>
                    <a:lnTo>
                      <a:pt x="1664" y="1157"/>
                    </a:lnTo>
                    <a:lnTo>
                      <a:pt x="1664" y="1157"/>
                    </a:lnTo>
                    <a:lnTo>
                      <a:pt x="1664" y="1179"/>
                    </a:lnTo>
                    <a:lnTo>
                      <a:pt x="1667" y="1179"/>
                    </a:lnTo>
                    <a:lnTo>
                      <a:pt x="1667" y="1157"/>
                    </a:lnTo>
                    <a:moveTo>
                      <a:pt x="1688" y="1131"/>
                    </a:moveTo>
                    <a:lnTo>
                      <a:pt x="1688" y="1131"/>
                    </a:lnTo>
                    <a:lnTo>
                      <a:pt x="1688" y="1134"/>
                    </a:lnTo>
                    <a:lnTo>
                      <a:pt x="1688" y="1136"/>
                    </a:lnTo>
                    <a:lnTo>
                      <a:pt x="1688" y="1136"/>
                    </a:lnTo>
                    <a:lnTo>
                      <a:pt x="1688" y="1131"/>
                    </a:lnTo>
                    <a:moveTo>
                      <a:pt x="5856" y="1127"/>
                    </a:moveTo>
                    <a:lnTo>
                      <a:pt x="5854" y="1127"/>
                    </a:lnTo>
                    <a:lnTo>
                      <a:pt x="5854" y="1127"/>
                    </a:lnTo>
                    <a:lnTo>
                      <a:pt x="5854" y="1129"/>
                    </a:lnTo>
                    <a:lnTo>
                      <a:pt x="5854" y="1188"/>
                    </a:lnTo>
                    <a:lnTo>
                      <a:pt x="5856" y="1188"/>
                    </a:lnTo>
                    <a:lnTo>
                      <a:pt x="5856" y="1127"/>
                    </a:lnTo>
                    <a:moveTo>
                      <a:pt x="6322" y="1127"/>
                    </a:moveTo>
                    <a:lnTo>
                      <a:pt x="6322" y="1127"/>
                    </a:lnTo>
                    <a:lnTo>
                      <a:pt x="6320" y="1127"/>
                    </a:lnTo>
                    <a:lnTo>
                      <a:pt x="6320" y="1129"/>
                    </a:lnTo>
                    <a:lnTo>
                      <a:pt x="6320" y="1342"/>
                    </a:lnTo>
                    <a:lnTo>
                      <a:pt x="6322" y="1342"/>
                    </a:lnTo>
                    <a:lnTo>
                      <a:pt x="6322" y="1127"/>
                    </a:lnTo>
                    <a:moveTo>
                      <a:pt x="1447" y="1124"/>
                    </a:moveTo>
                    <a:lnTo>
                      <a:pt x="1444" y="1124"/>
                    </a:lnTo>
                    <a:lnTo>
                      <a:pt x="1444" y="1124"/>
                    </a:lnTo>
                    <a:lnTo>
                      <a:pt x="1444" y="1127"/>
                    </a:lnTo>
                    <a:lnTo>
                      <a:pt x="1444" y="1179"/>
                    </a:lnTo>
                    <a:lnTo>
                      <a:pt x="1447" y="1179"/>
                    </a:lnTo>
                    <a:lnTo>
                      <a:pt x="1447" y="1124"/>
                    </a:lnTo>
                    <a:moveTo>
                      <a:pt x="1463" y="1084"/>
                    </a:moveTo>
                    <a:lnTo>
                      <a:pt x="1461" y="1084"/>
                    </a:lnTo>
                    <a:lnTo>
                      <a:pt x="1461" y="1084"/>
                    </a:lnTo>
                    <a:lnTo>
                      <a:pt x="1461" y="1108"/>
                    </a:lnTo>
                    <a:lnTo>
                      <a:pt x="1463" y="1108"/>
                    </a:lnTo>
                    <a:lnTo>
                      <a:pt x="1463" y="1105"/>
                    </a:lnTo>
                    <a:lnTo>
                      <a:pt x="1463" y="1105"/>
                    </a:lnTo>
                    <a:lnTo>
                      <a:pt x="1463" y="1084"/>
                    </a:lnTo>
                    <a:moveTo>
                      <a:pt x="2861" y="1063"/>
                    </a:moveTo>
                    <a:lnTo>
                      <a:pt x="2858" y="1063"/>
                    </a:lnTo>
                    <a:lnTo>
                      <a:pt x="2858" y="1063"/>
                    </a:lnTo>
                    <a:lnTo>
                      <a:pt x="2858" y="1065"/>
                    </a:lnTo>
                    <a:lnTo>
                      <a:pt x="2858" y="1219"/>
                    </a:lnTo>
                    <a:lnTo>
                      <a:pt x="2861" y="1219"/>
                    </a:lnTo>
                    <a:lnTo>
                      <a:pt x="2861" y="1063"/>
                    </a:lnTo>
                    <a:moveTo>
                      <a:pt x="5930" y="1041"/>
                    </a:moveTo>
                    <a:lnTo>
                      <a:pt x="5930" y="1041"/>
                    </a:lnTo>
                    <a:lnTo>
                      <a:pt x="5930" y="1041"/>
                    </a:lnTo>
                    <a:lnTo>
                      <a:pt x="5930" y="1044"/>
                    </a:lnTo>
                    <a:lnTo>
                      <a:pt x="5930" y="1108"/>
                    </a:lnTo>
                    <a:lnTo>
                      <a:pt x="5930" y="1108"/>
                    </a:lnTo>
                    <a:lnTo>
                      <a:pt x="5930" y="1041"/>
                    </a:lnTo>
                    <a:moveTo>
                      <a:pt x="2877" y="1011"/>
                    </a:moveTo>
                    <a:lnTo>
                      <a:pt x="2875" y="1013"/>
                    </a:lnTo>
                    <a:lnTo>
                      <a:pt x="2875" y="1013"/>
                    </a:lnTo>
                    <a:lnTo>
                      <a:pt x="2875" y="1046"/>
                    </a:lnTo>
                    <a:lnTo>
                      <a:pt x="2877" y="1046"/>
                    </a:lnTo>
                    <a:lnTo>
                      <a:pt x="2877" y="1044"/>
                    </a:lnTo>
                    <a:lnTo>
                      <a:pt x="2877" y="1044"/>
                    </a:lnTo>
                    <a:lnTo>
                      <a:pt x="2877" y="1011"/>
                    </a:lnTo>
                    <a:moveTo>
                      <a:pt x="3771" y="992"/>
                    </a:moveTo>
                    <a:lnTo>
                      <a:pt x="3769" y="992"/>
                    </a:lnTo>
                    <a:lnTo>
                      <a:pt x="3769" y="994"/>
                    </a:lnTo>
                    <a:lnTo>
                      <a:pt x="3769" y="1202"/>
                    </a:lnTo>
                    <a:lnTo>
                      <a:pt x="3771" y="1202"/>
                    </a:lnTo>
                    <a:lnTo>
                      <a:pt x="3771" y="992"/>
                    </a:lnTo>
                    <a:moveTo>
                      <a:pt x="5949" y="989"/>
                    </a:moveTo>
                    <a:lnTo>
                      <a:pt x="5946" y="989"/>
                    </a:lnTo>
                    <a:lnTo>
                      <a:pt x="5946" y="992"/>
                    </a:lnTo>
                    <a:lnTo>
                      <a:pt x="5946" y="1025"/>
                    </a:lnTo>
                    <a:lnTo>
                      <a:pt x="5949" y="1025"/>
                    </a:lnTo>
                    <a:lnTo>
                      <a:pt x="5949" y="1022"/>
                    </a:lnTo>
                    <a:lnTo>
                      <a:pt x="5949" y="1022"/>
                    </a:lnTo>
                    <a:lnTo>
                      <a:pt x="5949" y="989"/>
                    </a:lnTo>
                    <a:moveTo>
                      <a:pt x="6339" y="935"/>
                    </a:moveTo>
                    <a:lnTo>
                      <a:pt x="6339" y="935"/>
                    </a:lnTo>
                    <a:lnTo>
                      <a:pt x="6339" y="935"/>
                    </a:lnTo>
                    <a:lnTo>
                      <a:pt x="6339" y="937"/>
                    </a:lnTo>
                    <a:lnTo>
                      <a:pt x="6339" y="1110"/>
                    </a:lnTo>
                    <a:lnTo>
                      <a:pt x="6339" y="1110"/>
                    </a:lnTo>
                    <a:lnTo>
                      <a:pt x="6339" y="1110"/>
                    </a:lnTo>
                    <a:lnTo>
                      <a:pt x="6339" y="1110"/>
                    </a:lnTo>
                    <a:lnTo>
                      <a:pt x="6339" y="935"/>
                    </a:lnTo>
                    <a:moveTo>
                      <a:pt x="3844" y="928"/>
                    </a:moveTo>
                    <a:lnTo>
                      <a:pt x="3844" y="928"/>
                    </a:lnTo>
                    <a:lnTo>
                      <a:pt x="3844" y="930"/>
                    </a:lnTo>
                    <a:lnTo>
                      <a:pt x="3844" y="973"/>
                    </a:lnTo>
                    <a:lnTo>
                      <a:pt x="3844" y="973"/>
                    </a:lnTo>
                    <a:lnTo>
                      <a:pt x="3844" y="928"/>
                    </a:lnTo>
                    <a:moveTo>
                      <a:pt x="6384" y="895"/>
                    </a:moveTo>
                    <a:lnTo>
                      <a:pt x="6384" y="895"/>
                    </a:lnTo>
                    <a:lnTo>
                      <a:pt x="6384" y="895"/>
                    </a:lnTo>
                    <a:lnTo>
                      <a:pt x="6384" y="897"/>
                    </a:lnTo>
                    <a:lnTo>
                      <a:pt x="6379" y="913"/>
                    </a:lnTo>
                    <a:lnTo>
                      <a:pt x="6379" y="913"/>
                    </a:lnTo>
                    <a:lnTo>
                      <a:pt x="6384" y="895"/>
                    </a:lnTo>
                    <a:moveTo>
                      <a:pt x="6388" y="878"/>
                    </a:moveTo>
                    <a:lnTo>
                      <a:pt x="6388" y="878"/>
                    </a:lnTo>
                    <a:lnTo>
                      <a:pt x="6388" y="878"/>
                    </a:lnTo>
                    <a:lnTo>
                      <a:pt x="6388" y="880"/>
                    </a:lnTo>
                    <a:lnTo>
                      <a:pt x="6388" y="890"/>
                    </a:lnTo>
                    <a:lnTo>
                      <a:pt x="6388" y="890"/>
                    </a:lnTo>
                    <a:lnTo>
                      <a:pt x="6388" y="890"/>
                    </a:lnTo>
                    <a:lnTo>
                      <a:pt x="6388" y="890"/>
                    </a:lnTo>
                    <a:lnTo>
                      <a:pt x="6388" y="878"/>
                    </a:lnTo>
                    <a:moveTo>
                      <a:pt x="6398" y="850"/>
                    </a:moveTo>
                    <a:lnTo>
                      <a:pt x="6396" y="850"/>
                    </a:lnTo>
                    <a:lnTo>
                      <a:pt x="6396" y="852"/>
                    </a:lnTo>
                    <a:lnTo>
                      <a:pt x="6396" y="871"/>
                    </a:lnTo>
                    <a:lnTo>
                      <a:pt x="6398" y="871"/>
                    </a:lnTo>
                    <a:lnTo>
                      <a:pt x="6398" y="869"/>
                    </a:lnTo>
                    <a:lnTo>
                      <a:pt x="6398" y="869"/>
                    </a:lnTo>
                    <a:lnTo>
                      <a:pt x="6398" y="850"/>
                    </a:lnTo>
                    <a:moveTo>
                      <a:pt x="806" y="826"/>
                    </a:moveTo>
                    <a:lnTo>
                      <a:pt x="803" y="826"/>
                    </a:lnTo>
                    <a:lnTo>
                      <a:pt x="803" y="828"/>
                    </a:lnTo>
                    <a:lnTo>
                      <a:pt x="803" y="1048"/>
                    </a:lnTo>
                    <a:lnTo>
                      <a:pt x="806" y="1048"/>
                    </a:lnTo>
                    <a:lnTo>
                      <a:pt x="806" y="826"/>
                    </a:lnTo>
                    <a:moveTo>
                      <a:pt x="3099" y="762"/>
                    </a:moveTo>
                    <a:lnTo>
                      <a:pt x="3099" y="762"/>
                    </a:lnTo>
                    <a:lnTo>
                      <a:pt x="3099" y="762"/>
                    </a:lnTo>
                    <a:lnTo>
                      <a:pt x="3099" y="764"/>
                    </a:lnTo>
                    <a:lnTo>
                      <a:pt x="3099" y="958"/>
                    </a:lnTo>
                    <a:lnTo>
                      <a:pt x="3099" y="958"/>
                    </a:lnTo>
                    <a:lnTo>
                      <a:pt x="3099" y="762"/>
                    </a:lnTo>
                    <a:moveTo>
                      <a:pt x="1009" y="752"/>
                    </a:moveTo>
                    <a:lnTo>
                      <a:pt x="1007" y="752"/>
                    </a:lnTo>
                    <a:lnTo>
                      <a:pt x="1007" y="755"/>
                    </a:lnTo>
                    <a:lnTo>
                      <a:pt x="1007" y="807"/>
                    </a:lnTo>
                    <a:lnTo>
                      <a:pt x="1009" y="807"/>
                    </a:lnTo>
                    <a:lnTo>
                      <a:pt x="1009" y="752"/>
                    </a:lnTo>
                    <a:moveTo>
                      <a:pt x="5133" y="731"/>
                    </a:moveTo>
                    <a:lnTo>
                      <a:pt x="5131" y="731"/>
                    </a:lnTo>
                    <a:lnTo>
                      <a:pt x="5131" y="734"/>
                    </a:lnTo>
                    <a:lnTo>
                      <a:pt x="5131" y="951"/>
                    </a:lnTo>
                    <a:lnTo>
                      <a:pt x="5133" y="951"/>
                    </a:lnTo>
                    <a:lnTo>
                      <a:pt x="5133" y="731"/>
                    </a:lnTo>
                    <a:moveTo>
                      <a:pt x="3140" y="655"/>
                    </a:moveTo>
                    <a:lnTo>
                      <a:pt x="3137" y="655"/>
                    </a:lnTo>
                    <a:lnTo>
                      <a:pt x="3137" y="658"/>
                    </a:lnTo>
                    <a:lnTo>
                      <a:pt x="3137" y="741"/>
                    </a:lnTo>
                    <a:lnTo>
                      <a:pt x="3140" y="741"/>
                    </a:lnTo>
                    <a:lnTo>
                      <a:pt x="3140" y="655"/>
                    </a:lnTo>
                    <a:moveTo>
                      <a:pt x="97" y="615"/>
                    </a:moveTo>
                    <a:lnTo>
                      <a:pt x="94" y="615"/>
                    </a:lnTo>
                    <a:lnTo>
                      <a:pt x="94" y="618"/>
                    </a:lnTo>
                    <a:lnTo>
                      <a:pt x="94" y="1432"/>
                    </a:lnTo>
                    <a:lnTo>
                      <a:pt x="97" y="1432"/>
                    </a:lnTo>
                    <a:lnTo>
                      <a:pt x="97" y="615"/>
                    </a:lnTo>
                    <a:moveTo>
                      <a:pt x="5253" y="608"/>
                    </a:moveTo>
                    <a:lnTo>
                      <a:pt x="5251" y="608"/>
                    </a:lnTo>
                    <a:lnTo>
                      <a:pt x="5251" y="610"/>
                    </a:lnTo>
                    <a:lnTo>
                      <a:pt x="5251" y="710"/>
                    </a:lnTo>
                    <a:lnTo>
                      <a:pt x="5253" y="710"/>
                    </a:lnTo>
                    <a:lnTo>
                      <a:pt x="5253" y="608"/>
                    </a:lnTo>
                    <a:moveTo>
                      <a:pt x="3281" y="582"/>
                    </a:moveTo>
                    <a:lnTo>
                      <a:pt x="3281" y="582"/>
                    </a:lnTo>
                    <a:lnTo>
                      <a:pt x="3281" y="582"/>
                    </a:lnTo>
                    <a:lnTo>
                      <a:pt x="3281" y="582"/>
                    </a:lnTo>
                    <a:lnTo>
                      <a:pt x="3281" y="636"/>
                    </a:lnTo>
                    <a:lnTo>
                      <a:pt x="3281" y="636"/>
                    </a:lnTo>
                    <a:lnTo>
                      <a:pt x="3281" y="582"/>
                    </a:lnTo>
                    <a:moveTo>
                      <a:pt x="302" y="547"/>
                    </a:moveTo>
                    <a:lnTo>
                      <a:pt x="300" y="547"/>
                    </a:lnTo>
                    <a:lnTo>
                      <a:pt x="300" y="549"/>
                    </a:lnTo>
                    <a:lnTo>
                      <a:pt x="300" y="596"/>
                    </a:lnTo>
                    <a:lnTo>
                      <a:pt x="302" y="596"/>
                    </a:lnTo>
                    <a:lnTo>
                      <a:pt x="302" y="547"/>
                    </a:lnTo>
                    <a:moveTo>
                      <a:pt x="7025" y="509"/>
                    </a:moveTo>
                    <a:lnTo>
                      <a:pt x="7025" y="509"/>
                    </a:lnTo>
                    <a:lnTo>
                      <a:pt x="7025" y="511"/>
                    </a:lnTo>
                    <a:lnTo>
                      <a:pt x="7025" y="1671"/>
                    </a:lnTo>
                    <a:lnTo>
                      <a:pt x="7025" y="1671"/>
                    </a:lnTo>
                    <a:lnTo>
                      <a:pt x="7025" y="509"/>
                    </a:lnTo>
                    <a:moveTo>
                      <a:pt x="4194" y="502"/>
                    </a:moveTo>
                    <a:lnTo>
                      <a:pt x="4192" y="502"/>
                    </a:lnTo>
                    <a:lnTo>
                      <a:pt x="4192" y="504"/>
                    </a:lnTo>
                    <a:lnTo>
                      <a:pt x="4137" y="577"/>
                    </a:lnTo>
                    <a:lnTo>
                      <a:pt x="4137" y="577"/>
                    </a:lnTo>
                    <a:lnTo>
                      <a:pt x="4194" y="502"/>
                    </a:lnTo>
                    <a:moveTo>
                      <a:pt x="3300" y="502"/>
                    </a:moveTo>
                    <a:lnTo>
                      <a:pt x="3298" y="502"/>
                    </a:lnTo>
                    <a:lnTo>
                      <a:pt x="3298" y="502"/>
                    </a:lnTo>
                    <a:lnTo>
                      <a:pt x="3298" y="502"/>
                    </a:lnTo>
                    <a:lnTo>
                      <a:pt x="3298" y="565"/>
                    </a:lnTo>
                    <a:lnTo>
                      <a:pt x="3300" y="565"/>
                    </a:lnTo>
                    <a:lnTo>
                      <a:pt x="3300" y="563"/>
                    </a:lnTo>
                    <a:lnTo>
                      <a:pt x="3300" y="563"/>
                    </a:lnTo>
                    <a:lnTo>
                      <a:pt x="3300" y="502"/>
                    </a:lnTo>
                    <a:moveTo>
                      <a:pt x="4036" y="454"/>
                    </a:moveTo>
                    <a:lnTo>
                      <a:pt x="4036" y="454"/>
                    </a:lnTo>
                    <a:lnTo>
                      <a:pt x="4036" y="454"/>
                    </a:lnTo>
                    <a:lnTo>
                      <a:pt x="4036" y="457"/>
                    </a:lnTo>
                    <a:lnTo>
                      <a:pt x="4036" y="490"/>
                    </a:lnTo>
                    <a:lnTo>
                      <a:pt x="3953" y="644"/>
                    </a:lnTo>
                    <a:lnTo>
                      <a:pt x="3953" y="906"/>
                    </a:lnTo>
                    <a:lnTo>
                      <a:pt x="3955" y="906"/>
                    </a:lnTo>
                    <a:lnTo>
                      <a:pt x="3955" y="641"/>
                    </a:lnTo>
                    <a:lnTo>
                      <a:pt x="4036" y="487"/>
                    </a:lnTo>
                    <a:lnTo>
                      <a:pt x="4036" y="454"/>
                    </a:lnTo>
                    <a:moveTo>
                      <a:pt x="3329" y="433"/>
                    </a:moveTo>
                    <a:lnTo>
                      <a:pt x="3326" y="433"/>
                    </a:lnTo>
                    <a:lnTo>
                      <a:pt x="3326" y="435"/>
                    </a:lnTo>
                    <a:lnTo>
                      <a:pt x="3326" y="480"/>
                    </a:lnTo>
                    <a:lnTo>
                      <a:pt x="3329" y="480"/>
                    </a:lnTo>
                    <a:lnTo>
                      <a:pt x="3329" y="433"/>
                    </a:lnTo>
                    <a:moveTo>
                      <a:pt x="4043" y="390"/>
                    </a:moveTo>
                    <a:lnTo>
                      <a:pt x="4041" y="390"/>
                    </a:lnTo>
                    <a:lnTo>
                      <a:pt x="4041" y="390"/>
                    </a:lnTo>
                    <a:lnTo>
                      <a:pt x="4041" y="393"/>
                    </a:lnTo>
                    <a:lnTo>
                      <a:pt x="4041" y="447"/>
                    </a:lnTo>
                    <a:lnTo>
                      <a:pt x="4043" y="447"/>
                    </a:lnTo>
                    <a:lnTo>
                      <a:pt x="4043" y="447"/>
                    </a:lnTo>
                    <a:lnTo>
                      <a:pt x="4043" y="447"/>
                    </a:lnTo>
                    <a:lnTo>
                      <a:pt x="4043" y="390"/>
                    </a:lnTo>
                    <a:moveTo>
                      <a:pt x="1811" y="369"/>
                    </a:moveTo>
                    <a:lnTo>
                      <a:pt x="1808" y="369"/>
                    </a:lnTo>
                    <a:lnTo>
                      <a:pt x="1808" y="369"/>
                    </a:lnTo>
                    <a:lnTo>
                      <a:pt x="1808" y="1110"/>
                    </a:lnTo>
                    <a:lnTo>
                      <a:pt x="1811" y="1110"/>
                    </a:lnTo>
                    <a:lnTo>
                      <a:pt x="1811" y="369"/>
                    </a:lnTo>
                    <a:moveTo>
                      <a:pt x="1938" y="333"/>
                    </a:moveTo>
                    <a:lnTo>
                      <a:pt x="1936" y="333"/>
                    </a:lnTo>
                    <a:lnTo>
                      <a:pt x="1936" y="336"/>
                    </a:lnTo>
                    <a:lnTo>
                      <a:pt x="1936" y="348"/>
                    </a:lnTo>
                    <a:lnTo>
                      <a:pt x="1938" y="348"/>
                    </a:lnTo>
                    <a:lnTo>
                      <a:pt x="1938" y="333"/>
                    </a:lnTo>
                    <a:moveTo>
                      <a:pt x="4050" y="326"/>
                    </a:moveTo>
                    <a:lnTo>
                      <a:pt x="4048" y="326"/>
                    </a:lnTo>
                    <a:lnTo>
                      <a:pt x="4048" y="329"/>
                    </a:lnTo>
                    <a:lnTo>
                      <a:pt x="4048" y="383"/>
                    </a:lnTo>
                    <a:lnTo>
                      <a:pt x="4050" y="383"/>
                    </a:lnTo>
                    <a:lnTo>
                      <a:pt x="4050" y="381"/>
                    </a:lnTo>
                    <a:lnTo>
                      <a:pt x="4050" y="381"/>
                    </a:lnTo>
                    <a:lnTo>
                      <a:pt x="4050" y="326"/>
                    </a:lnTo>
                    <a:moveTo>
                      <a:pt x="2028" y="293"/>
                    </a:moveTo>
                    <a:lnTo>
                      <a:pt x="2026" y="293"/>
                    </a:lnTo>
                    <a:lnTo>
                      <a:pt x="2026" y="296"/>
                    </a:lnTo>
                    <a:lnTo>
                      <a:pt x="2026" y="312"/>
                    </a:lnTo>
                    <a:lnTo>
                      <a:pt x="2028" y="312"/>
                    </a:lnTo>
                    <a:lnTo>
                      <a:pt x="2028" y="293"/>
                    </a:lnTo>
                    <a:moveTo>
                      <a:pt x="4703" y="232"/>
                    </a:moveTo>
                    <a:lnTo>
                      <a:pt x="4703" y="232"/>
                    </a:lnTo>
                    <a:lnTo>
                      <a:pt x="4703" y="234"/>
                    </a:lnTo>
                    <a:lnTo>
                      <a:pt x="4639" y="464"/>
                    </a:lnTo>
                    <a:lnTo>
                      <a:pt x="4641" y="461"/>
                    </a:lnTo>
                    <a:lnTo>
                      <a:pt x="4703" y="232"/>
                    </a:lnTo>
                    <a:moveTo>
                      <a:pt x="4804" y="172"/>
                    </a:moveTo>
                    <a:lnTo>
                      <a:pt x="4802" y="172"/>
                    </a:lnTo>
                    <a:lnTo>
                      <a:pt x="4802" y="172"/>
                    </a:lnTo>
                    <a:lnTo>
                      <a:pt x="4802" y="172"/>
                    </a:lnTo>
                    <a:lnTo>
                      <a:pt x="4802" y="210"/>
                    </a:lnTo>
                    <a:lnTo>
                      <a:pt x="4804" y="210"/>
                    </a:lnTo>
                    <a:lnTo>
                      <a:pt x="4804" y="172"/>
                    </a:lnTo>
                    <a:moveTo>
                      <a:pt x="4852" y="0"/>
                    </a:moveTo>
                    <a:lnTo>
                      <a:pt x="4852" y="0"/>
                    </a:lnTo>
                    <a:lnTo>
                      <a:pt x="4852" y="2"/>
                    </a:lnTo>
                    <a:lnTo>
                      <a:pt x="4852" y="151"/>
                    </a:lnTo>
                    <a:lnTo>
                      <a:pt x="4852" y="151"/>
                    </a:lnTo>
                    <a:lnTo>
                      <a:pt x="4852" y="0"/>
                    </a:lnTo>
                    <a:moveTo>
                      <a:pt x="4911" y="0"/>
                    </a:moveTo>
                    <a:lnTo>
                      <a:pt x="4908" y="0"/>
                    </a:lnTo>
                    <a:lnTo>
                      <a:pt x="4908" y="2"/>
                    </a:lnTo>
                    <a:lnTo>
                      <a:pt x="4908" y="151"/>
                    </a:lnTo>
                    <a:lnTo>
                      <a:pt x="4911" y="151"/>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2" name="Freeform 124"/>
              <p:cNvSpPr>
                <a:spLocks noEditPoints="1"/>
              </p:cNvSpPr>
              <p:nvPr/>
            </p:nvSpPr>
            <p:spPr bwMode="auto">
              <a:xfrm>
                <a:off x="28" y="1679"/>
                <a:ext cx="7025" cy="1674"/>
              </a:xfrm>
              <a:custGeom>
                <a:avLst/>
                <a:gdLst>
                  <a:gd name="T0" fmla="*/ 2 w 7025"/>
                  <a:gd name="T1" fmla="*/ 1515 h 1674"/>
                  <a:gd name="T2" fmla="*/ 5663 w 7025"/>
                  <a:gd name="T3" fmla="*/ 1430 h 1674"/>
                  <a:gd name="T4" fmla="*/ 3710 w 7025"/>
                  <a:gd name="T5" fmla="*/ 1222 h 1674"/>
                  <a:gd name="T6" fmla="*/ 5831 w 7025"/>
                  <a:gd name="T7" fmla="*/ 1210 h 1674"/>
                  <a:gd name="T8" fmla="*/ 5831 w 7025"/>
                  <a:gd name="T9" fmla="*/ 1307 h 1674"/>
                  <a:gd name="T10" fmla="*/ 1665 w 7025"/>
                  <a:gd name="T11" fmla="*/ 1160 h 1674"/>
                  <a:gd name="T12" fmla="*/ 1686 w 7025"/>
                  <a:gd name="T13" fmla="*/ 1132 h 1674"/>
                  <a:gd name="T14" fmla="*/ 5857 w 7025"/>
                  <a:gd name="T15" fmla="*/ 1130 h 1674"/>
                  <a:gd name="T16" fmla="*/ 5857 w 7025"/>
                  <a:gd name="T17" fmla="*/ 1191 h 1674"/>
                  <a:gd name="T18" fmla="*/ 6320 w 7025"/>
                  <a:gd name="T19" fmla="*/ 1130 h 1674"/>
                  <a:gd name="T20" fmla="*/ 1445 w 7025"/>
                  <a:gd name="T21" fmla="*/ 1127 h 1674"/>
                  <a:gd name="T22" fmla="*/ 1447 w 7025"/>
                  <a:gd name="T23" fmla="*/ 1127 h 1674"/>
                  <a:gd name="T24" fmla="*/ 1464 w 7025"/>
                  <a:gd name="T25" fmla="*/ 1108 h 1674"/>
                  <a:gd name="T26" fmla="*/ 2859 w 7025"/>
                  <a:gd name="T27" fmla="*/ 1063 h 1674"/>
                  <a:gd name="T28" fmla="*/ 2861 w 7025"/>
                  <a:gd name="T29" fmla="*/ 1063 h 1674"/>
                  <a:gd name="T30" fmla="*/ 5928 w 7025"/>
                  <a:gd name="T31" fmla="*/ 1111 h 1674"/>
                  <a:gd name="T32" fmla="*/ 2875 w 7025"/>
                  <a:gd name="T33" fmla="*/ 1014 h 1674"/>
                  <a:gd name="T34" fmla="*/ 2878 w 7025"/>
                  <a:gd name="T35" fmla="*/ 1011 h 1674"/>
                  <a:gd name="T36" fmla="*/ 3771 w 7025"/>
                  <a:gd name="T37" fmla="*/ 1205 h 1674"/>
                  <a:gd name="T38" fmla="*/ 5947 w 7025"/>
                  <a:gd name="T39" fmla="*/ 1025 h 1674"/>
                  <a:gd name="T40" fmla="*/ 6339 w 7025"/>
                  <a:gd name="T41" fmla="*/ 935 h 1674"/>
                  <a:gd name="T42" fmla="*/ 6339 w 7025"/>
                  <a:gd name="T43" fmla="*/ 1113 h 1674"/>
                  <a:gd name="T44" fmla="*/ 3842 w 7025"/>
                  <a:gd name="T45" fmla="*/ 928 h 1674"/>
                  <a:gd name="T46" fmla="*/ 6384 w 7025"/>
                  <a:gd name="T47" fmla="*/ 895 h 1674"/>
                  <a:gd name="T48" fmla="*/ 6379 w 7025"/>
                  <a:gd name="T49" fmla="*/ 916 h 1674"/>
                  <a:gd name="T50" fmla="*/ 6386 w 7025"/>
                  <a:gd name="T51" fmla="*/ 881 h 1674"/>
                  <a:gd name="T52" fmla="*/ 6389 w 7025"/>
                  <a:gd name="T53" fmla="*/ 879 h 1674"/>
                  <a:gd name="T54" fmla="*/ 6396 w 7025"/>
                  <a:gd name="T55" fmla="*/ 872 h 1674"/>
                  <a:gd name="T56" fmla="*/ 804 w 7025"/>
                  <a:gd name="T57" fmla="*/ 827 h 1674"/>
                  <a:gd name="T58" fmla="*/ 3100 w 7025"/>
                  <a:gd name="T59" fmla="*/ 763 h 1674"/>
                  <a:gd name="T60" fmla="*/ 3100 w 7025"/>
                  <a:gd name="T61" fmla="*/ 961 h 1674"/>
                  <a:gd name="T62" fmla="*/ 1007 w 7025"/>
                  <a:gd name="T63" fmla="*/ 810 h 1674"/>
                  <a:gd name="T64" fmla="*/ 5131 w 7025"/>
                  <a:gd name="T65" fmla="*/ 734 h 1674"/>
                  <a:gd name="T66" fmla="*/ 3138 w 7025"/>
                  <a:gd name="T67" fmla="*/ 658 h 1674"/>
                  <a:gd name="T68" fmla="*/ 97 w 7025"/>
                  <a:gd name="T69" fmla="*/ 618 h 1674"/>
                  <a:gd name="T70" fmla="*/ 97 w 7025"/>
                  <a:gd name="T71" fmla="*/ 618 h 1674"/>
                  <a:gd name="T72" fmla="*/ 5254 w 7025"/>
                  <a:gd name="T73" fmla="*/ 713 h 1674"/>
                  <a:gd name="T74" fmla="*/ 3279 w 7025"/>
                  <a:gd name="T75" fmla="*/ 585 h 1674"/>
                  <a:gd name="T76" fmla="*/ 300 w 7025"/>
                  <a:gd name="T77" fmla="*/ 547 h 1674"/>
                  <a:gd name="T78" fmla="*/ 7025 w 7025"/>
                  <a:gd name="T79" fmla="*/ 509 h 1674"/>
                  <a:gd name="T80" fmla="*/ 7025 w 7025"/>
                  <a:gd name="T81" fmla="*/ 509 h 1674"/>
                  <a:gd name="T82" fmla="*/ 4138 w 7025"/>
                  <a:gd name="T83" fmla="*/ 580 h 1674"/>
                  <a:gd name="T84" fmla="*/ 3298 w 7025"/>
                  <a:gd name="T85" fmla="*/ 505 h 1674"/>
                  <a:gd name="T86" fmla="*/ 3301 w 7025"/>
                  <a:gd name="T87" fmla="*/ 502 h 1674"/>
                  <a:gd name="T88" fmla="*/ 4034 w 7025"/>
                  <a:gd name="T89" fmla="*/ 490 h 1674"/>
                  <a:gd name="T90" fmla="*/ 4036 w 7025"/>
                  <a:gd name="T91" fmla="*/ 490 h 1674"/>
                  <a:gd name="T92" fmla="*/ 3327 w 7025"/>
                  <a:gd name="T93" fmla="*/ 483 h 1674"/>
                  <a:gd name="T94" fmla="*/ 4041 w 7025"/>
                  <a:gd name="T95" fmla="*/ 391 h 1674"/>
                  <a:gd name="T96" fmla="*/ 4043 w 7025"/>
                  <a:gd name="T97" fmla="*/ 448 h 1674"/>
                  <a:gd name="T98" fmla="*/ 1809 w 7025"/>
                  <a:gd name="T99" fmla="*/ 1113 h 1674"/>
                  <a:gd name="T100" fmla="*/ 1936 w 7025"/>
                  <a:gd name="T101" fmla="*/ 336 h 1674"/>
                  <a:gd name="T102" fmla="*/ 4048 w 7025"/>
                  <a:gd name="T103" fmla="*/ 327 h 1674"/>
                  <a:gd name="T104" fmla="*/ 4050 w 7025"/>
                  <a:gd name="T105" fmla="*/ 381 h 1674"/>
                  <a:gd name="T106" fmla="*/ 2026 w 7025"/>
                  <a:gd name="T107" fmla="*/ 315 h 1674"/>
                  <a:gd name="T108" fmla="*/ 4701 w 7025"/>
                  <a:gd name="T109" fmla="*/ 235 h 1674"/>
                  <a:gd name="T110" fmla="*/ 4802 w 7025"/>
                  <a:gd name="T111" fmla="*/ 173 h 1674"/>
                  <a:gd name="T112" fmla="*/ 4805 w 7025"/>
                  <a:gd name="T113" fmla="*/ 173 h 1674"/>
                  <a:gd name="T114" fmla="*/ 4852 w 7025"/>
                  <a:gd name="T115" fmla="*/ 154 h 1674"/>
                  <a:gd name="T116" fmla="*/ 4909 w 7025"/>
                  <a:gd name="T117" fmla="*/ 15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4">
                    <a:moveTo>
                      <a:pt x="2" y="1454"/>
                    </a:moveTo>
                    <a:lnTo>
                      <a:pt x="0" y="1454"/>
                    </a:lnTo>
                    <a:lnTo>
                      <a:pt x="0" y="1456"/>
                    </a:lnTo>
                    <a:lnTo>
                      <a:pt x="0" y="1515"/>
                    </a:lnTo>
                    <a:lnTo>
                      <a:pt x="2" y="1515"/>
                    </a:lnTo>
                    <a:lnTo>
                      <a:pt x="2" y="1454"/>
                    </a:lnTo>
                    <a:close/>
                    <a:moveTo>
                      <a:pt x="5665" y="1326"/>
                    </a:moveTo>
                    <a:lnTo>
                      <a:pt x="5663" y="1326"/>
                    </a:lnTo>
                    <a:lnTo>
                      <a:pt x="5663" y="1328"/>
                    </a:lnTo>
                    <a:lnTo>
                      <a:pt x="5663" y="1430"/>
                    </a:lnTo>
                    <a:lnTo>
                      <a:pt x="5665" y="1430"/>
                    </a:lnTo>
                    <a:lnTo>
                      <a:pt x="5665" y="1326"/>
                    </a:lnTo>
                    <a:close/>
                    <a:moveTo>
                      <a:pt x="3710" y="1222"/>
                    </a:moveTo>
                    <a:lnTo>
                      <a:pt x="3710" y="1222"/>
                    </a:lnTo>
                    <a:lnTo>
                      <a:pt x="3710" y="1222"/>
                    </a:lnTo>
                    <a:lnTo>
                      <a:pt x="3710" y="1224"/>
                    </a:lnTo>
                    <a:lnTo>
                      <a:pt x="3710" y="1373"/>
                    </a:lnTo>
                    <a:lnTo>
                      <a:pt x="3710" y="1373"/>
                    </a:lnTo>
                    <a:lnTo>
                      <a:pt x="3710" y="1222"/>
                    </a:lnTo>
                    <a:close/>
                    <a:moveTo>
                      <a:pt x="5831" y="1210"/>
                    </a:moveTo>
                    <a:lnTo>
                      <a:pt x="5831" y="1210"/>
                    </a:lnTo>
                    <a:lnTo>
                      <a:pt x="5828" y="1210"/>
                    </a:lnTo>
                    <a:lnTo>
                      <a:pt x="5828" y="1210"/>
                    </a:lnTo>
                    <a:lnTo>
                      <a:pt x="5828" y="1307"/>
                    </a:lnTo>
                    <a:lnTo>
                      <a:pt x="5831" y="1307"/>
                    </a:lnTo>
                    <a:lnTo>
                      <a:pt x="5831" y="1210"/>
                    </a:lnTo>
                    <a:close/>
                    <a:moveTo>
                      <a:pt x="1665" y="1158"/>
                    </a:moveTo>
                    <a:lnTo>
                      <a:pt x="1665" y="1158"/>
                    </a:lnTo>
                    <a:lnTo>
                      <a:pt x="1665" y="1158"/>
                    </a:lnTo>
                    <a:lnTo>
                      <a:pt x="1665" y="1160"/>
                    </a:lnTo>
                    <a:lnTo>
                      <a:pt x="1665" y="1182"/>
                    </a:lnTo>
                    <a:lnTo>
                      <a:pt x="1665" y="1182"/>
                    </a:lnTo>
                    <a:lnTo>
                      <a:pt x="1665" y="1158"/>
                    </a:lnTo>
                    <a:close/>
                    <a:moveTo>
                      <a:pt x="1688" y="1132"/>
                    </a:moveTo>
                    <a:lnTo>
                      <a:pt x="1686" y="1132"/>
                    </a:lnTo>
                    <a:lnTo>
                      <a:pt x="1686" y="1134"/>
                    </a:lnTo>
                    <a:lnTo>
                      <a:pt x="1686" y="1139"/>
                    </a:lnTo>
                    <a:lnTo>
                      <a:pt x="1688" y="1139"/>
                    </a:lnTo>
                    <a:lnTo>
                      <a:pt x="1688" y="1132"/>
                    </a:lnTo>
                    <a:close/>
                    <a:moveTo>
                      <a:pt x="5857" y="1130"/>
                    </a:moveTo>
                    <a:lnTo>
                      <a:pt x="5854" y="1130"/>
                    </a:lnTo>
                    <a:lnTo>
                      <a:pt x="5854" y="1130"/>
                    </a:lnTo>
                    <a:lnTo>
                      <a:pt x="5854" y="1130"/>
                    </a:lnTo>
                    <a:lnTo>
                      <a:pt x="5854" y="1191"/>
                    </a:lnTo>
                    <a:lnTo>
                      <a:pt x="5857" y="1191"/>
                    </a:lnTo>
                    <a:lnTo>
                      <a:pt x="5857" y="1130"/>
                    </a:lnTo>
                    <a:close/>
                    <a:moveTo>
                      <a:pt x="6323" y="1130"/>
                    </a:moveTo>
                    <a:lnTo>
                      <a:pt x="6320" y="1130"/>
                    </a:lnTo>
                    <a:lnTo>
                      <a:pt x="6320" y="1130"/>
                    </a:lnTo>
                    <a:lnTo>
                      <a:pt x="6320" y="1130"/>
                    </a:lnTo>
                    <a:lnTo>
                      <a:pt x="6320" y="1345"/>
                    </a:lnTo>
                    <a:lnTo>
                      <a:pt x="6323" y="1345"/>
                    </a:lnTo>
                    <a:lnTo>
                      <a:pt x="6323" y="1130"/>
                    </a:lnTo>
                    <a:close/>
                    <a:moveTo>
                      <a:pt x="1447" y="1127"/>
                    </a:moveTo>
                    <a:lnTo>
                      <a:pt x="1445" y="1127"/>
                    </a:lnTo>
                    <a:lnTo>
                      <a:pt x="1445" y="1127"/>
                    </a:lnTo>
                    <a:lnTo>
                      <a:pt x="1445" y="1127"/>
                    </a:lnTo>
                    <a:lnTo>
                      <a:pt x="1445" y="1182"/>
                    </a:lnTo>
                    <a:lnTo>
                      <a:pt x="1447" y="1182"/>
                    </a:lnTo>
                    <a:lnTo>
                      <a:pt x="1447" y="1127"/>
                    </a:lnTo>
                    <a:close/>
                    <a:moveTo>
                      <a:pt x="1464" y="1085"/>
                    </a:moveTo>
                    <a:lnTo>
                      <a:pt x="1461" y="1085"/>
                    </a:lnTo>
                    <a:lnTo>
                      <a:pt x="1461" y="1087"/>
                    </a:lnTo>
                    <a:lnTo>
                      <a:pt x="1461" y="1108"/>
                    </a:lnTo>
                    <a:lnTo>
                      <a:pt x="1464" y="1108"/>
                    </a:lnTo>
                    <a:lnTo>
                      <a:pt x="1464" y="1108"/>
                    </a:lnTo>
                    <a:lnTo>
                      <a:pt x="1464" y="1108"/>
                    </a:lnTo>
                    <a:lnTo>
                      <a:pt x="1464" y="1085"/>
                    </a:lnTo>
                    <a:close/>
                    <a:moveTo>
                      <a:pt x="2861" y="1063"/>
                    </a:moveTo>
                    <a:lnTo>
                      <a:pt x="2859" y="1063"/>
                    </a:lnTo>
                    <a:lnTo>
                      <a:pt x="2859" y="1063"/>
                    </a:lnTo>
                    <a:lnTo>
                      <a:pt x="2859" y="1066"/>
                    </a:lnTo>
                    <a:lnTo>
                      <a:pt x="2859" y="1222"/>
                    </a:lnTo>
                    <a:lnTo>
                      <a:pt x="2861" y="1222"/>
                    </a:lnTo>
                    <a:lnTo>
                      <a:pt x="2861" y="1063"/>
                    </a:lnTo>
                    <a:close/>
                    <a:moveTo>
                      <a:pt x="5930" y="1042"/>
                    </a:moveTo>
                    <a:lnTo>
                      <a:pt x="5930" y="1042"/>
                    </a:lnTo>
                    <a:lnTo>
                      <a:pt x="5928" y="1042"/>
                    </a:lnTo>
                    <a:lnTo>
                      <a:pt x="5928" y="1044"/>
                    </a:lnTo>
                    <a:lnTo>
                      <a:pt x="5928" y="1111"/>
                    </a:lnTo>
                    <a:lnTo>
                      <a:pt x="5930" y="1111"/>
                    </a:lnTo>
                    <a:lnTo>
                      <a:pt x="5930" y="1042"/>
                    </a:lnTo>
                    <a:close/>
                    <a:moveTo>
                      <a:pt x="2878" y="1011"/>
                    </a:moveTo>
                    <a:lnTo>
                      <a:pt x="2875" y="1014"/>
                    </a:lnTo>
                    <a:lnTo>
                      <a:pt x="2875" y="1014"/>
                    </a:lnTo>
                    <a:lnTo>
                      <a:pt x="2875" y="1047"/>
                    </a:lnTo>
                    <a:lnTo>
                      <a:pt x="2878" y="1047"/>
                    </a:lnTo>
                    <a:lnTo>
                      <a:pt x="2878" y="1044"/>
                    </a:lnTo>
                    <a:lnTo>
                      <a:pt x="2878" y="1044"/>
                    </a:lnTo>
                    <a:lnTo>
                      <a:pt x="2878" y="1011"/>
                    </a:lnTo>
                    <a:close/>
                    <a:moveTo>
                      <a:pt x="3771" y="995"/>
                    </a:moveTo>
                    <a:lnTo>
                      <a:pt x="3769" y="995"/>
                    </a:lnTo>
                    <a:lnTo>
                      <a:pt x="3769" y="995"/>
                    </a:lnTo>
                    <a:lnTo>
                      <a:pt x="3769" y="1205"/>
                    </a:lnTo>
                    <a:lnTo>
                      <a:pt x="3771" y="1205"/>
                    </a:lnTo>
                    <a:lnTo>
                      <a:pt x="3771" y="995"/>
                    </a:lnTo>
                    <a:close/>
                    <a:moveTo>
                      <a:pt x="5949" y="990"/>
                    </a:moveTo>
                    <a:lnTo>
                      <a:pt x="5947" y="990"/>
                    </a:lnTo>
                    <a:lnTo>
                      <a:pt x="5947" y="992"/>
                    </a:lnTo>
                    <a:lnTo>
                      <a:pt x="5947" y="1025"/>
                    </a:lnTo>
                    <a:lnTo>
                      <a:pt x="5947" y="1025"/>
                    </a:lnTo>
                    <a:lnTo>
                      <a:pt x="5947" y="1023"/>
                    </a:lnTo>
                    <a:lnTo>
                      <a:pt x="5949" y="1023"/>
                    </a:lnTo>
                    <a:lnTo>
                      <a:pt x="5949" y="990"/>
                    </a:lnTo>
                    <a:close/>
                    <a:moveTo>
                      <a:pt x="6339" y="935"/>
                    </a:moveTo>
                    <a:lnTo>
                      <a:pt x="6339" y="935"/>
                    </a:lnTo>
                    <a:lnTo>
                      <a:pt x="6337" y="935"/>
                    </a:lnTo>
                    <a:lnTo>
                      <a:pt x="6337" y="938"/>
                    </a:lnTo>
                    <a:lnTo>
                      <a:pt x="6337" y="1113"/>
                    </a:lnTo>
                    <a:lnTo>
                      <a:pt x="6339" y="1113"/>
                    </a:lnTo>
                    <a:lnTo>
                      <a:pt x="6339" y="1111"/>
                    </a:lnTo>
                    <a:lnTo>
                      <a:pt x="6339" y="1111"/>
                    </a:lnTo>
                    <a:lnTo>
                      <a:pt x="6339" y="935"/>
                    </a:lnTo>
                    <a:close/>
                    <a:moveTo>
                      <a:pt x="3845" y="928"/>
                    </a:moveTo>
                    <a:lnTo>
                      <a:pt x="3842" y="928"/>
                    </a:lnTo>
                    <a:lnTo>
                      <a:pt x="3842" y="931"/>
                    </a:lnTo>
                    <a:lnTo>
                      <a:pt x="3842" y="976"/>
                    </a:lnTo>
                    <a:lnTo>
                      <a:pt x="3845" y="976"/>
                    </a:lnTo>
                    <a:lnTo>
                      <a:pt x="3845" y="928"/>
                    </a:lnTo>
                    <a:close/>
                    <a:moveTo>
                      <a:pt x="6384" y="895"/>
                    </a:moveTo>
                    <a:lnTo>
                      <a:pt x="6384" y="895"/>
                    </a:lnTo>
                    <a:lnTo>
                      <a:pt x="6384" y="895"/>
                    </a:lnTo>
                    <a:lnTo>
                      <a:pt x="6382" y="898"/>
                    </a:lnTo>
                    <a:lnTo>
                      <a:pt x="6377" y="916"/>
                    </a:lnTo>
                    <a:lnTo>
                      <a:pt x="6379" y="916"/>
                    </a:lnTo>
                    <a:lnTo>
                      <a:pt x="6384" y="895"/>
                    </a:lnTo>
                    <a:close/>
                    <a:moveTo>
                      <a:pt x="6389" y="879"/>
                    </a:moveTo>
                    <a:lnTo>
                      <a:pt x="6389" y="879"/>
                    </a:lnTo>
                    <a:lnTo>
                      <a:pt x="6386" y="879"/>
                    </a:lnTo>
                    <a:lnTo>
                      <a:pt x="6386" y="881"/>
                    </a:lnTo>
                    <a:lnTo>
                      <a:pt x="6386" y="893"/>
                    </a:lnTo>
                    <a:lnTo>
                      <a:pt x="6389" y="893"/>
                    </a:lnTo>
                    <a:lnTo>
                      <a:pt x="6389" y="890"/>
                    </a:lnTo>
                    <a:lnTo>
                      <a:pt x="6389" y="890"/>
                    </a:lnTo>
                    <a:lnTo>
                      <a:pt x="6389" y="879"/>
                    </a:lnTo>
                    <a:close/>
                    <a:moveTo>
                      <a:pt x="6398" y="850"/>
                    </a:moveTo>
                    <a:lnTo>
                      <a:pt x="6396" y="850"/>
                    </a:lnTo>
                    <a:lnTo>
                      <a:pt x="6396" y="853"/>
                    </a:lnTo>
                    <a:lnTo>
                      <a:pt x="6396" y="872"/>
                    </a:lnTo>
                    <a:lnTo>
                      <a:pt x="6396" y="872"/>
                    </a:lnTo>
                    <a:lnTo>
                      <a:pt x="6396" y="869"/>
                    </a:lnTo>
                    <a:lnTo>
                      <a:pt x="6398" y="869"/>
                    </a:lnTo>
                    <a:lnTo>
                      <a:pt x="6398" y="850"/>
                    </a:lnTo>
                    <a:close/>
                    <a:moveTo>
                      <a:pt x="806" y="827"/>
                    </a:moveTo>
                    <a:lnTo>
                      <a:pt x="804" y="827"/>
                    </a:lnTo>
                    <a:lnTo>
                      <a:pt x="804" y="829"/>
                    </a:lnTo>
                    <a:lnTo>
                      <a:pt x="804" y="1051"/>
                    </a:lnTo>
                    <a:lnTo>
                      <a:pt x="806" y="1051"/>
                    </a:lnTo>
                    <a:lnTo>
                      <a:pt x="806" y="827"/>
                    </a:lnTo>
                    <a:close/>
                    <a:moveTo>
                      <a:pt x="3100" y="763"/>
                    </a:moveTo>
                    <a:lnTo>
                      <a:pt x="3100" y="763"/>
                    </a:lnTo>
                    <a:lnTo>
                      <a:pt x="3097" y="763"/>
                    </a:lnTo>
                    <a:lnTo>
                      <a:pt x="3097" y="765"/>
                    </a:lnTo>
                    <a:lnTo>
                      <a:pt x="3097" y="961"/>
                    </a:lnTo>
                    <a:lnTo>
                      <a:pt x="3100" y="961"/>
                    </a:lnTo>
                    <a:lnTo>
                      <a:pt x="3100" y="763"/>
                    </a:lnTo>
                    <a:close/>
                    <a:moveTo>
                      <a:pt x="1010" y="753"/>
                    </a:moveTo>
                    <a:lnTo>
                      <a:pt x="1007" y="753"/>
                    </a:lnTo>
                    <a:lnTo>
                      <a:pt x="1007" y="755"/>
                    </a:lnTo>
                    <a:lnTo>
                      <a:pt x="1007" y="810"/>
                    </a:lnTo>
                    <a:lnTo>
                      <a:pt x="1010" y="810"/>
                    </a:lnTo>
                    <a:lnTo>
                      <a:pt x="1010" y="753"/>
                    </a:lnTo>
                    <a:close/>
                    <a:moveTo>
                      <a:pt x="5131" y="732"/>
                    </a:moveTo>
                    <a:lnTo>
                      <a:pt x="5131" y="732"/>
                    </a:lnTo>
                    <a:lnTo>
                      <a:pt x="5131" y="734"/>
                    </a:lnTo>
                    <a:lnTo>
                      <a:pt x="5131" y="954"/>
                    </a:lnTo>
                    <a:lnTo>
                      <a:pt x="5131" y="954"/>
                    </a:lnTo>
                    <a:lnTo>
                      <a:pt x="5131" y="732"/>
                    </a:lnTo>
                    <a:close/>
                    <a:moveTo>
                      <a:pt x="3138" y="658"/>
                    </a:moveTo>
                    <a:lnTo>
                      <a:pt x="3138" y="658"/>
                    </a:lnTo>
                    <a:lnTo>
                      <a:pt x="3138" y="658"/>
                    </a:lnTo>
                    <a:lnTo>
                      <a:pt x="3138" y="744"/>
                    </a:lnTo>
                    <a:lnTo>
                      <a:pt x="3138" y="744"/>
                    </a:lnTo>
                    <a:lnTo>
                      <a:pt x="3138" y="658"/>
                    </a:lnTo>
                    <a:close/>
                    <a:moveTo>
                      <a:pt x="97" y="618"/>
                    </a:moveTo>
                    <a:lnTo>
                      <a:pt x="95" y="618"/>
                    </a:lnTo>
                    <a:lnTo>
                      <a:pt x="95" y="618"/>
                    </a:lnTo>
                    <a:lnTo>
                      <a:pt x="95" y="1435"/>
                    </a:lnTo>
                    <a:lnTo>
                      <a:pt x="97" y="1435"/>
                    </a:lnTo>
                    <a:lnTo>
                      <a:pt x="97" y="618"/>
                    </a:lnTo>
                    <a:close/>
                    <a:moveTo>
                      <a:pt x="5254" y="609"/>
                    </a:moveTo>
                    <a:lnTo>
                      <a:pt x="5251" y="609"/>
                    </a:lnTo>
                    <a:lnTo>
                      <a:pt x="5251" y="611"/>
                    </a:lnTo>
                    <a:lnTo>
                      <a:pt x="5251" y="713"/>
                    </a:lnTo>
                    <a:lnTo>
                      <a:pt x="5254" y="713"/>
                    </a:lnTo>
                    <a:lnTo>
                      <a:pt x="5254" y="609"/>
                    </a:lnTo>
                    <a:close/>
                    <a:moveTo>
                      <a:pt x="3282" y="583"/>
                    </a:moveTo>
                    <a:lnTo>
                      <a:pt x="3282" y="583"/>
                    </a:lnTo>
                    <a:lnTo>
                      <a:pt x="3279" y="583"/>
                    </a:lnTo>
                    <a:lnTo>
                      <a:pt x="3279" y="585"/>
                    </a:lnTo>
                    <a:lnTo>
                      <a:pt x="3279" y="639"/>
                    </a:lnTo>
                    <a:lnTo>
                      <a:pt x="3282" y="639"/>
                    </a:lnTo>
                    <a:lnTo>
                      <a:pt x="3282" y="583"/>
                    </a:lnTo>
                    <a:close/>
                    <a:moveTo>
                      <a:pt x="303" y="547"/>
                    </a:moveTo>
                    <a:lnTo>
                      <a:pt x="300" y="547"/>
                    </a:lnTo>
                    <a:lnTo>
                      <a:pt x="300" y="550"/>
                    </a:lnTo>
                    <a:lnTo>
                      <a:pt x="300" y="599"/>
                    </a:lnTo>
                    <a:lnTo>
                      <a:pt x="303" y="599"/>
                    </a:lnTo>
                    <a:lnTo>
                      <a:pt x="303" y="547"/>
                    </a:lnTo>
                    <a:close/>
                    <a:moveTo>
                      <a:pt x="7025" y="509"/>
                    </a:moveTo>
                    <a:lnTo>
                      <a:pt x="7023" y="509"/>
                    </a:lnTo>
                    <a:lnTo>
                      <a:pt x="7023" y="512"/>
                    </a:lnTo>
                    <a:lnTo>
                      <a:pt x="7023" y="1674"/>
                    </a:lnTo>
                    <a:lnTo>
                      <a:pt x="7025" y="1674"/>
                    </a:lnTo>
                    <a:lnTo>
                      <a:pt x="7025" y="509"/>
                    </a:lnTo>
                    <a:close/>
                    <a:moveTo>
                      <a:pt x="4192" y="505"/>
                    </a:moveTo>
                    <a:lnTo>
                      <a:pt x="4192" y="505"/>
                    </a:lnTo>
                    <a:lnTo>
                      <a:pt x="4192" y="505"/>
                    </a:lnTo>
                    <a:lnTo>
                      <a:pt x="4135" y="580"/>
                    </a:lnTo>
                    <a:lnTo>
                      <a:pt x="4138" y="580"/>
                    </a:lnTo>
                    <a:lnTo>
                      <a:pt x="4192" y="505"/>
                    </a:lnTo>
                    <a:close/>
                    <a:moveTo>
                      <a:pt x="3301" y="502"/>
                    </a:moveTo>
                    <a:lnTo>
                      <a:pt x="3298" y="502"/>
                    </a:lnTo>
                    <a:lnTo>
                      <a:pt x="3298" y="502"/>
                    </a:lnTo>
                    <a:lnTo>
                      <a:pt x="3298" y="505"/>
                    </a:lnTo>
                    <a:lnTo>
                      <a:pt x="3298" y="566"/>
                    </a:lnTo>
                    <a:lnTo>
                      <a:pt x="3298" y="566"/>
                    </a:lnTo>
                    <a:lnTo>
                      <a:pt x="3298" y="564"/>
                    </a:lnTo>
                    <a:lnTo>
                      <a:pt x="3301" y="564"/>
                    </a:lnTo>
                    <a:lnTo>
                      <a:pt x="3301" y="502"/>
                    </a:lnTo>
                    <a:close/>
                    <a:moveTo>
                      <a:pt x="4036" y="455"/>
                    </a:moveTo>
                    <a:lnTo>
                      <a:pt x="4034" y="455"/>
                    </a:lnTo>
                    <a:lnTo>
                      <a:pt x="4034" y="455"/>
                    </a:lnTo>
                    <a:lnTo>
                      <a:pt x="4034" y="457"/>
                    </a:lnTo>
                    <a:lnTo>
                      <a:pt x="4034" y="490"/>
                    </a:lnTo>
                    <a:lnTo>
                      <a:pt x="3953" y="644"/>
                    </a:lnTo>
                    <a:lnTo>
                      <a:pt x="3953" y="909"/>
                    </a:lnTo>
                    <a:lnTo>
                      <a:pt x="3956" y="909"/>
                    </a:lnTo>
                    <a:lnTo>
                      <a:pt x="3956" y="642"/>
                    </a:lnTo>
                    <a:lnTo>
                      <a:pt x="4036" y="490"/>
                    </a:lnTo>
                    <a:lnTo>
                      <a:pt x="4036" y="455"/>
                    </a:lnTo>
                    <a:close/>
                    <a:moveTo>
                      <a:pt x="3329" y="433"/>
                    </a:moveTo>
                    <a:lnTo>
                      <a:pt x="3327" y="433"/>
                    </a:lnTo>
                    <a:lnTo>
                      <a:pt x="3327" y="436"/>
                    </a:lnTo>
                    <a:lnTo>
                      <a:pt x="3327" y="483"/>
                    </a:lnTo>
                    <a:lnTo>
                      <a:pt x="3329" y="483"/>
                    </a:lnTo>
                    <a:lnTo>
                      <a:pt x="3329" y="433"/>
                    </a:lnTo>
                    <a:close/>
                    <a:moveTo>
                      <a:pt x="4043" y="391"/>
                    </a:moveTo>
                    <a:lnTo>
                      <a:pt x="4041" y="391"/>
                    </a:lnTo>
                    <a:lnTo>
                      <a:pt x="4041" y="391"/>
                    </a:lnTo>
                    <a:lnTo>
                      <a:pt x="4041" y="393"/>
                    </a:lnTo>
                    <a:lnTo>
                      <a:pt x="4041" y="450"/>
                    </a:lnTo>
                    <a:lnTo>
                      <a:pt x="4043" y="450"/>
                    </a:lnTo>
                    <a:lnTo>
                      <a:pt x="4043" y="448"/>
                    </a:lnTo>
                    <a:lnTo>
                      <a:pt x="4043" y="448"/>
                    </a:lnTo>
                    <a:lnTo>
                      <a:pt x="4043" y="391"/>
                    </a:lnTo>
                    <a:close/>
                    <a:moveTo>
                      <a:pt x="1809" y="370"/>
                    </a:moveTo>
                    <a:lnTo>
                      <a:pt x="1809" y="370"/>
                    </a:lnTo>
                    <a:lnTo>
                      <a:pt x="1809" y="372"/>
                    </a:lnTo>
                    <a:lnTo>
                      <a:pt x="1809" y="1113"/>
                    </a:lnTo>
                    <a:lnTo>
                      <a:pt x="1809" y="1113"/>
                    </a:lnTo>
                    <a:lnTo>
                      <a:pt x="1809" y="370"/>
                    </a:lnTo>
                    <a:close/>
                    <a:moveTo>
                      <a:pt x="1939" y="334"/>
                    </a:moveTo>
                    <a:lnTo>
                      <a:pt x="1936" y="334"/>
                    </a:lnTo>
                    <a:lnTo>
                      <a:pt x="1936" y="336"/>
                    </a:lnTo>
                    <a:lnTo>
                      <a:pt x="1936" y="351"/>
                    </a:lnTo>
                    <a:lnTo>
                      <a:pt x="1939" y="351"/>
                    </a:lnTo>
                    <a:lnTo>
                      <a:pt x="1939" y="334"/>
                    </a:lnTo>
                    <a:close/>
                    <a:moveTo>
                      <a:pt x="4050" y="327"/>
                    </a:moveTo>
                    <a:lnTo>
                      <a:pt x="4048" y="327"/>
                    </a:lnTo>
                    <a:lnTo>
                      <a:pt x="4048" y="329"/>
                    </a:lnTo>
                    <a:lnTo>
                      <a:pt x="4048" y="384"/>
                    </a:lnTo>
                    <a:lnTo>
                      <a:pt x="4050" y="384"/>
                    </a:lnTo>
                    <a:lnTo>
                      <a:pt x="4050" y="381"/>
                    </a:lnTo>
                    <a:lnTo>
                      <a:pt x="4050" y="381"/>
                    </a:lnTo>
                    <a:lnTo>
                      <a:pt x="4050" y="327"/>
                    </a:lnTo>
                    <a:close/>
                    <a:moveTo>
                      <a:pt x="2029" y="294"/>
                    </a:moveTo>
                    <a:lnTo>
                      <a:pt x="2026" y="294"/>
                    </a:lnTo>
                    <a:lnTo>
                      <a:pt x="2026" y="296"/>
                    </a:lnTo>
                    <a:lnTo>
                      <a:pt x="2026" y="315"/>
                    </a:lnTo>
                    <a:lnTo>
                      <a:pt x="2029" y="315"/>
                    </a:lnTo>
                    <a:lnTo>
                      <a:pt x="2029" y="294"/>
                    </a:lnTo>
                    <a:close/>
                    <a:moveTo>
                      <a:pt x="4703" y="232"/>
                    </a:moveTo>
                    <a:lnTo>
                      <a:pt x="4701" y="232"/>
                    </a:lnTo>
                    <a:lnTo>
                      <a:pt x="4701" y="235"/>
                    </a:lnTo>
                    <a:lnTo>
                      <a:pt x="4639" y="464"/>
                    </a:lnTo>
                    <a:lnTo>
                      <a:pt x="4639" y="464"/>
                    </a:lnTo>
                    <a:lnTo>
                      <a:pt x="4703" y="232"/>
                    </a:lnTo>
                    <a:close/>
                    <a:moveTo>
                      <a:pt x="4805" y="173"/>
                    </a:moveTo>
                    <a:lnTo>
                      <a:pt x="4802" y="173"/>
                    </a:lnTo>
                    <a:lnTo>
                      <a:pt x="4802" y="173"/>
                    </a:lnTo>
                    <a:lnTo>
                      <a:pt x="4802" y="175"/>
                    </a:lnTo>
                    <a:lnTo>
                      <a:pt x="4802" y="213"/>
                    </a:lnTo>
                    <a:lnTo>
                      <a:pt x="4805" y="213"/>
                    </a:lnTo>
                    <a:lnTo>
                      <a:pt x="4805" y="173"/>
                    </a:lnTo>
                    <a:close/>
                    <a:moveTo>
                      <a:pt x="4852" y="0"/>
                    </a:moveTo>
                    <a:lnTo>
                      <a:pt x="4850" y="0"/>
                    </a:lnTo>
                    <a:lnTo>
                      <a:pt x="4850" y="3"/>
                    </a:lnTo>
                    <a:lnTo>
                      <a:pt x="4850" y="154"/>
                    </a:lnTo>
                    <a:lnTo>
                      <a:pt x="4852" y="154"/>
                    </a:lnTo>
                    <a:lnTo>
                      <a:pt x="4852" y="0"/>
                    </a:lnTo>
                    <a:close/>
                    <a:moveTo>
                      <a:pt x="4911" y="0"/>
                    </a:moveTo>
                    <a:lnTo>
                      <a:pt x="4909" y="0"/>
                    </a:lnTo>
                    <a:lnTo>
                      <a:pt x="4909" y="3"/>
                    </a:lnTo>
                    <a:lnTo>
                      <a:pt x="4909" y="154"/>
                    </a:lnTo>
                    <a:lnTo>
                      <a:pt x="4911" y="154"/>
                    </a:lnTo>
                    <a:lnTo>
                      <a:pt x="4911" y="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3" name="Freeform 125"/>
              <p:cNvSpPr>
                <a:spLocks noEditPoints="1"/>
              </p:cNvSpPr>
              <p:nvPr/>
            </p:nvSpPr>
            <p:spPr bwMode="auto">
              <a:xfrm>
                <a:off x="28" y="1679"/>
                <a:ext cx="7025" cy="1674"/>
              </a:xfrm>
              <a:custGeom>
                <a:avLst/>
                <a:gdLst>
                  <a:gd name="T0" fmla="*/ 2 w 7025"/>
                  <a:gd name="T1" fmla="*/ 1515 h 1674"/>
                  <a:gd name="T2" fmla="*/ 5663 w 7025"/>
                  <a:gd name="T3" fmla="*/ 1430 h 1674"/>
                  <a:gd name="T4" fmla="*/ 3710 w 7025"/>
                  <a:gd name="T5" fmla="*/ 1222 h 1674"/>
                  <a:gd name="T6" fmla="*/ 5831 w 7025"/>
                  <a:gd name="T7" fmla="*/ 1210 h 1674"/>
                  <a:gd name="T8" fmla="*/ 5831 w 7025"/>
                  <a:gd name="T9" fmla="*/ 1307 h 1674"/>
                  <a:gd name="T10" fmla="*/ 1665 w 7025"/>
                  <a:gd name="T11" fmla="*/ 1160 h 1674"/>
                  <a:gd name="T12" fmla="*/ 1686 w 7025"/>
                  <a:gd name="T13" fmla="*/ 1132 h 1674"/>
                  <a:gd name="T14" fmla="*/ 5857 w 7025"/>
                  <a:gd name="T15" fmla="*/ 1130 h 1674"/>
                  <a:gd name="T16" fmla="*/ 5857 w 7025"/>
                  <a:gd name="T17" fmla="*/ 1191 h 1674"/>
                  <a:gd name="T18" fmla="*/ 6320 w 7025"/>
                  <a:gd name="T19" fmla="*/ 1130 h 1674"/>
                  <a:gd name="T20" fmla="*/ 1445 w 7025"/>
                  <a:gd name="T21" fmla="*/ 1127 h 1674"/>
                  <a:gd name="T22" fmla="*/ 1447 w 7025"/>
                  <a:gd name="T23" fmla="*/ 1127 h 1674"/>
                  <a:gd name="T24" fmla="*/ 1464 w 7025"/>
                  <a:gd name="T25" fmla="*/ 1108 h 1674"/>
                  <a:gd name="T26" fmla="*/ 2859 w 7025"/>
                  <a:gd name="T27" fmla="*/ 1063 h 1674"/>
                  <a:gd name="T28" fmla="*/ 2861 w 7025"/>
                  <a:gd name="T29" fmla="*/ 1063 h 1674"/>
                  <a:gd name="T30" fmla="*/ 5928 w 7025"/>
                  <a:gd name="T31" fmla="*/ 1111 h 1674"/>
                  <a:gd name="T32" fmla="*/ 2875 w 7025"/>
                  <a:gd name="T33" fmla="*/ 1014 h 1674"/>
                  <a:gd name="T34" fmla="*/ 2878 w 7025"/>
                  <a:gd name="T35" fmla="*/ 1011 h 1674"/>
                  <a:gd name="T36" fmla="*/ 3771 w 7025"/>
                  <a:gd name="T37" fmla="*/ 1205 h 1674"/>
                  <a:gd name="T38" fmla="*/ 5947 w 7025"/>
                  <a:gd name="T39" fmla="*/ 1025 h 1674"/>
                  <a:gd name="T40" fmla="*/ 6339 w 7025"/>
                  <a:gd name="T41" fmla="*/ 935 h 1674"/>
                  <a:gd name="T42" fmla="*/ 6339 w 7025"/>
                  <a:gd name="T43" fmla="*/ 1113 h 1674"/>
                  <a:gd name="T44" fmla="*/ 3842 w 7025"/>
                  <a:gd name="T45" fmla="*/ 928 h 1674"/>
                  <a:gd name="T46" fmla="*/ 6384 w 7025"/>
                  <a:gd name="T47" fmla="*/ 895 h 1674"/>
                  <a:gd name="T48" fmla="*/ 6379 w 7025"/>
                  <a:gd name="T49" fmla="*/ 916 h 1674"/>
                  <a:gd name="T50" fmla="*/ 6386 w 7025"/>
                  <a:gd name="T51" fmla="*/ 881 h 1674"/>
                  <a:gd name="T52" fmla="*/ 6389 w 7025"/>
                  <a:gd name="T53" fmla="*/ 879 h 1674"/>
                  <a:gd name="T54" fmla="*/ 6396 w 7025"/>
                  <a:gd name="T55" fmla="*/ 872 h 1674"/>
                  <a:gd name="T56" fmla="*/ 804 w 7025"/>
                  <a:gd name="T57" fmla="*/ 827 h 1674"/>
                  <a:gd name="T58" fmla="*/ 3100 w 7025"/>
                  <a:gd name="T59" fmla="*/ 763 h 1674"/>
                  <a:gd name="T60" fmla="*/ 3100 w 7025"/>
                  <a:gd name="T61" fmla="*/ 961 h 1674"/>
                  <a:gd name="T62" fmla="*/ 1007 w 7025"/>
                  <a:gd name="T63" fmla="*/ 810 h 1674"/>
                  <a:gd name="T64" fmla="*/ 5131 w 7025"/>
                  <a:gd name="T65" fmla="*/ 734 h 1674"/>
                  <a:gd name="T66" fmla="*/ 3138 w 7025"/>
                  <a:gd name="T67" fmla="*/ 658 h 1674"/>
                  <a:gd name="T68" fmla="*/ 97 w 7025"/>
                  <a:gd name="T69" fmla="*/ 618 h 1674"/>
                  <a:gd name="T70" fmla="*/ 97 w 7025"/>
                  <a:gd name="T71" fmla="*/ 618 h 1674"/>
                  <a:gd name="T72" fmla="*/ 5254 w 7025"/>
                  <a:gd name="T73" fmla="*/ 713 h 1674"/>
                  <a:gd name="T74" fmla="*/ 3279 w 7025"/>
                  <a:gd name="T75" fmla="*/ 585 h 1674"/>
                  <a:gd name="T76" fmla="*/ 300 w 7025"/>
                  <a:gd name="T77" fmla="*/ 547 h 1674"/>
                  <a:gd name="T78" fmla="*/ 7025 w 7025"/>
                  <a:gd name="T79" fmla="*/ 509 h 1674"/>
                  <a:gd name="T80" fmla="*/ 7025 w 7025"/>
                  <a:gd name="T81" fmla="*/ 509 h 1674"/>
                  <a:gd name="T82" fmla="*/ 4138 w 7025"/>
                  <a:gd name="T83" fmla="*/ 580 h 1674"/>
                  <a:gd name="T84" fmla="*/ 3298 w 7025"/>
                  <a:gd name="T85" fmla="*/ 505 h 1674"/>
                  <a:gd name="T86" fmla="*/ 3301 w 7025"/>
                  <a:gd name="T87" fmla="*/ 502 h 1674"/>
                  <a:gd name="T88" fmla="*/ 4034 w 7025"/>
                  <a:gd name="T89" fmla="*/ 490 h 1674"/>
                  <a:gd name="T90" fmla="*/ 4036 w 7025"/>
                  <a:gd name="T91" fmla="*/ 490 h 1674"/>
                  <a:gd name="T92" fmla="*/ 3327 w 7025"/>
                  <a:gd name="T93" fmla="*/ 483 h 1674"/>
                  <a:gd name="T94" fmla="*/ 4041 w 7025"/>
                  <a:gd name="T95" fmla="*/ 391 h 1674"/>
                  <a:gd name="T96" fmla="*/ 4043 w 7025"/>
                  <a:gd name="T97" fmla="*/ 448 h 1674"/>
                  <a:gd name="T98" fmla="*/ 1809 w 7025"/>
                  <a:gd name="T99" fmla="*/ 1113 h 1674"/>
                  <a:gd name="T100" fmla="*/ 1936 w 7025"/>
                  <a:gd name="T101" fmla="*/ 336 h 1674"/>
                  <a:gd name="T102" fmla="*/ 4048 w 7025"/>
                  <a:gd name="T103" fmla="*/ 327 h 1674"/>
                  <a:gd name="T104" fmla="*/ 4050 w 7025"/>
                  <a:gd name="T105" fmla="*/ 381 h 1674"/>
                  <a:gd name="T106" fmla="*/ 2026 w 7025"/>
                  <a:gd name="T107" fmla="*/ 315 h 1674"/>
                  <a:gd name="T108" fmla="*/ 4701 w 7025"/>
                  <a:gd name="T109" fmla="*/ 235 h 1674"/>
                  <a:gd name="T110" fmla="*/ 4802 w 7025"/>
                  <a:gd name="T111" fmla="*/ 173 h 1674"/>
                  <a:gd name="T112" fmla="*/ 4805 w 7025"/>
                  <a:gd name="T113" fmla="*/ 173 h 1674"/>
                  <a:gd name="T114" fmla="*/ 4852 w 7025"/>
                  <a:gd name="T115" fmla="*/ 154 h 1674"/>
                  <a:gd name="T116" fmla="*/ 4909 w 7025"/>
                  <a:gd name="T117" fmla="*/ 15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25" h="1674">
                    <a:moveTo>
                      <a:pt x="2" y="1454"/>
                    </a:moveTo>
                    <a:lnTo>
                      <a:pt x="0" y="1454"/>
                    </a:lnTo>
                    <a:lnTo>
                      <a:pt x="0" y="1456"/>
                    </a:lnTo>
                    <a:lnTo>
                      <a:pt x="0" y="1515"/>
                    </a:lnTo>
                    <a:lnTo>
                      <a:pt x="2" y="1515"/>
                    </a:lnTo>
                    <a:lnTo>
                      <a:pt x="2" y="1454"/>
                    </a:lnTo>
                    <a:moveTo>
                      <a:pt x="5665" y="1326"/>
                    </a:moveTo>
                    <a:lnTo>
                      <a:pt x="5663" y="1326"/>
                    </a:lnTo>
                    <a:lnTo>
                      <a:pt x="5663" y="1328"/>
                    </a:lnTo>
                    <a:lnTo>
                      <a:pt x="5663" y="1430"/>
                    </a:lnTo>
                    <a:lnTo>
                      <a:pt x="5665" y="1430"/>
                    </a:lnTo>
                    <a:lnTo>
                      <a:pt x="5665" y="1326"/>
                    </a:lnTo>
                    <a:moveTo>
                      <a:pt x="3710" y="1222"/>
                    </a:moveTo>
                    <a:lnTo>
                      <a:pt x="3710" y="1222"/>
                    </a:lnTo>
                    <a:lnTo>
                      <a:pt x="3710" y="1222"/>
                    </a:lnTo>
                    <a:lnTo>
                      <a:pt x="3710" y="1224"/>
                    </a:lnTo>
                    <a:lnTo>
                      <a:pt x="3710" y="1373"/>
                    </a:lnTo>
                    <a:lnTo>
                      <a:pt x="3710" y="1373"/>
                    </a:lnTo>
                    <a:lnTo>
                      <a:pt x="3710" y="1222"/>
                    </a:lnTo>
                    <a:moveTo>
                      <a:pt x="5831" y="1210"/>
                    </a:moveTo>
                    <a:lnTo>
                      <a:pt x="5831" y="1210"/>
                    </a:lnTo>
                    <a:lnTo>
                      <a:pt x="5828" y="1210"/>
                    </a:lnTo>
                    <a:lnTo>
                      <a:pt x="5828" y="1210"/>
                    </a:lnTo>
                    <a:lnTo>
                      <a:pt x="5828" y="1307"/>
                    </a:lnTo>
                    <a:lnTo>
                      <a:pt x="5831" y="1307"/>
                    </a:lnTo>
                    <a:lnTo>
                      <a:pt x="5831" y="1210"/>
                    </a:lnTo>
                    <a:moveTo>
                      <a:pt x="1665" y="1158"/>
                    </a:moveTo>
                    <a:lnTo>
                      <a:pt x="1665" y="1158"/>
                    </a:lnTo>
                    <a:lnTo>
                      <a:pt x="1665" y="1158"/>
                    </a:lnTo>
                    <a:lnTo>
                      <a:pt x="1665" y="1160"/>
                    </a:lnTo>
                    <a:lnTo>
                      <a:pt x="1665" y="1182"/>
                    </a:lnTo>
                    <a:lnTo>
                      <a:pt x="1665" y="1182"/>
                    </a:lnTo>
                    <a:lnTo>
                      <a:pt x="1665" y="1158"/>
                    </a:lnTo>
                    <a:moveTo>
                      <a:pt x="1688" y="1132"/>
                    </a:moveTo>
                    <a:lnTo>
                      <a:pt x="1686" y="1132"/>
                    </a:lnTo>
                    <a:lnTo>
                      <a:pt x="1686" y="1134"/>
                    </a:lnTo>
                    <a:lnTo>
                      <a:pt x="1686" y="1139"/>
                    </a:lnTo>
                    <a:lnTo>
                      <a:pt x="1688" y="1139"/>
                    </a:lnTo>
                    <a:lnTo>
                      <a:pt x="1688" y="1132"/>
                    </a:lnTo>
                    <a:moveTo>
                      <a:pt x="5857" y="1130"/>
                    </a:moveTo>
                    <a:lnTo>
                      <a:pt x="5854" y="1130"/>
                    </a:lnTo>
                    <a:lnTo>
                      <a:pt x="5854" y="1130"/>
                    </a:lnTo>
                    <a:lnTo>
                      <a:pt x="5854" y="1130"/>
                    </a:lnTo>
                    <a:lnTo>
                      <a:pt x="5854" y="1191"/>
                    </a:lnTo>
                    <a:lnTo>
                      <a:pt x="5857" y="1191"/>
                    </a:lnTo>
                    <a:lnTo>
                      <a:pt x="5857" y="1130"/>
                    </a:lnTo>
                    <a:moveTo>
                      <a:pt x="6323" y="1130"/>
                    </a:moveTo>
                    <a:lnTo>
                      <a:pt x="6320" y="1130"/>
                    </a:lnTo>
                    <a:lnTo>
                      <a:pt x="6320" y="1130"/>
                    </a:lnTo>
                    <a:lnTo>
                      <a:pt x="6320" y="1130"/>
                    </a:lnTo>
                    <a:lnTo>
                      <a:pt x="6320" y="1345"/>
                    </a:lnTo>
                    <a:lnTo>
                      <a:pt x="6323" y="1345"/>
                    </a:lnTo>
                    <a:lnTo>
                      <a:pt x="6323" y="1130"/>
                    </a:lnTo>
                    <a:moveTo>
                      <a:pt x="1447" y="1127"/>
                    </a:moveTo>
                    <a:lnTo>
                      <a:pt x="1445" y="1127"/>
                    </a:lnTo>
                    <a:lnTo>
                      <a:pt x="1445" y="1127"/>
                    </a:lnTo>
                    <a:lnTo>
                      <a:pt x="1445" y="1127"/>
                    </a:lnTo>
                    <a:lnTo>
                      <a:pt x="1445" y="1182"/>
                    </a:lnTo>
                    <a:lnTo>
                      <a:pt x="1447" y="1182"/>
                    </a:lnTo>
                    <a:lnTo>
                      <a:pt x="1447" y="1127"/>
                    </a:lnTo>
                    <a:moveTo>
                      <a:pt x="1464" y="1085"/>
                    </a:moveTo>
                    <a:lnTo>
                      <a:pt x="1461" y="1085"/>
                    </a:lnTo>
                    <a:lnTo>
                      <a:pt x="1461" y="1087"/>
                    </a:lnTo>
                    <a:lnTo>
                      <a:pt x="1461" y="1108"/>
                    </a:lnTo>
                    <a:lnTo>
                      <a:pt x="1464" y="1108"/>
                    </a:lnTo>
                    <a:lnTo>
                      <a:pt x="1464" y="1108"/>
                    </a:lnTo>
                    <a:lnTo>
                      <a:pt x="1464" y="1108"/>
                    </a:lnTo>
                    <a:lnTo>
                      <a:pt x="1464" y="1085"/>
                    </a:lnTo>
                    <a:moveTo>
                      <a:pt x="2861" y="1063"/>
                    </a:moveTo>
                    <a:lnTo>
                      <a:pt x="2859" y="1063"/>
                    </a:lnTo>
                    <a:lnTo>
                      <a:pt x="2859" y="1063"/>
                    </a:lnTo>
                    <a:lnTo>
                      <a:pt x="2859" y="1066"/>
                    </a:lnTo>
                    <a:lnTo>
                      <a:pt x="2859" y="1222"/>
                    </a:lnTo>
                    <a:lnTo>
                      <a:pt x="2861" y="1222"/>
                    </a:lnTo>
                    <a:lnTo>
                      <a:pt x="2861" y="1063"/>
                    </a:lnTo>
                    <a:moveTo>
                      <a:pt x="5930" y="1042"/>
                    </a:moveTo>
                    <a:lnTo>
                      <a:pt x="5930" y="1042"/>
                    </a:lnTo>
                    <a:lnTo>
                      <a:pt x="5928" y="1042"/>
                    </a:lnTo>
                    <a:lnTo>
                      <a:pt x="5928" y="1044"/>
                    </a:lnTo>
                    <a:lnTo>
                      <a:pt x="5928" y="1111"/>
                    </a:lnTo>
                    <a:lnTo>
                      <a:pt x="5930" y="1111"/>
                    </a:lnTo>
                    <a:lnTo>
                      <a:pt x="5930" y="1042"/>
                    </a:lnTo>
                    <a:moveTo>
                      <a:pt x="2878" y="1011"/>
                    </a:moveTo>
                    <a:lnTo>
                      <a:pt x="2875" y="1014"/>
                    </a:lnTo>
                    <a:lnTo>
                      <a:pt x="2875" y="1014"/>
                    </a:lnTo>
                    <a:lnTo>
                      <a:pt x="2875" y="1047"/>
                    </a:lnTo>
                    <a:lnTo>
                      <a:pt x="2878" y="1047"/>
                    </a:lnTo>
                    <a:lnTo>
                      <a:pt x="2878" y="1044"/>
                    </a:lnTo>
                    <a:lnTo>
                      <a:pt x="2878" y="1044"/>
                    </a:lnTo>
                    <a:lnTo>
                      <a:pt x="2878" y="1011"/>
                    </a:lnTo>
                    <a:moveTo>
                      <a:pt x="3771" y="995"/>
                    </a:moveTo>
                    <a:lnTo>
                      <a:pt x="3769" y="995"/>
                    </a:lnTo>
                    <a:lnTo>
                      <a:pt x="3769" y="995"/>
                    </a:lnTo>
                    <a:lnTo>
                      <a:pt x="3769" y="1205"/>
                    </a:lnTo>
                    <a:lnTo>
                      <a:pt x="3771" y="1205"/>
                    </a:lnTo>
                    <a:lnTo>
                      <a:pt x="3771" y="995"/>
                    </a:lnTo>
                    <a:moveTo>
                      <a:pt x="5949" y="990"/>
                    </a:moveTo>
                    <a:lnTo>
                      <a:pt x="5947" y="990"/>
                    </a:lnTo>
                    <a:lnTo>
                      <a:pt x="5947" y="992"/>
                    </a:lnTo>
                    <a:lnTo>
                      <a:pt x="5947" y="1025"/>
                    </a:lnTo>
                    <a:lnTo>
                      <a:pt x="5947" y="1025"/>
                    </a:lnTo>
                    <a:lnTo>
                      <a:pt x="5947" y="1023"/>
                    </a:lnTo>
                    <a:lnTo>
                      <a:pt x="5949" y="1023"/>
                    </a:lnTo>
                    <a:lnTo>
                      <a:pt x="5949" y="990"/>
                    </a:lnTo>
                    <a:moveTo>
                      <a:pt x="6339" y="935"/>
                    </a:moveTo>
                    <a:lnTo>
                      <a:pt x="6339" y="935"/>
                    </a:lnTo>
                    <a:lnTo>
                      <a:pt x="6337" y="935"/>
                    </a:lnTo>
                    <a:lnTo>
                      <a:pt x="6337" y="938"/>
                    </a:lnTo>
                    <a:lnTo>
                      <a:pt x="6337" y="1113"/>
                    </a:lnTo>
                    <a:lnTo>
                      <a:pt x="6339" y="1113"/>
                    </a:lnTo>
                    <a:lnTo>
                      <a:pt x="6339" y="1111"/>
                    </a:lnTo>
                    <a:lnTo>
                      <a:pt x="6339" y="1111"/>
                    </a:lnTo>
                    <a:lnTo>
                      <a:pt x="6339" y="935"/>
                    </a:lnTo>
                    <a:moveTo>
                      <a:pt x="3845" y="928"/>
                    </a:moveTo>
                    <a:lnTo>
                      <a:pt x="3842" y="928"/>
                    </a:lnTo>
                    <a:lnTo>
                      <a:pt x="3842" y="931"/>
                    </a:lnTo>
                    <a:lnTo>
                      <a:pt x="3842" y="976"/>
                    </a:lnTo>
                    <a:lnTo>
                      <a:pt x="3845" y="976"/>
                    </a:lnTo>
                    <a:lnTo>
                      <a:pt x="3845" y="928"/>
                    </a:lnTo>
                    <a:moveTo>
                      <a:pt x="6384" y="895"/>
                    </a:moveTo>
                    <a:lnTo>
                      <a:pt x="6384" y="895"/>
                    </a:lnTo>
                    <a:lnTo>
                      <a:pt x="6384" y="895"/>
                    </a:lnTo>
                    <a:lnTo>
                      <a:pt x="6382" y="898"/>
                    </a:lnTo>
                    <a:lnTo>
                      <a:pt x="6377" y="916"/>
                    </a:lnTo>
                    <a:lnTo>
                      <a:pt x="6379" y="916"/>
                    </a:lnTo>
                    <a:lnTo>
                      <a:pt x="6384" y="895"/>
                    </a:lnTo>
                    <a:moveTo>
                      <a:pt x="6389" y="879"/>
                    </a:moveTo>
                    <a:lnTo>
                      <a:pt x="6389" y="879"/>
                    </a:lnTo>
                    <a:lnTo>
                      <a:pt x="6386" y="879"/>
                    </a:lnTo>
                    <a:lnTo>
                      <a:pt x="6386" y="881"/>
                    </a:lnTo>
                    <a:lnTo>
                      <a:pt x="6386" y="893"/>
                    </a:lnTo>
                    <a:lnTo>
                      <a:pt x="6389" y="893"/>
                    </a:lnTo>
                    <a:lnTo>
                      <a:pt x="6389" y="890"/>
                    </a:lnTo>
                    <a:lnTo>
                      <a:pt x="6389" y="890"/>
                    </a:lnTo>
                    <a:lnTo>
                      <a:pt x="6389" y="879"/>
                    </a:lnTo>
                    <a:moveTo>
                      <a:pt x="6398" y="850"/>
                    </a:moveTo>
                    <a:lnTo>
                      <a:pt x="6396" y="850"/>
                    </a:lnTo>
                    <a:lnTo>
                      <a:pt x="6396" y="853"/>
                    </a:lnTo>
                    <a:lnTo>
                      <a:pt x="6396" y="872"/>
                    </a:lnTo>
                    <a:lnTo>
                      <a:pt x="6396" y="872"/>
                    </a:lnTo>
                    <a:lnTo>
                      <a:pt x="6396" y="869"/>
                    </a:lnTo>
                    <a:lnTo>
                      <a:pt x="6398" y="869"/>
                    </a:lnTo>
                    <a:lnTo>
                      <a:pt x="6398" y="850"/>
                    </a:lnTo>
                    <a:moveTo>
                      <a:pt x="806" y="827"/>
                    </a:moveTo>
                    <a:lnTo>
                      <a:pt x="804" y="827"/>
                    </a:lnTo>
                    <a:lnTo>
                      <a:pt x="804" y="829"/>
                    </a:lnTo>
                    <a:lnTo>
                      <a:pt x="804" y="1051"/>
                    </a:lnTo>
                    <a:lnTo>
                      <a:pt x="806" y="1051"/>
                    </a:lnTo>
                    <a:lnTo>
                      <a:pt x="806" y="827"/>
                    </a:lnTo>
                    <a:moveTo>
                      <a:pt x="3100" y="763"/>
                    </a:moveTo>
                    <a:lnTo>
                      <a:pt x="3100" y="763"/>
                    </a:lnTo>
                    <a:lnTo>
                      <a:pt x="3097" y="763"/>
                    </a:lnTo>
                    <a:lnTo>
                      <a:pt x="3097" y="765"/>
                    </a:lnTo>
                    <a:lnTo>
                      <a:pt x="3097" y="961"/>
                    </a:lnTo>
                    <a:lnTo>
                      <a:pt x="3100" y="961"/>
                    </a:lnTo>
                    <a:lnTo>
                      <a:pt x="3100" y="763"/>
                    </a:lnTo>
                    <a:moveTo>
                      <a:pt x="1010" y="753"/>
                    </a:moveTo>
                    <a:lnTo>
                      <a:pt x="1007" y="753"/>
                    </a:lnTo>
                    <a:lnTo>
                      <a:pt x="1007" y="755"/>
                    </a:lnTo>
                    <a:lnTo>
                      <a:pt x="1007" y="810"/>
                    </a:lnTo>
                    <a:lnTo>
                      <a:pt x="1010" y="810"/>
                    </a:lnTo>
                    <a:lnTo>
                      <a:pt x="1010" y="753"/>
                    </a:lnTo>
                    <a:moveTo>
                      <a:pt x="5131" y="732"/>
                    </a:moveTo>
                    <a:lnTo>
                      <a:pt x="5131" y="732"/>
                    </a:lnTo>
                    <a:lnTo>
                      <a:pt x="5131" y="734"/>
                    </a:lnTo>
                    <a:lnTo>
                      <a:pt x="5131" y="954"/>
                    </a:lnTo>
                    <a:lnTo>
                      <a:pt x="5131" y="954"/>
                    </a:lnTo>
                    <a:lnTo>
                      <a:pt x="5131" y="732"/>
                    </a:lnTo>
                    <a:moveTo>
                      <a:pt x="3138" y="658"/>
                    </a:moveTo>
                    <a:lnTo>
                      <a:pt x="3138" y="658"/>
                    </a:lnTo>
                    <a:lnTo>
                      <a:pt x="3138" y="658"/>
                    </a:lnTo>
                    <a:lnTo>
                      <a:pt x="3138" y="744"/>
                    </a:lnTo>
                    <a:lnTo>
                      <a:pt x="3138" y="744"/>
                    </a:lnTo>
                    <a:lnTo>
                      <a:pt x="3138" y="658"/>
                    </a:lnTo>
                    <a:moveTo>
                      <a:pt x="97" y="618"/>
                    </a:moveTo>
                    <a:lnTo>
                      <a:pt x="95" y="618"/>
                    </a:lnTo>
                    <a:lnTo>
                      <a:pt x="95" y="618"/>
                    </a:lnTo>
                    <a:lnTo>
                      <a:pt x="95" y="1435"/>
                    </a:lnTo>
                    <a:lnTo>
                      <a:pt x="97" y="1435"/>
                    </a:lnTo>
                    <a:lnTo>
                      <a:pt x="97" y="618"/>
                    </a:lnTo>
                    <a:moveTo>
                      <a:pt x="5254" y="609"/>
                    </a:moveTo>
                    <a:lnTo>
                      <a:pt x="5251" y="609"/>
                    </a:lnTo>
                    <a:lnTo>
                      <a:pt x="5251" y="611"/>
                    </a:lnTo>
                    <a:lnTo>
                      <a:pt x="5251" y="713"/>
                    </a:lnTo>
                    <a:lnTo>
                      <a:pt x="5254" y="713"/>
                    </a:lnTo>
                    <a:lnTo>
                      <a:pt x="5254" y="609"/>
                    </a:lnTo>
                    <a:moveTo>
                      <a:pt x="3282" y="583"/>
                    </a:moveTo>
                    <a:lnTo>
                      <a:pt x="3282" y="583"/>
                    </a:lnTo>
                    <a:lnTo>
                      <a:pt x="3279" y="583"/>
                    </a:lnTo>
                    <a:lnTo>
                      <a:pt x="3279" y="585"/>
                    </a:lnTo>
                    <a:lnTo>
                      <a:pt x="3279" y="639"/>
                    </a:lnTo>
                    <a:lnTo>
                      <a:pt x="3282" y="639"/>
                    </a:lnTo>
                    <a:lnTo>
                      <a:pt x="3282" y="583"/>
                    </a:lnTo>
                    <a:moveTo>
                      <a:pt x="303" y="547"/>
                    </a:moveTo>
                    <a:lnTo>
                      <a:pt x="300" y="547"/>
                    </a:lnTo>
                    <a:lnTo>
                      <a:pt x="300" y="550"/>
                    </a:lnTo>
                    <a:lnTo>
                      <a:pt x="300" y="599"/>
                    </a:lnTo>
                    <a:lnTo>
                      <a:pt x="303" y="599"/>
                    </a:lnTo>
                    <a:lnTo>
                      <a:pt x="303" y="547"/>
                    </a:lnTo>
                    <a:moveTo>
                      <a:pt x="7025" y="509"/>
                    </a:moveTo>
                    <a:lnTo>
                      <a:pt x="7023" y="509"/>
                    </a:lnTo>
                    <a:lnTo>
                      <a:pt x="7023" y="512"/>
                    </a:lnTo>
                    <a:lnTo>
                      <a:pt x="7023" y="1674"/>
                    </a:lnTo>
                    <a:lnTo>
                      <a:pt x="7025" y="1674"/>
                    </a:lnTo>
                    <a:lnTo>
                      <a:pt x="7025" y="509"/>
                    </a:lnTo>
                    <a:moveTo>
                      <a:pt x="4192" y="505"/>
                    </a:moveTo>
                    <a:lnTo>
                      <a:pt x="4192" y="505"/>
                    </a:lnTo>
                    <a:lnTo>
                      <a:pt x="4192" y="505"/>
                    </a:lnTo>
                    <a:lnTo>
                      <a:pt x="4135" y="580"/>
                    </a:lnTo>
                    <a:lnTo>
                      <a:pt x="4138" y="580"/>
                    </a:lnTo>
                    <a:lnTo>
                      <a:pt x="4192" y="505"/>
                    </a:lnTo>
                    <a:moveTo>
                      <a:pt x="3301" y="502"/>
                    </a:moveTo>
                    <a:lnTo>
                      <a:pt x="3298" y="502"/>
                    </a:lnTo>
                    <a:lnTo>
                      <a:pt x="3298" y="502"/>
                    </a:lnTo>
                    <a:lnTo>
                      <a:pt x="3298" y="505"/>
                    </a:lnTo>
                    <a:lnTo>
                      <a:pt x="3298" y="566"/>
                    </a:lnTo>
                    <a:lnTo>
                      <a:pt x="3298" y="566"/>
                    </a:lnTo>
                    <a:lnTo>
                      <a:pt x="3298" y="564"/>
                    </a:lnTo>
                    <a:lnTo>
                      <a:pt x="3301" y="564"/>
                    </a:lnTo>
                    <a:lnTo>
                      <a:pt x="3301" y="502"/>
                    </a:lnTo>
                    <a:moveTo>
                      <a:pt x="4036" y="455"/>
                    </a:moveTo>
                    <a:lnTo>
                      <a:pt x="4034" y="455"/>
                    </a:lnTo>
                    <a:lnTo>
                      <a:pt x="4034" y="455"/>
                    </a:lnTo>
                    <a:lnTo>
                      <a:pt x="4034" y="457"/>
                    </a:lnTo>
                    <a:lnTo>
                      <a:pt x="4034" y="490"/>
                    </a:lnTo>
                    <a:lnTo>
                      <a:pt x="3953" y="644"/>
                    </a:lnTo>
                    <a:lnTo>
                      <a:pt x="3953" y="909"/>
                    </a:lnTo>
                    <a:lnTo>
                      <a:pt x="3956" y="909"/>
                    </a:lnTo>
                    <a:lnTo>
                      <a:pt x="3956" y="642"/>
                    </a:lnTo>
                    <a:lnTo>
                      <a:pt x="4036" y="490"/>
                    </a:lnTo>
                    <a:lnTo>
                      <a:pt x="4036" y="455"/>
                    </a:lnTo>
                    <a:moveTo>
                      <a:pt x="3329" y="433"/>
                    </a:moveTo>
                    <a:lnTo>
                      <a:pt x="3327" y="433"/>
                    </a:lnTo>
                    <a:lnTo>
                      <a:pt x="3327" y="436"/>
                    </a:lnTo>
                    <a:lnTo>
                      <a:pt x="3327" y="483"/>
                    </a:lnTo>
                    <a:lnTo>
                      <a:pt x="3329" y="483"/>
                    </a:lnTo>
                    <a:lnTo>
                      <a:pt x="3329" y="433"/>
                    </a:lnTo>
                    <a:moveTo>
                      <a:pt x="4043" y="391"/>
                    </a:moveTo>
                    <a:lnTo>
                      <a:pt x="4041" y="391"/>
                    </a:lnTo>
                    <a:lnTo>
                      <a:pt x="4041" y="391"/>
                    </a:lnTo>
                    <a:lnTo>
                      <a:pt x="4041" y="393"/>
                    </a:lnTo>
                    <a:lnTo>
                      <a:pt x="4041" y="450"/>
                    </a:lnTo>
                    <a:lnTo>
                      <a:pt x="4043" y="450"/>
                    </a:lnTo>
                    <a:lnTo>
                      <a:pt x="4043" y="448"/>
                    </a:lnTo>
                    <a:lnTo>
                      <a:pt x="4043" y="448"/>
                    </a:lnTo>
                    <a:lnTo>
                      <a:pt x="4043" y="391"/>
                    </a:lnTo>
                    <a:moveTo>
                      <a:pt x="1809" y="370"/>
                    </a:moveTo>
                    <a:lnTo>
                      <a:pt x="1809" y="370"/>
                    </a:lnTo>
                    <a:lnTo>
                      <a:pt x="1809" y="372"/>
                    </a:lnTo>
                    <a:lnTo>
                      <a:pt x="1809" y="1113"/>
                    </a:lnTo>
                    <a:lnTo>
                      <a:pt x="1809" y="1113"/>
                    </a:lnTo>
                    <a:lnTo>
                      <a:pt x="1809" y="370"/>
                    </a:lnTo>
                    <a:moveTo>
                      <a:pt x="1939" y="334"/>
                    </a:moveTo>
                    <a:lnTo>
                      <a:pt x="1936" y="334"/>
                    </a:lnTo>
                    <a:lnTo>
                      <a:pt x="1936" y="336"/>
                    </a:lnTo>
                    <a:lnTo>
                      <a:pt x="1936" y="351"/>
                    </a:lnTo>
                    <a:lnTo>
                      <a:pt x="1939" y="351"/>
                    </a:lnTo>
                    <a:lnTo>
                      <a:pt x="1939" y="334"/>
                    </a:lnTo>
                    <a:moveTo>
                      <a:pt x="4050" y="327"/>
                    </a:moveTo>
                    <a:lnTo>
                      <a:pt x="4048" y="327"/>
                    </a:lnTo>
                    <a:lnTo>
                      <a:pt x="4048" y="329"/>
                    </a:lnTo>
                    <a:lnTo>
                      <a:pt x="4048" y="384"/>
                    </a:lnTo>
                    <a:lnTo>
                      <a:pt x="4050" y="384"/>
                    </a:lnTo>
                    <a:lnTo>
                      <a:pt x="4050" y="381"/>
                    </a:lnTo>
                    <a:lnTo>
                      <a:pt x="4050" y="381"/>
                    </a:lnTo>
                    <a:lnTo>
                      <a:pt x="4050" y="327"/>
                    </a:lnTo>
                    <a:moveTo>
                      <a:pt x="2029" y="294"/>
                    </a:moveTo>
                    <a:lnTo>
                      <a:pt x="2026" y="294"/>
                    </a:lnTo>
                    <a:lnTo>
                      <a:pt x="2026" y="296"/>
                    </a:lnTo>
                    <a:lnTo>
                      <a:pt x="2026" y="315"/>
                    </a:lnTo>
                    <a:lnTo>
                      <a:pt x="2029" y="315"/>
                    </a:lnTo>
                    <a:lnTo>
                      <a:pt x="2029" y="294"/>
                    </a:lnTo>
                    <a:moveTo>
                      <a:pt x="4703" y="232"/>
                    </a:moveTo>
                    <a:lnTo>
                      <a:pt x="4701" y="232"/>
                    </a:lnTo>
                    <a:lnTo>
                      <a:pt x="4701" y="235"/>
                    </a:lnTo>
                    <a:lnTo>
                      <a:pt x="4639" y="464"/>
                    </a:lnTo>
                    <a:lnTo>
                      <a:pt x="4639" y="464"/>
                    </a:lnTo>
                    <a:lnTo>
                      <a:pt x="4703" y="232"/>
                    </a:lnTo>
                    <a:moveTo>
                      <a:pt x="4805" y="173"/>
                    </a:moveTo>
                    <a:lnTo>
                      <a:pt x="4802" y="173"/>
                    </a:lnTo>
                    <a:lnTo>
                      <a:pt x="4802" y="173"/>
                    </a:lnTo>
                    <a:lnTo>
                      <a:pt x="4802" y="175"/>
                    </a:lnTo>
                    <a:lnTo>
                      <a:pt x="4802" y="213"/>
                    </a:lnTo>
                    <a:lnTo>
                      <a:pt x="4805" y="213"/>
                    </a:lnTo>
                    <a:lnTo>
                      <a:pt x="4805" y="173"/>
                    </a:lnTo>
                    <a:moveTo>
                      <a:pt x="4852" y="0"/>
                    </a:moveTo>
                    <a:lnTo>
                      <a:pt x="4850" y="0"/>
                    </a:lnTo>
                    <a:lnTo>
                      <a:pt x="4850" y="3"/>
                    </a:lnTo>
                    <a:lnTo>
                      <a:pt x="4850" y="154"/>
                    </a:lnTo>
                    <a:lnTo>
                      <a:pt x="4852" y="154"/>
                    </a:lnTo>
                    <a:lnTo>
                      <a:pt x="4852" y="0"/>
                    </a:lnTo>
                    <a:moveTo>
                      <a:pt x="4911" y="0"/>
                    </a:moveTo>
                    <a:lnTo>
                      <a:pt x="4909" y="0"/>
                    </a:lnTo>
                    <a:lnTo>
                      <a:pt x="4909" y="3"/>
                    </a:lnTo>
                    <a:lnTo>
                      <a:pt x="4909" y="154"/>
                    </a:lnTo>
                    <a:lnTo>
                      <a:pt x="4911" y="154"/>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4" name="Freeform 126"/>
              <p:cNvSpPr>
                <a:spLocks noEditPoints="1"/>
              </p:cNvSpPr>
              <p:nvPr/>
            </p:nvSpPr>
            <p:spPr bwMode="auto">
              <a:xfrm>
                <a:off x="30" y="1677"/>
                <a:ext cx="7025" cy="1676"/>
              </a:xfrm>
              <a:custGeom>
                <a:avLst/>
                <a:gdLst>
                  <a:gd name="T0" fmla="*/ 0 w 7025"/>
                  <a:gd name="T1" fmla="*/ 1517 h 1676"/>
                  <a:gd name="T2" fmla="*/ 5663 w 7025"/>
                  <a:gd name="T3" fmla="*/ 1432 h 1676"/>
                  <a:gd name="T4" fmla="*/ 3708 w 7025"/>
                  <a:gd name="T5" fmla="*/ 1224 h 1676"/>
                  <a:gd name="T6" fmla="*/ 5831 w 7025"/>
                  <a:gd name="T7" fmla="*/ 1210 h 1676"/>
                  <a:gd name="T8" fmla="*/ 5831 w 7025"/>
                  <a:gd name="T9" fmla="*/ 1309 h 1676"/>
                  <a:gd name="T10" fmla="*/ 1663 w 7025"/>
                  <a:gd name="T11" fmla="*/ 1160 h 1676"/>
                  <a:gd name="T12" fmla="*/ 1686 w 7025"/>
                  <a:gd name="T13" fmla="*/ 1132 h 1676"/>
                  <a:gd name="T14" fmla="*/ 5855 w 7025"/>
                  <a:gd name="T15" fmla="*/ 1129 h 1676"/>
                  <a:gd name="T16" fmla="*/ 5855 w 7025"/>
                  <a:gd name="T17" fmla="*/ 1193 h 1676"/>
                  <a:gd name="T18" fmla="*/ 6321 w 7025"/>
                  <a:gd name="T19" fmla="*/ 1132 h 1676"/>
                  <a:gd name="T20" fmla="*/ 1445 w 7025"/>
                  <a:gd name="T21" fmla="*/ 1127 h 1676"/>
                  <a:gd name="T22" fmla="*/ 1447 w 7025"/>
                  <a:gd name="T23" fmla="*/ 1127 h 1676"/>
                  <a:gd name="T24" fmla="*/ 1464 w 7025"/>
                  <a:gd name="T25" fmla="*/ 1110 h 1676"/>
                  <a:gd name="T26" fmla="*/ 2859 w 7025"/>
                  <a:gd name="T27" fmla="*/ 1065 h 1676"/>
                  <a:gd name="T28" fmla="*/ 5930 w 7025"/>
                  <a:gd name="T29" fmla="*/ 1042 h 1676"/>
                  <a:gd name="T30" fmla="*/ 5930 w 7025"/>
                  <a:gd name="T31" fmla="*/ 1042 h 1676"/>
                  <a:gd name="T32" fmla="*/ 2878 w 7025"/>
                  <a:gd name="T33" fmla="*/ 1046 h 1676"/>
                  <a:gd name="T34" fmla="*/ 3769 w 7025"/>
                  <a:gd name="T35" fmla="*/ 1207 h 1676"/>
                  <a:gd name="T36" fmla="*/ 5947 w 7025"/>
                  <a:gd name="T37" fmla="*/ 992 h 1676"/>
                  <a:gd name="T38" fmla="*/ 6340 w 7025"/>
                  <a:gd name="T39" fmla="*/ 937 h 1676"/>
                  <a:gd name="T40" fmla="*/ 6340 w 7025"/>
                  <a:gd name="T41" fmla="*/ 937 h 1676"/>
                  <a:gd name="T42" fmla="*/ 3845 w 7025"/>
                  <a:gd name="T43" fmla="*/ 978 h 1676"/>
                  <a:gd name="T44" fmla="*/ 6382 w 7025"/>
                  <a:gd name="T45" fmla="*/ 897 h 1676"/>
                  <a:gd name="T46" fmla="*/ 6387 w 7025"/>
                  <a:gd name="T47" fmla="*/ 878 h 1676"/>
                  <a:gd name="T48" fmla="*/ 6389 w 7025"/>
                  <a:gd name="T49" fmla="*/ 890 h 1676"/>
                  <a:gd name="T50" fmla="*/ 6396 w 7025"/>
                  <a:gd name="T51" fmla="*/ 852 h 1676"/>
                  <a:gd name="T52" fmla="*/ 6396 w 7025"/>
                  <a:gd name="T53" fmla="*/ 850 h 1676"/>
                  <a:gd name="T54" fmla="*/ 804 w 7025"/>
                  <a:gd name="T55" fmla="*/ 1053 h 1676"/>
                  <a:gd name="T56" fmla="*/ 3098 w 7025"/>
                  <a:gd name="T57" fmla="*/ 765 h 1676"/>
                  <a:gd name="T58" fmla="*/ 1008 w 7025"/>
                  <a:gd name="T59" fmla="*/ 753 h 1676"/>
                  <a:gd name="T60" fmla="*/ 5131 w 7025"/>
                  <a:gd name="T61" fmla="*/ 731 h 1676"/>
                  <a:gd name="T62" fmla="*/ 5131 w 7025"/>
                  <a:gd name="T63" fmla="*/ 731 h 1676"/>
                  <a:gd name="T64" fmla="*/ 3138 w 7025"/>
                  <a:gd name="T65" fmla="*/ 746 h 1676"/>
                  <a:gd name="T66" fmla="*/ 95 w 7025"/>
                  <a:gd name="T67" fmla="*/ 1437 h 1676"/>
                  <a:gd name="T68" fmla="*/ 5252 w 7025"/>
                  <a:gd name="T69" fmla="*/ 611 h 1676"/>
                  <a:gd name="T70" fmla="*/ 3282 w 7025"/>
                  <a:gd name="T71" fmla="*/ 582 h 1676"/>
                  <a:gd name="T72" fmla="*/ 3282 w 7025"/>
                  <a:gd name="T73" fmla="*/ 582 h 1676"/>
                  <a:gd name="T74" fmla="*/ 303 w 7025"/>
                  <a:gd name="T75" fmla="*/ 601 h 1676"/>
                  <a:gd name="T76" fmla="*/ 7023 w 7025"/>
                  <a:gd name="T77" fmla="*/ 1676 h 1676"/>
                  <a:gd name="T78" fmla="*/ 4190 w 7025"/>
                  <a:gd name="T79" fmla="*/ 507 h 1676"/>
                  <a:gd name="T80" fmla="*/ 3299 w 7025"/>
                  <a:gd name="T81" fmla="*/ 502 h 1676"/>
                  <a:gd name="T82" fmla="*/ 3299 w 7025"/>
                  <a:gd name="T83" fmla="*/ 502 h 1676"/>
                  <a:gd name="T84" fmla="*/ 4034 w 7025"/>
                  <a:gd name="T85" fmla="*/ 492 h 1676"/>
                  <a:gd name="T86" fmla="*/ 4037 w 7025"/>
                  <a:gd name="T87" fmla="*/ 490 h 1676"/>
                  <a:gd name="T88" fmla="*/ 3327 w 7025"/>
                  <a:gd name="T89" fmla="*/ 485 h 1676"/>
                  <a:gd name="T90" fmla="*/ 4041 w 7025"/>
                  <a:gd name="T91" fmla="*/ 391 h 1676"/>
                  <a:gd name="T92" fmla="*/ 4041 w 7025"/>
                  <a:gd name="T93" fmla="*/ 447 h 1676"/>
                  <a:gd name="T94" fmla="*/ 1807 w 7025"/>
                  <a:gd name="T95" fmla="*/ 1115 h 1676"/>
                  <a:gd name="T96" fmla="*/ 1937 w 7025"/>
                  <a:gd name="T97" fmla="*/ 336 h 1676"/>
                  <a:gd name="T98" fmla="*/ 4048 w 7025"/>
                  <a:gd name="T99" fmla="*/ 329 h 1676"/>
                  <a:gd name="T100" fmla="*/ 4051 w 7025"/>
                  <a:gd name="T101" fmla="*/ 381 h 1676"/>
                  <a:gd name="T102" fmla="*/ 2027 w 7025"/>
                  <a:gd name="T103" fmla="*/ 317 h 1676"/>
                  <a:gd name="T104" fmla="*/ 4701 w 7025"/>
                  <a:gd name="T105" fmla="*/ 234 h 1676"/>
                  <a:gd name="T106" fmla="*/ 4803 w 7025"/>
                  <a:gd name="T107" fmla="*/ 173 h 1676"/>
                  <a:gd name="T108" fmla="*/ 4803 w 7025"/>
                  <a:gd name="T109" fmla="*/ 173 h 1676"/>
                  <a:gd name="T110" fmla="*/ 4852 w 7025"/>
                  <a:gd name="T111" fmla="*/ 156 h 1676"/>
                  <a:gd name="T112" fmla="*/ 4909 w 7025"/>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76">
                    <a:moveTo>
                      <a:pt x="0" y="1454"/>
                    </a:moveTo>
                    <a:lnTo>
                      <a:pt x="0" y="1454"/>
                    </a:lnTo>
                    <a:lnTo>
                      <a:pt x="0" y="1456"/>
                    </a:lnTo>
                    <a:lnTo>
                      <a:pt x="0" y="1517"/>
                    </a:lnTo>
                    <a:lnTo>
                      <a:pt x="0" y="1517"/>
                    </a:lnTo>
                    <a:lnTo>
                      <a:pt x="0" y="1454"/>
                    </a:lnTo>
                    <a:close/>
                    <a:moveTo>
                      <a:pt x="5666" y="1326"/>
                    </a:moveTo>
                    <a:lnTo>
                      <a:pt x="5663" y="1326"/>
                    </a:lnTo>
                    <a:lnTo>
                      <a:pt x="5663" y="1328"/>
                    </a:lnTo>
                    <a:lnTo>
                      <a:pt x="5663" y="1432"/>
                    </a:lnTo>
                    <a:lnTo>
                      <a:pt x="5666" y="1432"/>
                    </a:lnTo>
                    <a:lnTo>
                      <a:pt x="5666" y="1326"/>
                    </a:lnTo>
                    <a:close/>
                    <a:moveTo>
                      <a:pt x="3710" y="1224"/>
                    </a:moveTo>
                    <a:lnTo>
                      <a:pt x="3708" y="1224"/>
                    </a:lnTo>
                    <a:lnTo>
                      <a:pt x="3708" y="1224"/>
                    </a:lnTo>
                    <a:lnTo>
                      <a:pt x="3708" y="1224"/>
                    </a:lnTo>
                    <a:lnTo>
                      <a:pt x="3708" y="1375"/>
                    </a:lnTo>
                    <a:lnTo>
                      <a:pt x="3710" y="1375"/>
                    </a:lnTo>
                    <a:lnTo>
                      <a:pt x="3710" y="1224"/>
                    </a:lnTo>
                    <a:close/>
                    <a:moveTo>
                      <a:pt x="5831" y="1210"/>
                    </a:moveTo>
                    <a:lnTo>
                      <a:pt x="5829" y="1210"/>
                    </a:lnTo>
                    <a:lnTo>
                      <a:pt x="5829" y="1210"/>
                    </a:lnTo>
                    <a:lnTo>
                      <a:pt x="5829" y="1212"/>
                    </a:lnTo>
                    <a:lnTo>
                      <a:pt x="5829" y="1309"/>
                    </a:lnTo>
                    <a:lnTo>
                      <a:pt x="5831" y="1309"/>
                    </a:lnTo>
                    <a:lnTo>
                      <a:pt x="5831" y="1210"/>
                    </a:lnTo>
                    <a:close/>
                    <a:moveTo>
                      <a:pt x="1665" y="1158"/>
                    </a:moveTo>
                    <a:lnTo>
                      <a:pt x="1665" y="1158"/>
                    </a:lnTo>
                    <a:lnTo>
                      <a:pt x="1663" y="1158"/>
                    </a:lnTo>
                    <a:lnTo>
                      <a:pt x="1663" y="1160"/>
                    </a:lnTo>
                    <a:lnTo>
                      <a:pt x="1663" y="1184"/>
                    </a:lnTo>
                    <a:lnTo>
                      <a:pt x="1665" y="1184"/>
                    </a:lnTo>
                    <a:lnTo>
                      <a:pt x="1665" y="1158"/>
                    </a:lnTo>
                    <a:close/>
                    <a:moveTo>
                      <a:pt x="1689" y="1132"/>
                    </a:moveTo>
                    <a:lnTo>
                      <a:pt x="1686" y="1132"/>
                    </a:lnTo>
                    <a:lnTo>
                      <a:pt x="1686" y="1134"/>
                    </a:lnTo>
                    <a:lnTo>
                      <a:pt x="1686" y="1141"/>
                    </a:lnTo>
                    <a:lnTo>
                      <a:pt x="1689" y="1141"/>
                    </a:lnTo>
                    <a:lnTo>
                      <a:pt x="1689" y="1132"/>
                    </a:lnTo>
                    <a:close/>
                    <a:moveTo>
                      <a:pt x="5855" y="1129"/>
                    </a:moveTo>
                    <a:lnTo>
                      <a:pt x="5855" y="1129"/>
                    </a:lnTo>
                    <a:lnTo>
                      <a:pt x="5855" y="1129"/>
                    </a:lnTo>
                    <a:lnTo>
                      <a:pt x="5855" y="1132"/>
                    </a:lnTo>
                    <a:lnTo>
                      <a:pt x="5855" y="1193"/>
                    </a:lnTo>
                    <a:lnTo>
                      <a:pt x="5855" y="1193"/>
                    </a:lnTo>
                    <a:lnTo>
                      <a:pt x="5855" y="1129"/>
                    </a:lnTo>
                    <a:close/>
                    <a:moveTo>
                      <a:pt x="6323" y="1129"/>
                    </a:moveTo>
                    <a:lnTo>
                      <a:pt x="6321" y="1129"/>
                    </a:lnTo>
                    <a:lnTo>
                      <a:pt x="6321" y="1129"/>
                    </a:lnTo>
                    <a:lnTo>
                      <a:pt x="6321" y="1132"/>
                    </a:lnTo>
                    <a:lnTo>
                      <a:pt x="6321" y="1347"/>
                    </a:lnTo>
                    <a:lnTo>
                      <a:pt x="6323" y="1347"/>
                    </a:lnTo>
                    <a:lnTo>
                      <a:pt x="6323" y="1129"/>
                    </a:lnTo>
                    <a:close/>
                    <a:moveTo>
                      <a:pt x="1447" y="1127"/>
                    </a:moveTo>
                    <a:lnTo>
                      <a:pt x="1445" y="1127"/>
                    </a:lnTo>
                    <a:lnTo>
                      <a:pt x="1445" y="1127"/>
                    </a:lnTo>
                    <a:lnTo>
                      <a:pt x="1445" y="1129"/>
                    </a:lnTo>
                    <a:lnTo>
                      <a:pt x="1445" y="1184"/>
                    </a:lnTo>
                    <a:lnTo>
                      <a:pt x="1447" y="1184"/>
                    </a:lnTo>
                    <a:lnTo>
                      <a:pt x="1447" y="1127"/>
                    </a:lnTo>
                    <a:close/>
                    <a:moveTo>
                      <a:pt x="1464" y="1084"/>
                    </a:moveTo>
                    <a:lnTo>
                      <a:pt x="1462" y="1084"/>
                    </a:lnTo>
                    <a:lnTo>
                      <a:pt x="1462" y="1087"/>
                    </a:lnTo>
                    <a:lnTo>
                      <a:pt x="1462" y="1110"/>
                    </a:lnTo>
                    <a:lnTo>
                      <a:pt x="1464" y="1110"/>
                    </a:lnTo>
                    <a:lnTo>
                      <a:pt x="1464" y="1084"/>
                    </a:lnTo>
                    <a:close/>
                    <a:moveTo>
                      <a:pt x="2859" y="1063"/>
                    </a:moveTo>
                    <a:lnTo>
                      <a:pt x="2859" y="1063"/>
                    </a:lnTo>
                    <a:lnTo>
                      <a:pt x="2859" y="1063"/>
                    </a:lnTo>
                    <a:lnTo>
                      <a:pt x="2859" y="1065"/>
                    </a:lnTo>
                    <a:lnTo>
                      <a:pt x="2859" y="1224"/>
                    </a:lnTo>
                    <a:lnTo>
                      <a:pt x="2859" y="1224"/>
                    </a:lnTo>
                    <a:lnTo>
                      <a:pt x="2859" y="1063"/>
                    </a:lnTo>
                    <a:close/>
                    <a:moveTo>
                      <a:pt x="5930" y="1042"/>
                    </a:moveTo>
                    <a:lnTo>
                      <a:pt x="5930" y="1042"/>
                    </a:lnTo>
                    <a:lnTo>
                      <a:pt x="5928" y="1042"/>
                    </a:lnTo>
                    <a:lnTo>
                      <a:pt x="5928" y="1044"/>
                    </a:lnTo>
                    <a:lnTo>
                      <a:pt x="5928" y="1113"/>
                    </a:lnTo>
                    <a:lnTo>
                      <a:pt x="5930" y="1113"/>
                    </a:lnTo>
                    <a:lnTo>
                      <a:pt x="5930" y="1042"/>
                    </a:lnTo>
                    <a:close/>
                    <a:moveTo>
                      <a:pt x="2878" y="1013"/>
                    </a:moveTo>
                    <a:lnTo>
                      <a:pt x="2876" y="1013"/>
                    </a:lnTo>
                    <a:lnTo>
                      <a:pt x="2876" y="1013"/>
                    </a:lnTo>
                    <a:lnTo>
                      <a:pt x="2876" y="1046"/>
                    </a:lnTo>
                    <a:lnTo>
                      <a:pt x="2878" y="1046"/>
                    </a:lnTo>
                    <a:lnTo>
                      <a:pt x="2878" y="1013"/>
                    </a:lnTo>
                    <a:close/>
                    <a:moveTo>
                      <a:pt x="3769" y="994"/>
                    </a:moveTo>
                    <a:lnTo>
                      <a:pt x="3769" y="994"/>
                    </a:lnTo>
                    <a:lnTo>
                      <a:pt x="3769" y="997"/>
                    </a:lnTo>
                    <a:lnTo>
                      <a:pt x="3769" y="1207"/>
                    </a:lnTo>
                    <a:lnTo>
                      <a:pt x="3769" y="1207"/>
                    </a:lnTo>
                    <a:lnTo>
                      <a:pt x="3769" y="994"/>
                    </a:lnTo>
                    <a:close/>
                    <a:moveTo>
                      <a:pt x="5949" y="990"/>
                    </a:moveTo>
                    <a:lnTo>
                      <a:pt x="5947" y="990"/>
                    </a:lnTo>
                    <a:lnTo>
                      <a:pt x="5947" y="992"/>
                    </a:lnTo>
                    <a:lnTo>
                      <a:pt x="5947" y="1025"/>
                    </a:lnTo>
                    <a:lnTo>
                      <a:pt x="5949" y="1025"/>
                    </a:lnTo>
                    <a:lnTo>
                      <a:pt x="5949" y="990"/>
                    </a:lnTo>
                    <a:close/>
                    <a:moveTo>
                      <a:pt x="6340" y="937"/>
                    </a:moveTo>
                    <a:lnTo>
                      <a:pt x="6340" y="937"/>
                    </a:lnTo>
                    <a:lnTo>
                      <a:pt x="6337" y="937"/>
                    </a:lnTo>
                    <a:lnTo>
                      <a:pt x="6337" y="937"/>
                    </a:lnTo>
                    <a:lnTo>
                      <a:pt x="6337" y="1113"/>
                    </a:lnTo>
                    <a:lnTo>
                      <a:pt x="6340" y="1113"/>
                    </a:lnTo>
                    <a:lnTo>
                      <a:pt x="6340" y="937"/>
                    </a:lnTo>
                    <a:close/>
                    <a:moveTo>
                      <a:pt x="3845" y="928"/>
                    </a:moveTo>
                    <a:lnTo>
                      <a:pt x="3843" y="928"/>
                    </a:lnTo>
                    <a:lnTo>
                      <a:pt x="3843" y="930"/>
                    </a:lnTo>
                    <a:lnTo>
                      <a:pt x="3843" y="978"/>
                    </a:lnTo>
                    <a:lnTo>
                      <a:pt x="3845" y="978"/>
                    </a:lnTo>
                    <a:lnTo>
                      <a:pt x="3845" y="928"/>
                    </a:lnTo>
                    <a:close/>
                    <a:moveTo>
                      <a:pt x="6384" y="895"/>
                    </a:moveTo>
                    <a:lnTo>
                      <a:pt x="6384" y="895"/>
                    </a:lnTo>
                    <a:lnTo>
                      <a:pt x="6382" y="895"/>
                    </a:lnTo>
                    <a:lnTo>
                      <a:pt x="6382" y="897"/>
                    </a:lnTo>
                    <a:lnTo>
                      <a:pt x="6377" y="918"/>
                    </a:lnTo>
                    <a:lnTo>
                      <a:pt x="6380" y="918"/>
                    </a:lnTo>
                    <a:lnTo>
                      <a:pt x="6384" y="895"/>
                    </a:lnTo>
                    <a:close/>
                    <a:moveTo>
                      <a:pt x="6389" y="878"/>
                    </a:moveTo>
                    <a:lnTo>
                      <a:pt x="6387" y="878"/>
                    </a:lnTo>
                    <a:lnTo>
                      <a:pt x="6387" y="878"/>
                    </a:lnTo>
                    <a:lnTo>
                      <a:pt x="6387" y="881"/>
                    </a:lnTo>
                    <a:lnTo>
                      <a:pt x="6387" y="892"/>
                    </a:lnTo>
                    <a:lnTo>
                      <a:pt x="6389" y="892"/>
                    </a:lnTo>
                    <a:lnTo>
                      <a:pt x="6389" y="890"/>
                    </a:lnTo>
                    <a:lnTo>
                      <a:pt x="6389" y="890"/>
                    </a:lnTo>
                    <a:lnTo>
                      <a:pt x="6389" y="878"/>
                    </a:lnTo>
                    <a:close/>
                    <a:moveTo>
                      <a:pt x="6396" y="850"/>
                    </a:moveTo>
                    <a:lnTo>
                      <a:pt x="6396" y="850"/>
                    </a:lnTo>
                    <a:lnTo>
                      <a:pt x="6396" y="852"/>
                    </a:lnTo>
                    <a:lnTo>
                      <a:pt x="6396" y="871"/>
                    </a:lnTo>
                    <a:lnTo>
                      <a:pt x="6396" y="871"/>
                    </a:lnTo>
                    <a:lnTo>
                      <a:pt x="6396" y="869"/>
                    </a:lnTo>
                    <a:lnTo>
                      <a:pt x="6396" y="869"/>
                    </a:lnTo>
                    <a:lnTo>
                      <a:pt x="6396" y="850"/>
                    </a:lnTo>
                    <a:close/>
                    <a:moveTo>
                      <a:pt x="804" y="829"/>
                    </a:moveTo>
                    <a:lnTo>
                      <a:pt x="804" y="829"/>
                    </a:lnTo>
                    <a:lnTo>
                      <a:pt x="804" y="829"/>
                    </a:lnTo>
                    <a:lnTo>
                      <a:pt x="804" y="1053"/>
                    </a:lnTo>
                    <a:lnTo>
                      <a:pt x="804" y="1053"/>
                    </a:lnTo>
                    <a:lnTo>
                      <a:pt x="804" y="829"/>
                    </a:lnTo>
                    <a:close/>
                    <a:moveTo>
                      <a:pt x="3100" y="762"/>
                    </a:moveTo>
                    <a:lnTo>
                      <a:pt x="3100" y="762"/>
                    </a:lnTo>
                    <a:lnTo>
                      <a:pt x="3098" y="762"/>
                    </a:lnTo>
                    <a:lnTo>
                      <a:pt x="3098" y="765"/>
                    </a:lnTo>
                    <a:lnTo>
                      <a:pt x="3098" y="963"/>
                    </a:lnTo>
                    <a:lnTo>
                      <a:pt x="3100" y="963"/>
                    </a:lnTo>
                    <a:lnTo>
                      <a:pt x="3100" y="762"/>
                    </a:lnTo>
                    <a:close/>
                    <a:moveTo>
                      <a:pt x="1008" y="753"/>
                    </a:moveTo>
                    <a:lnTo>
                      <a:pt x="1008" y="753"/>
                    </a:lnTo>
                    <a:lnTo>
                      <a:pt x="1008" y="755"/>
                    </a:lnTo>
                    <a:lnTo>
                      <a:pt x="1008" y="812"/>
                    </a:lnTo>
                    <a:lnTo>
                      <a:pt x="1008" y="812"/>
                    </a:lnTo>
                    <a:lnTo>
                      <a:pt x="1008" y="753"/>
                    </a:lnTo>
                    <a:close/>
                    <a:moveTo>
                      <a:pt x="5131" y="731"/>
                    </a:moveTo>
                    <a:lnTo>
                      <a:pt x="5129" y="731"/>
                    </a:lnTo>
                    <a:lnTo>
                      <a:pt x="5129" y="734"/>
                    </a:lnTo>
                    <a:lnTo>
                      <a:pt x="5129" y="956"/>
                    </a:lnTo>
                    <a:lnTo>
                      <a:pt x="5131" y="956"/>
                    </a:lnTo>
                    <a:lnTo>
                      <a:pt x="5131" y="731"/>
                    </a:lnTo>
                    <a:close/>
                    <a:moveTo>
                      <a:pt x="3138" y="658"/>
                    </a:moveTo>
                    <a:lnTo>
                      <a:pt x="3136" y="658"/>
                    </a:lnTo>
                    <a:lnTo>
                      <a:pt x="3136" y="660"/>
                    </a:lnTo>
                    <a:lnTo>
                      <a:pt x="3136" y="746"/>
                    </a:lnTo>
                    <a:lnTo>
                      <a:pt x="3138" y="746"/>
                    </a:lnTo>
                    <a:lnTo>
                      <a:pt x="3138" y="658"/>
                    </a:lnTo>
                    <a:close/>
                    <a:moveTo>
                      <a:pt x="97" y="618"/>
                    </a:moveTo>
                    <a:lnTo>
                      <a:pt x="95" y="618"/>
                    </a:lnTo>
                    <a:lnTo>
                      <a:pt x="95" y="620"/>
                    </a:lnTo>
                    <a:lnTo>
                      <a:pt x="95" y="1437"/>
                    </a:lnTo>
                    <a:lnTo>
                      <a:pt x="97" y="1437"/>
                    </a:lnTo>
                    <a:lnTo>
                      <a:pt x="97" y="618"/>
                    </a:lnTo>
                    <a:close/>
                    <a:moveTo>
                      <a:pt x="5252" y="611"/>
                    </a:moveTo>
                    <a:lnTo>
                      <a:pt x="5252" y="611"/>
                    </a:lnTo>
                    <a:lnTo>
                      <a:pt x="5252" y="611"/>
                    </a:lnTo>
                    <a:lnTo>
                      <a:pt x="5252" y="715"/>
                    </a:lnTo>
                    <a:lnTo>
                      <a:pt x="5252" y="715"/>
                    </a:lnTo>
                    <a:lnTo>
                      <a:pt x="5252" y="611"/>
                    </a:lnTo>
                    <a:close/>
                    <a:moveTo>
                      <a:pt x="3282" y="582"/>
                    </a:moveTo>
                    <a:lnTo>
                      <a:pt x="3282" y="582"/>
                    </a:lnTo>
                    <a:lnTo>
                      <a:pt x="3280" y="582"/>
                    </a:lnTo>
                    <a:lnTo>
                      <a:pt x="3280" y="585"/>
                    </a:lnTo>
                    <a:lnTo>
                      <a:pt x="3280" y="641"/>
                    </a:lnTo>
                    <a:lnTo>
                      <a:pt x="3282" y="641"/>
                    </a:lnTo>
                    <a:lnTo>
                      <a:pt x="3282" y="582"/>
                    </a:lnTo>
                    <a:close/>
                    <a:moveTo>
                      <a:pt x="303" y="547"/>
                    </a:moveTo>
                    <a:lnTo>
                      <a:pt x="301" y="547"/>
                    </a:lnTo>
                    <a:lnTo>
                      <a:pt x="301" y="549"/>
                    </a:lnTo>
                    <a:lnTo>
                      <a:pt x="301" y="601"/>
                    </a:lnTo>
                    <a:lnTo>
                      <a:pt x="303" y="601"/>
                    </a:lnTo>
                    <a:lnTo>
                      <a:pt x="303" y="547"/>
                    </a:lnTo>
                    <a:close/>
                    <a:moveTo>
                      <a:pt x="7025" y="509"/>
                    </a:moveTo>
                    <a:lnTo>
                      <a:pt x="7023" y="509"/>
                    </a:lnTo>
                    <a:lnTo>
                      <a:pt x="7023" y="511"/>
                    </a:lnTo>
                    <a:lnTo>
                      <a:pt x="7023" y="1676"/>
                    </a:lnTo>
                    <a:lnTo>
                      <a:pt x="7025" y="1676"/>
                    </a:lnTo>
                    <a:lnTo>
                      <a:pt x="7025" y="509"/>
                    </a:lnTo>
                    <a:close/>
                    <a:moveTo>
                      <a:pt x="4193" y="504"/>
                    </a:moveTo>
                    <a:lnTo>
                      <a:pt x="4193" y="504"/>
                    </a:lnTo>
                    <a:lnTo>
                      <a:pt x="4190" y="507"/>
                    </a:lnTo>
                    <a:lnTo>
                      <a:pt x="4136" y="582"/>
                    </a:lnTo>
                    <a:lnTo>
                      <a:pt x="4136" y="585"/>
                    </a:lnTo>
                    <a:lnTo>
                      <a:pt x="4193" y="504"/>
                    </a:lnTo>
                    <a:close/>
                    <a:moveTo>
                      <a:pt x="3299" y="502"/>
                    </a:moveTo>
                    <a:lnTo>
                      <a:pt x="3299" y="502"/>
                    </a:lnTo>
                    <a:lnTo>
                      <a:pt x="3299" y="502"/>
                    </a:lnTo>
                    <a:lnTo>
                      <a:pt x="3299" y="504"/>
                    </a:lnTo>
                    <a:lnTo>
                      <a:pt x="3299" y="566"/>
                    </a:lnTo>
                    <a:lnTo>
                      <a:pt x="3299" y="566"/>
                    </a:lnTo>
                    <a:lnTo>
                      <a:pt x="3299" y="502"/>
                    </a:lnTo>
                    <a:close/>
                    <a:moveTo>
                      <a:pt x="4037" y="454"/>
                    </a:moveTo>
                    <a:lnTo>
                      <a:pt x="4034" y="454"/>
                    </a:lnTo>
                    <a:lnTo>
                      <a:pt x="4034" y="454"/>
                    </a:lnTo>
                    <a:lnTo>
                      <a:pt x="4034" y="457"/>
                    </a:lnTo>
                    <a:lnTo>
                      <a:pt x="4034" y="492"/>
                    </a:lnTo>
                    <a:lnTo>
                      <a:pt x="3954" y="644"/>
                    </a:lnTo>
                    <a:lnTo>
                      <a:pt x="3954" y="911"/>
                    </a:lnTo>
                    <a:lnTo>
                      <a:pt x="3954" y="911"/>
                    </a:lnTo>
                    <a:lnTo>
                      <a:pt x="3954" y="641"/>
                    </a:lnTo>
                    <a:lnTo>
                      <a:pt x="4037" y="490"/>
                    </a:lnTo>
                    <a:lnTo>
                      <a:pt x="4037" y="454"/>
                    </a:lnTo>
                    <a:close/>
                    <a:moveTo>
                      <a:pt x="3330" y="435"/>
                    </a:moveTo>
                    <a:lnTo>
                      <a:pt x="3327" y="435"/>
                    </a:lnTo>
                    <a:lnTo>
                      <a:pt x="3327" y="435"/>
                    </a:lnTo>
                    <a:lnTo>
                      <a:pt x="3327" y="485"/>
                    </a:lnTo>
                    <a:lnTo>
                      <a:pt x="3330" y="485"/>
                    </a:lnTo>
                    <a:lnTo>
                      <a:pt x="3330" y="435"/>
                    </a:lnTo>
                    <a:close/>
                    <a:moveTo>
                      <a:pt x="4041" y="391"/>
                    </a:moveTo>
                    <a:lnTo>
                      <a:pt x="4041" y="391"/>
                    </a:lnTo>
                    <a:lnTo>
                      <a:pt x="4041" y="391"/>
                    </a:lnTo>
                    <a:lnTo>
                      <a:pt x="4041" y="393"/>
                    </a:lnTo>
                    <a:lnTo>
                      <a:pt x="4041" y="450"/>
                    </a:lnTo>
                    <a:lnTo>
                      <a:pt x="4041" y="450"/>
                    </a:lnTo>
                    <a:lnTo>
                      <a:pt x="4041" y="447"/>
                    </a:lnTo>
                    <a:lnTo>
                      <a:pt x="4041" y="447"/>
                    </a:lnTo>
                    <a:lnTo>
                      <a:pt x="4041" y="391"/>
                    </a:lnTo>
                    <a:close/>
                    <a:moveTo>
                      <a:pt x="1809" y="369"/>
                    </a:moveTo>
                    <a:lnTo>
                      <a:pt x="1807" y="369"/>
                    </a:lnTo>
                    <a:lnTo>
                      <a:pt x="1807" y="372"/>
                    </a:lnTo>
                    <a:lnTo>
                      <a:pt x="1807" y="1115"/>
                    </a:lnTo>
                    <a:lnTo>
                      <a:pt x="1809" y="1115"/>
                    </a:lnTo>
                    <a:lnTo>
                      <a:pt x="1809" y="369"/>
                    </a:lnTo>
                    <a:close/>
                    <a:moveTo>
                      <a:pt x="1939" y="334"/>
                    </a:moveTo>
                    <a:lnTo>
                      <a:pt x="1937" y="334"/>
                    </a:lnTo>
                    <a:lnTo>
                      <a:pt x="1937" y="336"/>
                    </a:lnTo>
                    <a:lnTo>
                      <a:pt x="1937" y="353"/>
                    </a:lnTo>
                    <a:lnTo>
                      <a:pt x="1939" y="353"/>
                    </a:lnTo>
                    <a:lnTo>
                      <a:pt x="1939" y="334"/>
                    </a:lnTo>
                    <a:close/>
                    <a:moveTo>
                      <a:pt x="4051" y="329"/>
                    </a:moveTo>
                    <a:lnTo>
                      <a:pt x="4048" y="329"/>
                    </a:lnTo>
                    <a:lnTo>
                      <a:pt x="4048" y="329"/>
                    </a:lnTo>
                    <a:lnTo>
                      <a:pt x="4048" y="383"/>
                    </a:lnTo>
                    <a:lnTo>
                      <a:pt x="4048" y="383"/>
                    </a:lnTo>
                    <a:lnTo>
                      <a:pt x="4048" y="381"/>
                    </a:lnTo>
                    <a:lnTo>
                      <a:pt x="4051" y="381"/>
                    </a:lnTo>
                    <a:lnTo>
                      <a:pt x="4051" y="329"/>
                    </a:lnTo>
                    <a:close/>
                    <a:moveTo>
                      <a:pt x="2029" y="293"/>
                    </a:moveTo>
                    <a:lnTo>
                      <a:pt x="2027" y="293"/>
                    </a:lnTo>
                    <a:lnTo>
                      <a:pt x="2027" y="296"/>
                    </a:lnTo>
                    <a:lnTo>
                      <a:pt x="2027" y="317"/>
                    </a:lnTo>
                    <a:lnTo>
                      <a:pt x="2029" y="317"/>
                    </a:lnTo>
                    <a:lnTo>
                      <a:pt x="2029" y="293"/>
                    </a:lnTo>
                    <a:close/>
                    <a:moveTo>
                      <a:pt x="4703" y="232"/>
                    </a:moveTo>
                    <a:lnTo>
                      <a:pt x="4701" y="232"/>
                    </a:lnTo>
                    <a:lnTo>
                      <a:pt x="4701" y="234"/>
                    </a:lnTo>
                    <a:lnTo>
                      <a:pt x="4637" y="466"/>
                    </a:lnTo>
                    <a:lnTo>
                      <a:pt x="4639" y="464"/>
                    </a:lnTo>
                    <a:lnTo>
                      <a:pt x="4703" y="232"/>
                    </a:lnTo>
                    <a:close/>
                    <a:moveTo>
                      <a:pt x="4803" y="173"/>
                    </a:moveTo>
                    <a:lnTo>
                      <a:pt x="4803" y="173"/>
                    </a:lnTo>
                    <a:lnTo>
                      <a:pt x="4803" y="173"/>
                    </a:lnTo>
                    <a:lnTo>
                      <a:pt x="4803" y="175"/>
                    </a:lnTo>
                    <a:lnTo>
                      <a:pt x="4803" y="215"/>
                    </a:lnTo>
                    <a:lnTo>
                      <a:pt x="4803" y="215"/>
                    </a:lnTo>
                    <a:lnTo>
                      <a:pt x="4803" y="173"/>
                    </a:lnTo>
                    <a:close/>
                    <a:moveTo>
                      <a:pt x="4852" y="0"/>
                    </a:moveTo>
                    <a:lnTo>
                      <a:pt x="4850" y="0"/>
                    </a:lnTo>
                    <a:lnTo>
                      <a:pt x="4850" y="2"/>
                    </a:lnTo>
                    <a:lnTo>
                      <a:pt x="4850" y="156"/>
                    </a:lnTo>
                    <a:lnTo>
                      <a:pt x="4852" y="156"/>
                    </a:lnTo>
                    <a:lnTo>
                      <a:pt x="4852" y="0"/>
                    </a:lnTo>
                    <a:close/>
                    <a:moveTo>
                      <a:pt x="4909" y="0"/>
                    </a:moveTo>
                    <a:lnTo>
                      <a:pt x="4909" y="0"/>
                    </a:lnTo>
                    <a:lnTo>
                      <a:pt x="4909" y="2"/>
                    </a:lnTo>
                    <a:lnTo>
                      <a:pt x="4909" y="156"/>
                    </a:lnTo>
                    <a:lnTo>
                      <a:pt x="4909" y="156"/>
                    </a:lnTo>
                    <a:lnTo>
                      <a:pt x="4909" y="0"/>
                    </a:lnTo>
                    <a:close/>
                  </a:path>
                </a:pathLst>
              </a:custGeom>
              <a:solidFill>
                <a:srgbClr val="C4C3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5" name="Freeform 127"/>
              <p:cNvSpPr>
                <a:spLocks noEditPoints="1"/>
              </p:cNvSpPr>
              <p:nvPr/>
            </p:nvSpPr>
            <p:spPr bwMode="auto">
              <a:xfrm>
                <a:off x="30" y="1677"/>
                <a:ext cx="7025" cy="1676"/>
              </a:xfrm>
              <a:custGeom>
                <a:avLst/>
                <a:gdLst>
                  <a:gd name="T0" fmla="*/ 0 w 7025"/>
                  <a:gd name="T1" fmla="*/ 1517 h 1676"/>
                  <a:gd name="T2" fmla="*/ 5663 w 7025"/>
                  <a:gd name="T3" fmla="*/ 1432 h 1676"/>
                  <a:gd name="T4" fmla="*/ 3708 w 7025"/>
                  <a:gd name="T5" fmla="*/ 1224 h 1676"/>
                  <a:gd name="T6" fmla="*/ 5831 w 7025"/>
                  <a:gd name="T7" fmla="*/ 1210 h 1676"/>
                  <a:gd name="T8" fmla="*/ 5831 w 7025"/>
                  <a:gd name="T9" fmla="*/ 1309 h 1676"/>
                  <a:gd name="T10" fmla="*/ 1663 w 7025"/>
                  <a:gd name="T11" fmla="*/ 1160 h 1676"/>
                  <a:gd name="T12" fmla="*/ 1686 w 7025"/>
                  <a:gd name="T13" fmla="*/ 1132 h 1676"/>
                  <a:gd name="T14" fmla="*/ 5855 w 7025"/>
                  <a:gd name="T15" fmla="*/ 1129 h 1676"/>
                  <a:gd name="T16" fmla="*/ 5855 w 7025"/>
                  <a:gd name="T17" fmla="*/ 1193 h 1676"/>
                  <a:gd name="T18" fmla="*/ 6321 w 7025"/>
                  <a:gd name="T19" fmla="*/ 1132 h 1676"/>
                  <a:gd name="T20" fmla="*/ 1445 w 7025"/>
                  <a:gd name="T21" fmla="*/ 1127 h 1676"/>
                  <a:gd name="T22" fmla="*/ 1447 w 7025"/>
                  <a:gd name="T23" fmla="*/ 1127 h 1676"/>
                  <a:gd name="T24" fmla="*/ 1464 w 7025"/>
                  <a:gd name="T25" fmla="*/ 1110 h 1676"/>
                  <a:gd name="T26" fmla="*/ 2859 w 7025"/>
                  <a:gd name="T27" fmla="*/ 1065 h 1676"/>
                  <a:gd name="T28" fmla="*/ 5930 w 7025"/>
                  <a:gd name="T29" fmla="*/ 1042 h 1676"/>
                  <a:gd name="T30" fmla="*/ 5930 w 7025"/>
                  <a:gd name="T31" fmla="*/ 1042 h 1676"/>
                  <a:gd name="T32" fmla="*/ 2878 w 7025"/>
                  <a:gd name="T33" fmla="*/ 1046 h 1676"/>
                  <a:gd name="T34" fmla="*/ 3769 w 7025"/>
                  <a:gd name="T35" fmla="*/ 1207 h 1676"/>
                  <a:gd name="T36" fmla="*/ 5947 w 7025"/>
                  <a:gd name="T37" fmla="*/ 992 h 1676"/>
                  <a:gd name="T38" fmla="*/ 6340 w 7025"/>
                  <a:gd name="T39" fmla="*/ 937 h 1676"/>
                  <a:gd name="T40" fmla="*/ 6340 w 7025"/>
                  <a:gd name="T41" fmla="*/ 937 h 1676"/>
                  <a:gd name="T42" fmla="*/ 3845 w 7025"/>
                  <a:gd name="T43" fmla="*/ 978 h 1676"/>
                  <a:gd name="T44" fmla="*/ 6382 w 7025"/>
                  <a:gd name="T45" fmla="*/ 897 h 1676"/>
                  <a:gd name="T46" fmla="*/ 6387 w 7025"/>
                  <a:gd name="T47" fmla="*/ 878 h 1676"/>
                  <a:gd name="T48" fmla="*/ 6389 w 7025"/>
                  <a:gd name="T49" fmla="*/ 890 h 1676"/>
                  <a:gd name="T50" fmla="*/ 6396 w 7025"/>
                  <a:gd name="T51" fmla="*/ 852 h 1676"/>
                  <a:gd name="T52" fmla="*/ 6396 w 7025"/>
                  <a:gd name="T53" fmla="*/ 850 h 1676"/>
                  <a:gd name="T54" fmla="*/ 804 w 7025"/>
                  <a:gd name="T55" fmla="*/ 1053 h 1676"/>
                  <a:gd name="T56" fmla="*/ 3098 w 7025"/>
                  <a:gd name="T57" fmla="*/ 765 h 1676"/>
                  <a:gd name="T58" fmla="*/ 1008 w 7025"/>
                  <a:gd name="T59" fmla="*/ 753 h 1676"/>
                  <a:gd name="T60" fmla="*/ 5131 w 7025"/>
                  <a:gd name="T61" fmla="*/ 731 h 1676"/>
                  <a:gd name="T62" fmla="*/ 5131 w 7025"/>
                  <a:gd name="T63" fmla="*/ 731 h 1676"/>
                  <a:gd name="T64" fmla="*/ 3138 w 7025"/>
                  <a:gd name="T65" fmla="*/ 746 h 1676"/>
                  <a:gd name="T66" fmla="*/ 95 w 7025"/>
                  <a:gd name="T67" fmla="*/ 1437 h 1676"/>
                  <a:gd name="T68" fmla="*/ 5252 w 7025"/>
                  <a:gd name="T69" fmla="*/ 611 h 1676"/>
                  <a:gd name="T70" fmla="*/ 3282 w 7025"/>
                  <a:gd name="T71" fmla="*/ 582 h 1676"/>
                  <a:gd name="T72" fmla="*/ 3282 w 7025"/>
                  <a:gd name="T73" fmla="*/ 582 h 1676"/>
                  <a:gd name="T74" fmla="*/ 303 w 7025"/>
                  <a:gd name="T75" fmla="*/ 601 h 1676"/>
                  <a:gd name="T76" fmla="*/ 7023 w 7025"/>
                  <a:gd name="T77" fmla="*/ 1676 h 1676"/>
                  <a:gd name="T78" fmla="*/ 4190 w 7025"/>
                  <a:gd name="T79" fmla="*/ 507 h 1676"/>
                  <a:gd name="T80" fmla="*/ 3299 w 7025"/>
                  <a:gd name="T81" fmla="*/ 502 h 1676"/>
                  <a:gd name="T82" fmla="*/ 3299 w 7025"/>
                  <a:gd name="T83" fmla="*/ 502 h 1676"/>
                  <a:gd name="T84" fmla="*/ 4034 w 7025"/>
                  <a:gd name="T85" fmla="*/ 492 h 1676"/>
                  <a:gd name="T86" fmla="*/ 4037 w 7025"/>
                  <a:gd name="T87" fmla="*/ 490 h 1676"/>
                  <a:gd name="T88" fmla="*/ 3327 w 7025"/>
                  <a:gd name="T89" fmla="*/ 485 h 1676"/>
                  <a:gd name="T90" fmla="*/ 4041 w 7025"/>
                  <a:gd name="T91" fmla="*/ 391 h 1676"/>
                  <a:gd name="T92" fmla="*/ 4041 w 7025"/>
                  <a:gd name="T93" fmla="*/ 447 h 1676"/>
                  <a:gd name="T94" fmla="*/ 1807 w 7025"/>
                  <a:gd name="T95" fmla="*/ 1115 h 1676"/>
                  <a:gd name="T96" fmla="*/ 1937 w 7025"/>
                  <a:gd name="T97" fmla="*/ 336 h 1676"/>
                  <a:gd name="T98" fmla="*/ 4048 w 7025"/>
                  <a:gd name="T99" fmla="*/ 329 h 1676"/>
                  <a:gd name="T100" fmla="*/ 4051 w 7025"/>
                  <a:gd name="T101" fmla="*/ 381 h 1676"/>
                  <a:gd name="T102" fmla="*/ 2027 w 7025"/>
                  <a:gd name="T103" fmla="*/ 317 h 1676"/>
                  <a:gd name="T104" fmla="*/ 4701 w 7025"/>
                  <a:gd name="T105" fmla="*/ 234 h 1676"/>
                  <a:gd name="T106" fmla="*/ 4803 w 7025"/>
                  <a:gd name="T107" fmla="*/ 173 h 1676"/>
                  <a:gd name="T108" fmla="*/ 4803 w 7025"/>
                  <a:gd name="T109" fmla="*/ 173 h 1676"/>
                  <a:gd name="T110" fmla="*/ 4852 w 7025"/>
                  <a:gd name="T111" fmla="*/ 156 h 1676"/>
                  <a:gd name="T112" fmla="*/ 4909 w 7025"/>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76">
                    <a:moveTo>
                      <a:pt x="0" y="1454"/>
                    </a:moveTo>
                    <a:lnTo>
                      <a:pt x="0" y="1454"/>
                    </a:lnTo>
                    <a:lnTo>
                      <a:pt x="0" y="1456"/>
                    </a:lnTo>
                    <a:lnTo>
                      <a:pt x="0" y="1517"/>
                    </a:lnTo>
                    <a:lnTo>
                      <a:pt x="0" y="1517"/>
                    </a:lnTo>
                    <a:lnTo>
                      <a:pt x="0" y="1454"/>
                    </a:lnTo>
                    <a:moveTo>
                      <a:pt x="5666" y="1326"/>
                    </a:moveTo>
                    <a:lnTo>
                      <a:pt x="5663" y="1326"/>
                    </a:lnTo>
                    <a:lnTo>
                      <a:pt x="5663" y="1328"/>
                    </a:lnTo>
                    <a:lnTo>
                      <a:pt x="5663" y="1432"/>
                    </a:lnTo>
                    <a:lnTo>
                      <a:pt x="5666" y="1432"/>
                    </a:lnTo>
                    <a:lnTo>
                      <a:pt x="5666" y="1326"/>
                    </a:lnTo>
                    <a:moveTo>
                      <a:pt x="3710" y="1224"/>
                    </a:moveTo>
                    <a:lnTo>
                      <a:pt x="3708" y="1224"/>
                    </a:lnTo>
                    <a:lnTo>
                      <a:pt x="3708" y="1224"/>
                    </a:lnTo>
                    <a:lnTo>
                      <a:pt x="3708" y="1224"/>
                    </a:lnTo>
                    <a:lnTo>
                      <a:pt x="3708" y="1375"/>
                    </a:lnTo>
                    <a:lnTo>
                      <a:pt x="3710" y="1375"/>
                    </a:lnTo>
                    <a:lnTo>
                      <a:pt x="3710" y="1224"/>
                    </a:lnTo>
                    <a:moveTo>
                      <a:pt x="5831" y="1210"/>
                    </a:moveTo>
                    <a:lnTo>
                      <a:pt x="5829" y="1210"/>
                    </a:lnTo>
                    <a:lnTo>
                      <a:pt x="5829" y="1210"/>
                    </a:lnTo>
                    <a:lnTo>
                      <a:pt x="5829" y="1212"/>
                    </a:lnTo>
                    <a:lnTo>
                      <a:pt x="5829" y="1309"/>
                    </a:lnTo>
                    <a:lnTo>
                      <a:pt x="5831" y="1309"/>
                    </a:lnTo>
                    <a:lnTo>
                      <a:pt x="5831" y="1210"/>
                    </a:lnTo>
                    <a:moveTo>
                      <a:pt x="1665" y="1158"/>
                    </a:moveTo>
                    <a:lnTo>
                      <a:pt x="1665" y="1158"/>
                    </a:lnTo>
                    <a:lnTo>
                      <a:pt x="1663" y="1158"/>
                    </a:lnTo>
                    <a:lnTo>
                      <a:pt x="1663" y="1160"/>
                    </a:lnTo>
                    <a:lnTo>
                      <a:pt x="1663" y="1184"/>
                    </a:lnTo>
                    <a:lnTo>
                      <a:pt x="1665" y="1184"/>
                    </a:lnTo>
                    <a:lnTo>
                      <a:pt x="1665" y="1158"/>
                    </a:lnTo>
                    <a:moveTo>
                      <a:pt x="1689" y="1132"/>
                    </a:moveTo>
                    <a:lnTo>
                      <a:pt x="1686" y="1132"/>
                    </a:lnTo>
                    <a:lnTo>
                      <a:pt x="1686" y="1134"/>
                    </a:lnTo>
                    <a:lnTo>
                      <a:pt x="1686" y="1141"/>
                    </a:lnTo>
                    <a:lnTo>
                      <a:pt x="1689" y="1141"/>
                    </a:lnTo>
                    <a:lnTo>
                      <a:pt x="1689" y="1132"/>
                    </a:lnTo>
                    <a:moveTo>
                      <a:pt x="5855" y="1129"/>
                    </a:moveTo>
                    <a:lnTo>
                      <a:pt x="5855" y="1129"/>
                    </a:lnTo>
                    <a:lnTo>
                      <a:pt x="5855" y="1129"/>
                    </a:lnTo>
                    <a:lnTo>
                      <a:pt x="5855" y="1132"/>
                    </a:lnTo>
                    <a:lnTo>
                      <a:pt x="5855" y="1193"/>
                    </a:lnTo>
                    <a:lnTo>
                      <a:pt x="5855" y="1193"/>
                    </a:lnTo>
                    <a:lnTo>
                      <a:pt x="5855" y="1129"/>
                    </a:lnTo>
                    <a:moveTo>
                      <a:pt x="6323" y="1129"/>
                    </a:moveTo>
                    <a:lnTo>
                      <a:pt x="6321" y="1129"/>
                    </a:lnTo>
                    <a:lnTo>
                      <a:pt x="6321" y="1129"/>
                    </a:lnTo>
                    <a:lnTo>
                      <a:pt x="6321" y="1132"/>
                    </a:lnTo>
                    <a:lnTo>
                      <a:pt x="6321" y="1347"/>
                    </a:lnTo>
                    <a:lnTo>
                      <a:pt x="6323" y="1347"/>
                    </a:lnTo>
                    <a:lnTo>
                      <a:pt x="6323" y="1129"/>
                    </a:lnTo>
                    <a:moveTo>
                      <a:pt x="1447" y="1127"/>
                    </a:moveTo>
                    <a:lnTo>
                      <a:pt x="1445" y="1127"/>
                    </a:lnTo>
                    <a:lnTo>
                      <a:pt x="1445" y="1127"/>
                    </a:lnTo>
                    <a:lnTo>
                      <a:pt x="1445" y="1129"/>
                    </a:lnTo>
                    <a:lnTo>
                      <a:pt x="1445" y="1184"/>
                    </a:lnTo>
                    <a:lnTo>
                      <a:pt x="1447" y="1184"/>
                    </a:lnTo>
                    <a:lnTo>
                      <a:pt x="1447" y="1127"/>
                    </a:lnTo>
                    <a:moveTo>
                      <a:pt x="1464" y="1084"/>
                    </a:moveTo>
                    <a:lnTo>
                      <a:pt x="1462" y="1084"/>
                    </a:lnTo>
                    <a:lnTo>
                      <a:pt x="1462" y="1087"/>
                    </a:lnTo>
                    <a:lnTo>
                      <a:pt x="1462" y="1110"/>
                    </a:lnTo>
                    <a:lnTo>
                      <a:pt x="1464" y="1110"/>
                    </a:lnTo>
                    <a:lnTo>
                      <a:pt x="1464" y="1084"/>
                    </a:lnTo>
                    <a:moveTo>
                      <a:pt x="2859" y="1063"/>
                    </a:moveTo>
                    <a:lnTo>
                      <a:pt x="2859" y="1063"/>
                    </a:lnTo>
                    <a:lnTo>
                      <a:pt x="2859" y="1063"/>
                    </a:lnTo>
                    <a:lnTo>
                      <a:pt x="2859" y="1065"/>
                    </a:lnTo>
                    <a:lnTo>
                      <a:pt x="2859" y="1224"/>
                    </a:lnTo>
                    <a:lnTo>
                      <a:pt x="2859" y="1224"/>
                    </a:lnTo>
                    <a:lnTo>
                      <a:pt x="2859" y="1063"/>
                    </a:lnTo>
                    <a:moveTo>
                      <a:pt x="5930" y="1042"/>
                    </a:moveTo>
                    <a:lnTo>
                      <a:pt x="5930" y="1042"/>
                    </a:lnTo>
                    <a:lnTo>
                      <a:pt x="5928" y="1042"/>
                    </a:lnTo>
                    <a:lnTo>
                      <a:pt x="5928" y="1044"/>
                    </a:lnTo>
                    <a:lnTo>
                      <a:pt x="5928" y="1113"/>
                    </a:lnTo>
                    <a:lnTo>
                      <a:pt x="5930" y="1113"/>
                    </a:lnTo>
                    <a:lnTo>
                      <a:pt x="5930" y="1042"/>
                    </a:lnTo>
                    <a:moveTo>
                      <a:pt x="2878" y="1013"/>
                    </a:moveTo>
                    <a:lnTo>
                      <a:pt x="2876" y="1013"/>
                    </a:lnTo>
                    <a:lnTo>
                      <a:pt x="2876" y="1013"/>
                    </a:lnTo>
                    <a:lnTo>
                      <a:pt x="2876" y="1046"/>
                    </a:lnTo>
                    <a:lnTo>
                      <a:pt x="2878" y="1046"/>
                    </a:lnTo>
                    <a:lnTo>
                      <a:pt x="2878" y="1013"/>
                    </a:lnTo>
                    <a:moveTo>
                      <a:pt x="3769" y="994"/>
                    </a:moveTo>
                    <a:lnTo>
                      <a:pt x="3769" y="994"/>
                    </a:lnTo>
                    <a:lnTo>
                      <a:pt x="3769" y="997"/>
                    </a:lnTo>
                    <a:lnTo>
                      <a:pt x="3769" y="1207"/>
                    </a:lnTo>
                    <a:lnTo>
                      <a:pt x="3769" y="1207"/>
                    </a:lnTo>
                    <a:lnTo>
                      <a:pt x="3769" y="994"/>
                    </a:lnTo>
                    <a:moveTo>
                      <a:pt x="5949" y="990"/>
                    </a:moveTo>
                    <a:lnTo>
                      <a:pt x="5947" y="990"/>
                    </a:lnTo>
                    <a:lnTo>
                      <a:pt x="5947" y="992"/>
                    </a:lnTo>
                    <a:lnTo>
                      <a:pt x="5947" y="1025"/>
                    </a:lnTo>
                    <a:lnTo>
                      <a:pt x="5949" y="1025"/>
                    </a:lnTo>
                    <a:lnTo>
                      <a:pt x="5949" y="990"/>
                    </a:lnTo>
                    <a:moveTo>
                      <a:pt x="6340" y="937"/>
                    </a:moveTo>
                    <a:lnTo>
                      <a:pt x="6340" y="937"/>
                    </a:lnTo>
                    <a:lnTo>
                      <a:pt x="6337" y="937"/>
                    </a:lnTo>
                    <a:lnTo>
                      <a:pt x="6337" y="937"/>
                    </a:lnTo>
                    <a:lnTo>
                      <a:pt x="6337" y="1113"/>
                    </a:lnTo>
                    <a:lnTo>
                      <a:pt x="6340" y="1113"/>
                    </a:lnTo>
                    <a:lnTo>
                      <a:pt x="6340" y="937"/>
                    </a:lnTo>
                    <a:moveTo>
                      <a:pt x="3845" y="928"/>
                    </a:moveTo>
                    <a:lnTo>
                      <a:pt x="3843" y="928"/>
                    </a:lnTo>
                    <a:lnTo>
                      <a:pt x="3843" y="930"/>
                    </a:lnTo>
                    <a:lnTo>
                      <a:pt x="3843" y="978"/>
                    </a:lnTo>
                    <a:lnTo>
                      <a:pt x="3845" y="978"/>
                    </a:lnTo>
                    <a:lnTo>
                      <a:pt x="3845" y="928"/>
                    </a:lnTo>
                    <a:moveTo>
                      <a:pt x="6384" y="895"/>
                    </a:moveTo>
                    <a:lnTo>
                      <a:pt x="6384" y="895"/>
                    </a:lnTo>
                    <a:lnTo>
                      <a:pt x="6382" y="895"/>
                    </a:lnTo>
                    <a:lnTo>
                      <a:pt x="6382" y="897"/>
                    </a:lnTo>
                    <a:lnTo>
                      <a:pt x="6377" y="918"/>
                    </a:lnTo>
                    <a:lnTo>
                      <a:pt x="6380" y="918"/>
                    </a:lnTo>
                    <a:lnTo>
                      <a:pt x="6384" y="895"/>
                    </a:lnTo>
                    <a:moveTo>
                      <a:pt x="6389" y="878"/>
                    </a:moveTo>
                    <a:lnTo>
                      <a:pt x="6387" y="878"/>
                    </a:lnTo>
                    <a:lnTo>
                      <a:pt x="6387" y="878"/>
                    </a:lnTo>
                    <a:lnTo>
                      <a:pt x="6387" y="881"/>
                    </a:lnTo>
                    <a:lnTo>
                      <a:pt x="6387" y="892"/>
                    </a:lnTo>
                    <a:lnTo>
                      <a:pt x="6389" y="892"/>
                    </a:lnTo>
                    <a:lnTo>
                      <a:pt x="6389" y="890"/>
                    </a:lnTo>
                    <a:lnTo>
                      <a:pt x="6389" y="890"/>
                    </a:lnTo>
                    <a:lnTo>
                      <a:pt x="6389" y="878"/>
                    </a:lnTo>
                    <a:moveTo>
                      <a:pt x="6396" y="850"/>
                    </a:moveTo>
                    <a:lnTo>
                      <a:pt x="6396" y="850"/>
                    </a:lnTo>
                    <a:lnTo>
                      <a:pt x="6396" y="852"/>
                    </a:lnTo>
                    <a:lnTo>
                      <a:pt x="6396" y="871"/>
                    </a:lnTo>
                    <a:lnTo>
                      <a:pt x="6396" y="871"/>
                    </a:lnTo>
                    <a:lnTo>
                      <a:pt x="6396" y="869"/>
                    </a:lnTo>
                    <a:lnTo>
                      <a:pt x="6396" y="869"/>
                    </a:lnTo>
                    <a:lnTo>
                      <a:pt x="6396" y="850"/>
                    </a:lnTo>
                    <a:moveTo>
                      <a:pt x="804" y="829"/>
                    </a:moveTo>
                    <a:lnTo>
                      <a:pt x="804" y="829"/>
                    </a:lnTo>
                    <a:lnTo>
                      <a:pt x="804" y="829"/>
                    </a:lnTo>
                    <a:lnTo>
                      <a:pt x="804" y="1053"/>
                    </a:lnTo>
                    <a:lnTo>
                      <a:pt x="804" y="1053"/>
                    </a:lnTo>
                    <a:lnTo>
                      <a:pt x="804" y="829"/>
                    </a:lnTo>
                    <a:moveTo>
                      <a:pt x="3100" y="762"/>
                    </a:moveTo>
                    <a:lnTo>
                      <a:pt x="3100" y="762"/>
                    </a:lnTo>
                    <a:lnTo>
                      <a:pt x="3098" y="762"/>
                    </a:lnTo>
                    <a:lnTo>
                      <a:pt x="3098" y="765"/>
                    </a:lnTo>
                    <a:lnTo>
                      <a:pt x="3098" y="963"/>
                    </a:lnTo>
                    <a:lnTo>
                      <a:pt x="3100" y="963"/>
                    </a:lnTo>
                    <a:lnTo>
                      <a:pt x="3100" y="762"/>
                    </a:lnTo>
                    <a:moveTo>
                      <a:pt x="1008" y="753"/>
                    </a:moveTo>
                    <a:lnTo>
                      <a:pt x="1008" y="753"/>
                    </a:lnTo>
                    <a:lnTo>
                      <a:pt x="1008" y="755"/>
                    </a:lnTo>
                    <a:lnTo>
                      <a:pt x="1008" y="812"/>
                    </a:lnTo>
                    <a:lnTo>
                      <a:pt x="1008" y="812"/>
                    </a:lnTo>
                    <a:lnTo>
                      <a:pt x="1008" y="753"/>
                    </a:lnTo>
                    <a:moveTo>
                      <a:pt x="5131" y="731"/>
                    </a:moveTo>
                    <a:lnTo>
                      <a:pt x="5129" y="731"/>
                    </a:lnTo>
                    <a:lnTo>
                      <a:pt x="5129" y="734"/>
                    </a:lnTo>
                    <a:lnTo>
                      <a:pt x="5129" y="956"/>
                    </a:lnTo>
                    <a:lnTo>
                      <a:pt x="5131" y="956"/>
                    </a:lnTo>
                    <a:lnTo>
                      <a:pt x="5131" y="731"/>
                    </a:lnTo>
                    <a:moveTo>
                      <a:pt x="3138" y="658"/>
                    </a:moveTo>
                    <a:lnTo>
                      <a:pt x="3136" y="658"/>
                    </a:lnTo>
                    <a:lnTo>
                      <a:pt x="3136" y="660"/>
                    </a:lnTo>
                    <a:lnTo>
                      <a:pt x="3136" y="746"/>
                    </a:lnTo>
                    <a:lnTo>
                      <a:pt x="3138" y="746"/>
                    </a:lnTo>
                    <a:lnTo>
                      <a:pt x="3138" y="658"/>
                    </a:lnTo>
                    <a:moveTo>
                      <a:pt x="97" y="618"/>
                    </a:moveTo>
                    <a:lnTo>
                      <a:pt x="95" y="618"/>
                    </a:lnTo>
                    <a:lnTo>
                      <a:pt x="95" y="620"/>
                    </a:lnTo>
                    <a:lnTo>
                      <a:pt x="95" y="1437"/>
                    </a:lnTo>
                    <a:lnTo>
                      <a:pt x="97" y="1437"/>
                    </a:lnTo>
                    <a:lnTo>
                      <a:pt x="97" y="618"/>
                    </a:lnTo>
                    <a:moveTo>
                      <a:pt x="5252" y="611"/>
                    </a:moveTo>
                    <a:lnTo>
                      <a:pt x="5252" y="611"/>
                    </a:lnTo>
                    <a:lnTo>
                      <a:pt x="5252" y="611"/>
                    </a:lnTo>
                    <a:lnTo>
                      <a:pt x="5252" y="715"/>
                    </a:lnTo>
                    <a:lnTo>
                      <a:pt x="5252" y="715"/>
                    </a:lnTo>
                    <a:lnTo>
                      <a:pt x="5252" y="611"/>
                    </a:lnTo>
                    <a:moveTo>
                      <a:pt x="3282" y="582"/>
                    </a:moveTo>
                    <a:lnTo>
                      <a:pt x="3282" y="582"/>
                    </a:lnTo>
                    <a:lnTo>
                      <a:pt x="3280" y="582"/>
                    </a:lnTo>
                    <a:lnTo>
                      <a:pt x="3280" y="585"/>
                    </a:lnTo>
                    <a:lnTo>
                      <a:pt x="3280" y="641"/>
                    </a:lnTo>
                    <a:lnTo>
                      <a:pt x="3282" y="641"/>
                    </a:lnTo>
                    <a:lnTo>
                      <a:pt x="3282" y="582"/>
                    </a:lnTo>
                    <a:moveTo>
                      <a:pt x="303" y="547"/>
                    </a:moveTo>
                    <a:lnTo>
                      <a:pt x="301" y="547"/>
                    </a:lnTo>
                    <a:lnTo>
                      <a:pt x="301" y="549"/>
                    </a:lnTo>
                    <a:lnTo>
                      <a:pt x="301" y="601"/>
                    </a:lnTo>
                    <a:lnTo>
                      <a:pt x="303" y="601"/>
                    </a:lnTo>
                    <a:lnTo>
                      <a:pt x="303" y="547"/>
                    </a:lnTo>
                    <a:moveTo>
                      <a:pt x="7025" y="509"/>
                    </a:moveTo>
                    <a:lnTo>
                      <a:pt x="7023" y="509"/>
                    </a:lnTo>
                    <a:lnTo>
                      <a:pt x="7023" y="511"/>
                    </a:lnTo>
                    <a:lnTo>
                      <a:pt x="7023" y="1676"/>
                    </a:lnTo>
                    <a:lnTo>
                      <a:pt x="7025" y="1676"/>
                    </a:lnTo>
                    <a:lnTo>
                      <a:pt x="7025" y="509"/>
                    </a:lnTo>
                    <a:moveTo>
                      <a:pt x="4193" y="504"/>
                    </a:moveTo>
                    <a:lnTo>
                      <a:pt x="4193" y="504"/>
                    </a:lnTo>
                    <a:lnTo>
                      <a:pt x="4190" y="507"/>
                    </a:lnTo>
                    <a:lnTo>
                      <a:pt x="4136" y="582"/>
                    </a:lnTo>
                    <a:lnTo>
                      <a:pt x="4136" y="585"/>
                    </a:lnTo>
                    <a:lnTo>
                      <a:pt x="4193" y="504"/>
                    </a:lnTo>
                    <a:moveTo>
                      <a:pt x="3299" y="502"/>
                    </a:moveTo>
                    <a:lnTo>
                      <a:pt x="3299" y="502"/>
                    </a:lnTo>
                    <a:lnTo>
                      <a:pt x="3299" y="502"/>
                    </a:lnTo>
                    <a:lnTo>
                      <a:pt x="3299" y="504"/>
                    </a:lnTo>
                    <a:lnTo>
                      <a:pt x="3299" y="566"/>
                    </a:lnTo>
                    <a:lnTo>
                      <a:pt x="3299" y="566"/>
                    </a:lnTo>
                    <a:lnTo>
                      <a:pt x="3299" y="502"/>
                    </a:lnTo>
                    <a:moveTo>
                      <a:pt x="4037" y="454"/>
                    </a:moveTo>
                    <a:lnTo>
                      <a:pt x="4034" y="454"/>
                    </a:lnTo>
                    <a:lnTo>
                      <a:pt x="4034" y="454"/>
                    </a:lnTo>
                    <a:lnTo>
                      <a:pt x="4034" y="457"/>
                    </a:lnTo>
                    <a:lnTo>
                      <a:pt x="4034" y="492"/>
                    </a:lnTo>
                    <a:lnTo>
                      <a:pt x="3954" y="644"/>
                    </a:lnTo>
                    <a:lnTo>
                      <a:pt x="3954" y="911"/>
                    </a:lnTo>
                    <a:lnTo>
                      <a:pt x="3954" y="911"/>
                    </a:lnTo>
                    <a:lnTo>
                      <a:pt x="3954" y="641"/>
                    </a:lnTo>
                    <a:lnTo>
                      <a:pt x="4037" y="490"/>
                    </a:lnTo>
                    <a:lnTo>
                      <a:pt x="4037" y="454"/>
                    </a:lnTo>
                    <a:moveTo>
                      <a:pt x="3330" y="435"/>
                    </a:moveTo>
                    <a:lnTo>
                      <a:pt x="3327" y="435"/>
                    </a:lnTo>
                    <a:lnTo>
                      <a:pt x="3327" y="435"/>
                    </a:lnTo>
                    <a:lnTo>
                      <a:pt x="3327" y="485"/>
                    </a:lnTo>
                    <a:lnTo>
                      <a:pt x="3330" y="485"/>
                    </a:lnTo>
                    <a:lnTo>
                      <a:pt x="3330" y="435"/>
                    </a:lnTo>
                    <a:moveTo>
                      <a:pt x="4041" y="391"/>
                    </a:moveTo>
                    <a:lnTo>
                      <a:pt x="4041" y="391"/>
                    </a:lnTo>
                    <a:lnTo>
                      <a:pt x="4041" y="391"/>
                    </a:lnTo>
                    <a:lnTo>
                      <a:pt x="4041" y="393"/>
                    </a:lnTo>
                    <a:lnTo>
                      <a:pt x="4041" y="450"/>
                    </a:lnTo>
                    <a:lnTo>
                      <a:pt x="4041" y="450"/>
                    </a:lnTo>
                    <a:lnTo>
                      <a:pt x="4041" y="447"/>
                    </a:lnTo>
                    <a:lnTo>
                      <a:pt x="4041" y="447"/>
                    </a:lnTo>
                    <a:lnTo>
                      <a:pt x="4041" y="391"/>
                    </a:lnTo>
                    <a:moveTo>
                      <a:pt x="1809" y="369"/>
                    </a:moveTo>
                    <a:lnTo>
                      <a:pt x="1807" y="369"/>
                    </a:lnTo>
                    <a:lnTo>
                      <a:pt x="1807" y="372"/>
                    </a:lnTo>
                    <a:lnTo>
                      <a:pt x="1807" y="1115"/>
                    </a:lnTo>
                    <a:lnTo>
                      <a:pt x="1809" y="1115"/>
                    </a:lnTo>
                    <a:lnTo>
                      <a:pt x="1809" y="369"/>
                    </a:lnTo>
                    <a:moveTo>
                      <a:pt x="1939" y="334"/>
                    </a:moveTo>
                    <a:lnTo>
                      <a:pt x="1937" y="334"/>
                    </a:lnTo>
                    <a:lnTo>
                      <a:pt x="1937" y="336"/>
                    </a:lnTo>
                    <a:lnTo>
                      <a:pt x="1937" y="353"/>
                    </a:lnTo>
                    <a:lnTo>
                      <a:pt x="1939" y="353"/>
                    </a:lnTo>
                    <a:lnTo>
                      <a:pt x="1939" y="334"/>
                    </a:lnTo>
                    <a:moveTo>
                      <a:pt x="4051" y="329"/>
                    </a:moveTo>
                    <a:lnTo>
                      <a:pt x="4048" y="329"/>
                    </a:lnTo>
                    <a:lnTo>
                      <a:pt x="4048" y="329"/>
                    </a:lnTo>
                    <a:lnTo>
                      <a:pt x="4048" y="383"/>
                    </a:lnTo>
                    <a:lnTo>
                      <a:pt x="4048" y="383"/>
                    </a:lnTo>
                    <a:lnTo>
                      <a:pt x="4048" y="381"/>
                    </a:lnTo>
                    <a:lnTo>
                      <a:pt x="4051" y="381"/>
                    </a:lnTo>
                    <a:lnTo>
                      <a:pt x="4051" y="329"/>
                    </a:lnTo>
                    <a:moveTo>
                      <a:pt x="2029" y="293"/>
                    </a:moveTo>
                    <a:lnTo>
                      <a:pt x="2027" y="293"/>
                    </a:lnTo>
                    <a:lnTo>
                      <a:pt x="2027" y="296"/>
                    </a:lnTo>
                    <a:lnTo>
                      <a:pt x="2027" y="317"/>
                    </a:lnTo>
                    <a:lnTo>
                      <a:pt x="2029" y="317"/>
                    </a:lnTo>
                    <a:lnTo>
                      <a:pt x="2029" y="293"/>
                    </a:lnTo>
                    <a:moveTo>
                      <a:pt x="4703" y="232"/>
                    </a:moveTo>
                    <a:lnTo>
                      <a:pt x="4701" y="232"/>
                    </a:lnTo>
                    <a:lnTo>
                      <a:pt x="4701" y="234"/>
                    </a:lnTo>
                    <a:lnTo>
                      <a:pt x="4637" y="466"/>
                    </a:lnTo>
                    <a:lnTo>
                      <a:pt x="4639" y="464"/>
                    </a:lnTo>
                    <a:lnTo>
                      <a:pt x="4703" y="232"/>
                    </a:lnTo>
                    <a:moveTo>
                      <a:pt x="4803" y="173"/>
                    </a:moveTo>
                    <a:lnTo>
                      <a:pt x="4803" y="173"/>
                    </a:lnTo>
                    <a:lnTo>
                      <a:pt x="4803" y="173"/>
                    </a:lnTo>
                    <a:lnTo>
                      <a:pt x="4803" y="175"/>
                    </a:lnTo>
                    <a:lnTo>
                      <a:pt x="4803" y="215"/>
                    </a:lnTo>
                    <a:lnTo>
                      <a:pt x="4803" y="215"/>
                    </a:lnTo>
                    <a:lnTo>
                      <a:pt x="4803" y="173"/>
                    </a:lnTo>
                    <a:moveTo>
                      <a:pt x="4852" y="0"/>
                    </a:moveTo>
                    <a:lnTo>
                      <a:pt x="4850" y="0"/>
                    </a:lnTo>
                    <a:lnTo>
                      <a:pt x="4850" y="2"/>
                    </a:lnTo>
                    <a:lnTo>
                      <a:pt x="4850" y="156"/>
                    </a:lnTo>
                    <a:lnTo>
                      <a:pt x="4852" y="156"/>
                    </a:lnTo>
                    <a:lnTo>
                      <a:pt x="4852" y="0"/>
                    </a:lnTo>
                    <a:moveTo>
                      <a:pt x="4909" y="0"/>
                    </a:moveTo>
                    <a:lnTo>
                      <a:pt x="4909" y="0"/>
                    </a:lnTo>
                    <a:lnTo>
                      <a:pt x="4909" y="2"/>
                    </a:lnTo>
                    <a:lnTo>
                      <a:pt x="4909" y="156"/>
                    </a:lnTo>
                    <a:lnTo>
                      <a:pt x="4909" y="156"/>
                    </a:lnTo>
                    <a:lnTo>
                      <a:pt x="490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6" name="Freeform 128"/>
              <p:cNvSpPr>
                <a:spLocks noEditPoints="1"/>
              </p:cNvSpPr>
              <p:nvPr/>
            </p:nvSpPr>
            <p:spPr bwMode="auto">
              <a:xfrm>
                <a:off x="30" y="1677"/>
                <a:ext cx="7028" cy="1676"/>
              </a:xfrm>
              <a:custGeom>
                <a:avLst/>
                <a:gdLst>
                  <a:gd name="T0" fmla="*/ 3 w 7028"/>
                  <a:gd name="T1" fmla="*/ 1517 h 1676"/>
                  <a:gd name="T2" fmla="*/ 5666 w 7028"/>
                  <a:gd name="T3" fmla="*/ 1432 h 1676"/>
                  <a:gd name="T4" fmla="*/ 3710 w 7028"/>
                  <a:gd name="T5" fmla="*/ 1222 h 1676"/>
                  <a:gd name="T6" fmla="*/ 5834 w 7028"/>
                  <a:gd name="T7" fmla="*/ 1207 h 1676"/>
                  <a:gd name="T8" fmla="*/ 5834 w 7028"/>
                  <a:gd name="T9" fmla="*/ 1309 h 1676"/>
                  <a:gd name="T10" fmla="*/ 1665 w 7028"/>
                  <a:gd name="T11" fmla="*/ 1158 h 1676"/>
                  <a:gd name="T12" fmla="*/ 1689 w 7028"/>
                  <a:gd name="T13" fmla="*/ 1132 h 1676"/>
                  <a:gd name="T14" fmla="*/ 5857 w 7028"/>
                  <a:gd name="T15" fmla="*/ 1127 h 1676"/>
                  <a:gd name="T16" fmla="*/ 5857 w 7028"/>
                  <a:gd name="T17" fmla="*/ 1193 h 1676"/>
                  <a:gd name="T18" fmla="*/ 6323 w 7028"/>
                  <a:gd name="T19" fmla="*/ 1129 h 1676"/>
                  <a:gd name="T20" fmla="*/ 1447 w 7028"/>
                  <a:gd name="T21" fmla="*/ 1124 h 1676"/>
                  <a:gd name="T22" fmla="*/ 1447 w 7028"/>
                  <a:gd name="T23" fmla="*/ 1124 h 1676"/>
                  <a:gd name="T24" fmla="*/ 1466 w 7028"/>
                  <a:gd name="T25" fmla="*/ 1110 h 1676"/>
                  <a:gd name="T26" fmla="*/ 2859 w 7028"/>
                  <a:gd name="T27" fmla="*/ 1063 h 1676"/>
                  <a:gd name="T28" fmla="*/ 5933 w 7028"/>
                  <a:gd name="T29" fmla="*/ 1039 h 1676"/>
                  <a:gd name="T30" fmla="*/ 5933 w 7028"/>
                  <a:gd name="T31" fmla="*/ 1039 h 1676"/>
                  <a:gd name="T32" fmla="*/ 2878 w 7028"/>
                  <a:gd name="T33" fmla="*/ 1046 h 1676"/>
                  <a:gd name="T34" fmla="*/ 3769 w 7028"/>
                  <a:gd name="T35" fmla="*/ 1207 h 1676"/>
                  <a:gd name="T36" fmla="*/ 5949 w 7028"/>
                  <a:gd name="T37" fmla="*/ 990 h 1676"/>
                  <a:gd name="T38" fmla="*/ 6342 w 7028"/>
                  <a:gd name="T39" fmla="*/ 935 h 1676"/>
                  <a:gd name="T40" fmla="*/ 6342 w 7028"/>
                  <a:gd name="T41" fmla="*/ 935 h 1676"/>
                  <a:gd name="T42" fmla="*/ 3847 w 7028"/>
                  <a:gd name="T43" fmla="*/ 978 h 1676"/>
                  <a:gd name="T44" fmla="*/ 6384 w 7028"/>
                  <a:gd name="T45" fmla="*/ 895 h 1676"/>
                  <a:gd name="T46" fmla="*/ 6389 w 7028"/>
                  <a:gd name="T47" fmla="*/ 878 h 1676"/>
                  <a:gd name="T48" fmla="*/ 6389 w 7028"/>
                  <a:gd name="T49" fmla="*/ 888 h 1676"/>
                  <a:gd name="T50" fmla="*/ 6396 w 7028"/>
                  <a:gd name="T51" fmla="*/ 850 h 1676"/>
                  <a:gd name="T52" fmla="*/ 6399 w 7028"/>
                  <a:gd name="T53" fmla="*/ 850 h 1676"/>
                  <a:gd name="T54" fmla="*/ 807 w 7028"/>
                  <a:gd name="T55" fmla="*/ 1053 h 1676"/>
                  <a:gd name="T56" fmla="*/ 3100 w 7028"/>
                  <a:gd name="T57" fmla="*/ 762 h 1676"/>
                  <a:gd name="T58" fmla="*/ 1008 w 7028"/>
                  <a:gd name="T59" fmla="*/ 753 h 1676"/>
                  <a:gd name="T60" fmla="*/ 5134 w 7028"/>
                  <a:gd name="T61" fmla="*/ 731 h 1676"/>
                  <a:gd name="T62" fmla="*/ 5134 w 7028"/>
                  <a:gd name="T63" fmla="*/ 731 h 1676"/>
                  <a:gd name="T64" fmla="*/ 3140 w 7028"/>
                  <a:gd name="T65" fmla="*/ 746 h 1676"/>
                  <a:gd name="T66" fmla="*/ 97 w 7028"/>
                  <a:gd name="T67" fmla="*/ 1437 h 1676"/>
                  <a:gd name="T68" fmla="*/ 5252 w 7028"/>
                  <a:gd name="T69" fmla="*/ 611 h 1676"/>
                  <a:gd name="T70" fmla="*/ 3282 w 7028"/>
                  <a:gd name="T71" fmla="*/ 580 h 1676"/>
                  <a:gd name="T72" fmla="*/ 3285 w 7028"/>
                  <a:gd name="T73" fmla="*/ 580 h 1676"/>
                  <a:gd name="T74" fmla="*/ 303 w 7028"/>
                  <a:gd name="T75" fmla="*/ 601 h 1676"/>
                  <a:gd name="T76" fmla="*/ 7025 w 7028"/>
                  <a:gd name="T77" fmla="*/ 1676 h 1676"/>
                  <a:gd name="T78" fmla="*/ 4193 w 7028"/>
                  <a:gd name="T79" fmla="*/ 504 h 1676"/>
                  <a:gd name="T80" fmla="*/ 3301 w 7028"/>
                  <a:gd name="T81" fmla="*/ 499 h 1676"/>
                  <a:gd name="T82" fmla="*/ 3301 w 7028"/>
                  <a:gd name="T83" fmla="*/ 499 h 1676"/>
                  <a:gd name="T84" fmla="*/ 4037 w 7028"/>
                  <a:gd name="T85" fmla="*/ 490 h 1676"/>
                  <a:gd name="T86" fmla="*/ 4039 w 7028"/>
                  <a:gd name="T87" fmla="*/ 488 h 1676"/>
                  <a:gd name="T88" fmla="*/ 3330 w 7028"/>
                  <a:gd name="T89" fmla="*/ 485 h 1676"/>
                  <a:gd name="T90" fmla="*/ 4041 w 7028"/>
                  <a:gd name="T91" fmla="*/ 391 h 1676"/>
                  <a:gd name="T92" fmla="*/ 4044 w 7028"/>
                  <a:gd name="T93" fmla="*/ 445 h 1676"/>
                  <a:gd name="T94" fmla="*/ 1809 w 7028"/>
                  <a:gd name="T95" fmla="*/ 1115 h 1676"/>
                  <a:gd name="T96" fmla="*/ 1939 w 7028"/>
                  <a:gd name="T97" fmla="*/ 334 h 1676"/>
                  <a:gd name="T98" fmla="*/ 4051 w 7028"/>
                  <a:gd name="T99" fmla="*/ 327 h 1676"/>
                  <a:gd name="T100" fmla="*/ 4051 w 7028"/>
                  <a:gd name="T101" fmla="*/ 381 h 1676"/>
                  <a:gd name="T102" fmla="*/ 2029 w 7028"/>
                  <a:gd name="T103" fmla="*/ 317 h 1676"/>
                  <a:gd name="T104" fmla="*/ 4703 w 7028"/>
                  <a:gd name="T105" fmla="*/ 232 h 1676"/>
                  <a:gd name="T106" fmla="*/ 4805 w 7028"/>
                  <a:gd name="T107" fmla="*/ 170 h 1676"/>
                  <a:gd name="T108" fmla="*/ 4805 w 7028"/>
                  <a:gd name="T109" fmla="*/ 170 h 1676"/>
                  <a:gd name="T110" fmla="*/ 4855 w 7028"/>
                  <a:gd name="T111" fmla="*/ 156 h 1676"/>
                  <a:gd name="T112" fmla="*/ 4909 w 7028"/>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8" h="1676">
                    <a:moveTo>
                      <a:pt x="3" y="1451"/>
                    </a:moveTo>
                    <a:lnTo>
                      <a:pt x="0" y="1451"/>
                    </a:lnTo>
                    <a:lnTo>
                      <a:pt x="0" y="1454"/>
                    </a:lnTo>
                    <a:lnTo>
                      <a:pt x="0" y="1517"/>
                    </a:lnTo>
                    <a:lnTo>
                      <a:pt x="3" y="1517"/>
                    </a:lnTo>
                    <a:lnTo>
                      <a:pt x="3" y="1451"/>
                    </a:lnTo>
                    <a:close/>
                    <a:moveTo>
                      <a:pt x="5668" y="1326"/>
                    </a:moveTo>
                    <a:lnTo>
                      <a:pt x="5666" y="1326"/>
                    </a:lnTo>
                    <a:lnTo>
                      <a:pt x="5666" y="1326"/>
                    </a:lnTo>
                    <a:lnTo>
                      <a:pt x="5666" y="1432"/>
                    </a:lnTo>
                    <a:lnTo>
                      <a:pt x="5668" y="1432"/>
                    </a:lnTo>
                    <a:lnTo>
                      <a:pt x="5668" y="1326"/>
                    </a:lnTo>
                    <a:close/>
                    <a:moveTo>
                      <a:pt x="3713" y="1222"/>
                    </a:moveTo>
                    <a:lnTo>
                      <a:pt x="3710" y="1222"/>
                    </a:lnTo>
                    <a:lnTo>
                      <a:pt x="3710" y="1222"/>
                    </a:lnTo>
                    <a:lnTo>
                      <a:pt x="3710" y="1224"/>
                    </a:lnTo>
                    <a:lnTo>
                      <a:pt x="3710" y="1375"/>
                    </a:lnTo>
                    <a:lnTo>
                      <a:pt x="3713" y="1375"/>
                    </a:lnTo>
                    <a:lnTo>
                      <a:pt x="3713" y="1222"/>
                    </a:lnTo>
                    <a:close/>
                    <a:moveTo>
                      <a:pt x="5834" y="1207"/>
                    </a:moveTo>
                    <a:lnTo>
                      <a:pt x="5831" y="1207"/>
                    </a:lnTo>
                    <a:lnTo>
                      <a:pt x="5831" y="1207"/>
                    </a:lnTo>
                    <a:lnTo>
                      <a:pt x="5831" y="1210"/>
                    </a:lnTo>
                    <a:lnTo>
                      <a:pt x="5831" y="1309"/>
                    </a:lnTo>
                    <a:lnTo>
                      <a:pt x="5834" y="1309"/>
                    </a:lnTo>
                    <a:lnTo>
                      <a:pt x="5834" y="1207"/>
                    </a:lnTo>
                    <a:close/>
                    <a:moveTo>
                      <a:pt x="1667" y="1155"/>
                    </a:moveTo>
                    <a:lnTo>
                      <a:pt x="1667" y="1155"/>
                    </a:lnTo>
                    <a:lnTo>
                      <a:pt x="1665" y="1155"/>
                    </a:lnTo>
                    <a:lnTo>
                      <a:pt x="1665" y="1158"/>
                    </a:lnTo>
                    <a:lnTo>
                      <a:pt x="1665" y="1184"/>
                    </a:lnTo>
                    <a:lnTo>
                      <a:pt x="1667" y="1184"/>
                    </a:lnTo>
                    <a:lnTo>
                      <a:pt x="1667" y="1155"/>
                    </a:lnTo>
                    <a:close/>
                    <a:moveTo>
                      <a:pt x="1691" y="1132"/>
                    </a:moveTo>
                    <a:lnTo>
                      <a:pt x="1689" y="1132"/>
                    </a:lnTo>
                    <a:lnTo>
                      <a:pt x="1689" y="1132"/>
                    </a:lnTo>
                    <a:lnTo>
                      <a:pt x="1689" y="1141"/>
                    </a:lnTo>
                    <a:lnTo>
                      <a:pt x="1691" y="1141"/>
                    </a:lnTo>
                    <a:lnTo>
                      <a:pt x="1691" y="1132"/>
                    </a:lnTo>
                    <a:close/>
                    <a:moveTo>
                      <a:pt x="5857" y="1127"/>
                    </a:moveTo>
                    <a:lnTo>
                      <a:pt x="5857" y="1127"/>
                    </a:lnTo>
                    <a:lnTo>
                      <a:pt x="5855" y="1127"/>
                    </a:lnTo>
                    <a:lnTo>
                      <a:pt x="5855" y="1129"/>
                    </a:lnTo>
                    <a:lnTo>
                      <a:pt x="5855" y="1193"/>
                    </a:lnTo>
                    <a:lnTo>
                      <a:pt x="5857" y="1193"/>
                    </a:lnTo>
                    <a:lnTo>
                      <a:pt x="5857" y="1127"/>
                    </a:lnTo>
                    <a:close/>
                    <a:moveTo>
                      <a:pt x="6325" y="1127"/>
                    </a:moveTo>
                    <a:lnTo>
                      <a:pt x="6323" y="1127"/>
                    </a:lnTo>
                    <a:lnTo>
                      <a:pt x="6323" y="1127"/>
                    </a:lnTo>
                    <a:lnTo>
                      <a:pt x="6323" y="1129"/>
                    </a:lnTo>
                    <a:lnTo>
                      <a:pt x="6323" y="1347"/>
                    </a:lnTo>
                    <a:lnTo>
                      <a:pt x="6325" y="1347"/>
                    </a:lnTo>
                    <a:lnTo>
                      <a:pt x="6325" y="1127"/>
                    </a:lnTo>
                    <a:close/>
                    <a:moveTo>
                      <a:pt x="1447" y="1124"/>
                    </a:moveTo>
                    <a:lnTo>
                      <a:pt x="1447" y="1124"/>
                    </a:lnTo>
                    <a:lnTo>
                      <a:pt x="1447" y="1124"/>
                    </a:lnTo>
                    <a:lnTo>
                      <a:pt x="1447" y="1127"/>
                    </a:lnTo>
                    <a:lnTo>
                      <a:pt x="1447" y="1184"/>
                    </a:lnTo>
                    <a:lnTo>
                      <a:pt x="1447" y="1184"/>
                    </a:lnTo>
                    <a:lnTo>
                      <a:pt x="1447" y="1124"/>
                    </a:lnTo>
                    <a:close/>
                    <a:moveTo>
                      <a:pt x="1466" y="1082"/>
                    </a:moveTo>
                    <a:lnTo>
                      <a:pt x="1464" y="1082"/>
                    </a:lnTo>
                    <a:lnTo>
                      <a:pt x="1464" y="1084"/>
                    </a:lnTo>
                    <a:lnTo>
                      <a:pt x="1464" y="1110"/>
                    </a:lnTo>
                    <a:lnTo>
                      <a:pt x="1466" y="1110"/>
                    </a:lnTo>
                    <a:lnTo>
                      <a:pt x="1466" y="1082"/>
                    </a:lnTo>
                    <a:close/>
                    <a:moveTo>
                      <a:pt x="2861" y="1061"/>
                    </a:moveTo>
                    <a:lnTo>
                      <a:pt x="2861" y="1061"/>
                    </a:lnTo>
                    <a:lnTo>
                      <a:pt x="2859" y="1061"/>
                    </a:lnTo>
                    <a:lnTo>
                      <a:pt x="2859" y="1063"/>
                    </a:lnTo>
                    <a:lnTo>
                      <a:pt x="2859" y="1224"/>
                    </a:lnTo>
                    <a:lnTo>
                      <a:pt x="2861" y="1224"/>
                    </a:lnTo>
                    <a:lnTo>
                      <a:pt x="2861" y="1061"/>
                    </a:lnTo>
                    <a:close/>
                    <a:moveTo>
                      <a:pt x="5933" y="1039"/>
                    </a:moveTo>
                    <a:lnTo>
                      <a:pt x="5933" y="1039"/>
                    </a:lnTo>
                    <a:lnTo>
                      <a:pt x="5930" y="1039"/>
                    </a:lnTo>
                    <a:lnTo>
                      <a:pt x="5930" y="1042"/>
                    </a:lnTo>
                    <a:lnTo>
                      <a:pt x="5930" y="1113"/>
                    </a:lnTo>
                    <a:lnTo>
                      <a:pt x="5933" y="1113"/>
                    </a:lnTo>
                    <a:lnTo>
                      <a:pt x="5933" y="1039"/>
                    </a:lnTo>
                    <a:close/>
                    <a:moveTo>
                      <a:pt x="2878" y="1011"/>
                    </a:moveTo>
                    <a:lnTo>
                      <a:pt x="2878" y="1011"/>
                    </a:lnTo>
                    <a:lnTo>
                      <a:pt x="2878" y="1013"/>
                    </a:lnTo>
                    <a:lnTo>
                      <a:pt x="2878" y="1046"/>
                    </a:lnTo>
                    <a:lnTo>
                      <a:pt x="2878" y="1046"/>
                    </a:lnTo>
                    <a:lnTo>
                      <a:pt x="2878" y="1011"/>
                    </a:lnTo>
                    <a:close/>
                    <a:moveTo>
                      <a:pt x="3772" y="992"/>
                    </a:moveTo>
                    <a:lnTo>
                      <a:pt x="3769" y="992"/>
                    </a:lnTo>
                    <a:lnTo>
                      <a:pt x="3769" y="994"/>
                    </a:lnTo>
                    <a:lnTo>
                      <a:pt x="3769" y="1207"/>
                    </a:lnTo>
                    <a:lnTo>
                      <a:pt x="3772" y="1207"/>
                    </a:lnTo>
                    <a:lnTo>
                      <a:pt x="3772" y="992"/>
                    </a:lnTo>
                    <a:close/>
                    <a:moveTo>
                      <a:pt x="5952" y="990"/>
                    </a:moveTo>
                    <a:lnTo>
                      <a:pt x="5949" y="990"/>
                    </a:lnTo>
                    <a:lnTo>
                      <a:pt x="5949" y="990"/>
                    </a:lnTo>
                    <a:lnTo>
                      <a:pt x="5949" y="1025"/>
                    </a:lnTo>
                    <a:lnTo>
                      <a:pt x="5952" y="1025"/>
                    </a:lnTo>
                    <a:lnTo>
                      <a:pt x="5952" y="990"/>
                    </a:lnTo>
                    <a:close/>
                    <a:moveTo>
                      <a:pt x="6342" y="935"/>
                    </a:moveTo>
                    <a:lnTo>
                      <a:pt x="6342" y="935"/>
                    </a:lnTo>
                    <a:lnTo>
                      <a:pt x="6340" y="935"/>
                    </a:lnTo>
                    <a:lnTo>
                      <a:pt x="6340" y="937"/>
                    </a:lnTo>
                    <a:lnTo>
                      <a:pt x="6340" y="1113"/>
                    </a:lnTo>
                    <a:lnTo>
                      <a:pt x="6342" y="1113"/>
                    </a:lnTo>
                    <a:lnTo>
                      <a:pt x="6342" y="935"/>
                    </a:lnTo>
                    <a:close/>
                    <a:moveTo>
                      <a:pt x="3847" y="928"/>
                    </a:moveTo>
                    <a:lnTo>
                      <a:pt x="3845" y="928"/>
                    </a:lnTo>
                    <a:lnTo>
                      <a:pt x="3845" y="928"/>
                    </a:lnTo>
                    <a:lnTo>
                      <a:pt x="3845" y="978"/>
                    </a:lnTo>
                    <a:lnTo>
                      <a:pt x="3847" y="978"/>
                    </a:lnTo>
                    <a:lnTo>
                      <a:pt x="3847" y="928"/>
                    </a:lnTo>
                    <a:close/>
                    <a:moveTo>
                      <a:pt x="6387" y="895"/>
                    </a:moveTo>
                    <a:lnTo>
                      <a:pt x="6384" y="895"/>
                    </a:lnTo>
                    <a:lnTo>
                      <a:pt x="6384" y="895"/>
                    </a:lnTo>
                    <a:lnTo>
                      <a:pt x="6384" y="895"/>
                    </a:lnTo>
                    <a:lnTo>
                      <a:pt x="6380" y="918"/>
                    </a:lnTo>
                    <a:lnTo>
                      <a:pt x="6380" y="918"/>
                    </a:lnTo>
                    <a:lnTo>
                      <a:pt x="6387" y="895"/>
                    </a:lnTo>
                    <a:close/>
                    <a:moveTo>
                      <a:pt x="6392" y="878"/>
                    </a:moveTo>
                    <a:lnTo>
                      <a:pt x="6389" y="878"/>
                    </a:lnTo>
                    <a:lnTo>
                      <a:pt x="6389" y="878"/>
                    </a:lnTo>
                    <a:lnTo>
                      <a:pt x="6389" y="878"/>
                    </a:lnTo>
                    <a:lnTo>
                      <a:pt x="6389" y="890"/>
                    </a:lnTo>
                    <a:lnTo>
                      <a:pt x="6389" y="890"/>
                    </a:lnTo>
                    <a:lnTo>
                      <a:pt x="6389" y="888"/>
                    </a:lnTo>
                    <a:lnTo>
                      <a:pt x="6392" y="888"/>
                    </a:lnTo>
                    <a:lnTo>
                      <a:pt x="6392" y="878"/>
                    </a:lnTo>
                    <a:close/>
                    <a:moveTo>
                      <a:pt x="6399" y="850"/>
                    </a:moveTo>
                    <a:lnTo>
                      <a:pt x="6396" y="850"/>
                    </a:lnTo>
                    <a:lnTo>
                      <a:pt x="6396" y="850"/>
                    </a:lnTo>
                    <a:lnTo>
                      <a:pt x="6396" y="869"/>
                    </a:lnTo>
                    <a:lnTo>
                      <a:pt x="6399" y="869"/>
                    </a:lnTo>
                    <a:lnTo>
                      <a:pt x="6399" y="869"/>
                    </a:lnTo>
                    <a:lnTo>
                      <a:pt x="6399" y="869"/>
                    </a:lnTo>
                    <a:lnTo>
                      <a:pt x="6399" y="850"/>
                    </a:lnTo>
                    <a:close/>
                    <a:moveTo>
                      <a:pt x="807" y="826"/>
                    </a:moveTo>
                    <a:lnTo>
                      <a:pt x="804" y="826"/>
                    </a:lnTo>
                    <a:lnTo>
                      <a:pt x="804" y="829"/>
                    </a:lnTo>
                    <a:lnTo>
                      <a:pt x="804" y="1053"/>
                    </a:lnTo>
                    <a:lnTo>
                      <a:pt x="807" y="1053"/>
                    </a:lnTo>
                    <a:lnTo>
                      <a:pt x="807" y="826"/>
                    </a:lnTo>
                    <a:close/>
                    <a:moveTo>
                      <a:pt x="3103" y="762"/>
                    </a:moveTo>
                    <a:lnTo>
                      <a:pt x="3100" y="762"/>
                    </a:lnTo>
                    <a:lnTo>
                      <a:pt x="3100" y="762"/>
                    </a:lnTo>
                    <a:lnTo>
                      <a:pt x="3100" y="762"/>
                    </a:lnTo>
                    <a:lnTo>
                      <a:pt x="3100" y="963"/>
                    </a:lnTo>
                    <a:lnTo>
                      <a:pt x="3103" y="963"/>
                    </a:lnTo>
                    <a:lnTo>
                      <a:pt x="3103" y="762"/>
                    </a:lnTo>
                    <a:close/>
                    <a:moveTo>
                      <a:pt x="1010" y="753"/>
                    </a:moveTo>
                    <a:lnTo>
                      <a:pt x="1008" y="753"/>
                    </a:lnTo>
                    <a:lnTo>
                      <a:pt x="1008" y="753"/>
                    </a:lnTo>
                    <a:lnTo>
                      <a:pt x="1008" y="812"/>
                    </a:lnTo>
                    <a:lnTo>
                      <a:pt x="1010" y="812"/>
                    </a:lnTo>
                    <a:lnTo>
                      <a:pt x="1010" y="753"/>
                    </a:lnTo>
                    <a:close/>
                    <a:moveTo>
                      <a:pt x="5134" y="731"/>
                    </a:moveTo>
                    <a:lnTo>
                      <a:pt x="5131" y="731"/>
                    </a:lnTo>
                    <a:lnTo>
                      <a:pt x="5131" y="731"/>
                    </a:lnTo>
                    <a:lnTo>
                      <a:pt x="5131" y="956"/>
                    </a:lnTo>
                    <a:lnTo>
                      <a:pt x="5134" y="956"/>
                    </a:lnTo>
                    <a:lnTo>
                      <a:pt x="5134" y="731"/>
                    </a:lnTo>
                    <a:close/>
                    <a:moveTo>
                      <a:pt x="3140" y="656"/>
                    </a:moveTo>
                    <a:lnTo>
                      <a:pt x="3138" y="656"/>
                    </a:lnTo>
                    <a:lnTo>
                      <a:pt x="3138" y="658"/>
                    </a:lnTo>
                    <a:lnTo>
                      <a:pt x="3138" y="746"/>
                    </a:lnTo>
                    <a:lnTo>
                      <a:pt x="3140" y="746"/>
                    </a:lnTo>
                    <a:lnTo>
                      <a:pt x="3140" y="656"/>
                    </a:lnTo>
                    <a:close/>
                    <a:moveTo>
                      <a:pt x="97" y="615"/>
                    </a:moveTo>
                    <a:lnTo>
                      <a:pt x="97" y="615"/>
                    </a:lnTo>
                    <a:lnTo>
                      <a:pt x="97" y="618"/>
                    </a:lnTo>
                    <a:lnTo>
                      <a:pt x="97" y="1437"/>
                    </a:lnTo>
                    <a:lnTo>
                      <a:pt x="97" y="1437"/>
                    </a:lnTo>
                    <a:lnTo>
                      <a:pt x="97" y="615"/>
                    </a:lnTo>
                    <a:close/>
                    <a:moveTo>
                      <a:pt x="5254" y="608"/>
                    </a:moveTo>
                    <a:lnTo>
                      <a:pt x="5252" y="608"/>
                    </a:lnTo>
                    <a:lnTo>
                      <a:pt x="5252" y="611"/>
                    </a:lnTo>
                    <a:lnTo>
                      <a:pt x="5252" y="715"/>
                    </a:lnTo>
                    <a:lnTo>
                      <a:pt x="5254" y="715"/>
                    </a:lnTo>
                    <a:lnTo>
                      <a:pt x="5254" y="608"/>
                    </a:lnTo>
                    <a:close/>
                    <a:moveTo>
                      <a:pt x="3285" y="580"/>
                    </a:moveTo>
                    <a:lnTo>
                      <a:pt x="3282" y="580"/>
                    </a:lnTo>
                    <a:lnTo>
                      <a:pt x="3282" y="580"/>
                    </a:lnTo>
                    <a:lnTo>
                      <a:pt x="3282" y="582"/>
                    </a:lnTo>
                    <a:lnTo>
                      <a:pt x="3282" y="641"/>
                    </a:lnTo>
                    <a:lnTo>
                      <a:pt x="3285" y="641"/>
                    </a:lnTo>
                    <a:lnTo>
                      <a:pt x="3285" y="580"/>
                    </a:lnTo>
                    <a:close/>
                    <a:moveTo>
                      <a:pt x="303" y="547"/>
                    </a:moveTo>
                    <a:lnTo>
                      <a:pt x="303" y="547"/>
                    </a:lnTo>
                    <a:lnTo>
                      <a:pt x="303" y="547"/>
                    </a:lnTo>
                    <a:lnTo>
                      <a:pt x="303" y="601"/>
                    </a:lnTo>
                    <a:lnTo>
                      <a:pt x="303" y="601"/>
                    </a:lnTo>
                    <a:lnTo>
                      <a:pt x="303" y="547"/>
                    </a:lnTo>
                    <a:close/>
                    <a:moveTo>
                      <a:pt x="7028" y="507"/>
                    </a:moveTo>
                    <a:lnTo>
                      <a:pt x="7025" y="507"/>
                    </a:lnTo>
                    <a:lnTo>
                      <a:pt x="7025" y="509"/>
                    </a:lnTo>
                    <a:lnTo>
                      <a:pt x="7025" y="1676"/>
                    </a:lnTo>
                    <a:lnTo>
                      <a:pt x="7028" y="1676"/>
                    </a:lnTo>
                    <a:lnTo>
                      <a:pt x="7028" y="507"/>
                    </a:lnTo>
                    <a:close/>
                    <a:moveTo>
                      <a:pt x="4195" y="502"/>
                    </a:moveTo>
                    <a:lnTo>
                      <a:pt x="4195" y="502"/>
                    </a:lnTo>
                    <a:lnTo>
                      <a:pt x="4193" y="504"/>
                    </a:lnTo>
                    <a:lnTo>
                      <a:pt x="4136" y="585"/>
                    </a:lnTo>
                    <a:lnTo>
                      <a:pt x="4136" y="585"/>
                    </a:lnTo>
                    <a:lnTo>
                      <a:pt x="4195" y="502"/>
                    </a:lnTo>
                    <a:close/>
                    <a:moveTo>
                      <a:pt x="3301" y="499"/>
                    </a:moveTo>
                    <a:lnTo>
                      <a:pt x="3301" y="499"/>
                    </a:lnTo>
                    <a:lnTo>
                      <a:pt x="3299" y="499"/>
                    </a:lnTo>
                    <a:lnTo>
                      <a:pt x="3299" y="502"/>
                    </a:lnTo>
                    <a:lnTo>
                      <a:pt x="3299" y="566"/>
                    </a:lnTo>
                    <a:lnTo>
                      <a:pt x="3301" y="566"/>
                    </a:lnTo>
                    <a:lnTo>
                      <a:pt x="3301" y="499"/>
                    </a:lnTo>
                    <a:close/>
                    <a:moveTo>
                      <a:pt x="4039" y="452"/>
                    </a:moveTo>
                    <a:lnTo>
                      <a:pt x="4037" y="452"/>
                    </a:lnTo>
                    <a:lnTo>
                      <a:pt x="4037" y="452"/>
                    </a:lnTo>
                    <a:lnTo>
                      <a:pt x="4037" y="454"/>
                    </a:lnTo>
                    <a:lnTo>
                      <a:pt x="4037" y="490"/>
                    </a:lnTo>
                    <a:lnTo>
                      <a:pt x="3954" y="641"/>
                    </a:lnTo>
                    <a:lnTo>
                      <a:pt x="3954" y="911"/>
                    </a:lnTo>
                    <a:lnTo>
                      <a:pt x="3956" y="911"/>
                    </a:lnTo>
                    <a:lnTo>
                      <a:pt x="3956" y="641"/>
                    </a:lnTo>
                    <a:lnTo>
                      <a:pt x="4039" y="488"/>
                    </a:lnTo>
                    <a:lnTo>
                      <a:pt x="4039" y="452"/>
                    </a:lnTo>
                    <a:close/>
                    <a:moveTo>
                      <a:pt x="3330" y="433"/>
                    </a:moveTo>
                    <a:lnTo>
                      <a:pt x="3330" y="433"/>
                    </a:lnTo>
                    <a:lnTo>
                      <a:pt x="3330" y="435"/>
                    </a:lnTo>
                    <a:lnTo>
                      <a:pt x="3330" y="485"/>
                    </a:lnTo>
                    <a:lnTo>
                      <a:pt x="3330" y="485"/>
                    </a:lnTo>
                    <a:lnTo>
                      <a:pt x="3330" y="433"/>
                    </a:lnTo>
                    <a:close/>
                    <a:moveTo>
                      <a:pt x="4044" y="391"/>
                    </a:moveTo>
                    <a:lnTo>
                      <a:pt x="4044" y="391"/>
                    </a:lnTo>
                    <a:lnTo>
                      <a:pt x="4041" y="391"/>
                    </a:lnTo>
                    <a:lnTo>
                      <a:pt x="4041" y="391"/>
                    </a:lnTo>
                    <a:lnTo>
                      <a:pt x="4041" y="447"/>
                    </a:lnTo>
                    <a:lnTo>
                      <a:pt x="4044" y="447"/>
                    </a:lnTo>
                    <a:lnTo>
                      <a:pt x="4044" y="445"/>
                    </a:lnTo>
                    <a:lnTo>
                      <a:pt x="4044" y="445"/>
                    </a:lnTo>
                    <a:lnTo>
                      <a:pt x="4044" y="391"/>
                    </a:lnTo>
                    <a:close/>
                    <a:moveTo>
                      <a:pt x="1812" y="367"/>
                    </a:moveTo>
                    <a:lnTo>
                      <a:pt x="1809" y="367"/>
                    </a:lnTo>
                    <a:lnTo>
                      <a:pt x="1809" y="369"/>
                    </a:lnTo>
                    <a:lnTo>
                      <a:pt x="1809" y="1115"/>
                    </a:lnTo>
                    <a:lnTo>
                      <a:pt x="1812" y="1115"/>
                    </a:lnTo>
                    <a:lnTo>
                      <a:pt x="1812" y="367"/>
                    </a:lnTo>
                    <a:close/>
                    <a:moveTo>
                      <a:pt x="1939" y="334"/>
                    </a:moveTo>
                    <a:lnTo>
                      <a:pt x="1939" y="334"/>
                    </a:lnTo>
                    <a:lnTo>
                      <a:pt x="1939" y="334"/>
                    </a:lnTo>
                    <a:lnTo>
                      <a:pt x="1939" y="353"/>
                    </a:lnTo>
                    <a:lnTo>
                      <a:pt x="1939" y="353"/>
                    </a:lnTo>
                    <a:lnTo>
                      <a:pt x="1939" y="334"/>
                    </a:lnTo>
                    <a:close/>
                    <a:moveTo>
                      <a:pt x="4051" y="327"/>
                    </a:moveTo>
                    <a:lnTo>
                      <a:pt x="4051" y="327"/>
                    </a:lnTo>
                    <a:lnTo>
                      <a:pt x="4051" y="329"/>
                    </a:lnTo>
                    <a:lnTo>
                      <a:pt x="4051" y="381"/>
                    </a:lnTo>
                    <a:lnTo>
                      <a:pt x="4051" y="381"/>
                    </a:lnTo>
                    <a:lnTo>
                      <a:pt x="4051" y="381"/>
                    </a:lnTo>
                    <a:lnTo>
                      <a:pt x="4051" y="381"/>
                    </a:lnTo>
                    <a:lnTo>
                      <a:pt x="4051" y="327"/>
                    </a:lnTo>
                    <a:close/>
                    <a:moveTo>
                      <a:pt x="2029" y="293"/>
                    </a:moveTo>
                    <a:lnTo>
                      <a:pt x="2029" y="293"/>
                    </a:lnTo>
                    <a:lnTo>
                      <a:pt x="2029" y="293"/>
                    </a:lnTo>
                    <a:lnTo>
                      <a:pt x="2029" y="317"/>
                    </a:lnTo>
                    <a:lnTo>
                      <a:pt x="2029" y="317"/>
                    </a:lnTo>
                    <a:lnTo>
                      <a:pt x="2029" y="293"/>
                    </a:lnTo>
                    <a:close/>
                    <a:moveTo>
                      <a:pt x="4706" y="232"/>
                    </a:moveTo>
                    <a:lnTo>
                      <a:pt x="4703" y="232"/>
                    </a:lnTo>
                    <a:lnTo>
                      <a:pt x="4703" y="232"/>
                    </a:lnTo>
                    <a:lnTo>
                      <a:pt x="4639" y="464"/>
                    </a:lnTo>
                    <a:lnTo>
                      <a:pt x="4642" y="464"/>
                    </a:lnTo>
                    <a:lnTo>
                      <a:pt x="4706" y="232"/>
                    </a:lnTo>
                    <a:close/>
                    <a:moveTo>
                      <a:pt x="4805" y="170"/>
                    </a:moveTo>
                    <a:lnTo>
                      <a:pt x="4805" y="170"/>
                    </a:lnTo>
                    <a:lnTo>
                      <a:pt x="4803" y="170"/>
                    </a:lnTo>
                    <a:lnTo>
                      <a:pt x="4803" y="173"/>
                    </a:lnTo>
                    <a:lnTo>
                      <a:pt x="4803" y="215"/>
                    </a:lnTo>
                    <a:lnTo>
                      <a:pt x="4805" y="215"/>
                    </a:lnTo>
                    <a:lnTo>
                      <a:pt x="4805" y="170"/>
                    </a:lnTo>
                    <a:close/>
                    <a:moveTo>
                      <a:pt x="4855" y="0"/>
                    </a:moveTo>
                    <a:lnTo>
                      <a:pt x="4852" y="0"/>
                    </a:lnTo>
                    <a:lnTo>
                      <a:pt x="4852" y="0"/>
                    </a:lnTo>
                    <a:lnTo>
                      <a:pt x="4852" y="156"/>
                    </a:lnTo>
                    <a:lnTo>
                      <a:pt x="4855" y="156"/>
                    </a:lnTo>
                    <a:lnTo>
                      <a:pt x="4855" y="0"/>
                    </a:lnTo>
                    <a:close/>
                    <a:moveTo>
                      <a:pt x="4911" y="0"/>
                    </a:moveTo>
                    <a:lnTo>
                      <a:pt x="4909" y="0"/>
                    </a:lnTo>
                    <a:lnTo>
                      <a:pt x="4909" y="0"/>
                    </a:lnTo>
                    <a:lnTo>
                      <a:pt x="4909" y="156"/>
                    </a:lnTo>
                    <a:lnTo>
                      <a:pt x="4911" y="156"/>
                    </a:lnTo>
                    <a:lnTo>
                      <a:pt x="4911"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7" name="Freeform 129"/>
              <p:cNvSpPr>
                <a:spLocks noEditPoints="1"/>
              </p:cNvSpPr>
              <p:nvPr/>
            </p:nvSpPr>
            <p:spPr bwMode="auto">
              <a:xfrm>
                <a:off x="30" y="1677"/>
                <a:ext cx="7028" cy="1676"/>
              </a:xfrm>
              <a:custGeom>
                <a:avLst/>
                <a:gdLst>
                  <a:gd name="T0" fmla="*/ 3 w 7028"/>
                  <a:gd name="T1" fmla="*/ 1517 h 1676"/>
                  <a:gd name="T2" fmla="*/ 5666 w 7028"/>
                  <a:gd name="T3" fmla="*/ 1432 h 1676"/>
                  <a:gd name="T4" fmla="*/ 3710 w 7028"/>
                  <a:gd name="T5" fmla="*/ 1222 h 1676"/>
                  <a:gd name="T6" fmla="*/ 5834 w 7028"/>
                  <a:gd name="T7" fmla="*/ 1207 h 1676"/>
                  <a:gd name="T8" fmla="*/ 5834 w 7028"/>
                  <a:gd name="T9" fmla="*/ 1309 h 1676"/>
                  <a:gd name="T10" fmla="*/ 1665 w 7028"/>
                  <a:gd name="T11" fmla="*/ 1158 h 1676"/>
                  <a:gd name="T12" fmla="*/ 1689 w 7028"/>
                  <a:gd name="T13" fmla="*/ 1132 h 1676"/>
                  <a:gd name="T14" fmla="*/ 5857 w 7028"/>
                  <a:gd name="T15" fmla="*/ 1127 h 1676"/>
                  <a:gd name="T16" fmla="*/ 5857 w 7028"/>
                  <a:gd name="T17" fmla="*/ 1193 h 1676"/>
                  <a:gd name="T18" fmla="*/ 6323 w 7028"/>
                  <a:gd name="T19" fmla="*/ 1129 h 1676"/>
                  <a:gd name="T20" fmla="*/ 1447 w 7028"/>
                  <a:gd name="T21" fmla="*/ 1124 h 1676"/>
                  <a:gd name="T22" fmla="*/ 1447 w 7028"/>
                  <a:gd name="T23" fmla="*/ 1124 h 1676"/>
                  <a:gd name="T24" fmla="*/ 1466 w 7028"/>
                  <a:gd name="T25" fmla="*/ 1110 h 1676"/>
                  <a:gd name="T26" fmla="*/ 2859 w 7028"/>
                  <a:gd name="T27" fmla="*/ 1063 h 1676"/>
                  <a:gd name="T28" fmla="*/ 5933 w 7028"/>
                  <a:gd name="T29" fmla="*/ 1039 h 1676"/>
                  <a:gd name="T30" fmla="*/ 5933 w 7028"/>
                  <a:gd name="T31" fmla="*/ 1039 h 1676"/>
                  <a:gd name="T32" fmla="*/ 2878 w 7028"/>
                  <a:gd name="T33" fmla="*/ 1046 h 1676"/>
                  <a:gd name="T34" fmla="*/ 3769 w 7028"/>
                  <a:gd name="T35" fmla="*/ 1207 h 1676"/>
                  <a:gd name="T36" fmla="*/ 5949 w 7028"/>
                  <a:gd name="T37" fmla="*/ 990 h 1676"/>
                  <a:gd name="T38" fmla="*/ 6342 w 7028"/>
                  <a:gd name="T39" fmla="*/ 935 h 1676"/>
                  <a:gd name="T40" fmla="*/ 6342 w 7028"/>
                  <a:gd name="T41" fmla="*/ 935 h 1676"/>
                  <a:gd name="T42" fmla="*/ 3847 w 7028"/>
                  <a:gd name="T43" fmla="*/ 978 h 1676"/>
                  <a:gd name="T44" fmla="*/ 6384 w 7028"/>
                  <a:gd name="T45" fmla="*/ 895 h 1676"/>
                  <a:gd name="T46" fmla="*/ 6389 w 7028"/>
                  <a:gd name="T47" fmla="*/ 878 h 1676"/>
                  <a:gd name="T48" fmla="*/ 6389 w 7028"/>
                  <a:gd name="T49" fmla="*/ 888 h 1676"/>
                  <a:gd name="T50" fmla="*/ 6396 w 7028"/>
                  <a:gd name="T51" fmla="*/ 850 h 1676"/>
                  <a:gd name="T52" fmla="*/ 6399 w 7028"/>
                  <a:gd name="T53" fmla="*/ 850 h 1676"/>
                  <a:gd name="T54" fmla="*/ 807 w 7028"/>
                  <a:gd name="T55" fmla="*/ 1053 h 1676"/>
                  <a:gd name="T56" fmla="*/ 3100 w 7028"/>
                  <a:gd name="T57" fmla="*/ 762 h 1676"/>
                  <a:gd name="T58" fmla="*/ 1008 w 7028"/>
                  <a:gd name="T59" fmla="*/ 753 h 1676"/>
                  <a:gd name="T60" fmla="*/ 5134 w 7028"/>
                  <a:gd name="T61" fmla="*/ 731 h 1676"/>
                  <a:gd name="T62" fmla="*/ 5134 w 7028"/>
                  <a:gd name="T63" fmla="*/ 731 h 1676"/>
                  <a:gd name="T64" fmla="*/ 3140 w 7028"/>
                  <a:gd name="T65" fmla="*/ 746 h 1676"/>
                  <a:gd name="T66" fmla="*/ 97 w 7028"/>
                  <a:gd name="T67" fmla="*/ 1437 h 1676"/>
                  <a:gd name="T68" fmla="*/ 5252 w 7028"/>
                  <a:gd name="T69" fmla="*/ 611 h 1676"/>
                  <a:gd name="T70" fmla="*/ 3282 w 7028"/>
                  <a:gd name="T71" fmla="*/ 580 h 1676"/>
                  <a:gd name="T72" fmla="*/ 3285 w 7028"/>
                  <a:gd name="T73" fmla="*/ 580 h 1676"/>
                  <a:gd name="T74" fmla="*/ 303 w 7028"/>
                  <a:gd name="T75" fmla="*/ 601 h 1676"/>
                  <a:gd name="T76" fmla="*/ 7025 w 7028"/>
                  <a:gd name="T77" fmla="*/ 1676 h 1676"/>
                  <a:gd name="T78" fmla="*/ 4193 w 7028"/>
                  <a:gd name="T79" fmla="*/ 504 h 1676"/>
                  <a:gd name="T80" fmla="*/ 3301 w 7028"/>
                  <a:gd name="T81" fmla="*/ 499 h 1676"/>
                  <a:gd name="T82" fmla="*/ 3301 w 7028"/>
                  <a:gd name="T83" fmla="*/ 499 h 1676"/>
                  <a:gd name="T84" fmla="*/ 4037 w 7028"/>
                  <a:gd name="T85" fmla="*/ 490 h 1676"/>
                  <a:gd name="T86" fmla="*/ 4039 w 7028"/>
                  <a:gd name="T87" fmla="*/ 488 h 1676"/>
                  <a:gd name="T88" fmla="*/ 3330 w 7028"/>
                  <a:gd name="T89" fmla="*/ 485 h 1676"/>
                  <a:gd name="T90" fmla="*/ 4041 w 7028"/>
                  <a:gd name="T91" fmla="*/ 391 h 1676"/>
                  <a:gd name="T92" fmla="*/ 4044 w 7028"/>
                  <a:gd name="T93" fmla="*/ 445 h 1676"/>
                  <a:gd name="T94" fmla="*/ 1809 w 7028"/>
                  <a:gd name="T95" fmla="*/ 1115 h 1676"/>
                  <a:gd name="T96" fmla="*/ 1939 w 7028"/>
                  <a:gd name="T97" fmla="*/ 334 h 1676"/>
                  <a:gd name="T98" fmla="*/ 4051 w 7028"/>
                  <a:gd name="T99" fmla="*/ 327 h 1676"/>
                  <a:gd name="T100" fmla="*/ 4051 w 7028"/>
                  <a:gd name="T101" fmla="*/ 381 h 1676"/>
                  <a:gd name="T102" fmla="*/ 2029 w 7028"/>
                  <a:gd name="T103" fmla="*/ 317 h 1676"/>
                  <a:gd name="T104" fmla="*/ 4703 w 7028"/>
                  <a:gd name="T105" fmla="*/ 232 h 1676"/>
                  <a:gd name="T106" fmla="*/ 4805 w 7028"/>
                  <a:gd name="T107" fmla="*/ 170 h 1676"/>
                  <a:gd name="T108" fmla="*/ 4805 w 7028"/>
                  <a:gd name="T109" fmla="*/ 170 h 1676"/>
                  <a:gd name="T110" fmla="*/ 4855 w 7028"/>
                  <a:gd name="T111" fmla="*/ 156 h 1676"/>
                  <a:gd name="T112" fmla="*/ 4909 w 7028"/>
                  <a:gd name="T113" fmla="*/ 156 h 1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8" h="1676">
                    <a:moveTo>
                      <a:pt x="3" y="1451"/>
                    </a:moveTo>
                    <a:lnTo>
                      <a:pt x="0" y="1451"/>
                    </a:lnTo>
                    <a:lnTo>
                      <a:pt x="0" y="1454"/>
                    </a:lnTo>
                    <a:lnTo>
                      <a:pt x="0" y="1517"/>
                    </a:lnTo>
                    <a:lnTo>
                      <a:pt x="3" y="1517"/>
                    </a:lnTo>
                    <a:lnTo>
                      <a:pt x="3" y="1451"/>
                    </a:lnTo>
                    <a:moveTo>
                      <a:pt x="5668" y="1326"/>
                    </a:moveTo>
                    <a:lnTo>
                      <a:pt x="5666" y="1326"/>
                    </a:lnTo>
                    <a:lnTo>
                      <a:pt x="5666" y="1326"/>
                    </a:lnTo>
                    <a:lnTo>
                      <a:pt x="5666" y="1432"/>
                    </a:lnTo>
                    <a:lnTo>
                      <a:pt x="5668" y="1432"/>
                    </a:lnTo>
                    <a:lnTo>
                      <a:pt x="5668" y="1326"/>
                    </a:lnTo>
                    <a:moveTo>
                      <a:pt x="3713" y="1222"/>
                    </a:moveTo>
                    <a:lnTo>
                      <a:pt x="3710" y="1222"/>
                    </a:lnTo>
                    <a:lnTo>
                      <a:pt x="3710" y="1222"/>
                    </a:lnTo>
                    <a:lnTo>
                      <a:pt x="3710" y="1224"/>
                    </a:lnTo>
                    <a:lnTo>
                      <a:pt x="3710" y="1375"/>
                    </a:lnTo>
                    <a:lnTo>
                      <a:pt x="3713" y="1375"/>
                    </a:lnTo>
                    <a:lnTo>
                      <a:pt x="3713" y="1222"/>
                    </a:lnTo>
                    <a:moveTo>
                      <a:pt x="5834" y="1207"/>
                    </a:moveTo>
                    <a:lnTo>
                      <a:pt x="5831" y="1207"/>
                    </a:lnTo>
                    <a:lnTo>
                      <a:pt x="5831" y="1207"/>
                    </a:lnTo>
                    <a:lnTo>
                      <a:pt x="5831" y="1210"/>
                    </a:lnTo>
                    <a:lnTo>
                      <a:pt x="5831" y="1309"/>
                    </a:lnTo>
                    <a:lnTo>
                      <a:pt x="5834" y="1309"/>
                    </a:lnTo>
                    <a:lnTo>
                      <a:pt x="5834" y="1207"/>
                    </a:lnTo>
                    <a:moveTo>
                      <a:pt x="1667" y="1155"/>
                    </a:moveTo>
                    <a:lnTo>
                      <a:pt x="1667" y="1155"/>
                    </a:lnTo>
                    <a:lnTo>
                      <a:pt x="1665" y="1155"/>
                    </a:lnTo>
                    <a:lnTo>
                      <a:pt x="1665" y="1158"/>
                    </a:lnTo>
                    <a:lnTo>
                      <a:pt x="1665" y="1184"/>
                    </a:lnTo>
                    <a:lnTo>
                      <a:pt x="1667" y="1184"/>
                    </a:lnTo>
                    <a:lnTo>
                      <a:pt x="1667" y="1155"/>
                    </a:lnTo>
                    <a:moveTo>
                      <a:pt x="1691" y="1132"/>
                    </a:moveTo>
                    <a:lnTo>
                      <a:pt x="1689" y="1132"/>
                    </a:lnTo>
                    <a:lnTo>
                      <a:pt x="1689" y="1132"/>
                    </a:lnTo>
                    <a:lnTo>
                      <a:pt x="1689" y="1141"/>
                    </a:lnTo>
                    <a:lnTo>
                      <a:pt x="1691" y="1141"/>
                    </a:lnTo>
                    <a:lnTo>
                      <a:pt x="1691" y="1132"/>
                    </a:lnTo>
                    <a:moveTo>
                      <a:pt x="5857" y="1127"/>
                    </a:moveTo>
                    <a:lnTo>
                      <a:pt x="5857" y="1127"/>
                    </a:lnTo>
                    <a:lnTo>
                      <a:pt x="5855" y="1127"/>
                    </a:lnTo>
                    <a:lnTo>
                      <a:pt x="5855" y="1129"/>
                    </a:lnTo>
                    <a:lnTo>
                      <a:pt x="5855" y="1193"/>
                    </a:lnTo>
                    <a:lnTo>
                      <a:pt x="5857" y="1193"/>
                    </a:lnTo>
                    <a:lnTo>
                      <a:pt x="5857" y="1127"/>
                    </a:lnTo>
                    <a:moveTo>
                      <a:pt x="6325" y="1127"/>
                    </a:moveTo>
                    <a:lnTo>
                      <a:pt x="6323" y="1127"/>
                    </a:lnTo>
                    <a:lnTo>
                      <a:pt x="6323" y="1127"/>
                    </a:lnTo>
                    <a:lnTo>
                      <a:pt x="6323" y="1129"/>
                    </a:lnTo>
                    <a:lnTo>
                      <a:pt x="6323" y="1347"/>
                    </a:lnTo>
                    <a:lnTo>
                      <a:pt x="6325" y="1347"/>
                    </a:lnTo>
                    <a:lnTo>
                      <a:pt x="6325" y="1127"/>
                    </a:lnTo>
                    <a:moveTo>
                      <a:pt x="1447" y="1124"/>
                    </a:moveTo>
                    <a:lnTo>
                      <a:pt x="1447" y="1124"/>
                    </a:lnTo>
                    <a:lnTo>
                      <a:pt x="1447" y="1124"/>
                    </a:lnTo>
                    <a:lnTo>
                      <a:pt x="1447" y="1127"/>
                    </a:lnTo>
                    <a:lnTo>
                      <a:pt x="1447" y="1184"/>
                    </a:lnTo>
                    <a:lnTo>
                      <a:pt x="1447" y="1184"/>
                    </a:lnTo>
                    <a:lnTo>
                      <a:pt x="1447" y="1124"/>
                    </a:lnTo>
                    <a:moveTo>
                      <a:pt x="1466" y="1082"/>
                    </a:moveTo>
                    <a:lnTo>
                      <a:pt x="1464" y="1082"/>
                    </a:lnTo>
                    <a:lnTo>
                      <a:pt x="1464" y="1084"/>
                    </a:lnTo>
                    <a:lnTo>
                      <a:pt x="1464" y="1110"/>
                    </a:lnTo>
                    <a:lnTo>
                      <a:pt x="1466" y="1110"/>
                    </a:lnTo>
                    <a:lnTo>
                      <a:pt x="1466" y="1082"/>
                    </a:lnTo>
                    <a:moveTo>
                      <a:pt x="2861" y="1061"/>
                    </a:moveTo>
                    <a:lnTo>
                      <a:pt x="2861" y="1061"/>
                    </a:lnTo>
                    <a:lnTo>
                      <a:pt x="2859" y="1061"/>
                    </a:lnTo>
                    <a:lnTo>
                      <a:pt x="2859" y="1063"/>
                    </a:lnTo>
                    <a:lnTo>
                      <a:pt x="2859" y="1224"/>
                    </a:lnTo>
                    <a:lnTo>
                      <a:pt x="2861" y="1224"/>
                    </a:lnTo>
                    <a:lnTo>
                      <a:pt x="2861" y="1061"/>
                    </a:lnTo>
                    <a:moveTo>
                      <a:pt x="5933" y="1039"/>
                    </a:moveTo>
                    <a:lnTo>
                      <a:pt x="5933" y="1039"/>
                    </a:lnTo>
                    <a:lnTo>
                      <a:pt x="5930" y="1039"/>
                    </a:lnTo>
                    <a:lnTo>
                      <a:pt x="5930" y="1042"/>
                    </a:lnTo>
                    <a:lnTo>
                      <a:pt x="5930" y="1113"/>
                    </a:lnTo>
                    <a:lnTo>
                      <a:pt x="5933" y="1113"/>
                    </a:lnTo>
                    <a:lnTo>
                      <a:pt x="5933" y="1039"/>
                    </a:lnTo>
                    <a:moveTo>
                      <a:pt x="2878" y="1011"/>
                    </a:moveTo>
                    <a:lnTo>
                      <a:pt x="2878" y="1011"/>
                    </a:lnTo>
                    <a:lnTo>
                      <a:pt x="2878" y="1013"/>
                    </a:lnTo>
                    <a:lnTo>
                      <a:pt x="2878" y="1046"/>
                    </a:lnTo>
                    <a:lnTo>
                      <a:pt x="2878" y="1046"/>
                    </a:lnTo>
                    <a:lnTo>
                      <a:pt x="2878" y="1011"/>
                    </a:lnTo>
                    <a:moveTo>
                      <a:pt x="3772" y="992"/>
                    </a:moveTo>
                    <a:lnTo>
                      <a:pt x="3769" y="992"/>
                    </a:lnTo>
                    <a:lnTo>
                      <a:pt x="3769" y="994"/>
                    </a:lnTo>
                    <a:lnTo>
                      <a:pt x="3769" y="1207"/>
                    </a:lnTo>
                    <a:lnTo>
                      <a:pt x="3772" y="1207"/>
                    </a:lnTo>
                    <a:lnTo>
                      <a:pt x="3772" y="992"/>
                    </a:lnTo>
                    <a:moveTo>
                      <a:pt x="5952" y="990"/>
                    </a:moveTo>
                    <a:lnTo>
                      <a:pt x="5949" y="990"/>
                    </a:lnTo>
                    <a:lnTo>
                      <a:pt x="5949" y="990"/>
                    </a:lnTo>
                    <a:lnTo>
                      <a:pt x="5949" y="1025"/>
                    </a:lnTo>
                    <a:lnTo>
                      <a:pt x="5952" y="1025"/>
                    </a:lnTo>
                    <a:lnTo>
                      <a:pt x="5952" y="990"/>
                    </a:lnTo>
                    <a:moveTo>
                      <a:pt x="6342" y="935"/>
                    </a:moveTo>
                    <a:lnTo>
                      <a:pt x="6342" y="935"/>
                    </a:lnTo>
                    <a:lnTo>
                      <a:pt x="6340" y="935"/>
                    </a:lnTo>
                    <a:lnTo>
                      <a:pt x="6340" y="937"/>
                    </a:lnTo>
                    <a:lnTo>
                      <a:pt x="6340" y="1113"/>
                    </a:lnTo>
                    <a:lnTo>
                      <a:pt x="6342" y="1113"/>
                    </a:lnTo>
                    <a:lnTo>
                      <a:pt x="6342" y="935"/>
                    </a:lnTo>
                    <a:moveTo>
                      <a:pt x="3847" y="928"/>
                    </a:moveTo>
                    <a:lnTo>
                      <a:pt x="3845" y="928"/>
                    </a:lnTo>
                    <a:lnTo>
                      <a:pt x="3845" y="928"/>
                    </a:lnTo>
                    <a:lnTo>
                      <a:pt x="3845" y="978"/>
                    </a:lnTo>
                    <a:lnTo>
                      <a:pt x="3847" y="978"/>
                    </a:lnTo>
                    <a:lnTo>
                      <a:pt x="3847" y="928"/>
                    </a:lnTo>
                    <a:moveTo>
                      <a:pt x="6387" y="895"/>
                    </a:moveTo>
                    <a:lnTo>
                      <a:pt x="6384" y="895"/>
                    </a:lnTo>
                    <a:lnTo>
                      <a:pt x="6384" y="895"/>
                    </a:lnTo>
                    <a:lnTo>
                      <a:pt x="6384" y="895"/>
                    </a:lnTo>
                    <a:lnTo>
                      <a:pt x="6380" y="918"/>
                    </a:lnTo>
                    <a:lnTo>
                      <a:pt x="6380" y="918"/>
                    </a:lnTo>
                    <a:lnTo>
                      <a:pt x="6387" y="895"/>
                    </a:lnTo>
                    <a:moveTo>
                      <a:pt x="6392" y="878"/>
                    </a:moveTo>
                    <a:lnTo>
                      <a:pt x="6389" y="878"/>
                    </a:lnTo>
                    <a:lnTo>
                      <a:pt x="6389" y="878"/>
                    </a:lnTo>
                    <a:lnTo>
                      <a:pt x="6389" y="878"/>
                    </a:lnTo>
                    <a:lnTo>
                      <a:pt x="6389" y="890"/>
                    </a:lnTo>
                    <a:lnTo>
                      <a:pt x="6389" y="890"/>
                    </a:lnTo>
                    <a:lnTo>
                      <a:pt x="6389" y="888"/>
                    </a:lnTo>
                    <a:lnTo>
                      <a:pt x="6392" y="888"/>
                    </a:lnTo>
                    <a:lnTo>
                      <a:pt x="6392" y="878"/>
                    </a:lnTo>
                    <a:moveTo>
                      <a:pt x="6399" y="850"/>
                    </a:moveTo>
                    <a:lnTo>
                      <a:pt x="6396" y="850"/>
                    </a:lnTo>
                    <a:lnTo>
                      <a:pt x="6396" y="850"/>
                    </a:lnTo>
                    <a:lnTo>
                      <a:pt x="6396" y="869"/>
                    </a:lnTo>
                    <a:lnTo>
                      <a:pt x="6399" y="869"/>
                    </a:lnTo>
                    <a:lnTo>
                      <a:pt x="6399" y="869"/>
                    </a:lnTo>
                    <a:lnTo>
                      <a:pt x="6399" y="869"/>
                    </a:lnTo>
                    <a:lnTo>
                      <a:pt x="6399" y="850"/>
                    </a:lnTo>
                    <a:moveTo>
                      <a:pt x="807" y="826"/>
                    </a:moveTo>
                    <a:lnTo>
                      <a:pt x="804" y="826"/>
                    </a:lnTo>
                    <a:lnTo>
                      <a:pt x="804" y="829"/>
                    </a:lnTo>
                    <a:lnTo>
                      <a:pt x="804" y="1053"/>
                    </a:lnTo>
                    <a:lnTo>
                      <a:pt x="807" y="1053"/>
                    </a:lnTo>
                    <a:lnTo>
                      <a:pt x="807" y="826"/>
                    </a:lnTo>
                    <a:moveTo>
                      <a:pt x="3103" y="762"/>
                    </a:moveTo>
                    <a:lnTo>
                      <a:pt x="3100" y="762"/>
                    </a:lnTo>
                    <a:lnTo>
                      <a:pt x="3100" y="762"/>
                    </a:lnTo>
                    <a:lnTo>
                      <a:pt x="3100" y="762"/>
                    </a:lnTo>
                    <a:lnTo>
                      <a:pt x="3100" y="963"/>
                    </a:lnTo>
                    <a:lnTo>
                      <a:pt x="3103" y="963"/>
                    </a:lnTo>
                    <a:lnTo>
                      <a:pt x="3103" y="762"/>
                    </a:lnTo>
                    <a:moveTo>
                      <a:pt x="1010" y="753"/>
                    </a:moveTo>
                    <a:lnTo>
                      <a:pt x="1008" y="753"/>
                    </a:lnTo>
                    <a:lnTo>
                      <a:pt x="1008" y="753"/>
                    </a:lnTo>
                    <a:lnTo>
                      <a:pt x="1008" y="812"/>
                    </a:lnTo>
                    <a:lnTo>
                      <a:pt x="1010" y="812"/>
                    </a:lnTo>
                    <a:lnTo>
                      <a:pt x="1010" y="753"/>
                    </a:lnTo>
                    <a:moveTo>
                      <a:pt x="5134" y="731"/>
                    </a:moveTo>
                    <a:lnTo>
                      <a:pt x="5131" y="731"/>
                    </a:lnTo>
                    <a:lnTo>
                      <a:pt x="5131" y="731"/>
                    </a:lnTo>
                    <a:lnTo>
                      <a:pt x="5131" y="956"/>
                    </a:lnTo>
                    <a:lnTo>
                      <a:pt x="5134" y="956"/>
                    </a:lnTo>
                    <a:lnTo>
                      <a:pt x="5134" y="731"/>
                    </a:lnTo>
                    <a:moveTo>
                      <a:pt x="3140" y="656"/>
                    </a:moveTo>
                    <a:lnTo>
                      <a:pt x="3138" y="656"/>
                    </a:lnTo>
                    <a:lnTo>
                      <a:pt x="3138" y="658"/>
                    </a:lnTo>
                    <a:lnTo>
                      <a:pt x="3138" y="746"/>
                    </a:lnTo>
                    <a:lnTo>
                      <a:pt x="3140" y="746"/>
                    </a:lnTo>
                    <a:lnTo>
                      <a:pt x="3140" y="656"/>
                    </a:lnTo>
                    <a:moveTo>
                      <a:pt x="97" y="615"/>
                    </a:moveTo>
                    <a:lnTo>
                      <a:pt x="97" y="615"/>
                    </a:lnTo>
                    <a:lnTo>
                      <a:pt x="97" y="618"/>
                    </a:lnTo>
                    <a:lnTo>
                      <a:pt x="97" y="1437"/>
                    </a:lnTo>
                    <a:lnTo>
                      <a:pt x="97" y="1437"/>
                    </a:lnTo>
                    <a:lnTo>
                      <a:pt x="97" y="615"/>
                    </a:lnTo>
                    <a:moveTo>
                      <a:pt x="5254" y="608"/>
                    </a:moveTo>
                    <a:lnTo>
                      <a:pt x="5252" y="608"/>
                    </a:lnTo>
                    <a:lnTo>
                      <a:pt x="5252" y="611"/>
                    </a:lnTo>
                    <a:lnTo>
                      <a:pt x="5252" y="715"/>
                    </a:lnTo>
                    <a:lnTo>
                      <a:pt x="5254" y="715"/>
                    </a:lnTo>
                    <a:lnTo>
                      <a:pt x="5254" y="608"/>
                    </a:lnTo>
                    <a:moveTo>
                      <a:pt x="3285" y="580"/>
                    </a:moveTo>
                    <a:lnTo>
                      <a:pt x="3282" y="580"/>
                    </a:lnTo>
                    <a:lnTo>
                      <a:pt x="3282" y="580"/>
                    </a:lnTo>
                    <a:lnTo>
                      <a:pt x="3282" y="582"/>
                    </a:lnTo>
                    <a:lnTo>
                      <a:pt x="3282" y="641"/>
                    </a:lnTo>
                    <a:lnTo>
                      <a:pt x="3285" y="641"/>
                    </a:lnTo>
                    <a:lnTo>
                      <a:pt x="3285" y="580"/>
                    </a:lnTo>
                    <a:moveTo>
                      <a:pt x="303" y="547"/>
                    </a:moveTo>
                    <a:lnTo>
                      <a:pt x="303" y="547"/>
                    </a:lnTo>
                    <a:lnTo>
                      <a:pt x="303" y="547"/>
                    </a:lnTo>
                    <a:lnTo>
                      <a:pt x="303" y="601"/>
                    </a:lnTo>
                    <a:lnTo>
                      <a:pt x="303" y="601"/>
                    </a:lnTo>
                    <a:lnTo>
                      <a:pt x="303" y="547"/>
                    </a:lnTo>
                    <a:moveTo>
                      <a:pt x="7028" y="507"/>
                    </a:moveTo>
                    <a:lnTo>
                      <a:pt x="7025" y="507"/>
                    </a:lnTo>
                    <a:lnTo>
                      <a:pt x="7025" y="509"/>
                    </a:lnTo>
                    <a:lnTo>
                      <a:pt x="7025" y="1676"/>
                    </a:lnTo>
                    <a:lnTo>
                      <a:pt x="7028" y="1676"/>
                    </a:lnTo>
                    <a:lnTo>
                      <a:pt x="7028" y="507"/>
                    </a:lnTo>
                    <a:moveTo>
                      <a:pt x="4195" y="502"/>
                    </a:moveTo>
                    <a:lnTo>
                      <a:pt x="4195" y="502"/>
                    </a:lnTo>
                    <a:lnTo>
                      <a:pt x="4193" y="504"/>
                    </a:lnTo>
                    <a:lnTo>
                      <a:pt x="4136" y="585"/>
                    </a:lnTo>
                    <a:lnTo>
                      <a:pt x="4136" y="585"/>
                    </a:lnTo>
                    <a:lnTo>
                      <a:pt x="4195" y="502"/>
                    </a:lnTo>
                    <a:moveTo>
                      <a:pt x="3301" y="499"/>
                    </a:moveTo>
                    <a:lnTo>
                      <a:pt x="3301" y="499"/>
                    </a:lnTo>
                    <a:lnTo>
                      <a:pt x="3299" y="499"/>
                    </a:lnTo>
                    <a:lnTo>
                      <a:pt x="3299" y="502"/>
                    </a:lnTo>
                    <a:lnTo>
                      <a:pt x="3299" y="566"/>
                    </a:lnTo>
                    <a:lnTo>
                      <a:pt x="3301" y="566"/>
                    </a:lnTo>
                    <a:lnTo>
                      <a:pt x="3301" y="499"/>
                    </a:lnTo>
                    <a:moveTo>
                      <a:pt x="4039" y="452"/>
                    </a:moveTo>
                    <a:lnTo>
                      <a:pt x="4037" y="452"/>
                    </a:lnTo>
                    <a:lnTo>
                      <a:pt x="4037" y="452"/>
                    </a:lnTo>
                    <a:lnTo>
                      <a:pt x="4037" y="454"/>
                    </a:lnTo>
                    <a:lnTo>
                      <a:pt x="4037" y="490"/>
                    </a:lnTo>
                    <a:lnTo>
                      <a:pt x="3954" y="641"/>
                    </a:lnTo>
                    <a:lnTo>
                      <a:pt x="3954" y="911"/>
                    </a:lnTo>
                    <a:lnTo>
                      <a:pt x="3956" y="911"/>
                    </a:lnTo>
                    <a:lnTo>
                      <a:pt x="3956" y="641"/>
                    </a:lnTo>
                    <a:lnTo>
                      <a:pt x="4039" y="488"/>
                    </a:lnTo>
                    <a:lnTo>
                      <a:pt x="4039" y="452"/>
                    </a:lnTo>
                    <a:moveTo>
                      <a:pt x="3330" y="433"/>
                    </a:moveTo>
                    <a:lnTo>
                      <a:pt x="3330" y="433"/>
                    </a:lnTo>
                    <a:lnTo>
                      <a:pt x="3330" y="435"/>
                    </a:lnTo>
                    <a:lnTo>
                      <a:pt x="3330" y="485"/>
                    </a:lnTo>
                    <a:lnTo>
                      <a:pt x="3330" y="485"/>
                    </a:lnTo>
                    <a:lnTo>
                      <a:pt x="3330" y="433"/>
                    </a:lnTo>
                    <a:moveTo>
                      <a:pt x="4044" y="391"/>
                    </a:moveTo>
                    <a:lnTo>
                      <a:pt x="4044" y="391"/>
                    </a:lnTo>
                    <a:lnTo>
                      <a:pt x="4041" y="391"/>
                    </a:lnTo>
                    <a:lnTo>
                      <a:pt x="4041" y="391"/>
                    </a:lnTo>
                    <a:lnTo>
                      <a:pt x="4041" y="447"/>
                    </a:lnTo>
                    <a:lnTo>
                      <a:pt x="4044" y="447"/>
                    </a:lnTo>
                    <a:lnTo>
                      <a:pt x="4044" y="445"/>
                    </a:lnTo>
                    <a:lnTo>
                      <a:pt x="4044" y="445"/>
                    </a:lnTo>
                    <a:lnTo>
                      <a:pt x="4044" y="391"/>
                    </a:lnTo>
                    <a:moveTo>
                      <a:pt x="1812" y="367"/>
                    </a:moveTo>
                    <a:lnTo>
                      <a:pt x="1809" y="367"/>
                    </a:lnTo>
                    <a:lnTo>
                      <a:pt x="1809" y="369"/>
                    </a:lnTo>
                    <a:lnTo>
                      <a:pt x="1809" y="1115"/>
                    </a:lnTo>
                    <a:lnTo>
                      <a:pt x="1812" y="1115"/>
                    </a:lnTo>
                    <a:lnTo>
                      <a:pt x="1812" y="367"/>
                    </a:lnTo>
                    <a:moveTo>
                      <a:pt x="1939" y="334"/>
                    </a:moveTo>
                    <a:lnTo>
                      <a:pt x="1939" y="334"/>
                    </a:lnTo>
                    <a:lnTo>
                      <a:pt x="1939" y="334"/>
                    </a:lnTo>
                    <a:lnTo>
                      <a:pt x="1939" y="353"/>
                    </a:lnTo>
                    <a:lnTo>
                      <a:pt x="1939" y="353"/>
                    </a:lnTo>
                    <a:lnTo>
                      <a:pt x="1939" y="334"/>
                    </a:lnTo>
                    <a:moveTo>
                      <a:pt x="4051" y="327"/>
                    </a:moveTo>
                    <a:lnTo>
                      <a:pt x="4051" y="327"/>
                    </a:lnTo>
                    <a:lnTo>
                      <a:pt x="4051" y="329"/>
                    </a:lnTo>
                    <a:lnTo>
                      <a:pt x="4051" y="381"/>
                    </a:lnTo>
                    <a:lnTo>
                      <a:pt x="4051" y="381"/>
                    </a:lnTo>
                    <a:lnTo>
                      <a:pt x="4051" y="381"/>
                    </a:lnTo>
                    <a:lnTo>
                      <a:pt x="4051" y="381"/>
                    </a:lnTo>
                    <a:lnTo>
                      <a:pt x="4051" y="327"/>
                    </a:lnTo>
                    <a:moveTo>
                      <a:pt x="2029" y="293"/>
                    </a:moveTo>
                    <a:lnTo>
                      <a:pt x="2029" y="293"/>
                    </a:lnTo>
                    <a:lnTo>
                      <a:pt x="2029" y="293"/>
                    </a:lnTo>
                    <a:lnTo>
                      <a:pt x="2029" y="317"/>
                    </a:lnTo>
                    <a:lnTo>
                      <a:pt x="2029" y="317"/>
                    </a:lnTo>
                    <a:lnTo>
                      <a:pt x="2029" y="293"/>
                    </a:lnTo>
                    <a:moveTo>
                      <a:pt x="4706" y="232"/>
                    </a:moveTo>
                    <a:lnTo>
                      <a:pt x="4703" y="232"/>
                    </a:lnTo>
                    <a:lnTo>
                      <a:pt x="4703" y="232"/>
                    </a:lnTo>
                    <a:lnTo>
                      <a:pt x="4639" y="464"/>
                    </a:lnTo>
                    <a:lnTo>
                      <a:pt x="4642" y="464"/>
                    </a:lnTo>
                    <a:lnTo>
                      <a:pt x="4706" y="232"/>
                    </a:lnTo>
                    <a:moveTo>
                      <a:pt x="4805" y="170"/>
                    </a:moveTo>
                    <a:lnTo>
                      <a:pt x="4805" y="170"/>
                    </a:lnTo>
                    <a:lnTo>
                      <a:pt x="4803" y="170"/>
                    </a:lnTo>
                    <a:lnTo>
                      <a:pt x="4803" y="173"/>
                    </a:lnTo>
                    <a:lnTo>
                      <a:pt x="4803" y="215"/>
                    </a:lnTo>
                    <a:lnTo>
                      <a:pt x="4805" y="215"/>
                    </a:lnTo>
                    <a:lnTo>
                      <a:pt x="4805" y="170"/>
                    </a:lnTo>
                    <a:moveTo>
                      <a:pt x="4855" y="0"/>
                    </a:moveTo>
                    <a:lnTo>
                      <a:pt x="4852" y="0"/>
                    </a:lnTo>
                    <a:lnTo>
                      <a:pt x="4852" y="0"/>
                    </a:lnTo>
                    <a:lnTo>
                      <a:pt x="4852" y="156"/>
                    </a:lnTo>
                    <a:lnTo>
                      <a:pt x="4855" y="156"/>
                    </a:lnTo>
                    <a:lnTo>
                      <a:pt x="4855" y="0"/>
                    </a:lnTo>
                    <a:moveTo>
                      <a:pt x="4911" y="0"/>
                    </a:moveTo>
                    <a:lnTo>
                      <a:pt x="4909" y="0"/>
                    </a:lnTo>
                    <a:lnTo>
                      <a:pt x="4909" y="0"/>
                    </a:lnTo>
                    <a:lnTo>
                      <a:pt x="4909" y="156"/>
                    </a:lnTo>
                    <a:lnTo>
                      <a:pt x="4911" y="156"/>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8" name="Freeform 130"/>
              <p:cNvSpPr>
                <a:spLocks noEditPoints="1"/>
              </p:cNvSpPr>
              <p:nvPr/>
            </p:nvSpPr>
            <p:spPr bwMode="auto">
              <a:xfrm>
                <a:off x="33" y="1674"/>
                <a:ext cx="7027" cy="1679"/>
              </a:xfrm>
              <a:custGeom>
                <a:avLst/>
                <a:gdLst>
                  <a:gd name="T0" fmla="*/ 2 w 7027"/>
                  <a:gd name="T1" fmla="*/ 1520 h 1679"/>
                  <a:gd name="T2" fmla="*/ 5665 w 7027"/>
                  <a:gd name="T3" fmla="*/ 1435 h 1679"/>
                  <a:gd name="T4" fmla="*/ 3710 w 7027"/>
                  <a:gd name="T5" fmla="*/ 1222 h 1679"/>
                  <a:gd name="T6" fmla="*/ 5831 w 7027"/>
                  <a:gd name="T7" fmla="*/ 1208 h 1679"/>
                  <a:gd name="T8" fmla="*/ 5831 w 7027"/>
                  <a:gd name="T9" fmla="*/ 1312 h 1679"/>
                  <a:gd name="T10" fmla="*/ 1664 w 7027"/>
                  <a:gd name="T11" fmla="*/ 1158 h 1679"/>
                  <a:gd name="T12" fmla="*/ 1688 w 7027"/>
                  <a:gd name="T13" fmla="*/ 1132 h 1679"/>
                  <a:gd name="T14" fmla="*/ 5857 w 7027"/>
                  <a:gd name="T15" fmla="*/ 1127 h 1679"/>
                  <a:gd name="T16" fmla="*/ 5857 w 7027"/>
                  <a:gd name="T17" fmla="*/ 1196 h 1679"/>
                  <a:gd name="T18" fmla="*/ 6322 w 7027"/>
                  <a:gd name="T19" fmla="*/ 1130 h 1679"/>
                  <a:gd name="T20" fmla="*/ 1447 w 7027"/>
                  <a:gd name="T21" fmla="*/ 1125 h 1679"/>
                  <a:gd name="T22" fmla="*/ 1447 w 7027"/>
                  <a:gd name="T23" fmla="*/ 1125 h 1679"/>
                  <a:gd name="T24" fmla="*/ 1463 w 7027"/>
                  <a:gd name="T25" fmla="*/ 1113 h 1679"/>
                  <a:gd name="T26" fmla="*/ 2858 w 7027"/>
                  <a:gd name="T27" fmla="*/ 1064 h 1679"/>
                  <a:gd name="T28" fmla="*/ 5930 w 7027"/>
                  <a:gd name="T29" fmla="*/ 1042 h 1679"/>
                  <a:gd name="T30" fmla="*/ 5932 w 7027"/>
                  <a:gd name="T31" fmla="*/ 1042 h 1679"/>
                  <a:gd name="T32" fmla="*/ 2877 w 7027"/>
                  <a:gd name="T33" fmla="*/ 1049 h 1679"/>
                  <a:gd name="T34" fmla="*/ 3769 w 7027"/>
                  <a:gd name="T35" fmla="*/ 1210 h 1679"/>
                  <a:gd name="T36" fmla="*/ 5949 w 7027"/>
                  <a:gd name="T37" fmla="*/ 993 h 1679"/>
                  <a:gd name="T38" fmla="*/ 6339 w 7027"/>
                  <a:gd name="T39" fmla="*/ 936 h 1679"/>
                  <a:gd name="T40" fmla="*/ 6341 w 7027"/>
                  <a:gd name="T41" fmla="*/ 936 h 1679"/>
                  <a:gd name="T42" fmla="*/ 3847 w 7027"/>
                  <a:gd name="T43" fmla="*/ 981 h 1679"/>
                  <a:gd name="T44" fmla="*/ 6384 w 7027"/>
                  <a:gd name="T45" fmla="*/ 898 h 1679"/>
                  <a:gd name="T46" fmla="*/ 6389 w 7027"/>
                  <a:gd name="T47" fmla="*/ 879 h 1679"/>
                  <a:gd name="T48" fmla="*/ 6389 w 7027"/>
                  <a:gd name="T49" fmla="*/ 888 h 1679"/>
                  <a:gd name="T50" fmla="*/ 6396 w 7027"/>
                  <a:gd name="T51" fmla="*/ 853 h 1679"/>
                  <a:gd name="T52" fmla="*/ 6398 w 7027"/>
                  <a:gd name="T53" fmla="*/ 850 h 1679"/>
                  <a:gd name="T54" fmla="*/ 806 w 7027"/>
                  <a:gd name="T55" fmla="*/ 1056 h 1679"/>
                  <a:gd name="T56" fmla="*/ 3100 w 7027"/>
                  <a:gd name="T57" fmla="*/ 765 h 1679"/>
                  <a:gd name="T58" fmla="*/ 1007 w 7027"/>
                  <a:gd name="T59" fmla="*/ 753 h 1679"/>
                  <a:gd name="T60" fmla="*/ 5133 w 7027"/>
                  <a:gd name="T61" fmla="*/ 732 h 1679"/>
                  <a:gd name="T62" fmla="*/ 5133 w 7027"/>
                  <a:gd name="T63" fmla="*/ 732 h 1679"/>
                  <a:gd name="T64" fmla="*/ 3140 w 7027"/>
                  <a:gd name="T65" fmla="*/ 749 h 1679"/>
                  <a:gd name="T66" fmla="*/ 94 w 7027"/>
                  <a:gd name="T67" fmla="*/ 1440 h 1679"/>
                  <a:gd name="T68" fmla="*/ 5251 w 7027"/>
                  <a:gd name="T69" fmla="*/ 611 h 1679"/>
                  <a:gd name="T70" fmla="*/ 3282 w 7027"/>
                  <a:gd name="T71" fmla="*/ 583 h 1679"/>
                  <a:gd name="T72" fmla="*/ 3284 w 7027"/>
                  <a:gd name="T73" fmla="*/ 583 h 1679"/>
                  <a:gd name="T74" fmla="*/ 302 w 7027"/>
                  <a:gd name="T75" fmla="*/ 604 h 1679"/>
                  <a:gd name="T76" fmla="*/ 7025 w 7027"/>
                  <a:gd name="T77" fmla="*/ 1679 h 1679"/>
                  <a:gd name="T78" fmla="*/ 4192 w 7027"/>
                  <a:gd name="T79" fmla="*/ 505 h 1679"/>
                  <a:gd name="T80" fmla="*/ 3301 w 7027"/>
                  <a:gd name="T81" fmla="*/ 500 h 1679"/>
                  <a:gd name="T82" fmla="*/ 3301 w 7027"/>
                  <a:gd name="T83" fmla="*/ 500 h 1679"/>
                  <a:gd name="T84" fmla="*/ 4036 w 7027"/>
                  <a:gd name="T85" fmla="*/ 491 h 1679"/>
                  <a:gd name="T86" fmla="*/ 4038 w 7027"/>
                  <a:gd name="T87" fmla="*/ 488 h 1679"/>
                  <a:gd name="T88" fmla="*/ 3327 w 7027"/>
                  <a:gd name="T89" fmla="*/ 488 h 1679"/>
                  <a:gd name="T90" fmla="*/ 4041 w 7027"/>
                  <a:gd name="T91" fmla="*/ 391 h 1679"/>
                  <a:gd name="T92" fmla="*/ 4043 w 7027"/>
                  <a:gd name="T93" fmla="*/ 448 h 1679"/>
                  <a:gd name="T94" fmla="*/ 1809 w 7027"/>
                  <a:gd name="T95" fmla="*/ 1118 h 1679"/>
                  <a:gd name="T96" fmla="*/ 1936 w 7027"/>
                  <a:gd name="T97" fmla="*/ 337 h 1679"/>
                  <a:gd name="T98" fmla="*/ 4048 w 7027"/>
                  <a:gd name="T99" fmla="*/ 327 h 1679"/>
                  <a:gd name="T100" fmla="*/ 4050 w 7027"/>
                  <a:gd name="T101" fmla="*/ 382 h 1679"/>
                  <a:gd name="T102" fmla="*/ 2026 w 7027"/>
                  <a:gd name="T103" fmla="*/ 320 h 1679"/>
                  <a:gd name="T104" fmla="*/ 4703 w 7027"/>
                  <a:gd name="T105" fmla="*/ 235 h 1679"/>
                  <a:gd name="T106" fmla="*/ 4802 w 7027"/>
                  <a:gd name="T107" fmla="*/ 173 h 1679"/>
                  <a:gd name="T108" fmla="*/ 4804 w 7027"/>
                  <a:gd name="T109" fmla="*/ 173 h 1679"/>
                  <a:gd name="T110" fmla="*/ 4854 w 7027"/>
                  <a:gd name="T111" fmla="*/ 159 h 1679"/>
                  <a:gd name="T112" fmla="*/ 4908 w 7027"/>
                  <a:gd name="T113" fmla="*/ 159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7" h="1679">
                    <a:moveTo>
                      <a:pt x="2" y="1452"/>
                    </a:moveTo>
                    <a:lnTo>
                      <a:pt x="0" y="1452"/>
                    </a:lnTo>
                    <a:lnTo>
                      <a:pt x="0" y="1454"/>
                    </a:lnTo>
                    <a:lnTo>
                      <a:pt x="0" y="1520"/>
                    </a:lnTo>
                    <a:lnTo>
                      <a:pt x="2" y="1520"/>
                    </a:lnTo>
                    <a:lnTo>
                      <a:pt x="2" y="1452"/>
                    </a:lnTo>
                    <a:close/>
                    <a:moveTo>
                      <a:pt x="5667" y="1326"/>
                    </a:moveTo>
                    <a:lnTo>
                      <a:pt x="5665" y="1326"/>
                    </a:lnTo>
                    <a:lnTo>
                      <a:pt x="5665" y="1329"/>
                    </a:lnTo>
                    <a:lnTo>
                      <a:pt x="5665" y="1435"/>
                    </a:lnTo>
                    <a:lnTo>
                      <a:pt x="5667" y="1435"/>
                    </a:lnTo>
                    <a:lnTo>
                      <a:pt x="5667" y="1326"/>
                    </a:lnTo>
                    <a:close/>
                    <a:moveTo>
                      <a:pt x="3712" y="1222"/>
                    </a:moveTo>
                    <a:lnTo>
                      <a:pt x="3710" y="1222"/>
                    </a:lnTo>
                    <a:lnTo>
                      <a:pt x="3710" y="1222"/>
                    </a:lnTo>
                    <a:lnTo>
                      <a:pt x="3710" y="1225"/>
                    </a:lnTo>
                    <a:lnTo>
                      <a:pt x="3710" y="1378"/>
                    </a:lnTo>
                    <a:lnTo>
                      <a:pt x="3712" y="1378"/>
                    </a:lnTo>
                    <a:lnTo>
                      <a:pt x="3712" y="1222"/>
                    </a:lnTo>
                    <a:close/>
                    <a:moveTo>
                      <a:pt x="5831" y="1208"/>
                    </a:moveTo>
                    <a:lnTo>
                      <a:pt x="5831" y="1208"/>
                    </a:lnTo>
                    <a:lnTo>
                      <a:pt x="5831" y="1208"/>
                    </a:lnTo>
                    <a:lnTo>
                      <a:pt x="5831" y="1210"/>
                    </a:lnTo>
                    <a:lnTo>
                      <a:pt x="5831" y="1312"/>
                    </a:lnTo>
                    <a:lnTo>
                      <a:pt x="5831" y="1312"/>
                    </a:lnTo>
                    <a:lnTo>
                      <a:pt x="5831" y="1208"/>
                    </a:lnTo>
                    <a:close/>
                    <a:moveTo>
                      <a:pt x="1667" y="1156"/>
                    </a:moveTo>
                    <a:lnTo>
                      <a:pt x="1664" y="1156"/>
                    </a:lnTo>
                    <a:lnTo>
                      <a:pt x="1664" y="1156"/>
                    </a:lnTo>
                    <a:lnTo>
                      <a:pt x="1664" y="1158"/>
                    </a:lnTo>
                    <a:lnTo>
                      <a:pt x="1664" y="1187"/>
                    </a:lnTo>
                    <a:lnTo>
                      <a:pt x="1667" y="1187"/>
                    </a:lnTo>
                    <a:lnTo>
                      <a:pt x="1667" y="1156"/>
                    </a:lnTo>
                    <a:close/>
                    <a:moveTo>
                      <a:pt x="1690" y="1132"/>
                    </a:moveTo>
                    <a:lnTo>
                      <a:pt x="1688" y="1132"/>
                    </a:lnTo>
                    <a:lnTo>
                      <a:pt x="1688" y="1135"/>
                    </a:lnTo>
                    <a:lnTo>
                      <a:pt x="1688" y="1144"/>
                    </a:lnTo>
                    <a:lnTo>
                      <a:pt x="1690" y="1144"/>
                    </a:lnTo>
                    <a:lnTo>
                      <a:pt x="1690" y="1132"/>
                    </a:lnTo>
                    <a:close/>
                    <a:moveTo>
                      <a:pt x="5857" y="1127"/>
                    </a:moveTo>
                    <a:lnTo>
                      <a:pt x="5854" y="1127"/>
                    </a:lnTo>
                    <a:lnTo>
                      <a:pt x="5854" y="1127"/>
                    </a:lnTo>
                    <a:lnTo>
                      <a:pt x="5854" y="1130"/>
                    </a:lnTo>
                    <a:lnTo>
                      <a:pt x="5854" y="1196"/>
                    </a:lnTo>
                    <a:lnTo>
                      <a:pt x="5857" y="1196"/>
                    </a:lnTo>
                    <a:lnTo>
                      <a:pt x="5857" y="1127"/>
                    </a:lnTo>
                    <a:close/>
                    <a:moveTo>
                      <a:pt x="6322" y="1127"/>
                    </a:moveTo>
                    <a:lnTo>
                      <a:pt x="6322" y="1127"/>
                    </a:lnTo>
                    <a:lnTo>
                      <a:pt x="6322" y="1127"/>
                    </a:lnTo>
                    <a:lnTo>
                      <a:pt x="6322" y="1130"/>
                    </a:lnTo>
                    <a:lnTo>
                      <a:pt x="6322" y="1350"/>
                    </a:lnTo>
                    <a:lnTo>
                      <a:pt x="6322" y="1350"/>
                    </a:lnTo>
                    <a:lnTo>
                      <a:pt x="6322" y="1127"/>
                    </a:lnTo>
                    <a:close/>
                    <a:moveTo>
                      <a:pt x="1447" y="1125"/>
                    </a:moveTo>
                    <a:lnTo>
                      <a:pt x="1447" y="1125"/>
                    </a:lnTo>
                    <a:lnTo>
                      <a:pt x="1444" y="1125"/>
                    </a:lnTo>
                    <a:lnTo>
                      <a:pt x="1444" y="1127"/>
                    </a:lnTo>
                    <a:lnTo>
                      <a:pt x="1444" y="1187"/>
                    </a:lnTo>
                    <a:lnTo>
                      <a:pt x="1447" y="1187"/>
                    </a:lnTo>
                    <a:lnTo>
                      <a:pt x="1447" y="1125"/>
                    </a:lnTo>
                    <a:close/>
                    <a:moveTo>
                      <a:pt x="1463" y="1085"/>
                    </a:moveTo>
                    <a:lnTo>
                      <a:pt x="1463" y="1085"/>
                    </a:lnTo>
                    <a:lnTo>
                      <a:pt x="1463" y="1085"/>
                    </a:lnTo>
                    <a:lnTo>
                      <a:pt x="1463" y="1113"/>
                    </a:lnTo>
                    <a:lnTo>
                      <a:pt x="1463" y="1113"/>
                    </a:lnTo>
                    <a:lnTo>
                      <a:pt x="1463" y="1085"/>
                    </a:lnTo>
                    <a:close/>
                    <a:moveTo>
                      <a:pt x="2861" y="1064"/>
                    </a:moveTo>
                    <a:lnTo>
                      <a:pt x="2858" y="1064"/>
                    </a:lnTo>
                    <a:lnTo>
                      <a:pt x="2858" y="1064"/>
                    </a:lnTo>
                    <a:lnTo>
                      <a:pt x="2858" y="1064"/>
                    </a:lnTo>
                    <a:lnTo>
                      <a:pt x="2858" y="1227"/>
                    </a:lnTo>
                    <a:lnTo>
                      <a:pt x="2861" y="1227"/>
                    </a:lnTo>
                    <a:lnTo>
                      <a:pt x="2861" y="1064"/>
                    </a:lnTo>
                    <a:close/>
                    <a:moveTo>
                      <a:pt x="5932" y="1042"/>
                    </a:moveTo>
                    <a:lnTo>
                      <a:pt x="5930" y="1042"/>
                    </a:lnTo>
                    <a:lnTo>
                      <a:pt x="5930" y="1042"/>
                    </a:lnTo>
                    <a:lnTo>
                      <a:pt x="5930" y="1042"/>
                    </a:lnTo>
                    <a:lnTo>
                      <a:pt x="5930" y="1116"/>
                    </a:lnTo>
                    <a:lnTo>
                      <a:pt x="5932" y="1116"/>
                    </a:lnTo>
                    <a:lnTo>
                      <a:pt x="5932" y="1042"/>
                    </a:lnTo>
                    <a:close/>
                    <a:moveTo>
                      <a:pt x="2877" y="1011"/>
                    </a:moveTo>
                    <a:lnTo>
                      <a:pt x="2875" y="1011"/>
                    </a:lnTo>
                    <a:lnTo>
                      <a:pt x="2875" y="1014"/>
                    </a:lnTo>
                    <a:lnTo>
                      <a:pt x="2875" y="1049"/>
                    </a:lnTo>
                    <a:lnTo>
                      <a:pt x="2877" y="1049"/>
                    </a:lnTo>
                    <a:lnTo>
                      <a:pt x="2877" y="1011"/>
                    </a:lnTo>
                    <a:close/>
                    <a:moveTo>
                      <a:pt x="3771" y="993"/>
                    </a:moveTo>
                    <a:lnTo>
                      <a:pt x="3769" y="993"/>
                    </a:lnTo>
                    <a:lnTo>
                      <a:pt x="3769" y="995"/>
                    </a:lnTo>
                    <a:lnTo>
                      <a:pt x="3769" y="1210"/>
                    </a:lnTo>
                    <a:lnTo>
                      <a:pt x="3771" y="1210"/>
                    </a:lnTo>
                    <a:lnTo>
                      <a:pt x="3771" y="993"/>
                    </a:lnTo>
                    <a:close/>
                    <a:moveTo>
                      <a:pt x="5949" y="990"/>
                    </a:moveTo>
                    <a:lnTo>
                      <a:pt x="5949" y="990"/>
                    </a:lnTo>
                    <a:lnTo>
                      <a:pt x="5949" y="993"/>
                    </a:lnTo>
                    <a:lnTo>
                      <a:pt x="5949" y="1028"/>
                    </a:lnTo>
                    <a:lnTo>
                      <a:pt x="5949" y="1028"/>
                    </a:lnTo>
                    <a:lnTo>
                      <a:pt x="5949" y="990"/>
                    </a:lnTo>
                    <a:close/>
                    <a:moveTo>
                      <a:pt x="6341" y="936"/>
                    </a:moveTo>
                    <a:lnTo>
                      <a:pt x="6339" y="936"/>
                    </a:lnTo>
                    <a:lnTo>
                      <a:pt x="6339" y="936"/>
                    </a:lnTo>
                    <a:lnTo>
                      <a:pt x="6339" y="938"/>
                    </a:lnTo>
                    <a:lnTo>
                      <a:pt x="6339" y="1116"/>
                    </a:lnTo>
                    <a:lnTo>
                      <a:pt x="6341" y="1116"/>
                    </a:lnTo>
                    <a:lnTo>
                      <a:pt x="6341" y="936"/>
                    </a:lnTo>
                    <a:close/>
                    <a:moveTo>
                      <a:pt x="3847" y="929"/>
                    </a:moveTo>
                    <a:lnTo>
                      <a:pt x="3844" y="929"/>
                    </a:lnTo>
                    <a:lnTo>
                      <a:pt x="3844" y="931"/>
                    </a:lnTo>
                    <a:lnTo>
                      <a:pt x="3844" y="981"/>
                    </a:lnTo>
                    <a:lnTo>
                      <a:pt x="3847" y="981"/>
                    </a:lnTo>
                    <a:lnTo>
                      <a:pt x="3847" y="929"/>
                    </a:lnTo>
                    <a:close/>
                    <a:moveTo>
                      <a:pt x="6386" y="895"/>
                    </a:moveTo>
                    <a:lnTo>
                      <a:pt x="6384" y="895"/>
                    </a:lnTo>
                    <a:lnTo>
                      <a:pt x="6384" y="895"/>
                    </a:lnTo>
                    <a:lnTo>
                      <a:pt x="6384" y="898"/>
                    </a:lnTo>
                    <a:lnTo>
                      <a:pt x="6377" y="921"/>
                    </a:lnTo>
                    <a:lnTo>
                      <a:pt x="6379" y="921"/>
                    </a:lnTo>
                    <a:lnTo>
                      <a:pt x="6386" y="895"/>
                    </a:lnTo>
                    <a:close/>
                    <a:moveTo>
                      <a:pt x="6391" y="879"/>
                    </a:moveTo>
                    <a:lnTo>
                      <a:pt x="6389" y="879"/>
                    </a:lnTo>
                    <a:lnTo>
                      <a:pt x="6389" y="879"/>
                    </a:lnTo>
                    <a:lnTo>
                      <a:pt x="6389" y="881"/>
                    </a:lnTo>
                    <a:lnTo>
                      <a:pt x="6389" y="891"/>
                    </a:lnTo>
                    <a:lnTo>
                      <a:pt x="6389" y="891"/>
                    </a:lnTo>
                    <a:lnTo>
                      <a:pt x="6389" y="888"/>
                    </a:lnTo>
                    <a:lnTo>
                      <a:pt x="6391" y="888"/>
                    </a:lnTo>
                    <a:lnTo>
                      <a:pt x="6391" y="879"/>
                    </a:lnTo>
                    <a:close/>
                    <a:moveTo>
                      <a:pt x="6398" y="850"/>
                    </a:moveTo>
                    <a:lnTo>
                      <a:pt x="6396" y="850"/>
                    </a:lnTo>
                    <a:lnTo>
                      <a:pt x="6396" y="853"/>
                    </a:lnTo>
                    <a:lnTo>
                      <a:pt x="6396" y="872"/>
                    </a:lnTo>
                    <a:lnTo>
                      <a:pt x="6398" y="872"/>
                    </a:lnTo>
                    <a:lnTo>
                      <a:pt x="6398" y="869"/>
                    </a:lnTo>
                    <a:lnTo>
                      <a:pt x="6398" y="869"/>
                    </a:lnTo>
                    <a:lnTo>
                      <a:pt x="6398" y="850"/>
                    </a:lnTo>
                    <a:close/>
                    <a:moveTo>
                      <a:pt x="806" y="827"/>
                    </a:moveTo>
                    <a:lnTo>
                      <a:pt x="804" y="827"/>
                    </a:lnTo>
                    <a:lnTo>
                      <a:pt x="804" y="829"/>
                    </a:lnTo>
                    <a:lnTo>
                      <a:pt x="804" y="1056"/>
                    </a:lnTo>
                    <a:lnTo>
                      <a:pt x="806" y="1056"/>
                    </a:lnTo>
                    <a:lnTo>
                      <a:pt x="806" y="827"/>
                    </a:lnTo>
                    <a:close/>
                    <a:moveTo>
                      <a:pt x="3100" y="763"/>
                    </a:moveTo>
                    <a:lnTo>
                      <a:pt x="3100" y="763"/>
                    </a:lnTo>
                    <a:lnTo>
                      <a:pt x="3100" y="763"/>
                    </a:lnTo>
                    <a:lnTo>
                      <a:pt x="3100" y="765"/>
                    </a:lnTo>
                    <a:lnTo>
                      <a:pt x="3100" y="966"/>
                    </a:lnTo>
                    <a:lnTo>
                      <a:pt x="3100" y="966"/>
                    </a:lnTo>
                    <a:lnTo>
                      <a:pt x="3100" y="763"/>
                    </a:lnTo>
                    <a:close/>
                    <a:moveTo>
                      <a:pt x="1009" y="753"/>
                    </a:moveTo>
                    <a:lnTo>
                      <a:pt x="1007" y="753"/>
                    </a:lnTo>
                    <a:lnTo>
                      <a:pt x="1007" y="756"/>
                    </a:lnTo>
                    <a:lnTo>
                      <a:pt x="1007" y="815"/>
                    </a:lnTo>
                    <a:lnTo>
                      <a:pt x="1009" y="815"/>
                    </a:lnTo>
                    <a:lnTo>
                      <a:pt x="1009" y="753"/>
                    </a:lnTo>
                    <a:close/>
                    <a:moveTo>
                      <a:pt x="5133" y="732"/>
                    </a:moveTo>
                    <a:lnTo>
                      <a:pt x="5131" y="732"/>
                    </a:lnTo>
                    <a:lnTo>
                      <a:pt x="5131" y="734"/>
                    </a:lnTo>
                    <a:lnTo>
                      <a:pt x="5131" y="959"/>
                    </a:lnTo>
                    <a:lnTo>
                      <a:pt x="5133" y="959"/>
                    </a:lnTo>
                    <a:lnTo>
                      <a:pt x="5133" y="732"/>
                    </a:lnTo>
                    <a:close/>
                    <a:moveTo>
                      <a:pt x="3140" y="656"/>
                    </a:moveTo>
                    <a:lnTo>
                      <a:pt x="3137" y="656"/>
                    </a:lnTo>
                    <a:lnTo>
                      <a:pt x="3137" y="659"/>
                    </a:lnTo>
                    <a:lnTo>
                      <a:pt x="3137" y="749"/>
                    </a:lnTo>
                    <a:lnTo>
                      <a:pt x="3140" y="749"/>
                    </a:lnTo>
                    <a:lnTo>
                      <a:pt x="3140" y="656"/>
                    </a:lnTo>
                    <a:close/>
                    <a:moveTo>
                      <a:pt x="97" y="616"/>
                    </a:moveTo>
                    <a:lnTo>
                      <a:pt x="94" y="616"/>
                    </a:lnTo>
                    <a:lnTo>
                      <a:pt x="94" y="618"/>
                    </a:lnTo>
                    <a:lnTo>
                      <a:pt x="94" y="1440"/>
                    </a:lnTo>
                    <a:lnTo>
                      <a:pt x="97" y="1440"/>
                    </a:lnTo>
                    <a:lnTo>
                      <a:pt x="97" y="616"/>
                    </a:lnTo>
                    <a:close/>
                    <a:moveTo>
                      <a:pt x="5254" y="609"/>
                    </a:moveTo>
                    <a:lnTo>
                      <a:pt x="5251" y="609"/>
                    </a:lnTo>
                    <a:lnTo>
                      <a:pt x="5251" y="611"/>
                    </a:lnTo>
                    <a:lnTo>
                      <a:pt x="5251" y="718"/>
                    </a:lnTo>
                    <a:lnTo>
                      <a:pt x="5254" y="718"/>
                    </a:lnTo>
                    <a:lnTo>
                      <a:pt x="5254" y="609"/>
                    </a:lnTo>
                    <a:close/>
                    <a:moveTo>
                      <a:pt x="3284" y="583"/>
                    </a:moveTo>
                    <a:lnTo>
                      <a:pt x="3282" y="583"/>
                    </a:lnTo>
                    <a:lnTo>
                      <a:pt x="3282" y="583"/>
                    </a:lnTo>
                    <a:lnTo>
                      <a:pt x="3282" y="583"/>
                    </a:lnTo>
                    <a:lnTo>
                      <a:pt x="3282" y="644"/>
                    </a:lnTo>
                    <a:lnTo>
                      <a:pt x="3284" y="644"/>
                    </a:lnTo>
                    <a:lnTo>
                      <a:pt x="3284" y="583"/>
                    </a:lnTo>
                    <a:close/>
                    <a:moveTo>
                      <a:pt x="302" y="547"/>
                    </a:moveTo>
                    <a:lnTo>
                      <a:pt x="300" y="547"/>
                    </a:lnTo>
                    <a:lnTo>
                      <a:pt x="300" y="550"/>
                    </a:lnTo>
                    <a:lnTo>
                      <a:pt x="300" y="604"/>
                    </a:lnTo>
                    <a:lnTo>
                      <a:pt x="302" y="604"/>
                    </a:lnTo>
                    <a:lnTo>
                      <a:pt x="302" y="547"/>
                    </a:lnTo>
                    <a:close/>
                    <a:moveTo>
                      <a:pt x="7027" y="510"/>
                    </a:moveTo>
                    <a:lnTo>
                      <a:pt x="7025" y="510"/>
                    </a:lnTo>
                    <a:lnTo>
                      <a:pt x="7025" y="510"/>
                    </a:lnTo>
                    <a:lnTo>
                      <a:pt x="7025" y="1679"/>
                    </a:lnTo>
                    <a:lnTo>
                      <a:pt x="7027" y="1679"/>
                    </a:lnTo>
                    <a:lnTo>
                      <a:pt x="7027" y="510"/>
                    </a:lnTo>
                    <a:close/>
                    <a:moveTo>
                      <a:pt x="4194" y="502"/>
                    </a:moveTo>
                    <a:lnTo>
                      <a:pt x="4194" y="502"/>
                    </a:lnTo>
                    <a:lnTo>
                      <a:pt x="4192" y="505"/>
                    </a:lnTo>
                    <a:lnTo>
                      <a:pt x="4133" y="588"/>
                    </a:lnTo>
                    <a:lnTo>
                      <a:pt x="4133" y="588"/>
                    </a:lnTo>
                    <a:lnTo>
                      <a:pt x="4194" y="502"/>
                    </a:lnTo>
                    <a:close/>
                    <a:moveTo>
                      <a:pt x="3301" y="500"/>
                    </a:moveTo>
                    <a:lnTo>
                      <a:pt x="3301" y="500"/>
                    </a:lnTo>
                    <a:lnTo>
                      <a:pt x="3298" y="500"/>
                    </a:lnTo>
                    <a:lnTo>
                      <a:pt x="3298" y="502"/>
                    </a:lnTo>
                    <a:lnTo>
                      <a:pt x="3298" y="569"/>
                    </a:lnTo>
                    <a:lnTo>
                      <a:pt x="3301" y="569"/>
                    </a:lnTo>
                    <a:lnTo>
                      <a:pt x="3301" y="500"/>
                    </a:lnTo>
                    <a:close/>
                    <a:moveTo>
                      <a:pt x="4038" y="455"/>
                    </a:moveTo>
                    <a:lnTo>
                      <a:pt x="4036" y="455"/>
                    </a:lnTo>
                    <a:lnTo>
                      <a:pt x="4036" y="455"/>
                    </a:lnTo>
                    <a:lnTo>
                      <a:pt x="4036" y="455"/>
                    </a:lnTo>
                    <a:lnTo>
                      <a:pt x="4036" y="491"/>
                    </a:lnTo>
                    <a:lnTo>
                      <a:pt x="3953" y="644"/>
                    </a:lnTo>
                    <a:lnTo>
                      <a:pt x="3953" y="914"/>
                    </a:lnTo>
                    <a:lnTo>
                      <a:pt x="3955" y="914"/>
                    </a:lnTo>
                    <a:lnTo>
                      <a:pt x="3955" y="642"/>
                    </a:lnTo>
                    <a:lnTo>
                      <a:pt x="4038" y="488"/>
                    </a:lnTo>
                    <a:lnTo>
                      <a:pt x="4038" y="455"/>
                    </a:lnTo>
                    <a:close/>
                    <a:moveTo>
                      <a:pt x="3329" y="434"/>
                    </a:moveTo>
                    <a:lnTo>
                      <a:pt x="3327" y="434"/>
                    </a:lnTo>
                    <a:lnTo>
                      <a:pt x="3327" y="436"/>
                    </a:lnTo>
                    <a:lnTo>
                      <a:pt x="3327" y="488"/>
                    </a:lnTo>
                    <a:lnTo>
                      <a:pt x="3329" y="488"/>
                    </a:lnTo>
                    <a:lnTo>
                      <a:pt x="3329" y="434"/>
                    </a:lnTo>
                    <a:close/>
                    <a:moveTo>
                      <a:pt x="4043" y="391"/>
                    </a:moveTo>
                    <a:lnTo>
                      <a:pt x="4041" y="391"/>
                    </a:lnTo>
                    <a:lnTo>
                      <a:pt x="4041" y="391"/>
                    </a:lnTo>
                    <a:lnTo>
                      <a:pt x="4041" y="394"/>
                    </a:lnTo>
                    <a:lnTo>
                      <a:pt x="4041" y="448"/>
                    </a:lnTo>
                    <a:lnTo>
                      <a:pt x="4043" y="448"/>
                    </a:lnTo>
                    <a:lnTo>
                      <a:pt x="4043" y="448"/>
                    </a:lnTo>
                    <a:lnTo>
                      <a:pt x="4043" y="448"/>
                    </a:lnTo>
                    <a:lnTo>
                      <a:pt x="4043" y="391"/>
                    </a:lnTo>
                    <a:close/>
                    <a:moveTo>
                      <a:pt x="1811" y="367"/>
                    </a:moveTo>
                    <a:lnTo>
                      <a:pt x="1809" y="367"/>
                    </a:lnTo>
                    <a:lnTo>
                      <a:pt x="1809" y="370"/>
                    </a:lnTo>
                    <a:lnTo>
                      <a:pt x="1809" y="1118"/>
                    </a:lnTo>
                    <a:lnTo>
                      <a:pt x="1811" y="1118"/>
                    </a:lnTo>
                    <a:lnTo>
                      <a:pt x="1811" y="367"/>
                    </a:lnTo>
                    <a:close/>
                    <a:moveTo>
                      <a:pt x="1939" y="334"/>
                    </a:moveTo>
                    <a:lnTo>
                      <a:pt x="1936" y="334"/>
                    </a:lnTo>
                    <a:lnTo>
                      <a:pt x="1936" y="337"/>
                    </a:lnTo>
                    <a:lnTo>
                      <a:pt x="1936" y="356"/>
                    </a:lnTo>
                    <a:lnTo>
                      <a:pt x="1939" y="356"/>
                    </a:lnTo>
                    <a:lnTo>
                      <a:pt x="1939" y="334"/>
                    </a:lnTo>
                    <a:close/>
                    <a:moveTo>
                      <a:pt x="4050" y="327"/>
                    </a:moveTo>
                    <a:lnTo>
                      <a:pt x="4048" y="327"/>
                    </a:lnTo>
                    <a:lnTo>
                      <a:pt x="4048" y="330"/>
                    </a:lnTo>
                    <a:lnTo>
                      <a:pt x="4048" y="384"/>
                    </a:lnTo>
                    <a:lnTo>
                      <a:pt x="4050" y="384"/>
                    </a:lnTo>
                    <a:lnTo>
                      <a:pt x="4050" y="382"/>
                    </a:lnTo>
                    <a:lnTo>
                      <a:pt x="4050" y="382"/>
                    </a:lnTo>
                    <a:lnTo>
                      <a:pt x="4050" y="327"/>
                    </a:lnTo>
                    <a:close/>
                    <a:moveTo>
                      <a:pt x="2028" y="294"/>
                    </a:moveTo>
                    <a:lnTo>
                      <a:pt x="2026" y="294"/>
                    </a:lnTo>
                    <a:lnTo>
                      <a:pt x="2026" y="296"/>
                    </a:lnTo>
                    <a:lnTo>
                      <a:pt x="2026" y="320"/>
                    </a:lnTo>
                    <a:lnTo>
                      <a:pt x="2028" y="320"/>
                    </a:lnTo>
                    <a:lnTo>
                      <a:pt x="2028" y="294"/>
                    </a:lnTo>
                    <a:close/>
                    <a:moveTo>
                      <a:pt x="4703" y="233"/>
                    </a:moveTo>
                    <a:lnTo>
                      <a:pt x="4703" y="233"/>
                    </a:lnTo>
                    <a:lnTo>
                      <a:pt x="4703" y="235"/>
                    </a:lnTo>
                    <a:lnTo>
                      <a:pt x="4639" y="467"/>
                    </a:lnTo>
                    <a:lnTo>
                      <a:pt x="4641" y="465"/>
                    </a:lnTo>
                    <a:lnTo>
                      <a:pt x="4703" y="233"/>
                    </a:lnTo>
                    <a:close/>
                    <a:moveTo>
                      <a:pt x="4804" y="173"/>
                    </a:moveTo>
                    <a:lnTo>
                      <a:pt x="4802" y="173"/>
                    </a:lnTo>
                    <a:lnTo>
                      <a:pt x="4802" y="173"/>
                    </a:lnTo>
                    <a:lnTo>
                      <a:pt x="4802" y="173"/>
                    </a:lnTo>
                    <a:lnTo>
                      <a:pt x="4802" y="218"/>
                    </a:lnTo>
                    <a:lnTo>
                      <a:pt x="4804" y="218"/>
                    </a:lnTo>
                    <a:lnTo>
                      <a:pt x="4804" y="173"/>
                    </a:lnTo>
                    <a:close/>
                    <a:moveTo>
                      <a:pt x="4854" y="0"/>
                    </a:moveTo>
                    <a:lnTo>
                      <a:pt x="4852" y="0"/>
                    </a:lnTo>
                    <a:lnTo>
                      <a:pt x="4852" y="3"/>
                    </a:lnTo>
                    <a:lnTo>
                      <a:pt x="4852" y="159"/>
                    </a:lnTo>
                    <a:lnTo>
                      <a:pt x="4854" y="159"/>
                    </a:lnTo>
                    <a:lnTo>
                      <a:pt x="4854" y="0"/>
                    </a:lnTo>
                    <a:close/>
                    <a:moveTo>
                      <a:pt x="4911" y="0"/>
                    </a:moveTo>
                    <a:lnTo>
                      <a:pt x="4908" y="0"/>
                    </a:lnTo>
                    <a:lnTo>
                      <a:pt x="4908" y="3"/>
                    </a:lnTo>
                    <a:lnTo>
                      <a:pt x="4908" y="159"/>
                    </a:lnTo>
                    <a:lnTo>
                      <a:pt x="4911" y="159"/>
                    </a:lnTo>
                    <a:lnTo>
                      <a:pt x="4911" y="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09" name="Freeform 131"/>
              <p:cNvSpPr>
                <a:spLocks noEditPoints="1"/>
              </p:cNvSpPr>
              <p:nvPr/>
            </p:nvSpPr>
            <p:spPr bwMode="auto">
              <a:xfrm>
                <a:off x="33" y="1674"/>
                <a:ext cx="7027" cy="1679"/>
              </a:xfrm>
              <a:custGeom>
                <a:avLst/>
                <a:gdLst>
                  <a:gd name="T0" fmla="*/ 2 w 7027"/>
                  <a:gd name="T1" fmla="*/ 1520 h 1679"/>
                  <a:gd name="T2" fmla="*/ 5665 w 7027"/>
                  <a:gd name="T3" fmla="*/ 1435 h 1679"/>
                  <a:gd name="T4" fmla="*/ 3710 w 7027"/>
                  <a:gd name="T5" fmla="*/ 1222 h 1679"/>
                  <a:gd name="T6" fmla="*/ 5831 w 7027"/>
                  <a:gd name="T7" fmla="*/ 1208 h 1679"/>
                  <a:gd name="T8" fmla="*/ 5831 w 7027"/>
                  <a:gd name="T9" fmla="*/ 1312 h 1679"/>
                  <a:gd name="T10" fmla="*/ 1664 w 7027"/>
                  <a:gd name="T11" fmla="*/ 1158 h 1679"/>
                  <a:gd name="T12" fmla="*/ 1688 w 7027"/>
                  <a:gd name="T13" fmla="*/ 1132 h 1679"/>
                  <a:gd name="T14" fmla="*/ 5857 w 7027"/>
                  <a:gd name="T15" fmla="*/ 1127 h 1679"/>
                  <a:gd name="T16" fmla="*/ 5857 w 7027"/>
                  <a:gd name="T17" fmla="*/ 1196 h 1679"/>
                  <a:gd name="T18" fmla="*/ 6322 w 7027"/>
                  <a:gd name="T19" fmla="*/ 1130 h 1679"/>
                  <a:gd name="T20" fmla="*/ 1447 w 7027"/>
                  <a:gd name="T21" fmla="*/ 1125 h 1679"/>
                  <a:gd name="T22" fmla="*/ 1447 w 7027"/>
                  <a:gd name="T23" fmla="*/ 1125 h 1679"/>
                  <a:gd name="T24" fmla="*/ 1463 w 7027"/>
                  <a:gd name="T25" fmla="*/ 1113 h 1679"/>
                  <a:gd name="T26" fmla="*/ 2858 w 7027"/>
                  <a:gd name="T27" fmla="*/ 1064 h 1679"/>
                  <a:gd name="T28" fmla="*/ 5930 w 7027"/>
                  <a:gd name="T29" fmla="*/ 1042 h 1679"/>
                  <a:gd name="T30" fmla="*/ 5932 w 7027"/>
                  <a:gd name="T31" fmla="*/ 1042 h 1679"/>
                  <a:gd name="T32" fmla="*/ 2877 w 7027"/>
                  <a:gd name="T33" fmla="*/ 1049 h 1679"/>
                  <a:gd name="T34" fmla="*/ 3769 w 7027"/>
                  <a:gd name="T35" fmla="*/ 1210 h 1679"/>
                  <a:gd name="T36" fmla="*/ 5949 w 7027"/>
                  <a:gd name="T37" fmla="*/ 993 h 1679"/>
                  <a:gd name="T38" fmla="*/ 6339 w 7027"/>
                  <a:gd name="T39" fmla="*/ 936 h 1679"/>
                  <a:gd name="T40" fmla="*/ 6341 w 7027"/>
                  <a:gd name="T41" fmla="*/ 936 h 1679"/>
                  <a:gd name="T42" fmla="*/ 3847 w 7027"/>
                  <a:gd name="T43" fmla="*/ 981 h 1679"/>
                  <a:gd name="T44" fmla="*/ 6384 w 7027"/>
                  <a:gd name="T45" fmla="*/ 898 h 1679"/>
                  <a:gd name="T46" fmla="*/ 6389 w 7027"/>
                  <a:gd name="T47" fmla="*/ 879 h 1679"/>
                  <a:gd name="T48" fmla="*/ 6389 w 7027"/>
                  <a:gd name="T49" fmla="*/ 888 h 1679"/>
                  <a:gd name="T50" fmla="*/ 6396 w 7027"/>
                  <a:gd name="T51" fmla="*/ 853 h 1679"/>
                  <a:gd name="T52" fmla="*/ 6398 w 7027"/>
                  <a:gd name="T53" fmla="*/ 850 h 1679"/>
                  <a:gd name="T54" fmla="*/ 806 w 7027"/>
                  <a:gd name="T55" fmla="*/ 1056 h 1679"/>
                  <a:gd name="T56" fmla="*/ 3100 w 7027"/>
                  <a:gd name="T57" fmla="*/ 765 h 1679"/>
                  <a:gd name="T58" fmla="*/ 1007 w 7027"/>
                  <a:gd name="T59" fmla="*/ 753 h 1679"/>
                  <a:gd name="T60" fmla="*/ 5133 w 7027"/>
                  <a:gd name="T61" fmla="*/ 732 h 1679"/>
                  <a:gd name="T62" fmla="*/ 5133 w 7027"/>
                  <a:gd name="T63" fmla="*/ 732 h 1679"/>
                  <a:gd name="T64" fmla="*/ 3140 w 7027"/>
                  <a:gd name="T65" fmla="*/ 749 h 1679"/>
                  <a:gd name="T66" fmla="*/ 94 w 7027"/>
                  <a:gd name="T67" fmla="*/ 1440 h 1679"/>
                  <a:gd name="T68" fmla="*/ 5251 w 7027"/>
                  <a:gd name="T69" fmla="*/ 611 h 1679"/>
                  <a:gd name="T70" fmla="*/ 3282 w 7027"/>
                  <a:gd name="T71" fmla="*/ 583 h 1679"/>
                  <a:gd name="T72" fmla="*/ 3284 w 7027"/>
                  <a:gd name="T73" fmla="*/ 583 h 1679"/>
                  <a:gd name="T74" fmla="*/ 302 w 7027"/>
                  <a:gd name="T75" fmla="*/ 604 h 1679"/>
                  <a:gd name="T76" fmla="*/ 7025 w 7027"/>
                  <a:gd name="T77" fmla="*/ 1679 h 1679"/>
                  <a:gd name="T78" fmla="*/ 4192 w 7027"/>
                  <a:gd name="T79" fmla="*/ 505 h 1679"/>
                  <a:gd name="T80" fmla="*/ 3301 w 7027"/>
                  <a:gd name="T81" fmla="*/ 500 h 1679"/>
                  <a:gd name="T82" fmla="*/ 3301 w 7027"/>
                  <a:gd name="T83" fmla="*/ 500 h 1679"/>
                  <a:gd name="T84" fmla="*/ 4036 w 7027"/>
                  <a:gd name="T85" fmla="*/ 491 h 1679"/>
                  <a:gd name="T86" fmla="*/ 4038 w 7027"/>
                  <a:gd name="T87" fmla="*/ 488 h 1679"/>
                  <a:gd name="T88" fmla="*/ 3327 w 7027"/>
                  <a:gd name="T89" fmla="*/ 488 h 1679"/>
                  <a:gd name="T90" fmla="*/ 4041 w 7027"/>
                  <a:gd name="T91" fmla="*/ 391 h 1679"/>
                  <a:gd name="T92" fmla="*/ 4043 w 7027"/>
                  <a:gd name="T93" fmla="*/ 448 h 1679"/>
                  <a:gd name="T94" fmla="*/ 1809 w 7027"/>
                  <a:gd name="T95" fmla="*/ 1118 h 1679"/>
                  <a:gd name="T96" fmla="*/ 1936 w 7027"/>
                  <a:gd name="T97" fmla="*/ 337 h 1679"/>
                  <a:gd name="T98" fmla="*/ 4048 w 7027"/>
                  <a:gd name="T99" fmla="*/ 327 h 1679"/>
                  <a:gd name="T100" fmla="*/ 4050 w 7027"/>
                  <a:gd name="T101" fmla="*/ 382 h 1679"/>
                  <a:gd name="T102" fmla="*/ 2026 w 7027"/>
                  <a:gd name="T103" fmla="*/ 320 h 1679"/>
                  <a:gd name="T104" fmla="*/ 4703 w 7027"/>
                  <a:gd name="T105" fmla="*/ 235 h 1679"/>
                  <a:gd name="T106" fmla="*/ 4802 w 7027"/>
                  <a:gd name="T107" fmla="*/ 173 h 1679"/>
                  <a:gd name="T108" fmla="*/ 4804 w 7027"/>
                  <a:gd name="T109" fmla="*/ 173 h 1679"/>
                  <a:gd name="T110" fmla="*/ 4854 w 7027"/>
                  <a:gd name="T111" fmla="*/ 159 h 1679"/>
                  <a:gd name="T112" fmla="*/ 4908 w 7027"/>
                  <a:gd name="T113" fmla="*/ 159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7" h="1679">
                    <a:moveTo>
                      <a:pt x="2" y="1452"/>
                    </a:moveTo>
                    <a:lnTo>
                      <a:pt x="0" y="1452"/>
                    </a:lnTo>
                    <a:lnTo>
                      <a:pt x="0" y="1454"/>
                    </a:lnTo>
                    <a:lnTo>
                      <a:pt x="0" y="1520"/>
                    </a:lnTo>
                    <a:lnTo>
                      <a:pt x="2" y="1520"/>
                    </a:lnTo>
                    <a:lnTo>
                      <a:pt x="2" y="1452"/>
                    </a:lnTo>
                    <a:moveTo>
                      <a:pt x="5667" y="1326"/>
                    </a:moveTo>
                    <a:lnTo>
                      <a:pt x="5665" y="1326"/>
                    </a:lnTo>
                    <a:lnTo>
                      <a:pt x="5665" y="1329"/>
                    </a:lnTo>
                    <a:lnTo>
                      <a:pt x="5665" y="1435"/>
                    </a:lnTo>
                    <a:lnTo>
                      <a:pt x="5667" y="1435"/>
                    </a:lnTo>
                    <a:lnTo>
                      <a:pt x="5667" y="1326"/>
                    </a:lnTo>
                    <a:moveTo>
                      <a:pt x="3712" y="1222"/>
                    </a:moveTo>
                    <a:lnTo>
                      <a:pt x="3710" y="1222"/>
                    </a:lnTo>
                    <a:lnTo>
                      <a:pt x="3710" y="1222"/>
                    </a:lnTo>
                    <a:lnTo>
                      <a:pt x="3710" y="1225"/>
                    </a:lnTo>
                    <a:lnTo>
                      <a:pt x="3710" y="1378"/>
                    </a:lnTo>
                    <a:lnTo>
                      <a:pt x="3712" y="1378"/>
                    </a:lnTo>
                    <a:lnTo>
                      <a:pt x="3712" y="1222"/>
                    </a:lnTo>
                    <a:moveTo>
                      <a:pt x="5831" y="1208"/>
                    </a:moveTo>
                    <a:lnTo>
                      <a:pt x="5831" y="1208"/>
                    </a:lnTo>
                    <a:lnTo>
                      <a:pt x="5831" y="1208"/>
                    </a:lnTo>
                    <a:lnTo>
                      <a:pt x="5831" y="1210"/>
                    </a:lnTo>
                    <a:lnTo>
                      <a:pt x="5831" y="1312"/>
                    </a:lnTo>
                    <a:lnTo>
                      <a:pt x="5831" y="1312"/>
                    </a:lnTo>
                    <a:lnTo>
                      <a:pt x="5831" y="1208"/>
                    </a:lnTo>
                    <a:moveTo>
                      <a:pt x="1667" y="1156"/>
                    </a:moveTo>
                    <a:lnTo>
                      <a:pt x="1664" y="1156"/>
                    </a:lnTo>
                    <a:lnTo>
                      <a:pt x="1664" y="1156"/>
                    </a:lnTo>
                    <a:lnTo>
                      <a:pt x="1664" y="1158"/>
                    </a:lnTo>
                    <a:lnTo>
                      <a:pt x="1664" y="1187"/>
                    </a:lnTo>
                    <a:lnTo>
                      <a:pt x="1667" y="1187"/>
                    </a:lnTo>
                    <a:lnTo>
                      <a:pt x="1667" y="1156"/>
                    </a:lnTo>
                    <a:moveTo>
                      <a:pt x="1690" y="1132"/>
                    </a:moveTo>
                    <a:lnTo>
                      <a:pt x="1688" y="1132"/>
                    </a:lnTo>
                    <a:lnTo>
                      <a:pt x="1688" y="1135"/>
                    </a:lnTo>
                    <a:lnTo>
                      <a:pt x="1688" y="1144"/>
                    </a:lnTo>
                    <a:lnTo>
                      <a:pt x="1690" y="1144"/>
                    </a:lnTo>
                    <a:lnTo>
                      <a:pt x="1690" y="1132"/>
                    </a:lnTo>
                    <a:moveTo>
                      <a:pt x="5857" y="1127"/>
                    </a:moveTo>
                    <a:lnTo>
                      <a:pt x="5854" y="1127"/>
                    </a:lnTo>
                    <a:lnTo>
                      <a:pt x="5854" y="1127"/>
                    </a:lnTo>
                    <a:lnTo>
                      <a:pt x="5854" y="1130"/>
                    </a:lnTo>
                    <a:lnTo>
                      <a:pt x="5854" y="1196"/>
                    </a:lnTo>
                    <a:lnTo>
                      <a:pt x="5857" y="1196"/>
                    </a:lnTo>
                    <a:lnTo>
                      <a:pt x="5857" y="1127"/>
                    </a:lnTo>
                    <a:moveTo>
                      <a:pt x="6322" y="1127"/>
                    </a:moveTo>
                    <a:lnTo>
                      <a:pt x="6322" y="1127"/>
                    </a:lnTo>
                    <a:lnTo>
                      <a:pt x="6322" y="1127"/>
                    </a:lnTo>
                    <a:lnTo>
                      <a:pt x="6322" y="1130"/>
                    </a:lnTo>
                    <a:lnTo>
                      <a:pt x="6322" y="1350"/>
                    </a:lnTo>
                    <a:lnTo>
                      <a:pt x="6322" y="1350"/>
                    </a:lnTo>
                    <a:lnTo>
                      <a:pt x="6322" y="1127"/>
                    </a:lnTo>
                    <a:moveTo>
                      <a:pt x="1447" y="1125"/>
                    </a:moveTo>
                    <a:lnTo>
                      <a:pt x="1447" y="1125"/>
                    </a:lnTo>
                    <a:lnTo>
                      <a:pt x="1444" y="1125"/>
                    </a:lnTo>
                    <a:lnTo>
                      <a:pt x="1444" y="1127"/>
                    </a:lnTo>
                    <a:lnTo>
                      <a:pt x="1444" y="1187"/>
                    </a:lnTo>
                    <a:lnTo>
                      <a:pt x="1447" y="1187"/>
                    </a:lnTo>
                    <a:lnTo>
                      <a:pt x="1447" y="1125"/>
                    </a:lnTo>
                    <a:moveTo>
                      <a:pt x="1463" y="1085"/>
                    </a:moveTo>
                    <a:lnTo>
                      <a:pt x="1463" y="1085"/>
                    </a:lnTo>
                    <a:lnTo>
                      <a:pt x="1463" y="1085"/>
                    </a:lnTo>
                    <a:lnTo>
                      <a:pt x="1463" y="1113"/>
                    </a:lnTo>
                    <a:lnTo>
                      <a:pt x="1463" y="1113"/>
                    </a:lnTo>
                    <a:lnTo>
                      <a:pt x="1463" y="1085"/>
                    </a:lnTo>
                    <a:moveTo>
                      <a:pt x="2861" y="1064"/>
                    </a:moveTo>
                    <a:lnTo>
                      <a:pt x="2858" y="1064"/>
                    </a:lnTo>
                    <a:lnTo>
                      <a:pt x="2858" y="1064"/>
                    </a:lnTo>
                    <a:lnTo>
                      <a:pt x="2858" y="1064"/>
                    </a:lnTo>
                    <a:lnTo>
                      <a:pt x="2858" y="1227"/>
                    </a:lnTo>
                    <a:lnTo>
                      <a:pt x="2861" y="1227"/>
                    </a:lnTo>
                    <a:lnTo>
                      <a:pt x="2861" y="1064"/>
                    </a:lnTo>
                    <a:moveTo>
                      <a:pt x="5932" y="1042"/>
                    </a:moveTo>
                    <a:lnTo>
                      <a:pt x="5930" y="1042"/>
                    </a:lnTo>
                    <a:lnTo>
                      <a:pt x="5930" y="1042"/>
                    </a:lnTo>
                    <a:lnTo>
                      <a:pt x="5930" y="1042"/>
                    </a:lnTo>
                    <a:lnTo>
                      <a:pt x="5930" y="1116"/>
                    </a:lnTo>
                    <a:lnTo>
                      <a:pt x="5932" y="1116"/>
                    </a:lnTo>
                    <a:lnTo>
                      <a:pt x="5932" y="1042"/>
                    </a:lnTo>
                    <a:moveTo>
                      <a:pt x="2877" y="1011"/>
                    </a:moveTo>
                    <a:lnTo>
                      <a:pt x="2875" y="1011"/>
                    </a:lnTo>
                    <a:lnTo>
                      <a:pt x="2875" y="1014"/>
                    </a:lnTo>
                    <a:lnTo>
                      <a:pt x="2875" y="1049"/>
                    </a:lnTo>
                    <a:lnTo>
                      <a:pt x="2877" y="1049"/>
                    </a:lnTo>
                    <a:lnTo>
                      <a:pt x="2877" y="1011"/>
                    </a:lnTo>
                    <a:moveTo>
                      <a:pt x="3771" y="993"/>
                    </a:moveTo>
                    <a:lnTo>
                      <a:pt x="3769" y="993"/>
                    </a:lnTo>
                    <a:lnTo>
                      <a:pt x="3769" y="995"/>
                    </a:lnTo>
                    <a:lnTo>
                      <a:pt x="3769" y="1210"/>
                    </a:lnTo>
                    <a:lnTo>
                      <a:pt x="3771" y="1210"/>
                    </a:lnTo>
                    <a:lnTo>
                      <a:pt x="3771" y="993"/>
                    </a:lnTo>
                    <a:moveTo>
                      <a:pt x="5949" y="990"/>
                    </a:moveTo>
                    <a:lnTo>
                      <a:pt x="5949" y="990"/>
                    </a:lnTo>
                    <a:lnTo>
                      <a:pt x="5949" y="993"/>
                    </a:lnTo>
                    <a:lnTo>
                      <a:pt x="5949" y="1028"/>
                    </a:lnTo>
                    <a:lnTo>
                      <a:pt x="5949" y="1028"/>
                    </a:lnTo>
                    <a:lnTo>
                      <a:pt x="5949" y="990"/>
                    </a:lnTo>
                    <a:moveTo>
                      <a:pt x="6341" y="936"/>
                    </a:moveTo>
                    <a:lnTo>
                      <a:pt x="6339" y="936"/>
                    </a:lnTo>
                    <a:lnTo>
                      <a:pt x="6339" y="936"/>
                    </a:lnTo>
                    <a:lnTo>
                      <a:pt x="6339" y="938"/>
                    </a:lnTo>
                    <a:lnTo>
                      <a:pt x="6339" y="1116"/>
                    </a:lnTo>
                    <a:lnTo>
                      <a:pt x="6341" y="1116"/>
                    </a:lnTo>
                    <a:lnTo>
                      <a:pt x="6341" y="936"/>
                    </a:lnTo>
                    <a:moveTo>
                      <a:pt x="3847" y="929"/>
                    </a:moveTo>
                    <a:lnTo>
                      <a:pt x="3844" y="929"/>
                    </a:lnTo>
                    <a:lnTo>
                      <a:pt x="3844" y="931"/>
                    </a:lnTo>
                    <a:lnTo>
                      <a:pt x="3844" y="981"/>
                    </a:lnTo>
                    <a:lnTo>
                      <a:pt x="3847" y="981"/>
                    </a:lnTo>
                    <a:lnTo>
                      <a:pt x="3847" y="929"/>
                    </a:lnTo>
                    <a:moveTo>
                      <a:pt x="6386" y="895"/>
                    </a:moveTo>
                    <a:lnTo>
                      <a:pt x="6384" y="895"/>
                    </a:lnTo>
                    <a:lnTo>
                      <a:pt x="6384" y="895"/>
                    </a:lnTo>
                    <a:lnTo>
                      <a:pt x="6384" y="898"/>
                    </a:lnTo>
                    <a:lnTo>
                      <a:pt x="6377" y="921"/>
                    </a:lnTo>
                    <a:lnTo>
                      <a:pt x="6379" y="921"/>
                    </a:lnTo>
                    <a:lnTo>
                      <a:pt x="6386" y="895"/>
                    </a:lnTo>
                    <a:moveTo>
                      <a:pt x="6391" y="879"/>
                    </a:moveTo>
                    <a:lnTo>
                      <a:pt x="6389" y="879"/>
                    </a:lnTo>
                    <a:lnTo>
                      <a:pt x="6389" y="879"/>
                    </a:lnTo>
                    <a:lnTo>
                      <a:pt x="6389" y="881"/>
                    </a:lnTo>
                    <a:lnTo>
                      <a:pt x="6389" y="891"/>
                    </a:lnTo>
                    <a:lnTo>
                      <a:pt x="6389" y="891"/>
                    </a:lnTo>
                    <a:lnTo>
                      <a:pt x="6389" y="888"/>
                    </a:lnTo>
                    <a:lnTo>
                      <a:pt x="6391" y="888"/>
                    </a:lnTo>
                    <a:lnTo>
                      <a:pt x="6391" y="879"/>
                    </a:lnTo>
                    <a:moveTo>
                      <a:pt x="6398" y="850"/>
                    </a:moveTo>
                    <a:lnTo>
                      <a:pt x="6396" y="850"/>
                    </a:lnTo>
                    <a:lnTo>
                      <a:pt x="6396" y="853"/>
                    </a:lnTo>
                    <a:lnTo>
                      <a:pt x="6396" y="872"/>
                    </a:lnTo>
                    <a:lnTo>
                      <a:pt x="6398" y="872"/>
                    </a:lnTo>
                    <a:lnTo>
                      <a:pt x="6398" y="869"/>
                    </a:lnTo>
                    <a:lnTo>
                      <a:pt x="6398" y="869"/>
                    </a:lnTo>
                    <a:lnTo>
                      <a:pt x="6398" y="850"/>
                    </a:lnTo>
                    <a:moveTo>
                      <a:pt x="806" y="827"/>
                    </a:moveTo>
                    <a:lnTo>
                      <a:pt x="804" y="827"/>
                    </a:lnTo>
                    <a:lnTo>
                      <a:pt x="804" y="829"/>
                    </a:lnTo>
                    <a:lnTo>
                      <a:pt x="804" y="1056"/>
                    </a:lnTo>
                    <a:lnTo>
                      <a:pt x="806" y="1056"/>
                    </a:lnTo>
                    <a:lnTo>
                      <a:pt x="806" y="827"/>
                    </a:lnTo>
                    <a:moveTo>
                      <a:pt x="3100" y="763"/>
                    </a:moveTo>
                    <a:lnTo>
                      <a:pt x="3100" y="763"/>
                    </a:lnTo>
                    <a:lnTo>
                      <a:pt x="3100" y="763"/>
                    </a:lnTo>
                    <a:lnTo>
                      <a:pt x="3100" y="765"/>
                    </a:lnTo>
                    <a:lnTo>
                      <a:pt x="3100" y="966"/>
                    </a:lnTo>
                    <a:lnTo>
                      <a:pt x="3100" y="966"/>
                    </a:lnTo>
                    <a:lnTo>
                      <a:pt x="3100" y="763"/>
                    </a:lnTo>
                    <a:moveTo>
                      <a:pt x="1009" y="753"/>
                    </a:moveTo>
                    <a:lnTo>
                      <a:pt x="1007" y="753"/>
                    </a:lnTo>
                    <a:lnTo>
                      <a:pt x="1007" y="756"/>
                    </a:lnTo>
                    <a:lnTo>
                      <a:pt x="1007" y="815"/>
                    </a:lnTo>
                    <a:lnTo>
                      <a:pt x="1009" y="815"/>
                    </a:lnTo>
                    <a:lnTo>
                      <a:pt x="1009" y="753"/>
                    </a:lnTo>
                    <a:moveTo>
                      <a:pt x="5133" y="732"/>
                    </a:moveTo>
                    <a:lnTo>
                      <a:pt x="5131" y="732"/>
                    </a:lnTo>
                    <a:lnTo>
                      <a:pt x="5131" y="734"/>
                    </a:lnTo>
                    <a:lnTo>
                      <a:pt x="5131" y="959"/>
                    </a:lnTo>
                    <a:lnTo>
                      <a:pt x="5133" y="959"/>
                    </a:lnTo>
                    <a:lnTo>
                      <a:pt x="5133" y="732"/>
                    </a:lnTo>
                    <a:moveTo>
                      <a:pt x="3140" y="656"/>
                    </a:moveTo>
                    <a:lnTo>
                      <a:pt x="3137" y="656"/>
                    </a:lnTo>
                    <a:lnTo>
                      <a:pt x="3137" y="659"/>
                    </a:lnTo>
                    <a:lnTo>
                      <a:pt x="3137" y="749"/>
                    </a:lnTo>
                    <a:lnTo>
                      <a:pt x="3140" y="749"/>
                    </a:lnTo>
                    <a:lnTo>
                      <a:pt x="3140" y="656"/>
                    </a:lnTo>
                    <a:moveTo>
                      <a:pt x="97" y="616"/>
                    </a:moveTo>
                    <a:lnTo>
                      <a:pt x="94" y="616"/>
                    </a:lnTo>
                    <a:lnTo>
                      <a:pt x="94" y="618"/>
                    </a:lnTo>
                    <a:lnTo>
                      <a:pt x="94" y="1440"/>
                    </a:lnTo>
                    <a:lnTo>
                      <a:pt x="97" y="1440"/>
                    </a:lnTo>
                    <a:lnTo>
                      <a:pt x="97" y="616"/>
                    </a:lnTo>
                    <a:moveTo>
                      <a:pt x="5254" y="609"/>
                    </a:moveTo>
                    <a:lnTo>
                      <a:pt x="5251" y="609"/>
                    </a:lnTo>
                    <a:lnTo>
                      <a:pt x="5251" y="611"/>
                    </a:lnTo>
                    <a:lnTo>
                      <a:pt x="5251" y="718"/>
                    </a:lnTo>
                    <a:lnTo>
                      <a:pt x="5254" y="718"/>
                    </a:lnTo>
                    <a:lnTo>
                      <a:pt x="5254" y="609"/>
                    </a:lnTo>
                    <a:moveTo>
                      <a:pt x="3284" y="583"/>
                    </a:moveTo>
                    <a:lnTo>
                      <a:pt x="3282" y="583"/>
                    </a:lnTo>
                    <a:lnTo>
                      <a:pt x="3282" y="583"/>
                    </a:lnTo>
                    <a:lnTo>
                      <a:pt x="3282" y="583"/>
                    </a:lnTo>
                    <a:lnTo>
                      <a:pt x="3282" y="644"/>
                    </a:lnTo>
                    <a:lnTo>
                      <a:pt x="3284" y="644"/>
                    </a:lnTo>
                    <a:lnTo>
                      <a:pt x="3284" y="583"/>
                    </a:lnTo>
                    <a:moveTo>
                      <a:pt x="302" y="547"/>
                    </a:moveTo>
                    <a:lnTo>
                      <a:pt x="300" y="547"/>
                    </a:lnTo>
                    <a:lnTo>
                      <a:pt x="300" y="550"/>
                    </a:lnTo>
                    <a:lnTo>
                      <a:pt x="300" y="604"/>
                    </a:lnTo>
                    <a:lnTo>
                      <a:pt x="302" y="604"/>
                    </a:lnTo>
                    <a:lnTo>
                      <a:pt x="302" y="547"/>
                    </a:lnTo>
                    <a:moveTo>
                      <a:pt x="7027" y="510"/>
                    </a:moveTo>
                    <a:lnTo>
                      <a:pt x="7025" y="510"/>
                    </a:lnTo>
                    <a:lnTo>
                      <a:pt x="7025" y="510"/>
                    </a:lnTo>
                    <a:lnTo>
                      <a:pt x="7025" y="1679"/>
                    </a:lnTo>
                    <a:lnTo>
                      <a:pt x="7027" y="1679"/>
                    </a:lnTo>
                    <a:lnTo>
                      <a:pt x="7027" y="510"/>
                    </a:lnTo>
                    <a:moveTo>
                      <a:pt x="4194" y="502"/>
                    </a:moveTo>
                    <a:lnTo>
                      <a:pt x="4194" y="502"/>
                    </a:lnTo>
                    <a:lnTo>
                      <a:pt x="4192" y="505"/>
                    </a:lnTo>
                    <a:lnTo>
                      <a:pt x="4133" y="588"/>
                    </a:lnTo>
                    <a:lnTo>
                      <a:pt x="4133" y="588"/>
                    </a:lnTo>
                    <a:lnTo>
                      <a:pt x="4194" y="502"/>
                    </a:lnTo>
                    <a:moveTo>
                      <a:pt x="3301" y="500"/>
                    </a:moveTo>
                    <a:lnTo>
                      <a:pt x="3301" y="500"/>
                    </a:lnTo>
                    <a:lnTo>
                      <a:pt x="3298" y="500"/>
                    </a:lnTo>
                    <a:lnTo>
                      <a:pt x="3298" y="502"/>
                    </a:lnTo>
                    <a:lnTo>
                      <a:pt x="3298" y="569"/>
                    </a:lnTo>
                    <a:lnTo>
                      <a:pt x="3301" y="569"/>
                    </a:lnTo>
                    <a:lnTo>
                      <a:pt x="3301" y="500"/>
                    </a:lnTo>
                    <a:moveTo>
                      <a:pt x="4038" y="455"/>
                    </a:moveTo>
                    <a:lnTo>
                      <a:pt x="4036" y="455"/>
                    </a:lnTo>
                    <a:lnTo>
                      <a:pt x="4036" y="455"/>
                    </a:lnTo>
                    <a:lnTo>
                      <a:pt x="4036" y="455"/>
                    </a:lnTo>
                    <a:lnTo>
                      <a:pt x="4036" y="491"/>
                    </a:lnTo>
                    <a:lnTo>
                      <a:pt x="3953" y="644"/>
                    </a:lnTo>
                    <a:lnTo>
                      <a:pt x="3953" y="914"/>
                    </a:lnTo>
                    <a:lnTo>
                      <a:pt x="3955" y="914"/>
                    </a:lnTo>
                    <a:lnTo>
                      <a:pt x="3955" y="642"/>
                    </a:lnTo>
                    <a:lnTo>
                      <a:pt x="4038" y="488"/>
                    </a:lnTo>
                    <a:lnTo>
                      <a:pt x="4038" y="455"/>
                    </a:lnTo>
                    <a:moveTo>
                      <a:pt x="3329" y="434"/>
                    </a:moveTo>
                    <a:lnTo>
                      <a:pt x="3327" y="434"/>
                    </a:lnTo>
                    <a:lnTo>
                      <a:pt x="3327" y="436"/>
                    </a:lnTo>
                    <a:lnTo>
                      <a:pt x="3327" y="488"/>
                    </a:lnTo>
                    <a:lnTo>
                      <a:pt x="3329" y="488"/>
                    </a:lnTo>
                    <a:lnTo>
                      <a:pt x="3329" y="434"/>
                    </a:lnTo>
                    <a:moveTo>
                      <a:pt x="4043" y="391"/>
                    </a:moveTo>
                    <a:lnTo>
                      <a:pt x="4041" y="391"/>
                    </a:lnTo>
                    <a:lnTo>
                      <a:pt x="4041" y="391"/>
                    </a:lnTo>
                    <a:lnTo>
                      <a:pt x="4041" y="394"/>
                    </a:lnTo>
                    <a:lnTo>
                      <a:pt x="4041" y="448"/>
                    </a:lnTo>
                    <a:lnTo>
                      <a:pt x="4043" y="448"/>
                    </a:lnTo>
                    <a:lnTo>
                      <a:pt x="4043" y="448"/>
                    </a:lnTo>
                    <a:lnTo>
                      <a:pt x="4043" y="448"/>
                    </a:lnTo>
                    <a:lnTo>
                      <a:pt x="4043" y="391"/>
                    </a:lnTo>
                    <a:moveTo>
                      <a:pt x="1811" y="367"/>
                    </a:moveTo>
                    <a:lnTo>
                      <a:pt x="1809" y="367"/>
                    </a:lnTo>
                    <a:lnTo>
                      <a:pt x="1809" y="370"/>
                    </a:lnTo>
                    <a:lnTo>
                      <a:pt x="1809" y="1118"/>
                    </a:lnTo>
                    <a:lnTo>
                      <a:pt x="1811" y="1118"/>
                    </a:lnTo>
                    <a:lnTo>
                      <a:pt x="1811" y="367"/>
                    </a:lnTo>
                    <a:moveTo>
                      <a:pt x="1939" y="334"/>
                    </a:moveTo>
                    <a:lnTo>
                      <a:pt x="1936" y="334"/>
                    </a:lnTo>
                    <a:lnTo>
                      <a:pt x="1936" y="337"/>
                    </a:lnTo>
                    <a:lnTo>
                      <a:pt x="1936" y="356"/>
                    </a:lnTo>
                    <a:lnTo>
                      <a:pt x="1939" y="356"/>
                    </a:lnTo>
                    <a:lnTo>
                      <a:pt x="1939" y="334"/>
                    </a:lnTo>
                    <a:moveTo>
                      <a:pt x="4050" y="327"/>
                    </a:moveTo>
                    <a:lnTo>
                      <a:pt x="4048" y="327"/>
                    </a:lnTo>
                    <a:lnTo>
                      <a:pt x="4048" y="330"/>
                    </a:lnTo>
                    <a:lnTo>
                      <a:pt x="4048" y="384"/>
                    </a:lnTo>
                    <a:lnTo>
                      <a:pt x="4050" y="384"/>
                    </a:lnTo>
                    <a:lnTo>
                      <a:pt x="4050" y="382"/>
                    </a:lnTo>
                    <a:lnTo>
                      <a:pt x="4050" y="382"/>
                    </a:lnTo>
                    <a:lnTo>
                      <a:pt x="4050" y="327"/>
                    </a:lnTo>
                    <a:moveTo>
                      <a:pt x="2028" y="294"/>
                    </a:moveTo>
                    <a:lnTo>
                      <a:pt x="2026" y="294"/>
                    </a:lnTo>
                    <a:lnTo>
                      <a:pt x="2026" y="296"/>
                    </a:lnTo>
                    <a:lnTo>
                      <a:pt x="2026" y="320"/>
                    </a:lnTo>
                    <a:lnTo>
                      <a:pt x="2028" y="320"/>
                    </a:lnTo>
                    <a:lnTo>
                      <a:pt x="2028" y="294"/>
                    </a:lnTo>
                    <a:moveTo>
                      <a:pt x="4703" y="233"/>
                    </a:moveTo>
                    <a:lnTo>
                      <a:pt x="4703" y="233"/>
                    </a:lnTo>
                    <a:lnTo>
                      <a:pt x="4703" y="235"/>
                    </a:lnTo>
                    <a:lnTo>
                      <a:pt x="4639" y="467"/>
                    </a:lnTo>
                    <a:lnTo>
                      <a:pt x="4641" y="465"/>
                    </a:lnTo>
                    <a:lnTo>
                      <a:pt x="4703" y="233"/>
                    </a:lnTo>
                    <a:moveTo>
                      <a:pt x="4804" y="173"/>
                    </a:moveTo>
                    <a:lnTo>
                      <a:pt x="4802" y="173"/>
                    </a:lnTo>
                    <a:lnTo>
                      <a:pt x="4802" y="173"/>
                    </a:lnTo>
                    <a:lnTo>
                      <a:pt x="4802" y="173"/>
                    </a:lnTo>
                    <a:lnTo>
                      <a:pt x="4802" y="218"/>
                    </a:lnTo>
                    <a:lnTo>
                      <a:pt x="4804" y="218"/>
                    </a:lnTo>
                    <a:lnTo>
                      <a:pt x="4804" y="173"/>
                    </a:lnTo>
                    <a:moveTo>
                      <a:pt x="4854" y="0"/>
                    </a:moveTo>
                    <a:lnTo>
                      <a:pt x="4852" y="0"/>
                    </a:lnTo>
                    <a:lnTo>
                      <a:pt x="4852" y="3"/>
                    </a:lnTo>
                    <a:lnTo>
                      <a:pt x="4852" y="159"/>
                    </a:lnTo>
                    <a:lnTo>
                      <a:pt x="4854" y="159"/>
                    </a:lnTo>
                    <a:lnTo>
                      <a:pt x="4854" y="0"/>
                    </a:lnTo>
                    <a:moveTo>
                      <a:pt x="4911" y="0"/>
                    </a:moveTo>
                    <a:lnTo>
                      <a:pt x="4908" y="0"/>
                    </a:lnTo>
                    <a:lnTo>
                      <a:pt x="4908" y="3"/>
                    </a:lnTo>
                    <a:lnTo>
                      <a:pt x="4908" y="159"/>
                    </a:lnTo>
                    <a:lnTo>
                      <a:pt x="4911" y="159"/>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0" name="Freeform 132"/>
              <p:cNvSpPr>
                <a:spLocks noEditPoints="1"/>
              </p:cNvSpPr>
              <p:nvPr/>
            </p:nvSpPr>
            <p:spPr bwMode="auto">
              <a:xfrm>
                <a:off x="35" y="1672"/>
                <a:ext cx="7025" cy="1681"/>
              </a:xfrm>
              <a:custGeom>
                <a:avLst/>
                <a:gdLst>
                  <a:gd name="T0" fmla="*/ 2 w 7025"/>
                  <a:gd name="T1" fmla="*/ 1522 h 1681"/>
                  <a:gd name="T2" fmla="*/ 5665 w 7025"/>
                  <a:gd name="T3" fmla="*/ 1437 h 1681"/>
                  <a:gd name="T4" fmla="*/ 3710 w 7025"/>
                  <a:gd name="T5" fmla="*/ 1222 h 1681"/>
                  <a:gd name="T6" fmla="*/ 5831 w 7025"/>
                  <a:gd name="T7" fmla="*/ 1210 h 1681"/>
                  <a:gd name="T8" fmla="*/ 5831 w 7025"/>
                  <a:gd name="T9" fmla="*/ 1314 h 1681"/>
                  <a:gd name="T10" fmla="*/ 1665 w 7025"/>
                  <a:gd name="T11" fmla="*/ 1158 h 1681"/>
                  <a:gd name="T12" fmla="*/ 1688 w 7025"/>
                  <a:gd name="T13" fmla="*/ 1132 h 1681"/>
                  <a:gd name="T14" fmla="*/ 5857 w 7025"/>
                  <a:gd name="T15" fmla="*/ 1127 h 1681"/>
                  <a:gd name="T16" fmla="*/ 5857 w 7025"/>
                  <a:gd name="T17" fmla="*/ 1198 h 1681"/>
                  <a:gd name="T18" fmla="*/ 6320 w 7025"/>
                  <a:gd name="T19" fmla="*/ 1129 h 1681"/>
                  <a:gd name="T20" fmla="*/ 1445 w 7025"/>
                  <a:gd name="T21" fmla="*/ 1125 h 1681"/>
                  <a:gd name="T22" fmla="*/ 1447 w 7025"/>
                  <a:gd name="T23" fmla="*/ 1125 h 1681"/>
                  <a:gd name="T24" fmla="*/ 1464 w 7025"/>
                  <a:gd name="T25" fmla="*/ 1115 h 1681"/>
                  <a:gd name="T26" fmla="*/ 2859 w 7025"/>
                  <a:gd name="T27" fmla="*/ 1066 h 1681"/>
                  <a:gd name="T28" fmla="*/ 5930 w 7025"/>
                  <a:gd name="T29" fmla="*/ 1042 h 1681"/>
                  <a:gd name="T30" fmla="*/ 5930 w 7025"/>
                  <a:gd name="T31" fmla="*/ 1042 h 1681"/>
                  <a:gd name="T32" fmla="*/ 2878 w 7025"/>
                  <a:gd name="T33" fmla="*/ 1051 h 1681"/>
                  <a:gd name="T34" fmla="*/ 3769 w 7025"/>
                  <a:gd name="T35" fmla="*/ 1212 h 1681"/>
                  <a:gd name="T36" fmla="*/ 5947 w 7025"/>
                  <a:gd name="T37" fmla="*/ 992 h 1681"/>
                  <a:gd name="T38" fmla="*/ 6339 w 7025"/>
                  <a:gd name="T39" fmla="*/ 935 h 1681"/>
                  <a:gd name="T40" fmla="*/ 6339 w 7025"/>
                  <a:gd name="T41" fmla="*/ 935 h 1681"/>
                  <a:gd name="T42" fmla="*/ 3845 w 7025"/>
                  <a:gd name="T43" fmla="*/ 983 h 1681"/>
                  <a:gd name="T44" fmla="*/ 6384 w 7025"/>
                  <a:gd name="T45" fmla="*/ 897 h 1681"/>
                  <a:gd name="T46" fmla="*/ 6389 w 7025"/>
                  <a:gd name="T47" fmla="*/ 879 h 1681"/>
                  <a:gd name="T48" fmla="*/ 6389 w 7025"/>
                  <a:gd name="T49" fmla="*/ 890 h 1681"/>
                  <a:gd name="T50" fmla="*/ 6396 w 7025"/>
                  <a:gd name="T51" fmla="*/ 852 h 1681"/>
                  <a:gd name="T52" fmla="*/ 6398 w 7025"/>
                  <a:gd name="T53" fmla="*/ 850 h 1681"/>
                  <a:gd name="T54" fmla="*/ 806 w 7025"/>
                  <a:gd name="T55" fmla="*/ 1058 h 1681"/>
                  <a:gd name="T56" fmla="*/ 3098 w 7025"/>
                  <a:gd name="T57" fmla="*/ 765 h 1681"/>
                  <a:gd name="T58" fmla="*/ 1007 w 7025"/>
                  <a:gd name="T59" fmla="*/ 753 h 1681"/>
                  <a:gd name="T60" fmla="*/ 5133 w 7025"/>
                  <a:gd name="T61" fmla="*/ 732 h 1681"/>
                  <a:gd name="T62" fmla="*/ 5133 w 7025"/>
                  <a:gd name="T63" fmla="*/ 732 h 1681"/>
                  <a:gd name="T64" fmla="*/ 3138 w 7025"/>
                  <a:gd name="T65" fmla="*/ 751 h 1681"/>
                  <a:gd name="T66" fmla="*/ 95 w 7025"/>
                  <a:gd name="T67" fmla="*/ 1442 h 1681"/>
                  <a:gd name="T68" fmla="*/ 5252 w 7025"/>
                  <a:gd name="T69" fmla="*/ 611 h 1681"/>
                  <a:gd name="T70" fmla="*/ 3282 w 7025"/>
                  <a:gd name="T71" fmla="*/ 583 h 1681"/>
                  <a:gd name="T72" fmla="*/ 3282 w 7025"/>
                  <a:gd name="T73" fmla="*/ 583 h 1681"/>
                  <a:gd name="T74" fmla="*/ 303 w 7025"/>
                  <a:gd name="T75" fmla="*/ 606 h 1681"/>
                  <a:gd name="T76" fmla="*/ 7025 w 7025"/>
                  <a:gd name="T77" fmla="*/ 1681 h 1681"/>
                  <a:gd name="T78" fmla="*/ 4192 w 7025"/>
                  <a:gd name="T79" fmla="*/ 504 h 1681"/>
                  <a:gd name="T80" fmla="*/ 3299 w 7025"/>
                  <a:gd name="T81" fmla="*/ 502 h 1681"/>
                  <a:gd name="T82" fmla="*/ 3301 w 7025"/>
                  <a:gd name="T83" fmla="*/ 502 h 1681"/>
                  <a:gd name="T84" fmla="*/ 4036 w 7025"/>
                  <a:gd name="T85" fmla="*/ 490 h 1681"/>
                  <a:gd name="T86" fmla="*/ 4036 w 7025"/>
                  <a:gd name="T87" fmla="*/ 490 h 1681"/>
                  <a:gd name="T88" fmla="*/ 3327 w 7025"/>
                  <a:gd name="T89" fmla="*/ 490 h 1681"/>
                  <a:gd name="T90" fmla="*/ 4041 w 7025"/>
                  <a:gd name="T91" fmla="*/ 391 h 1681"/>
                  <a:gd name="T92" fmla="*/ 4043 w 7025"/>
                  <a:gd name="T93" fmla="*/ 448 h 1681"/>
                  <a:gd name="T94" fmla="*/ 1809 w 7025"/>
                  <a:gd name="T95" fmla="*/ 1120 h 1681"/>
                  <a:gd name="T96" fmla="*/ 1937 w 7025"/>
                  <a:gd name="T97" fmla="*/ 336 h 1681"/>
                  <a:gd name="T98" fmla="*/ 4048 w 7025"/>
                  <a:gd name="T99" fmla="*/ 327 h 1681"/>
                  <a:gd name="T100" fmla="*/ 4050 w 7025"/>
                  <a:gd name="T101" fmla="*/ 381 h 1681"/>
                  <a:gd name="T102" fmla="*/ 2026 w 7025"/>
                  <a:gd name="T103" fmla="*/ 322 h 1681"/>
                  <a:gd name="T104" fmla="*/ 4701 w 7025"/>
                  <a:gd name="T105" fmla="*/ 235 h 1681"/>
                  <a:gd name="T106" fmla="*/ 4802 w 7025"/>
                  <a:gd name="T107" fmla="*/ 173 h 1681"/>
                  <a:gd name="T108" fmla="*/ 4805 w 7025"/>
                  <a:gd name="T109" fmla="*/ 173 h 1681"/>
                  <a:gd name="T110" fmla="*/ 4852 w 7025"/>
                  <a:gd name="T111" fmla="*/ 161 h 1681"/>
                  <a:gd name="T112" fmla="*/ 4909 w 7025"/>
                  <a:gd name="T113" fmla="*/ 161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1">
                    <a:moveTo>
                      <a:pt x="2" y="1454"/>
                    </a:moveTo>
                    <a:lnTo>
                      <a:pt x="0" y="1454"/>
                    </a:lnTo>
                    <a:lnTo>
                      <a:pt x="0" y="1454"/>
                    </a:lnTo>
                    <a:lnTo>
                      <a:pt x="0" y="1522"/>
                    </a:lnTo>
                    <a:lnTo>
                      <a:pt x="2" y="1522"/>
                    </a:lnTo>
                    <a:lnTo>
                      <a:pt x="2" y="1454"/>
                    </a:lnTo>
                    <a:close/>
                    <a:moveTo>
                      <a:pt x="5665" y="1326"/>
                    </a:moveTo>
                    <a:lnTo>
                      <a:pt x="5665" y="1326"/>
                    </a:lnTo>
                    <a:lnTo>
                      <a:pt x="5665" y="1328"/>
                    </a:lnTo>
                    <a:lnTo>
                      <a:pt x="5665" y="1437"/>
                    </a:lnTo>
                    <a:lnTo>
                      <a:pt x="5665" y="1437"/>
                    </a:lnTo>
                    <a:lnTo>
                      <a:pt x="5665" y="1326"/>
                    </a:lnTo>
                    <a:close/>
                    <a:moveTo>
                      <a:pt x="3712" y="1222"/>
                    </a:moveTo>
                    <a:lnTo>
                      <a:pt x="3710" y="1222"/>
                    </a:lnTo>
                    <a:lnTo>
                      <a:pt x="3710" y="1222"/>
                    </a:lnTo>
                    <a:lnTo>
                      <a:pt x="3710" y="1224"/>
                    </a:lnTo>
                    <a:lnTo>
                      <a:pt x="3710" y="1380"/>
                    </a:lnTo>
                    <a:lnTo>
                      <a:pt x="3712" y="1380"/>
                    </a:lnTo>
                    <a:lnTo>
                      <a:pt x="3712" y="1222"/>
                    </a:lnTo>
                    <a:close/>
                    <a:moveTo>
                      <a:pt x="5831" y="1210"/>
                    </a:moveTo>
                    <a:lnTo>
                      <a:pt x="5831" y="1210"/>
                    </a:lnTo>
                    <a:lnTo>
                      <a:pt x="5829" y="1210"/>
                    </a:lnTo>
                    <a:lnTo>
                      <a:pt x="5829" y="1210"/>
                    </a:lnTo>
                    <a:lnTo>
                      <a:pt x="5829" y="1314"/>
                    </a:lnTo>
                    <a:lnTo>
                      <a:pt x="5831" y="1314"/>
                    </a:lnTo>
                    <a:lnTo>
                      <a:pt x="5831" y="1210"/>
                    </a:lnTo>
                    <a:close/>
                    <a:moveTo>
                      <a:pt x="1667" y="1158"/>
                    </a:moveTo>
                    <a:lnTo>
                      <a:pt x="1665" y="1158"/>
                    </a:lnTo>
                    <a:lnTo>
                      <a:pt x="1665" y="1158"/>
                    </a:lnTo>
                    <a:lnTo>
                      <a:pt x="1665" y="1158"/>
                    </a:lnTo>
                    <a:lnTo>
                      <a:pt x="1665" y="1189"/>
                    </a:lnTo>
                    <a:lnTo>
                      <a:pt x="1667" y="1189"/>
                    </a:lnTo>
                    <a:lnTo>
                      <a:pt x="1667" y="1158"/>
                    </a:lnTo>
                    <a:close/>
                    <a:moveTo>
                      <a:pt x="1688" y="1132"/>
                    </a:moveTo>
                    <a:lnTo>
                      <a:pt x="1688" y="1132"/>
                    </a:lnTo>
                    <a:lnTo>
                      <a:pt x="1688" y="1134"/>
                    </a:lnTo>
                    <a:lnTo>
                      <a:pt x="1688" y="1146"/>
                    </a:lnTo>
                    <a:lnTo>
                      <a:pt x="1688" y="1146"/>
                    </a:lnTo>
                    <a:lnTo>
                      <a:pt x="1688" y="1132"/>
                    </a:lnTo>
                    <a:close/>
                    <a:moveTo>
                      <a:pt x="5857" y="1127"/>
                    </a:moveTo>
                    <a:lnTo>
                      <a:pt x="5855" y="1127"/>
                    </a:lnTo>
                    <a:lnTo>
                      <a:pt x="5855" y="1127"/>
                    </a:lnTo>
                    <a:lnTo>
                      <a:pt x="5855" y="1129"/>
                    </a:lnTo>
                    <a:lnTo>
                      <a:pt x="5855" y="1198"/>
                    </a:lnTo>
                    <a:lnTo>
                      <a:pt x="5857" y="1198"/>
                    </a:lnTo>
                    <a:lnTo>
                      <a:pt x="5857" y="1127"/>
                    </a:lnTo>
                    <a:close/>
                    <a:moveTo>
                      <a:pt x="6323" y="1127"/>
                    </a:moveTo>
                    <a:lnTo>
                      <a:pt x="6323" y="1127"/>
                    </a:lnTo>
                    <a:lnTo>
                      <a:pt x="6320" y="1127"/>
                    </a:lnTo>
                    <a:lnTo>
                      <a:pt x="6320" y="1129"/>
                    </a:lnTo>
                    <a:lnTo>
                      <a:pt x="6320" y="1352"/>
                    </a:lnTo>
                    <a:lnTo>
                      <a:pt x="6323" y="1352"/>
                    </a:lnTo>
                    <a:lnTo>
                      <a:pt x="6323" y="1127"/>
                    </a:lnTo>
                    <a:close/>
                    <a:moveTo>
                      <a:pt x="1447" y="1125"/>
                    </a:moveTo>
                    <a:lnTo>
                      <a:pt x="1445" y="1125"/>
                    </a:lnTo>
                    <a:lnTo>
                      <a:pt x="1445" y="1125"/>
                    </a:lnTo>
                    <a:lnTo>
                      <a:pt x="1445" y="1127"/>
                    </a:lnTo>
                    <a:lnTo>
                      <a:pt x="1445" y="1189"/>
                    </a:lnTo>
                    <a:lnTo>
                      <a:pt x="1447" y="1189"/>
                    </a:lnTo>
                    <a:lnTo>
                      <a:pt x="1447" y="1125"/>
                    </a:lnTo>
                    <a:close/>
                    <a:moveTo>
                      <a:pt x="1464" y="1084"/>
                    </a:moveTo>
                    <a:lnTo>
                      <a:pt x="1461" y="1084"/>
                    </a:lnTo>
                    <a:lnTo>
                      <a:pt x="1461" y="1087"/>
                    </a:lnTo>
                    <a:lnTo>
                      <a:pt x="1461" y="1115"/>
                    </a:lnTo>
                    <a:lnTo>
                      <a:pt x="1464" y="1115"/>
                    </a:lnTo>
                    <a:lnTo>
                      <a:pt x="1464" y="1084"/>
                    </a:lnTo>
                    <a:close/>
                    <a:moveTo>
                      <a:pt x="2861" y="1063"/>
                    </a:moveTo>
                    <a:lnTo>
                      <a:pt x="2859" y="1063"/>
                    </a:lnTo>
                    <a:lnTo>
                      <a:pt x="2859" y="1063"/>
                    </a:lnTo>
                    <a:lnTo>
                      <a:pt x="2859" y="1066"/>
                    </a:lnTo>
                    <a:lnTo>
                      <a:pt x="2859" y="1229"/>
                    </a:lnTo>
                    <a:lnTo>
                      <a:pt x="2861" y="1229"/>
                    </a:lnTo>
                    <a:lnTo>
                      <a:pt x="2861" y="1063"/>
                    </a:lnTo>
                    <a:close/>
                    <a:moveTo>
                      <a:pt x="5930" y="1042"/>
                    </a:moveTo>
                    <a:lnTo>
                      <a:pt x="5930" y="1042"/>
                    </a:lnTo>
                    <a:lnTo>
                      <a:pt x="5930" y="1042"/>
                    </a:lnTo>
                    <a:lnTo>
                      <a:pt x="5930" y="1044"/>
                    </a:lnTo>
                    <a:lnTo>
                      <a:pt x="5930" y="1118"/>
                    </a:lnTo>
                    <a:lnTo>
                      <a:pt x="5930" y="1118"/>
                    </a:lnTo>
                    <a:lnTo>
                      <a:pt x="5930" y="1042"/>
                    </a:lnTo>
                    <a:close/>
                    <a:moveTo>
                      <a:pt x="2878" y="1011"/>
                    </a:moveTo>
                    <a:lnTo>
                      <a:pt x="2875" y="1013"/>
                    </a:lnTo>
                    <a:lnTo>
                      <a:pt x="2875" y="1013"/>
                    </a:lnTo>
                    <a:lnTo>
                      <a:pt x="2875" y="1051"/>
                    </a:lnTo>
                    <a:lnTo>
                      <a:pt x="2878" y="1051"/>
                    </a:lnTo>
                    <a:lnTo>
                      <a:pt x="2878" y="1011"/>
                    </a:lnTo>
                    <a:close/>
                    <a:moveTo>
                      <a:pt x="3771" y="995"/>
                    </a:moveTo>
                    <a:lnTo>
                      <a:pt x="3769" y="995"/>
                    </a:lnTo>
                    <a:lnTo>
                      <a:pt x="3769" y="995"/>
                    </a:lnTo>
                    <a:lnTo>
                      <a:pt x="3769" y="1212"/>
                    </a:lnTo>
                    <a:lnTo>
                      <a:pt x="3771" y="1212"/>
                    </a:lnTo>
                    <a:lnTo>
                      <a:pt x="3771" y="995"/>
                    </a:lnTo>
                    <a:close/>
                    <a:moveTo>
                      <a:pt x="5949" y="990"/>
                    </a:moveTo>
                    <a:lnTo>
                      <a:pt x="5947" y="990"/>
                    </a:lnTo>
                    <a:lnTo>
                      <a:pt x="5947" y="992"/>
                    </a:lnTo>
                    <a:lnTo>
                      <a:pt x="5947" y="1030"/>
                    </a:lnTo>
                    <a:lnTo>
                      <a:pt x="5949" y="1030"/>
                    </a:lnTo>
                    <a:lnTo>
                      <a:pt x="5949" y="990"/>
                    </a:lnTo>
                    <a:close/>
                    <a:moveTo>
                      <a:pt x="6339" y="935"/>
                    </a:moveTo>
                    <a:lnTo>
                      <a:pt x="6339" y="935"/>
                    </a:lnTo>
                    <a:lnTo>
                      <a:pt x="6339" y="935"/>
                    </a:lnTo>
                    <a:lnTo>
                      <a:pt x="6339" y="938"/>
                    </a:lnTo>
                    <a:lnTo>
                      <a:pt x="6339" y="1118"/>
                    </a:lnTo>
                    <a:lnTo>
                      <a:pt x="6339" y="1118"/>
                    </a:lnTo>
                    <a:lnTo>
                      <a:pt x="6339" y="935"/>
                    </a:lnTo>
                    <a:close/>
                    <a:moveTo>
                      <a:pt x="3845" y="928"/>
                    </a:moveTo>
                    <a:lnTo>
                      <a:pt x="3845" y="928"/>
                    </a:lnTo>
                    <a:lnTo>
                      <a:pt x="3845" y="931"/>
                    </a:lnTo>
                    <a:lnTo>
                      <a:pt x="3845" y="983"/>
                    </a:lnTo>
                    <a:lnTo>
                      <a:pt x="3845" y="983"/>
                    </a:lnTo>
                    <a:lnTo>
                      <a:pt x="3845" y="928"/>
                    </a:lnTo>
                    <a:close/>
                    <a:moveTo>
                      <a:pt x="6384" y="895"/>
                    </a:moveTo>
                    <a:lnTo>
                      <a:pt x="6384" y="895"/>
                    </a:lnTo>
                    <a:lnTo>
                      <a:pt x="6384" y="895"/>
                    </a:lnTo>
                    <a:lnTo>
                      <a:pt x="6384" y="897"/>
                    </a:lnTo>
                    <a:lnTo>
                      <a:pt x="6377" y="923"/>
                    </a:lnTo>
                    <a:lnTo>
                      <a:pt x="6379" y="923"/>
                    </a:lnTo>
                    <a:lnTo>
                      <a:pt x="6384" y="895"/>
                    </a:lnTo>
                    <a:close/>
                    <a:moveTo>
                      <a:pt x="6389" y="879"/>
                    </a:moveTo>
                    <a:lnTo>
                      <a:pt x="6389" y="879"/>
                    </a:lnTo>
                    <a:lnTo>
                      <a:pt x="6389" y="879"/>
                    </a:lnTo>
                    <a:lnTo>
                      <a:pt x="6389" y="881"/>
                    </a:lnTo>
                    <a:lnTo>
                      <a:pt x="6389" y="890"/>
                    </a:lnTo>
                    <a:lnTo>
                      <a:pt x="6389" y="890"/>
                    </a:lnTo>
                    <a:lnTo>
                      <a:pt x="6389" y="890"/>
                    </a:lnTo>
                    <a:lnTo>
                      <a:pt x="6389" y="890"/>
                    </a:lnTo>
                    <a:lnTo>
                      <a:pt x="6389" y="879"/>
                    </a:lnTo>
                    <a:close/>
                    <a:moveTo>
                      <a:pt x="6398" y="850"/>
                    </a:moveTo>
                    <a:lnTo>
                      <a:pt x="6396" y="850"/>
                    </a:lnTo>
                    <a:lnTo>
                      <a:pt x="6396" y="852"/>
                    </a:lnTo>
                    <a:lnTo>
                      <a:pt x="6396" y="871"/>
                    </a:lnTo>
                    <a:lnTo>
                      <a:pt x="6398" y="871"/>
                    </a:lnTo>
                    <a:lnTo>
                      <a:pt x="6398" y="869"/>
                    </a:lnTo>
                    <a:lnTo>
                      <a:pt x="6398" y="869"/>
                    </a:lnTo>
                    <a:lnTo>
                      <a:pt x="6398" y="850"/>
                    </a:lnTo>
                    <a:close/>
                    <a:moveTo>
                      <a:pt x="806" y="826"/>
                    </a:moveTo>
                    <a:lnTo>
                      <a:pt x="804" y="826"/>
                    </a:lnTo>
                    <a:lnTo>
                      <a:pt x="804" y="829"/>
                    </a:lnTo>
                    <a:lnTo>
                      <a:pt x="804" y="1058"/>
                    </a:lnTo>
                    <a:lnTo>
                      <a:pt x="806" y="1058"/>
                    </a:lnTo>
                    <a:lnTo>
                      <a:pt x="806" y="826"/>
                    </a:lnTo>
                    <a:close/>
                    <a:moveTo>
                      <a:pt x="3100" y="762"/>
                    </a:moveTo>
                    <a:lnTo>
                      <a:pt x="3100" y="762"/>
                    </a:lnTo>
                    <a:lnTo>
                      <a:pt x="3098" y="762"/>
                    </a:lnTo>
                    <a:lnTo>
                      <a:pt x="3098" y="765"/>
                    </a:lnTo>
                    <a:lnTo>
                      <a:pt x="3098" y="968"/>
                    </a:lnTo>
                    <a:lnTo>
                      <a:pt x="3100" y="968"/>
                    </a:lnTo>
                    <a:lnTo>
                      <a:pt x="3100" y="762"/>
                    </a:lnTo>
                    <a:close/>
                    <a:moveTo>
                      <a:pt x="1010" y="753"/>
                    </a:moveTo>
                    <a:lnTo>
                      <a:pt x="1007" y="753"/>
                    </a:lnTo>
                    <a:lnTo>
                      <a:pt x="1007" y="755"/>
                    </a:lnTo>
                    <a:lnTo>
                      <a:pt x="1007" y="817"/>
                    </a:lnTo>
                    <a:lnTo>
                      <a:pt x="1010" y="817"/>
                    </a:lnTo>
                    <a:lnTo>
                      <a:pt x="1010" y="753"/>
                    </a:lnTo>
                    <a:close/>
                    <a:moveTo>
                      <a:pt x="5133" y="732"/>
                    </a:moveTo>
                    <a:lnTo>
                      <a:pt x="5131" y="732"/>
                    </a:lnTo>
                    <a:lnTo>
                      <a:pt x="5131" y="734"/>
                    </a:lnTo>
                    <a:lnTo>
                      <a:pt x="5131" y="961"/>
                    </a:lnTo>
                    <a:lnTo>
                      <a:pt x="5133" y="961"/>
                    </a:lnTo>
                    <a:lnTo>
                      <a:pt x="5133" y="732"/>
                    </a:lnTo>
                    <a:close/>
                    <a:moveTo>
                      <a:pt x="3138" y="656"/>
                    </a:moveTo>
                    <a:lnTo>
                      <a:pt x="3138" y="656"/>
                    </a:lnTo>
                    <a:lnTo>
                      <a:pt x="3138" y="658"/>
                    </a:lnTo>
                    <a:lnTo>
                      <a:pt x="3138" y="751"/>
                    </a:lnTo>
                    <a:lnTo>
                      <a:pt x="3138" y="751"/>
                    </a:lnTo>
                    <a:lnTo>
                      <a:pt x="3138" y="656"/>
                    </a:lnTo>
                    <a:close/>
                    <a:moveTo>
                      <a:pt x="97" y="616"/>
                    </a:moveTo>
                    <a:lnTo>
                      <a:pt x="95" y="616"/>
                    </a:lnTo>
                    <a:lnTo>
                      <a:pt x="95" y="618"/>
                    </a:lnTo>
                    <a:lnTo>
                      <a:pt x="95" y="1442"/>
                    </a:lnTo>
                    <a:lnTo>
                      <a:pt x="97" y="1442"/>
                    </a:lnTo>
                    <a:lnTo>
                      <a:pt x="97" y="616"/>
                    </a:lnTo>
                    <a:close/>
                    <a:moveTo>
                      <a:pt x="5254" y="609"/>
                    </a:moveTo>
                    <a:lnTo>
                      <a:pt x="5252" y="609"/>
                    </a:lnTo>
                    <a:lnTo>
                      <a:pt x="5252" y="611"/>
                    </a:lnTo>
                    <a:lnTo>
                      <a:pt x="5252" y="720"/>
                    </a:lnTo>
                    <a:lnTo>
                      <a:pt x="5254" y="720"/>
                    </a:lnTo>
                    <a:lnTo>
                      <a:pt x="5254" y="609"/>
                    </a:lnTo>
                    <a:close/>
                    <a:moveTo>
                      <a:pt x="3282" y="583"/>
                    </a:moveTo>
                    <a:lnTo>
                      <a:pt x="3282" y="583"/>
                    </a:lnTo>
                    <a:lnTo>
                      <a:pt x="3282" y="583"/>
                    </a:lnTo>
                    <a:lnTo>
                      <a:pt x="3282" y="585"/>
                    </a:lnTo>
                    <a:lnTo>
                      <a:pt x="3282" y="646"/>
                    </a:lnTo>
                    <a:lnTo>
                      <a:pt x="3282" y="646"/>
                    </a:lnTo>
                    <a:lnTo>
                      <a:pt x="3282" y="583"/>
                    </a:lnTo>
                    <a:close/>
                    <a:moveTo>
                      <a:pt x="303" y="547"/>
                    </a:moveTo>
                    <a:lnTo>
                      <a:pt x="300" y="547"/>
                    </a:lnTo>
                    <a:lnTo>
                      <a:pt x="300" y="549"/>
                    </a:lnTo>
                    <a:lnTo>
                      <a:pt x="300" y="606"/>
                    </a:lnTo>
                    <a:lnTo>
                      <a:pt x="303" y="606"/>
                    </a:lnTo>
                    <a:lnTo>
                      <a:pt x="303" y="547"/>
                    </a:lnTo>
                    <a:close/>
                    <a:moveTo>
                      <a:pt x="7025" y="509"/>
                    </a:moveTo>
                    <a:lnTo>
                      <a:pt x="7025" y="509"/>
                    </a:lnTo>
                    <a:lnTo>
                      <a:pt x="7025" y="512"/>
                    </a:lnTo>
                    <a:lnTo>
                      <a:pt x="7025" y="1681"/>
                    </a:lnTo>
                    <a:lnTo>
                      <a:pt x="7025" y="1681"/>
                    </a:lnTo>
                    <a:lnTo>
                      <a:pt x="7025" y="509"/>
                    </a:lnTo>
                    <a:close/>
                    <a:moveTo>
                      <a:pt x="4195" y="502"/>
                    </a:moveTo>
                    <a:lnTo>
                      <a:pt x="4192" y="502"/>
                    </a:lnTo>
                    <a:lnTo>
                      <a:pt x="4192" y="504"/>
                    </a:lnTo>
                    <a:lnTo>
                      <a:pt x="4131" y="590"/>
                    </a:lnTo>
                    <a:lnTo>
                      <a:pt x="4131" y="590"/>
                    </a:lnTo>
                    <a:lnTo>
                      <a:pt x="4195" y="502"/>
                    </a:lnTo>
                    <a:close/>
                    <a:moveTo>
                      <a:pt x="3301" y="502"/>
                    </a:moveTo>
                    <a:lnTo>
                      <a:pt x="3299" y="502"/>
                    </a:lnTo>
                    <a:lnTo>
                      <a:pt x="3299" y="502"/>
                    </a:lnTo>
                    <a:lnTo>
                      <a:pt x="3299" y="502"/>
                    </a:lnTo>
                    <a:lnTo>
                      <a:pt x="3299" y="571"/>
                    </a:lnTo>
                    <a:lnTo>
                      <a:pt x="3301" y="571"/>
                    </a:lnTo>
                    <a:lnTo>
                      <a:pt x="3301" y="502"/>
                    </a:lnTo>
                    <a:close/>
                    <a:moveTo>
                      <a:pt x="4036" y="455"/>
                    </a:moveTo>
                    <a:lnTo>
                      <a:pt x="4036" y="455"/>
                    </a:lnTo>
                    <a:lnTo>
                      <a:pt x="4036" y="455"/>
                    </a:lnTo>
                    <a:lnTo>
                      <a:pt x="4036" y="457"/>
                    </a:lnTo>
                    <a:lnTo>
                      <a:pt x="4036" y="490"/>
                    </a:lnTo>
                    <a:lnTo>
                      <a:pt x="3953" y="644"/>
                    </a:lnTo>
                    <a:lnTo>
                      <a:pt x="3953" y="916"/>
                    </a:lnTo>
                    <a:lnTo>
                      <a:pt x="3956" y="916"/>
                    </a:lnTo>
                    <a:lnTo>
                      <a:pt x="3956" y="642"/>
                    </a:lnTo>
                    <a:lnTo>
                      <a:pt x="4036" y="490"/>
                    </a:lnTo>
                    <a:lnTo>
                      <a:pt x="4036" y="455"/>
                    </a:lnTo>
                    <a:close/>
                    <a:moveTo>
                      <a:pt x="3329" y="433"/>
                    </a:moveTo>
                    <a:lnTo>
                      <a:pt x="3327" y="433"/>
                    </a:lnTo>
                    <a:lnTo>
                      <a:pt x="3327" y="436"/>
                    </a:lnTo>
                    <a:lnTo>
                      <a:pt x="3327" y="490"/>
                    </a:lnTo>
                    <a:lnTo>
                      <a:pt x="3329" y="490"/>
                    </a:lnTo>
                    <a:lnTo>
                      <a:pt x="3329" y="433"/>
                    </a:lnTo>
                    <a:close/>
                    <a:moveTo>
                      <a:pt x="4043" y="391"/>
                    </a:moveTo>
                    <a:lnTo>
                      <a:pt x="4041" y="391"/>
                    </a:lnTo>
                    <a:lnTo>
                      <a:pt x="4041" y="391"/>
                    </a:lnTo>
                    <a:lnTo>
                      <a:pt x="4041" y="393"/>
                    </a:lnTo>
                    <a:lnTo>
                      <a:pt x="4041" y="450"/>
                    </a:lnTo>
                    <a:lnTo>
                      <a:pt x="4043" y="450"/>
                    </a:lnTo>
                    <a:lnTo>
                      <a:pt x="4043" y="448"/>
                    </a:lnTo>
                    <a:lnTo>
                      <a:pt x="4043" y="448"/>
                    </a:lnTo>
                    <a:lnTo>
                      <a:pt x="4043" y="391"/>
                    </a:lnTo>
                    <a:close/>
                    <a:moveTo>
                      <a:pt x="1809" y="369"/>
                    </a:moveTo>
                    <a:lnTo>
                      <a:pt x="1809" y="369"/>
                    </a:lnTo>
                    <a:lnTo>
                      <a:pt x="1809" y="369"/>
                    </a:lnTo>
                    <a:lnTo>
                      <a:pt x="1809" y="1120"/>
                    </a:lnTo>
                    <a:lnTo>
                      <a:pt x="1809" y="1120"/>
                    </a:lnTo>
                    <a:lnTo>
                      <a:pt x="1809" y="369"/>
                    </a:lnTo>
                    <a:close/>
                    <a:moveTo>
                      <a:pt x="1939" y="334"/>
                    </a:moveTo>
                    <a:lnTo>
                      <a:pt x="1937" y="334"/>
                    </a:lnTo>
                    <a:lnTo>
                      <a:pt x="1937" y="336"/>
                    </a:lnTo>
                    <a:lnTo>
                      <a:pt x="1937" y="358"/>
                    </a:lnTo>
                    <a:lnTo>
                      <a:pt x="1939" y="358"/>
                    </a:lnTo>
                    <a:lnTo>
                      <a:pt x="1939" y="334"/>
                    </a:lnTo>
                    <a:close/>
                    <a:moveTo>
                      <a:pt x="4050" y="327"/>
                    </a:moveTo>
                    <a:lnTo>
                      <a:pt x="4048" y="327"/>
                    </a:lnTo>
                    <a:lnTo>
                      <a:pt x="4048" y="329"/>
                    </a:lnTo>
                    <a:lnTo>
                      <a:pt x="4048" y="384"/>
                    </a:lnTo>
                    <a:lnTo>
                      <a:pt x="4050" y="384"/>
                    </a:lnTo>
                    <a:lnTo>
                      <a:pt x="4050" y="381"/>
                    </a:lnTo>
                    <a:lnTo>
                      <a:pt x="4050" y="381"/>
                    </a:lnTo>
                    <a:lnTo>
                      <a:pt x="4050" y="327"/>
                    </a:lnTo>
                    <a:close/>
                    <a:moveTo>
                      <a:pt x="2029" y="294"/>
                    </a:moveTo>
                    <a:lnTo>
                      <a:pt x="2026" y="294"/>
                    </a:lnTo>
                    <a:lnTo>
                      <a:pt x="2026" y="296"/>
                    </a:lnTo>
                    <a:lnTo>
                      <a:pt x="2026" y="322"/>
                    </a:lnTo>
                    <a:lnTo>
                      <a:pt x="2029" y="322"/>
                    </a:lnTo>
                    <a:lnTo>
                      <a:pt x="2029" y="294"/>
                    </a:lnTo>
                    <a:close/>
                    <a:moveTo>
                      <a:pt x="4703" y="232"/>
                    </a:moveTo>
                    <a:lnTo>
                      <a:pt x="4703" y="232"/>
                    </a:lnTo>
                    <a:lnTo>
                      <a:pt x="4701" y="235"/>
                    </a:lnTo>
                    <a:lnTo>
                      <a:pt x="4639" y="467"/>
                    </a:lnTo>
                    <a:lnTo>
                      <a:pt x="4639" y="467"/>
                    </a:lnTo>
                    <a:lnTo>
                      <a:pt x="4703" y="232"/>
                    </a:lnTo>
                    <a:close/>
                    <a:moveTo>
                      <a:pt x="4805" y="173"/>
                    </a:moveTo>
                    <a:lnTo>
                      <a:pt x="4802" y="173"/>
                    </a:lnTo>
                    <a:lnTo>
                      <a:pt x="4802" y="173"/>
                    </a:lnTo>
                    <a:lnTo>
                      <a:pt x="4802" y="175"/>
                    </a:lnTo>
                    <a:lnTo>
                      <a:pt x="4802" y="220"/>
                    </a:lnTo>
                    <a:lnTo>
                      <a:pt x="4805" y="220"/>
                    </a:lnTo>
                    <a:lnTo>
                      <a:pt x="4805" y="173"/>
                    </a:lnTo>
                    <a:close/>
                    <a:moveTo>
                      <a:pt x="4852" y="0"/>
                    </a:moveTo>
                    <a:lnTo>
                      <a:pt x="4852" y="0"/>
                    </a:lnTo>
                    <a:lnTo>
                      <a:pt x="4852" y="2"/>
                    </a:lnTo>
                    <a:lnTo>
                      <a:pt x="4852" y="161"/>
                    </a:lnTo>
                    <a:lnTo>
                      <a:pt x="4852" y="161"/>
                    </a:lnTo>
                    <a:lnTo>
                      <a:pt x="4852" y="0"/>
                    </a:lnTo>
                    <a:close/>
                    <a:moveTo>
                      <a:pt x="4911" y="0"/>
                    </a:moveTo>
                    <a:lnTo>
                      <a:pt x="4909" y="0"/>
                    </a:lnTo>
                    <a:lnTo>
                      <a:pt x="4909" y="2"/>
                    </a:lnTo>
                    <a:lnTo>
                      <a:pt x="4909" y="161"/>
                    </a:lnTo>
                    <a:lnTo>
                      <a:pt x="4911" y="161"/>
                    </a:lnTo>
                    <a:lnTo>
                      <a:pt x="4911" y="0"/>
                    </a:lnTo>
                    <a:close/>
                  </a:path>
                </a:pathLst>
              </a:custGeom>
              <a:solidFill>
                <a:srgbClr val="C0BF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1" name="Freeform 133"/>
              <p:cNvSpPr>
                <a:spLocks noEditPoints="1"/>
              </p:cNvSpPr>
              <p:nvPr/>
            </p:nvSpPr>
            <p:spPr bwMode="auto">
              <a:xfrm>
                <a:off x="35" y="1672"/>
                <a:ext cx="7025" cy="1681"/>
              </a:xfrm>
              <a:custGeom>
                <a:avLst/>
                <a:gdLst>
                  <a:gd name="T0" fmla="*/ 2 w 7025"/>
                  <a:gd name="T1" fmla="*/ 1522 h 1681"/>
                  <a:gd name="T2" fmla="*/ 5665 w 7025"/>
                  <a:gd name="T3" fmla="*/ 1437 h 1681"/>
                  <a:gd name="T4" fmla="*/ 3710 w 7025"/>
                  <a:gd name="T5" fmla="*/ 1222 h 1681"/>
                  <a:gd name="T6" fmla="*/ 5831 w 7025"/>
                  <a:gd name="T7" fmla="*/ 1210 h 1681"/>
                  <a:gd name="T8" fmla="*/ 5831 w 7025"/>
                  <a:gd name="T9" fmla="*/ 1314 h 1681"/>
                  <a:gd name="T10" fmla="*/ 1665 w 7025"/>
                  <a:gd name="T11" fmla="*/ 1158 h 1681"/>
                  <a:gd name="T12" fmla="*/ 1688 w 7025"/>
                  <a:gd name="T13" fmla="*/ 1132 h 1681"/>
                  <a:gd name="T14" fmla="*/ 5857 w 7025"/>
                  <a:gd name="T15" fmla="*/ 1127 h 1681"/>
                  <a:gd name="T16" fmla="*/ 5857 w 7025"/>
                  <a:gd name="T17" fmla="*/ 1198 h 1681"/>
                  <a:gd name="T18" fmla="*/ 6320 w 7025"/>
                  <a:gd name="T19" fmla="*/ 1129 h 1681"/>
                  <a:gd name="T20" fmla="*/ 1445 w 7025"/>
                  <a:gd name="T21" fmla="*/ 1125 h 1681"/>
                  <a:gd name="T22" fmla="*/ 1447 w 7025"/>
                  <a:gd name="T23" fmla="*/ 1125 h 1681"/>
                  <a:gd name="T24" fmla="*/ 1464 w 7025"/>
                  <a:gd name="T25" fmla="*/ 1115 h 1681"/>
                  <a:gd name="T26" fmla="*/ 2859 w 7025"/>
                  <a:gd name="T27" fmla="*/ 1066 h 1681"/>
                  <a:gd name="T28" fmla="*/ 5930 w 7025"/>
                  <a:gd name="T29" fmla="*/ 1042 h 1681"/>
                  <a:gd name="T30" fmla="*/ 5930 w 7025"/>
                  <a:gd name="T31" fmla="*/ 1042 h 1681"/>
                  <a:gd name="T32" fmla="*/ 2878 w 7025"/>
                  <a:gd name="T33" fmla="*/ 1051 h 1681"/>
                  <a:gd name="T34" fmla="*/ 3769 w 7025"/>
                  <a:gd name="T35" fmla="*/ 1212 h 1681"/>
                  <a:gd name="T36" fmla="*/ 5947 w 7025"/>
                  <a:gd name="T37" fmla="*/ 992 h 1681"/>
                  <a:gd name="T38" fmla="*/ 6339 w 7025"/>
                  <a:gd name="T39" fmla="*/ 935 h 1681"/>
                  <a:gd name="T40" fmla="*/ 6339 w 7025"/>
                  <a:gd name="T41" fmla="*/ 935 h 1681"/>
                  <a:gd name="T42" fmla="*/ 3845 w 7025"/>
                  <a:gd name="T43" fmla="*/ 983 h 1681"/>
                  <a:gd name="T44" fmla="*/ 6384 w 7025"/>
                  <a:gd name="T45" fmla="*/ 897 h 1681"/>
                  <a:gd name="T46" fmla="*/ 6389 w 7025"/>
                  <a:gd name="T47" fmla="*/ 879 h 1681"/>
                  <a:gd name="T48" fmla="*/ 6389 w 7025"/>
                  <a:gd name="T49" fmla="*/ 890 h 1681"/>
                  <a:gd name="T50" fmla="*/ 6396 w 7025"/>
                  <a:gd name="T51" fmla="*/ 852 h 1681"/>
                  <a:gd name="T52" fmla="*/ 6398 w 7025"/>
                  <a:gd name="T53" fmla="*/ 850 h 1681"/>
                  <a:gd name="T54" fmla="*/ 806 w 7025"/>
                  <a:gd name="T55" fmla="*/ 1058 h 1681"/>
                  <a:gd name="T56" fmla="*/ 3098 w 7025"/>
                  <a:gd name="T57" fmla="*/ 765 h 1681"/>
                  <a:gd name="T58" fmla="*/ 1007 w 7025"/>
                  <a:gd name="T59" fmla="*/ 753 h 1681"/>
                  <a:gd name="T60" fmla="*/ 5133 w 7025"/>
                  <a:gd name="T61" fmla="*/ 732 h 1681"/>
                  <a:gd name="T62" fmla="*/ 5133 w 7025"/>
                  <a:gd name="T63" fmla="*/ 732 h 1681"/>
                  <a:gd name="T64" fmla="*/ 3138 w 7025"/>
                  <a:gd name="T65" fmla="*/ 751 h 1681"/>
                  <a:gd name="T66" fmla="*/ 95 w 7025"/>
                  <a:gd name="T67" fmla="*/ 1442 h 1681"/>
                  <a:gd name="T68" fmla="*/ 5252 w 7025"/>
                  <a:gd name="T69" fmla="*/ 611 h 1681"/>
                  <a:gd name="T70" fmla="*/ 3282 w 7025"/>
                  <a:gd name="T71" fmla="*/ 583 h 1681"/>
                  <a:gd name="T72" fmla="*/ 3282 w 7025"/>
                  <a:gd name="T73" fmla="*/ 583 h 1681"/>
                  <a:gd name="T74" fmla="*/ 303 w 7025"/>
                  <a:gd name="T75" fmla="*/ 606 h 1681"/>
                  <a:gd name="T76" fmla="*/ 7025 w 7025"/>
                  <a:gd name="T77" fmla="*/ 1681 h 1681"/>
                  <a:gd name="T78" fmla="*/ 4192 w 7025"/>
                  <a:gd name="T79" fmla="*/ 504 h 1681"/>
                  <a:gd name="T80" fmla="*/ 3299 w 7025"/>
                  <a:gd name="T81" fmla="*/ 502 h 1681"/>
                  <a:gd name="T82" fmla="*/ 3301 w 7025"/>
                  <a:gd name="T83" fmla="*/ 502 h 1681"/>
                  <a:gd name="T84" fmla="*/ 4036 w 7025"/>
                  <a:gd name="T85" fmla="*/ 490 h 1681"/>
                  <a:gd name="T86" fmla="*/ 4036 w 7025"/>
                  <a:gd name="T87" fmla="*/ 490 h 1681"/>
                  <a:gd name="T88" fmla="*/ 3327 w 7025"/>
                  <a:gd name="T89" fmla="*/ 490 h 1681"/>
                  <a:gd name="T90" fmla="*/ 4041 w 7025"/>
                  <a:gd name="T91" fmla="*/ 391 h 1681"/>
                  <a:gd name="T92" fmla="*/ 4043 w 7025"/>
                  <a:gd name="T93" fmla="*/ 448 h 1681"/>
                  <a:gd name="T94" fmla="*/ 1809 w 7025"/>
                  <a:gd name="T95" fmla="*/ 1120 h 1681"/>
                  <a:gd name="T96" fmla="*/ 1937 w 7025"/>
                  <a:gd name="T97" fmla="*/ 336 h 1681"/>
                  <a:gd name="T98" fmla="*/ 4048 w 7025"/>
                  <a:gd name="T99" fmla="*/ 327 h 1681"/>
                  <a:gd name="T100" fmla="*/ 4050 w 7025"/>
                  <a:gd name="T101" fmla="*/ 381 h 1681"/>
                  <a:gd name="T102" fmla="*/ 2026 w 7025"/>
                  <a:gd name="T103" fmla="*/ 322 h 1681"/>
                  <a:gd name="T104" fmla="*/ 4701 w 7025"/>
                  <a:gd name="T105" fmla="*/ 235 h 1681"/>
                  <a:gd name="T106" fmla="*/ 4802 w 7025"/>
                  <a:gd name="T107" fmla="*/ 173 h 1681"/>
                  <a:gd name="T108" fmla="*/ 4805 w 7025"/>
                  <a:gd name="T109" fmla="*/ 173 h 1681"/>
                  <a:gd name="T110" fmla="*/ 4852 w 7025"/>
                  <a:gd name="T111" fmla="*/ 161 h 1681"/>
                  <a:gd name="T112" fmla="*/ 4909 w 7025"/>
                  <a:gd name="T113" fmla="*/ 161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1">
                    <a:moveTo>
                      <a:pt x="2" y="1454"/>
                    </a:moveTo>
                    <a:lnTo>
                      <a:pt x="0" y="1454"/>
                    </a:lnTo>
                    <a:lnTo>
                      <a:pt x="0" y="1454"/>
                    </a:lnTo>
                    <a:lnTo>
                      <a:pt x="0" y="1522"/>
                    </a:lnTo>
                    <a:lnTo>
                      <a:pt x="2" y="1522"/>
                    </a:lnTo>
                    <a:lnTo>
                      <a:pt x="2" y="1454"/>
                    </a:lnTo>
                    <a:moveTo>
                      <a:pt x="5665" y="1326"/>
                    </a:moveTo>
                    <a:lnTo>
                      <a:pt x="5665" y="1326"/>
                    </a:lnTo>
                    <a:lnTo>
                      <a:pt x="5665" y="1328"/>
                    </a:lnTo>
                    <a:lnTo>
                      <a:pt x="5665" y="1437"/>
                    </a:lnTo>
                    <a:lnTo>
                      <a:pt x="5665" y="1437"/>
                    </a:lnTo>
                    <a:lnTo>
                      <a:pt x="5665" y="1326"/>
                    </a:lnTo>
                    <a:moveTo>
                      <a:pt x="3712" y="1222"/>
                    </a:moveTo>
                    <a:lnTo>
                      <a:pt x="3710" y="1222"/>
                    </a:lnTo>
                    <a:lnTo>
                      <a:pt x="3710" y="1222"/>
                    </a:lnTo>
                    <a:lnTo>
                      <a:pt x="3710" y="1224"/>
                    </a:lnTo>
                    <a:lnTo>
                      <a:pt x="3710" y="1380"/>
                    </a:lnTo>
                    <a:lnTo>
                      <a:pt x="3712" y="1380"/>
                    </a:lnTo>
                    <a:lnTo>
                      <a:pt x="3712" y="1222"/>
                    </a:lnTo>
                    <a:moveTo>
                      <a:pt x="5831" y="1210"/>
                    </a:moveTo>
                    <a:lnTo>
                      <a:pt x="5831" y="1210"/>
                    </a:lnTo>
                    <a:lnTo>
                      <a:pt x="5829" y="1210"/>
                    </a:lnTo>
                    <a:lnTo>
                      <a:pt x="5829" y="1210"/>
                    </a:lnTo>
                    <a:lnTo>
                      <a:pt x="5829" y="1314"/>
                    </a:lnTo>
                    <a:lnTo>
                      <a:pt x="5831" y="1314"/>
                    </a:lnTo>
                    <a:lnTo>
                      <a:pt x="5831" y="1210"/>
                    </a:lnTo>
                    <a:moveTo>
                      <a:pt x="1667" y="1158"/>
                    </a:moveTo>
                    <a:lnTo>
                      <a:pt x="1665" y="1158"/>
                    </a:lnTo>
                    <a:lnTo>
                      <a:pt x="1665" y="1158"/>
                    </a:lnTo>
                    <a:lnTo>
                      <a:pt x="1665" y="1158"/>
                    </a:lnTo>
                    <a:lnTo>
                      <a:pt x="1665" y="1189"/>
                    </a:lnTo>
                    <a:lnTo>
                      <a:pt x="1667" y="1189"/>
                    </a:lnTo>
                    <a:lnTo>
                      <a:pt x="1667" y="1158"/>
                    </a:lnTo>
                    <a:moveTo>
                      <a:pt x="1688" y="1132"/>
                    </a:moveTo>
                    <a:lnTo>
                      <a:pt x="1688" y="1132"/>
                    </a:lnTo>
                    <a:lnTo>
                      <a:pt x="1688" y="1134"/>
                    </a:lnTo>
                    <a:lnTo>
                      <a:pt x="1688" y="1146"/>
                    </a:lnTo>
                    <a:lnTo>
                      <a:pt x="1688" y="1146"/>
                    </a:lnTo>
                    <a:lnTo>
                      <a:pt x="1688" y="1132"/>
                    </a:lnTo>
                    <a:moveTo>
                      <a:pt x="5857" y="1127"/>
                    </a:moveTo>
                    <a:lnTo>
                      <a:pt x="5855" y="1127"/>
                    </a:lnTo>
                    <a:lnTo>
                      <a:pt x="5855" y="1127"/>
                    </a:lnTo>
                    <a:lnTo>
                      <a:pt x="5855" y="1129"/>
                    </a:lnTo>
                    <a:lnTo>
                      <a:pt x="5855" y="1198"/>
                    </a:lnTo>
                    <a:lnTo>
                      <a:pt x="5857" y="1198"/>
                    </a:lnTo>
                    <a:lnTo>
                      <a:pt x="5857" y="1127"/>
                    </a:lnTo>
                    <a:moveTo>
                      <a:pt x="6323" y="1127"/>
                    </a:moveTo>
                    <a:lnTo>
                      <a:pt x="6323" y="1127"/>
                    </a:lnTo>
                    <a:lnTo>
                      <a:pt x="6320" y="1127"/>
                    </a:lnTo>
                    <a:lnTo>
                      <a:pt x="6320" y="1129"/>
                    </a:lnTo>
                    <a:lnTo>
                      <a:pt x="6320" y="1352"/>
                    </a:lnTo>
                    <a:lnTo>
                      <a:pt x="6323" y="1352"/>
                    </a:lnTo>
                    <a:lnTo>
                      <a:pt x="6323" y="1127"/>
                    </a:lnTo>
                    <a:moveTo>
                      <a:pt x="1447" y="1125"/>
                    </a:moveTo>
                    <a:lnTo>
                      <a:pt x="1445" y="1125"/>
                    </a:lnTo>
                    <a:lnTo>
                      <a:pt x="1445" y="1125"/>
                    </a:lnTo>
                    <a:lnTo>
                      <a:pt x="1445" y="1127"/>
                    </a:lnTo>
                    <a:lnTo>
                      <a:pt x="1445" y="1189"/>
                    </a:lnTo>
                    <a:lnTo>
                      <a:pt x="1447" y="1189"/>
                    </a:lnTo>
                    <a:lnTo>
                      <a:pt x="1447" y="1125"/>
                    </a:lnTo>
                    <a:moveTo>
                      <a:pt x="1464" y="1084"/>
                    </a:moveTo>
                    <a:lnTo>
                      <a:pt x="1461" y="1084"/>
                    </a:lnTo>
                    <a:lnTo>
                      <a:pt x="1461" y="1087"/>
                    </a:lnTo>
                    <a:lnTo>
                      <a:pt x="1461" y="1115"/>
                    </a:lnTo>
                    <a:lnTo>
                      <a:pt x="1464" y="1115"/>
                    </a:lnTo>
                    <a:lnTo>
                      <a:pt x="1464" y="1084"/>
                    </a:lnTo>
                    <a:moveTo>
                      <a:pt x="2861" y="1063"/>
                    </a:moveTo>
                    <a:lnTo>
                      <a:pt x="2859" y="1063"/>
                    </a:lnTo>
                    <a:lnTo>
                      <a:pt x="2859" y="1063"/>
                    </a:lnTo>
                    <a:lnTo>
                      <a:pt x="2859" y="1066"/>
                    </a:lnTo>
                    <a:lnTo>
                      <a:pt x="2859" y="1229"/>
                    </a:lnTo>
                    <a:lnTo>
                      <a:pt x="2861" y="1229"/>
                    </a:lnTo>
                    <a:lnTo>
                      <a:pt x="2861" y="1063"/>
                    </a:lnTo>
                    <a:moveTo>
                      <a:pt x="5930" y="1042"/>
                    </a:moveTo>
                    <a:lnTo>
                      <a:pt x="5930" y="1042"/>
                    </a:lnTo>
                    <a:lnTo>
                      <a:pt x="5930" y="1042"/>
                    </a:lnTo>
                    <a:lnTo>
                      <a:pt x="5930" y="1044"/>
                    </a:lnTo>
                    <a:lnTo>
                      <a:pt x="5930" y="1118"/>
                    </a:lnTo>
                    <a:lnTo>
                      <a:pt x="5930" y="1118"/>
                    </a:lnTo>
                    <a:lnTo>
                      <a:pt x="5930" y="1042"/>
                    </a:lnTo>
                    <a:moveTo>
                      <a:pt x="2878" y="1011"/>
                    </a:moveTo>
                    <a:lnTo>
                      <a:pt x="2875" y="1013"/>
                    </a:lnTo>
                    <a:lnTo>
                      <a:pt x="2875" y="1013"/>
                    </a:lnTo>
                    <a:lnTo>
                      <a:pt x="2875" y="1051"/>
                    </a:lnTo>
                    <a:lnTo>
                      <a:pt x="2878" y="1051"/>
                    </a:lnTo>
                    <a:lnTo>
                      <a:pt x="2878" y="1011"/>
                    </a:lnTo>
                    <a:moveTo>
                      <a:pt x="3771" y="995"/>
                    </a:moveTo>
                    <a:lnTo>
                      <a:pt x="3769" y="995"/>
                    </a:lnTo>
                    <a:lnTo>
                      <a:pt x="3769" y="995"/>
                    </a:lnTo>
                    <a:lnTo>
                      <a:pt x="3769" y="1212"/>
                    </a:lnTo>
                    <a:lnTo>
                      <a:pt x="3771" y="1212"/>
                    </a:lnTo>
                    <a:lnTo>
                      <a:pt x="3771" y="995"/>
                    </a:lnTo>
                    <a:moveTo>
                      <a:pt x="5949" y="990"/>
                    </a:moveTo>
                    <a:lnTo>
                      <a:pt x="5947" y="990"/>
                    </a:lnTo>
                    <a:lnTo>
                      <a:pt x="5947" y="992"/>
                    </a:lnTo>
                    <a:lnTo>
                      <a:pt x="5947" y="1030"/>
                    </a:lnTo>
                    <a:lnTo>
                      <a:pt x="5949" y="1030"/>
                    </a:lnTo>
                    <a:lnTo>
                      <a:pt x="5949" y="990"/>
                    </a:lnTo>
                    <a:moveTo>
                      <a:pt x="6339" y="935"/>
                    </a:moveTo>
                    <a:lnTo>
                      <a:pt x="6339" y="935"/>
                    </a:lnTo>
                    <a:lnTo>
                      <a:pt x="6339" y="935"/>
                    </a:lnTo>
                    <a:lnTo>
                      <a:pt x="6339" y="938"/>
                    </a:lnTo>
                    <a:lnTo>
                      <a:pt x="6339" y="1118"/>
                    </a:lnTo>
                    <a:lnTo>
                      <a:pt x="6339" y="1118"/>
                    </a:lnTo>
                    <a:lnTo>
                      <a:pt x="6339" y="935"/>
                    </a:lnTo>
                    <a:moveTo>
                      <a:pt x="3845" y="928"/>
                    </a:moveTo>
                    <a:lnTo>
                      <a:pt x="3845" y="928"/>
                    </a:lnTo>
                    <a:lnTo>
                      <a:pt x="3845" y="931"/>
                    </a:lnTo>
                    <a:lnTo>
                      <a:pt x="3845" y="983"/>
                    </a:lnTo>
                    <a:lnTo>
                      <a:pt x="3845" y="983"/>
                    </a:lnTo>
                    <a:lnTo>
                      <a:pt x="3845" y="928"/>
                    </a:lnTo>
                    <a:moveTo>
                      <a:pt x="6384" y="895"/>
                    </a:moveTo>
                    <a:lnTo>
                      <a:pt x="6384" y="895"/>
                    </a:lnTo>
                    <a:lnTo>
                      <a:pt x="6384" y="895"/>
                    </a:lnTo>
                    <a:lnTo>
                      <a:pt x="6384" y="897"/>
                    </a:lnTo>
                    <a:lnTo>
                      <a:pt x="6377" y="923"/>
                    </a:lnTo>
                    <a:lnTo>
                      <a:pt x="6379" y="923"/>
                    </a:lnTo>
                    <a:lnTo>
                      <a:pt x="6384" y="895"/>
                    </a:lnTo>
                    <a:moveTo>
                      <a:pt x="6389" y="879"/>
                    </a:moveTo>
                    <a:lnTo>
                      <a:pt x="6389" y="879"/>
                    </a:lnTo>
                    <a:lnTo>
                      <a:pt x="6389" y="879"/>
                    </a:lnTo>
                    <a:lnTo>
                      <a:pt x="6389" y="881"/>
                    </a:lnTo>
                    <a:lnTo>
                      <a:pt x="6389" y="890"/>
                    </a:lnTo>
                    <a:lnTo>
                      <a:pt x="6389" y="890"/>
                    </a:lnTo>
                    <a:lnTo>
                      <a:pt x="6389" y="890"/>
                    </a:lnTo>
                    <a:lnTo>
                      <a:pt x="6389" y="890"/>
                    </a:lnTo>
                    <a:lnTo>
                      <a:pt x="6389" y="879"/>
                    </a:lnTo>
                    <a:moveTo>
                      <a:pt x="6398" y="850"/>
                    </a:moveTo>
                    <a:lnTo>
                      <a:pt x="6396" y="850"/>
                    </a:lnTo>
                    <a:lnTo>
                      <a:pt x="6396" y="852"/>
                    </a:lnTo>
                    <a:lnTo>
                      <a:pt x="6396" y="871"/>
                    </a:lnTo>
                    <a:lnTo>
                      <a:pt x="6398" y="871"/>
                    </a:lnTo>
                    <a:lnTo>
                      <a:pt x="6398" y="869"/>
                    </a:lnTo>
                    <a:lnTo>
                      <a:pt x="6398" y="869"/>
                    </a:lnTo>
                    <a:lnTo>
                      <a:pt x="6398" y="850"/>
                    </a:lnTo>
                    <a:moveTo>
                      <a:pt x="806" y="826"/>
                    </a:moveTo>
                    <a:lnTo>
                      <a:pt x="804" y="826"/>
                    </a:lnTo>
                    <a:lnTo>
                      <a:pt x="804" y="829"/>
                    </a:lnTo>
                    <a:lnTo>
                      <a:pt x="804" y="1058"/>
                    </a:lnTo>
                    <a:lnTo>
                      <a:pt x="806" y="1058"/>
                    </a:lnTo>
                    <a:lnTo>
                      <a:pt x="806" y="826"/>
                    </a:lnTo>
                    <a:moveTo>
                      <a:pt x="3100" y="762"/>
                    </a:moveTo>
                    <a:lnTo>
                      <a:pt x="3100" y="762"/>
                    </a:lnTo>
                    <a:lnTo>
                      <a:pt x="3098" y="762"/>
                    </a:lnTo>
                    <a:lnTo>
                      <a:pt x="3098" y="765"/>
                    </a:lnTo>
                    <a:lnTo>
                      <a:pt x="3098" y="968"/>
                    </a:lnTo>
                    <a:lnTo>
                      <a:pt x="3100" y="968"/>
                    </a:lnTo>
                    <a:lnTo>
                      <a:pt x="3100" y="762"/>
                    </a:lnTo>
                    <a:moveTo>
                      <a:pt x="1010" y="753"/>
                    </a:moveTo>
                    <a:lnTo>
                      <a:pt x="1007" y="753"/>
                    </a:lnTo>
                    <a:lnTo>
                      <a:pt x="1007" y="755"/>
                    </a:lnTo>
                    <a:lnTo>
                      <a:pt x="1007" y="817"/>
                    </a:lnTo>
                    <a:lnTo>
                      <a:pt x="1010" y="817"/>
                    </a:lnTo>
                    <a:lnTo>
                      <a:pt x="1010" y="753"/>
                    </a:lnTo>
                    <a:moveTo>
                      <a:pt x="5133" y="732"/>
                    </a:moveTo>
                    <a:lnTo>
                      <a:pt x="5131" y="732"/>
                    </a:lnTo>
                    <a:lnTo>
                      <a:pt x="5131" y="734"/>
                    </a:lnTo>
                    <a:lnTo>
                      <a:pt x="5131" y="961"/>
                    </a:lnTo>
                    <a:lnTo>
                      <a:pt x="5133" y="961"/>
                    </a:lnTo>
                    <a:lnTo>
                      <a:pt x="5133" y="732"/>
                    </a:lnTo>
                    <a:moveTo>
                      <a:pt x="3138" y="656"/>
                    </a:moveTo>
                    <a:lnTo>
                      <a:pt x="3138" y="656"/>
                    </a:lnTo>
                    <a:lnTo>
                      <a:pt x="3138" y="658"/>
                    </a:lnTo>
                    <a:lnTo>
                      <a:pt x="3138" y="751"/>
                    </a:lnTo>
                    <a:lnTo>
                      <a:pt x="3138" y="751"/>
                    </a:lnTo>
                    <a:lnTo>
                      <a:pt x="3138" y="656"/>
                    </a:lnTo>
                    <a:moveTo>
                      <a:pt x="97" y="616"/>
                    </a:moveTo>
                    <a:lnTo>
                      <a:pt x="95" y="616"/>
                    </a:lnTo>
                    <a:lnTo>
                      <a:pt x="95" y="618"/>
                    </a:lnTo>
                    <a:lnTo>
                      <a:pt x="95" y="1442"/>
                    </a:lnTo>
                    <a:lnTo>
                      <a:pt x="97" y="1442"/>
                    </a:lnTo>
                    <a:lnTo>
                      <a:pt x="97" y="616"/>
                    </a:lnTo>
                    <a:moveTo>
                      <a:pt x="5254" y="609"/>
                    </a:moveTo>
                    <a:lnTo>
                      <a:pt x="5252" y="609"/>
                    </a:lnTo>
                    <a:lnTo>
                      <a:pt x="5252" y="611"/>
                    </a:lnTo>
                    <a:lnTo>
                      <a:pt x="5252" y="720"/>
                    </a:lnTo>
                    <a:lnTo>
                      <a:pt x="5254" y="720"/>
                    </a:lnTo>
                    <a:lnTo>
                      <a:pt x="5254" y="609"/>
                    </a:lnTo>
                    <a:moveTo>
                      <a:pt x="3282" y="583"/>
                    </a:moveTo>
                    <a:lnTo>
                      <a:pt x="3282" y="583"/>
                    </a:lnTo>
                    <a:lnTo>
                      <a:pt x="3282" y="583"/>
                    </a:lnTo>
                    <a:lnTo>
                      <a:pt x="3282" y="585"/>
                    </a:lnTo>
                    <a:lnTo>
                      <a:pt x="3282" y="646"/>
                    </a:lnTo>
                    <a:lnTo>
                      <a:pt x="3282" y="646"/>
                    </a:lnTo>
                    <a:lnTo>
                      <a:pt x="3282" y="583"/>
                    </a:lnTo>
                    <a:moveTo>
                      <a:pt x="303" y="547"/>
                    </a:moveTo>
                    <a:lnTo>
                      <a:pt x="300" y="547"/>
                    </a:lnTo>
                    <a:lnTo>
                      <a:pt x="300" y="549"/>
                    </a:lnTo>
                    <a:lnTo>
                      <a:pt x="300" y="606"/>
                    </a:lnTo>
                    <a:lnTo>
                      <a:pt x="303" y="606"/>
                    </a:lnTo>
                    <a:lnTo>
                      <a:pt x="303" y="547"/>
                    </a:lnTo>
                    <a:moveTo>
                      <a:pt x="7025" y="509"/>
                    </a:moveTo>
                    <a:lnTo>
                      <a:pt x="7025" y="509"/>
                    </a:lnTo>
                    <a:lnTo>
                      <a:pt x="7025" y="512"/>
                    </a:lnTo>
                    <a:lnTo>
                      <a:pt x="7025" y="1681"/>
                    </a:lnTo>
                    <a:lnTo>
                      <a:pt x="7025" y="1681"/>
                    </a:lnTo>
                    <a:lnTo>
                      <a:pt x="7025" y="509"/>
                    </a:lnTo>
                    <a:moveTo>
                      <a:pt x="4195" y="502"/>
                    </a:moveTo>
                    <a:lnTo>
                      <a:pt x="4192" y="502"/>
                    </a:lnTo>
                    <a:lnTo>
                      <a:pt x="4192" y="504"/>
                    </a:lnTo>
                    <a:lnTo>
                      <a:pt x="4131" y="590"/>
                    </a:lnTo>
                    <a:lnTo>
                      <a:pt x="4131" y="590"/>
                    </a:lnTo>
                    <a:lnTo>
                      <a:pt x="4195" y="502"/>
                    </a:lnTo>
                    <a:moveTo>
                      <a:pt x="3301" y="502"/>
                    </a:moveTo>
                    <a:lnTo>
                      <a:pt x="3299" y="502"/>
                    </a:lnTo>
                    <a:lnTo>
                      <a:pt x="3299" y="502"/>
                    </a:lnTo>
                    <a:lnTo>
                      <a:pt x="3299" y="502"/>
                    </a:lnTo>
                    <a:lnTo>
                      <a:pt x="3299" y="571"/>
                    </a:lnTo>
                    <a:lnTo>
                      <a:pt x="3301" y="571"/>
                    </a:lnTo>
                    <a:lnTo>
                      <a:pt x="3301" y="502"/>
                    </a:lnTo>
                    <a:moveTo>
                      <a:pt x="4036" y="455"/>
                    </a:moveTo>
                    <a:lnTo>
                      <a:pt x="4036" y="455"/>
                    </a:lnTo>
                    <a:lnTo>
                      <a:pt x="4036" y="455"/>
                    </a:lnTo>
                    <a:lnTo>
                      <a:pt x="4036" y="457"/>
                    </a:lnTo>
                    <a:lnTo>
                      <a:pt x="4036" y="490"/>
                    </a:lnTo>
                    <a:lnTo>
                      <a:pt x="3953" y="644"/>
                    </a:lnTo>
                    <a:lnTo>
                      <a:pt x="3953" y="916"/>
                    </a:lnTo>
                    <a:lnTo>
                      <a:pt x="3956" y="916"/>
                    </a:lnTo>
                    <a:lnTo>
                      <a:pt x="3956" y="642"/>
                    </a:lnTo>
                    <a:lnTo>
                      <a:pt x="4036" y="490"/>
                    </a:lnTo>
                    <a:lnTo>
                      <a:pt x="4036" y="455"/>
                    </a:lnTo>
                    <a:moveTo>
                      <a:pt x="3329" y="433"/>
                    </a:moveTo>
                    <a:lnTo>
                      <a:pt x="3327" y="433"/>
                    </a:lnTo>
                    <a:lnTo>
                      <a:pt x="3327" y="436"/>
                    </a:lnTo>
                    <a:lnTo>
                      <a:pt x="3327" y="490"/>
                    </a:lnTo>
                    <a:lnTo>
                      <a:pt x="3329" y="490"/>
                    </a:lnTo>
                    <a:lnTo>
                      <a:pt x="3329" y="433"/>
                    </a:lnTo>
                    <a:moveTo>
                      <a:pt x="4043" y="391"/>
                    </a:moveTo>
                    <a:lnTo>
                      <a:pt x="4041" y="391"/>
                    </a:lnTo>
                    <a:lnTo>
                      <a:pt x="4041" y="391"/>
                    </a:lnTo>
                    <a:lnTo>
                      <a:pt x="4041" y="393"/>
                    </a:lnTo>
                    <a:lnTo>
                      <a:pt x="4041" y="450"/>
                    </a:lnTo>
                    <a:lnTo>
                      <a:pt x="4043" y="450"/>
                    </a:lnTo>
                    <a:lnTo>
                      <a:pt x="4043" y="448"/>
                    </a:lnTo>
                    <a:lnTo>
                      <a:pt x="4043" y="448"/>
                    </a:lnTo>
                    <a:lnTo>
                      <a:pt x="4043" y="391"/>
                    </a:lnTo>
                    <a:moveTo>
                      <a:pt x="1809" y="369"/>
                    </a:moveTo>
                    <a:lnTo>
                      <a:pt x="1809" y="369"/>
                    </a:lnTo>
                    <a:lnTo>
                      <a:pt x="1809" y="369"/>
                    </a:lnTo>
                    <a:lnTo>
                      <a:pt x="1809" y="1120"/>
                    </a:lnTo>
                    <a:lnTo>
                      <a:pt x="1809" y="1120"/>
                    </a:lnTo>
                    <a:lnTo>
                      <a:pt x="1809" y="369"/>
                    </a:lnTo>
                    <a:moveTo>
                      <a:pt x="1939" y="334"/>
                    </a:moveTo>
                    <a:lnTo>
                      <a:pt x="1937" y="334"/>
                    </a:lnTo>
                    <a:lnTo>
                      <a:pt x="1937" y="336"/>
                    </a:lnTo>
                    <a:lnTo>
                      <a:pt x="1937" y="358"/>
                    </a:lnTo>
                    <a:lnTo>
                      <a:pt x="1939" y="358"/>
                    </a:lnTo>
                    <a:lnTo>
                      <a:pt x="1939" y="334"/>
                    </a:lnTo>
                    <a:moveTo>
                      <a:pt x="4050" y="327"/>
                    </a:moveTo>
                    <a:lnTo>
                      <a:pt x="4048" y="327"/>
                    </a:lnTo>
                    <a:lnTo>
                      <a:pt x="4048" y="329"/>
                    </a:lnTo>
                    <a:lnTo>
                      <a:pt x="4048" y="384"/>
                    </a:lnTo>
                    <a:lnTo>
                      <a:pt x="4050" y="384"/>
                    </a:lnTo>
                    <a:lnTo>
                      <a:pt x="4050" y="381"/>
                    </a:lnTo>
                    <a:lnTo>
                      <a:pt x="4050" y="381"/>
                    </a:lnTo>
                    <a:lnTo>
                      <a:pt x="4050" y="327"/>
                    </a:lnTo>
                    <a:moveTo>
                      <a:pt x="2029" y="294"/>
                    </a:moveTo>
                    <a:lnTo>
                      <a:pt x="2026" y="294"/>
                    </a:lnTo>
                    <a:lnTo>
                      <a:pt x="2026" y="296"/>
                    </a:lnTo>
                    <a:lnTo>
                      <a:pt x="2026" y="322"/>
                    </a:lnTo>
                    <a:lnTo>
                      <a:pt x="2029" y="322"/>
                    </a:lnTo>
                    <a:lnTo>
                      <a:pt x="2029" y="294"/>
                    </a:lnTo>
                    <a:moveTo>
                      <a:pt x="4703" y="232"/>
                    </a:moveTo>
                    <a:lnTo>
                      <a:pt x="4703" y="232"/>
                    </a:lnTo>
                    <a:lnTo>
                      <a:pt x="4701" y="235"/>
                    </a:lnTo>
                    <a:lnTo>
                      <a:pt x="4639" y="467"/>
                    </a:lnTo>
                    <a:lnTo>
                      <a:pt x="4639" y="467"/>
                    </a:lnTo>
                    <a:lnTo>
                      <a:pt x="4703" y="232"/>
                    </a:lnTo>
                    <a:moveTo>
                      <a:pt x="4805" y="173"/>
                    </a:moveTo>
                    <a:lnTo>
                      <a:pt x="4802" y="173"/>
                    </a:lnTo>
                    <a:lnTo>
                      <a:pt x="4802" y="173"/>
                    </a:lnTo>
                    <a:lnTo>
                      <a:pt x="4802" y="175"/>
                    </a:lnTo>
                    <a:lnTo>
                      <a:pt x="4802" y="220"/>
                    </a:lnTo>
                    <a:lnTo>
                      <a:pt x="4805" y="220"/>
                    </a:lnTo>
                    <a:lnTo>
                      <a:pt x="4805" y="173"/>
                    </a:lnTo>
                    <a:moveTo>
                      <a:pt x="4852" y="0"/>
                    </a:moveTo>
                    <a:lnTo>
                      <a:pt x="4852" y="0"/>
                    </a:lnTo>
                    <a:lnTo>
                      <a:pt x="4852" y="2"/>
                    </a:lnTo>
                    <a:lnTo>
                      <a:pt x="4852" y="161"/>
                    </a:lnTo>
                    <a:lnTo>
                      <a:pt x="4852" y="161"/>
                    </a:lnTo>
                    <a:lnTo>
                      <a:pt x="4852" y="0"/>
                    </a:lnTo>
                    <a:moveTo>
                      <a:pt x="4911" y="0"/>
                    </a:moveTo>
                    <a:lnTo>
                      <a:pt x="4909" y="0"/>
                    </a:lnTo>
                    <a:lnTo>
                      <a:pt x="4909" y="2"/>
                    </a:lnTo>
                    <a:lnTo>
                      <a:pt x="4909" y="161"/>
                    </a:lnTo>
                    <a:lnTo>
                      <a:pt x="4911" y="161"/>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2" name="Freeform 134"/>
              <p:cNvSpPr>
                <a:spLocks noEditPoints="1"/>
              </p:cNvSpPr>
              <p:nvPr/>
            </p:nvSpPr>
            <p:spPr bwMode="auto">
              <a:xfrm>
                <a:off x="37" y="1670"/>
                <a:ext cx="7025" cy="1683"/>
              </a:xfrm>
              <a:custGeom>
                <a:avLst/>
                <a:gdLst>
                  <a:gd name="T0" fmla="*/ 3 w 7025"/>
                  <a:gd name="T1" fmla="*/ 1524 h 1683"/>
                  <a:gd name="T2" fmla="*/ 5663 w 7025"/>
                  <a:gd name="T3" fmla="*/ 1439 h 1683"/>
                  <a:gd name="T4" fmla="*/ 3710 w 7025"/>
                  <a:gd name="T5" fmla="*/ 1221 h 1683"/>
                  <a:gd name="T6" fmla="*/ 5831 w 7025"/>
                  <a:gd name="T7" fmla="*/ 1210 h 1683"/>
                  <a:gd name="T8" fmla="*/ 5831 w 7025"/>
                  <a:gd name="T9" fmla="*/ 1316 h 1683"/>
                  <a:gd name="T10" fmla="*/ 1665 w 7025"/>
                  <a:gd name="T11" fmla="*/ 1160 h 1683"/>
                  <a:gd name="T12" fmla="*/ 1686 w 7025"/>
                  <a:gd name="T13" fmla="*/ 1131 h 1683"/>
                  <a:gd name="T14" fmla="*/ 5857 w 7025"/>
                  <a:gd name="T15" fmla="*/ 1129 h 1683"/>
                  <a:gd name="T16" fmla="*/ 5857 w 7025"/>
                  <a:gd name="T17" fmla="*/ 1200 h 1683"/>
                  <a:gd name="T18" fmla="*/ 6321 w 7025"/>
                  <a:gd name="T19" fmla="*/ 1129 h 1683"/>
                  <a:gd name="T20" fmla="*/ 1445 w 7025"/>
                  <a:gd name="T21" fmla="*/ 1127 h 1683"/>
                  <a:gd name="T22" fmla="*/ 1447 w 7025"/>
                  <a:gd name="T23" fmla="*/ 1127 h 1683"/>
                  <a:gd name="T24" fmla="*/ 1464 w 7025"/>
                  <a:gd name="T25" fmla="*/ 1117 h 1683"/>
                  <a:gd name="T26" fmla="*/ 2859 w 7025"/>
                  <a:gd name="T27" fmla="*/ 1065 h 1683"/>
                  <a:gd name="T28" fmla="*/ 5931 w 7025"/>
                  <a:gd name="T29" fmla="*/ 1041 h 1683"/>
                  <a:gd name="T30" fmla="*/ 5931 w 7025"/>
                  <a:gd name="T31" fmla="*/ 1041 h 1683"/>
                  <a:gd name="T32" fmla="*/ 2878 w 7025"/>
                  <a:gd name="T33" fmla="*/ 1053 h 1683"/>
                  <a:gd name="T34" fmla="*/ 3769 w 7025"/>
                  <a:gd name="T35" fmla="*/ 1214 h 1683"/>
                  <a:gd name="T36" fmla="*/ 5947 w 7025"/>
                  <a:gd name="T37" fmla="*/ 992 h 1683"/>
                  <a:gd name="T38" fmla="*/ 6340 w 7025"/>
                  <a:gd name="T39" fmla="*/ 935 h 1683"/>
                  <a:gd name="T40" fmla="*/ 6340 w 7025"/>
                  <a:gd name="T41" fmla="*/ 935 h 1683"/>
                  <a:gd name="T42" fmla="*/ 3845 w 7025"/>
                  <a:gd name="T43" fmla="*/ 985 h 1683"/>
                  <a:gd name="T44" fmla="*/ 6382 w 7025"/>
                  <a:gd name="T45" fmla="*/ 897 h 1683"/>
                  <a:gd name="T46" fmla="*/ 6389 w 7025"/>
                  <a:gd name="T47" fmla="*/ 878 h 1683"/>
                  <a:gd name="T48" fmla="*/ 6389 w 7025"/>
                  <a:gd name="T49" fmla="*/ 890 h 1683"/>
                  <a:gd name="T50" fmla="*/ 6396 w 7025"/>
                  <a:gd name="T51" fmla="*/ 852 h 1683"/>
                  <a:gd name="T52" fmla="*/ 6399 w 7025"/>
                  <a:gd name="T53" fmla="*/ 850 h 1683"/>
                  <a:gd name="T54" fmla="*/ 804 w 7025"/>
                  <a:gd name="T55" fmla="*/ 1060 h 1683"/>
                  <a:gd name="T56" fmla="*/ 3098 w 7025"/>
                  <a:gd name="T57" fmla="*/ 764 h 1683"/>
                  <a:gd name="T58" fmla="*/ 1008 w 7025"/>
                  <a:gd name="T59" fmla="*/ 753 h 1683"/>
                  <a:gd name="T60" fmla="*/ 5131 w 7025"/>
                  <a:gd name="T61" fmla="*/ 731 h 1683"/>
                  <a:gd name="T62" fmla="*/ 5131 w 7025"/>
                  <a:gd name="T63" fmla="*/ 731 h 1683"/>
                  <a:gd name="T64" fmla="*/ 3138 w 7025"/>
                  <a:gd name="T65" fmla="*/ 753 h 1683"/>
                  <a:gd name="T66" fmla="*/ 95 w 7025"/>
                  <a:gd name="T67" fmla="*/ 1444 h 1683"/>
                  <a:gd name="T68" fmla="*/ 5252 w 7025"/>
                  <a:gd name="T69" fmla="*/ 611 h 1683"/>
                  <a:gd name="T70" fmla="*/ 3282 w 7025"/>
                  <a:gd name="T71" fmla="*/ 582 h 1683"/>
                  <a:gd name="T72" fmla="*/ 3282 w 7025"/>
                  <a:gd name="T73" fmla="*/ 582 h 1683"/>
                  <a:gd name="T74" fmla="*/ 303 w 7025"/>
                  <a:gd name="T75" fmla="*/ 608 h 1683"/>
                  <a:gd name="T76" fmla="*/ 7023 w 7025"/>
                  <a:gd name="T77" fmla="*/ 1683 h 1683"/>
                  <a:gd name="T78" fmla="*/ 4193 w 7025"/>
                  <a:gd name="T79" fmla="*/ 504 h 1683"/>
                  <a:gd name="T80" fmla="*/ 3299 w 7025"/>
                  <a:gd name="T81" fmla="*/ 502 h 1683"/>
                  <a:gd name="T82" fmla="*/ 3301 w 7025"/>
                  <a:gd name="T83" fmla="*/ 502 h 1683"/>
                  <a:gd name="T84" fmla="*/ 4034 w 7025"/>
                  <a:gd name="T85" fmla="*/ 492 h 1683"/>
                  <a:gd name="T86" fmla="*/ 4037 w 7025"/>
                  <a:gd name="T87" fmla="*/ 490 h 1683"/>
                  <a:gd name="T88" fmla="*/ 3327 w 7025"/>
                  <a:gd name="T89" fmla="*/ 492 h 1683"/>
                  <a:gd name="T90" fmla="*/ 4041 w 7025"/>
                  <a:gd name="T91" fmla="*/ 390 h 1683"/>
                  <a:gd name="T92" fmla="*/ 4041 w 7025"/>
                  <a:gd name="T93" fmla="*/ 447 h 1683"/>
                  <a:gd name="T94" fmla="*/ 1807 w 7025"/>
                  <a:gd name="T95" fmla="*/ 1122 h 1683"/>
                  <a:gd name="T96" fmla="*/ 1937 w 7025"/>
                  <a:gd name="T97" fmla="*/ 336 h 1683"/>
                  <a:gd name="T98" fmla="*/ 4048 w 7025"/>
                  <a:gd name="T99" fmla="*/ 326 h 1683"/>
                  <a:gd name="T100" fmla="*/ 4051 w 7025"/>
                  <a:gd name="T101" fmla="*/ 381 h 1683"/>
                  <a:gd name="T102" fmla="*/ 2027 w 7025"/>
                  <a:gd name="T103" fmla="*/ 324 h 1683"/>
                  <a:gd name="T104" fmla="*/ 4701 w 7025"/>
                  <a:gd name="T105" fmla="*/ 234 h 1683"/>
                  <a:gd name="T106" fmla="*/ 4803 w 7025"/>
                  <a:gd name="T107" fmla="*/ 173 h 1683"/>
                  <a:gd name="T108" fmla="*/ 4803 w 7025"/>
                  <a:gd name="T109" fmla="*/ 173 h 1683"/>
                  <a:gd name="T110" fmla="*/ 4852 w 7025"/>
                  <a:gd name="T111" fmla="*/ 163 h 1683"/>
                  <a:gd name="T112" fmla="*/ 4909 w 7025"/>
                  <a:gd name="T113" fmla="*/ 163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3">
                    <a:moveTo>
                      <a:pt x="3" y="1453"/>
                    </a:moveTo>
                    <a:lnTo>
                      <a:pt x="0" y="1453"/>
                    </a:lnTo>
                    <a:lnTo>
                      <a:pt x="0" y="1456"/>
                    </a:lnTo>
                    <a:lnTo>
                      <a:pt x="0" y="1524"/>
                    </a:lnTo>
                    <a:lnTo>
                      <a:pt x="3" y="1524"/>
                    </a:lnTo>
                    <a:lnTo>
                      <a:pt x="3" y="1453"/>
                    </a:lnTo>
                    <a:close/>
                    <a:moveTo>
                      <a:pt x="5666" y="1326"/>
                    </a:moveTo>
                    <a:lnTo>
                      <a:pt x="5663" y="1326"/>
                    </a:lnTo>
                    <a:lnTo>
                      <a:pt x="5663" y="1328"/>
                    </a:lnTo>
                    <a:lnTo>
                      <a:pt x="5663" y="1439"/>
                    </a:lnTo>
                    <a:lnTo>
                      <a:pt x="5666" y="1439"/>
                    </a:lnTo>
                    <a:lnTo>
                      <a:pt x="5666" y="1326"/>
                    </a:lnTo>
                    <a:close/>
                    <a:moveTo>
                      <a:pt x="3710" y="1221"/>
                    </a:moveTo>
                    <a:lnTo>
                      <a:pt x="3710" y="1221"/>
                    </a:lnTo>
                    <a:lnTo>
                      <a:pt x="3710" y="1221"/>
                    </a:lnTo>
                    <a:lnTo>
                      <a:pt x="3710" y="1224"/>
                    </a:lnTo>
                    <a:lnTo>
                      <a:pt x="3710" y="1382"/>
                    </a:lnTo>
                    <a:lnTo>
                      <a:pt x="3710" y="1382"/>
                    </a:lnTo>
                    <a:lnTo>
                      <a:pt x="3710" y="1221"/>
                    </a:lnTo>
                    <a:close/>
                    <a:moveTo>
                      <a:pt x="5831" y="1210"/>
                    </a:moveTo>
                    <a:lnTo>
                      <a:pt x="5831" y="1210"/>
                    </a:lnTo>
                    <a:lnTo>
                      <a:pt x="5829" y="1210"/>
                    </a:lnTo>
                    <a:lnTo>
                      <a:pt x="5829" y="1212"/>
                    </a:lnTo>
                    <a:lnTo>
                      <a:pt x="5829" y="1316"/>
                    </a:lnTo>
                    <a:lnTo>
                      <a:pt x="5831" y="1316"/>
                    </a:lnTo>
                    <a:lnTo>
                      <a:pt x="5831" y="1210"/>
                    </a:lnTo>
                    <a:close/>
                    <a:moveTo>
                      <a:pt x="1665" y="1158"/>
                    </a:moveTo>
                    <a:lnTo>
                      <a:pt x="1665" y="1158"/>
                    </a:lnTo>
                    <a:lnTo>
                      <a:pt x="1665" y="1158"/>
                    </a:lnTo>
                    <a:lnTo>
                      <a:pt x="1665" y="1160"/>
                    </a:lnTo>
                    <a:lnTo>
                      <a:pt x="1665" y="1191"/>
                    </a:lnTo>
                    <a:lnTo>
                      <a:pt x="1665" y="1191"/>
                    </a:lnTo>
                    <a:lnTo>
                      <a:pt x="1665" y="1158"/>
                    </a:lnTo>
                    <a:close/>
                    <a:moveTo>
                      <a:pt x="1689" y="1131"/>
                    </a:moveTo>
                    <a:lnTo>
                      <a:pt x="1686" y="1131"/>
                    </a:lnTo>
                    <a:lnTo>
                      <a:pt x="1686" y="1134"/>
                    </a:lnTo>
                    <a:lnTo>
                      <a:pt x="1686" y="1148"/>
                    </a:lnTo>
                    <a:lnTo>
                      <a:pt x="1689" y="1148"/>
                    </a:lnTo>
                    <a:lnTo>
                      <a:pt x="1689" y="1131"/>
                    </a:lnTo>
                    <a:close/>
                    <a:moveTo>
                      <a:pt x="5857" y="1129"/>
                    </a:moveTo>
                    <a:lnTo>
                      <a:pt x="5855" y="1129"/>
                    </a:lnTo>
                    <a:lnTo>
                      <a:pt x="5855" y="1129"/>
                    </a:lnTo>
                    <a:lnTo>
                      <a:pt x="5855" y="1129"/>
                    </a:lnTo>
                    <a:lnTo>
                      <a:pt x="5855" y="1200"/>
                    </a:lnTo>
                    <a:lnTo>
                      <a:pt x="5857" y="1200"/>
                    </a:lnTo>
                    <a:lnTo>
                      <a:pt x="5857" y="1129"/>
                    </a:lnTo>
                    <a:close/>
                    <a:moveTo>
                      <a:pt x="6323" y="1129"/>
                    </a:moveTo>
                    <a:lnTo>
                      <a:pt x="6321" y="1129"/>
                    </a:lnTo>
                    <a:lnTo>
                      <a:pt x="6321" y="1129"/>
                    </a:lnTo>
                    <a:lnTo>
                      <a:pt x="6321" y="1129"/>
                    </a:lnTo>
                    <a:lnTo>
                      <a:pt x="6321" y="1354"/>
                    </a:lnTo>
                    <a:lnTo>
                      <a:pt x="6323" y="1354"/>
                    </a:lnTo>
                    <a:lnTo>
                      <a:pt x="6323" y="1129"/>
                    </a:lnTo>
                    <a:close/>
                    <a:moveTo>
                      <a:pt x="1447" y="1127"/>
                    </a:moveTo>
                    <a:lnTo>
                      <a:pt x="1445" y="1127"/>
                    </a:lnTo>
                    <a:lnTo>
                      <a:pt x="1445" y="1127"/>
                    </a:lnTo>
                    <a:lnTo>
                      <a:pt x="1445" y="1127"/>
                    </a:lnTo>
                    <a:lnTo>
                      <a:pt x="1445" y="1191"/>
                    </a:lnTo>
                    <a:lnTo>
                      <a:pt x="1447" y="1191"/>
                    </a:lnTo>
                    <a:lnTo>
                      <a:pt x="1447" y="1127"/>
                    </a:lnTo>
                    <a:close/>
                    <a:moveTo>
                      <a:pt x="1464" y="1084"/>
                    </a:moveTo>
                    <a:lnTo>
                      <a:pt x="1462" y="1084"/>
                    </a:lnTo>
                    <a:lnTo>
                      <a:pt x="1462" y="1086"/>
                    </a:lnTo>
                    <a:lnTo>
                      <a:pt x="1462" y="1117"/>
                    </a:lnTo>
                    <a:lnTo>
                      <a:pt x="1464" y="1117"/>
                    </a:lnTo>
                    <a:lnTo>
                      <a:pt x="1464" y="1084"/>
                    </a:lnTo>
                    <a:close/>
                    <a:moveTo>
                      <a:pt x="2861" y="1063"/>
                    </a:moveTo>
                    <a:lnTo>
                      <a:pt x="2859" y="1063"/>
                    </a:lnTo>
                    <a:lnTo>
                      <a:pt x="2859" y="1063"/>
                    </a:lnTo>
                    <a:lnTo>
                      <a:pt x="2859" y="1065"/>
                    </a:lnTo>
                    <a:lnTo>
                      <a:pt x="2859" y="1231"/>
                    </a:lnTo>
                    <a:lnTo>
                      <a:pt x="2861" y="1231"/>
                    </a:lnTo>
                    <a:lnTo>
                      <a:pt x="2861" y="1063"/>
                    </a:lnTo>
                    <a:close/>
                    <a:moveTo>
                      <a:pt x="5931" y="1041"/>
                    </a:moveTo>
                    <a:lnTo>
                      <a:pt x="5931" y="1041"/>
                    </a:lnTo>
                    <a:lnTo>
                      <a:pt x="5928" y="1041"/>
                    </a:lnTo>
                    <a:lnTo>
                      <a:pt x="5928" y="1044"/>
                    </a:lnTo>
                    <a:lnTo>
                      <a:pt x="5928" y="1120"/>
                    </a:lnTo>
                    <a:lnTo>
                      <a:pt x="5931" y="1120"/>
                    </a:lnTo>
                    <a:lnTo>
                      <a:pt x="5931" y="1041"/>
                    </a:lnTo>
                    <a:close/>
                    <a:moveTo>
                      <a:pt x="2878" y="1013"/>
                    </a:moveTo>
                    <a:lnTo>
                      <a:pt x="2876" y="1013"/>
                    </a:lnTo>
                    <a:lnTo>
                      <a:pt x="2876" y="1013"/>
                    </a:lnTo>
                    <a:lnTo>
                      <a:pt x="2876" y="1053"/>
                    </a:lnTo>
                    <a:lnTo>
                      <a:pt x="2878" y="1053"/>
                    </a:lnTo>
                    <a:lnTo>
                      <a:pt x="2878" y="1013"/>
                    </a:lnTo>
                    <a:close/>
                    <a:moveTo>
                      <a:pt x="3769" y="994"/>
                    </a:moveTo>
                    <a:lnTo>
                      <a:pt x="3769" y="994"/>
                    </a:lnTo>
                    <a:lnTo>
                      <a:pt x="3769" y="997"/>
                    </a:lnTo>
                    <a:lnTo>
                      <a:pt x="3769" y="1214"/>
                    </a:lnTo>
                    <a:lnTo>
                      <a:pt x="3769" y="1214"/>
                    </a:lnTo>
                    <a:lnTo>
                      <a:pt x="3769" y="994"/>
                    </a:lnTo>
                    <a:close/>
                    <a:moveTo>
                      <a:pt x="5949" y="989"/>
                    </a:moveTo>
                    <a:lnTo>
                      <a:pt x="5947" y="989"/>
                    </a:lnTo>
                    <a:lnTo>
                      <a:pt x="5947" y="992"/>
                    </a:lnTo>
                    <a:lnTo>
                      <a:pt x="5947" y="1032"/>
                    </a:lnTo>
                    <a:lnTo>
                      <a:pt x="5949" y="1032"/>
                    </a:lnTo>
                    <a:lnTo>
                      <a:pt x="5949" y="989"/>
                    </a:lnTo>
                    <a:close/>
                    <a:moveTo>
                      <a:pt x="6340" y="935"/>
                    </a:moveTo>
                    <a:lnTo>
                      <a:pt x="6340" y="935"/>
                    </a:lnTo>
                    <a:lnTo>
                      <a:pt x="6337" y="935"/>
                    </a:lnTo>
                    <a:lnTo>
                      <a:pt x="6337" y="937"/>
                    </a:lnTo>
                    <a:lnTo>
                      <a:pt x="6337" y="1120"/>
                    </a:lnTo>
                    <a:lnTo>
                      <a:pt x="6340" y="1120"/>
                    </a:lnTo>
                    <a:lnTo>
                      <a:pt x="6340" y="935"/>
                    </a:lnTo>
                    <a:close/>
                    <a:moveTo>
                      <a:pt x="3845" y="928"/>
                    </a:moveTo>
                    <a:lnTo>
                      <a:pt x="3843" y="928"/>
                    </a:lnTo>
                    <a:lnTo>
                      <a:pt x="3843" y="930"/>
                    </a:lnTo>
                    <a:lnTo>
                      <a:pt x="3843" y="985"/>
                    </a:lnTo>
                    <a:lnTo>
                      <a:pt x="3845" y="985"/>
                    </a:lnTo>
                    <a:lnTo>
                      <a:pt x="3845" y="928"/>
                    </a:lnTo>
                    <a:close/>
                    <a:moveTo>
                      <a:pt x="6385" y="895"/>
                    </a:moveTo>
                    <a:lnTo>
                      <a:pt x="6385" y="895"/>
                    </a:lnTo>
                    <a:lnTo>
                      <a:pt x="6382" y="895"/>
                    </a:lnTo>
                    <a:lnTo>
                      <a:pt x="6382" y="897"/>
                    </a:lnTo>
                    <a:lnTo>
                      <a:pt x="6377" y="925"/>
                    </a:lnTo>
                    <a:lnTo>
                      <a:pt x="6377" y="925"/>
                    </a:lnTo>
                    <a:lnTo>
                      <a:pt x="6385" y="895"/>
                    </a:lnTo>
                    <a:close/>
                    <a:moveTo>
                      <a:pt x="6389" y="878"/>
                    </a:moveTo>
                    <a:lnTo>
                      <a:pt x="6389" y="878"/>
                    </a:lnTo>
                    <a:lnTo>
                      <a:pt x="6387" y="878"/>
                    </a:lnTo>
                    <a:lnTo>
                      <a:pt x="6387" y="881"/>
                    </a:lnTo>
                    <a:lnTo>
                      <a:pt x="6387" y="892"/>
                    </a:lnTo>
                    <a:lnTo>
                      <a:pt x="6389" y="892"/>
                    </a:lnTo>
                    <a:lnTo>
                      <a:pt x="6389" y="890"/>
                    </a:lnTo>
                    <a:lnTo>
                      <a:pt x="6389" y="890"/>
                    </a:lnTo>
                    <a:lnTo>
                      <a:pt x="6389" y="878"/>
                    </a:lnTo>
                    <a:close/>
                    <a:moveTo>
                      <a:pt x="6399" y="850"/>
                    </a:moveTo>
                    <a:lnTo>
                      <a:pt x="6396" y="850"/>
                    </a:lnTo>
                    <a:lnTo>
                      <a:pt x="6396" y="852"/>
                    </a:lnTo>
                    <a:lnTo>
                      <a:pt x="6396" y="871"/>
                    </a:lnTo>
                    <a:lnTo>
                      <a:pt x="6396" y="871"/>
                    </a:lnTo>
                    <a:lnTo>
                      <a:pt x="6396" y="869"/>
                    </a:lnTo>
                    <a:lnTo>
                      <a:pt x="6399" y="869"/>
                    </a:lnTo>
                    <a:lnTo>
                      <a:pt x="6399" y="850"/>
                    </a:lnTo>
                    <a:close/>
                    <a:moveTo>
                      <a:pt x="804" y="828"/>
                    </a:moveTo>
                    <a:lnTo>
                      <a:pt x="804" y="828"/>
                    </a:lnTo>
                    <a:lnTo>
                      <a:pt x="804" y="828"/>
                    </a:lnTo>
                    <a:lnTo>
                      <a:pt x="804" y="1060"/>
                    </a:lnTo>
                    <a:lnTo>
                      <a:pt x="804" y="1060"/>
                    </a:lnTo>
                    <a:lnTo>
                      <a:pt x="804" y="828"/>
                    </a:lnTo>
                    <a:close/>
                    <a:moveTo>
                      <a:pt x="3100" y="762"/>
                    </a:moveTo>
                    <a:lnTo>
                      <a:pt x="3100" y="762"/>
                    </a:lnTo>
                    <a:lnTo>
                      <a:pt x="3098" y="762"/>
                    </a:lnTo>
                    <a:lnTo>
                      <a:pt x="3098" y="764"/>
                    </a:lnTo>
                    <a:lnTo>
                      <a:pt x="3098" y="970"/>
                    </a:lnTo>
                    <a:lnTo>
                      <a:pt x="3100" y="970"/>
                    </a:lnTo>
                    <a:lnTo>
                      <a:pt x="3100" y="762"/>
                    </a:lnTo>
                    <a:close/>
                    <a:moveTo>
                      <a:pt x="1010" y="753"/>
                    </a:moveTo>
                    <a:lnTo>
                      <a:pt x="1008" y="753"/>
                    </a:lnTo>
                    <a:lnTo>
                      <a:pt x="1008" y="755"/>
                    </a:lnTo>
                    <a:lnTo>
                      <a:pt x="1008" y="819"/>
                    </a:lnTo>
                    <a:lnTo>
                      <a:pt x="1010" y="819"/>
                    </a:lnTo>
                    <a:lnTo>
                      <a:pt x="1010" y="753"/>
                    </a:lnTo>
                    <a:close/>
                    <a:moveTo>
                      <a:pt x="5131" y="731"/>
                    </a:moveTo>
                    <a:lnTo>
                      <a:pt x="5131" y="731"/>
                    </a:lnTo>
                    <a:lnTo>
                      <a:pt x="5131" y="734"/>
                    </a:lnTo>
                    <a:lnTo>
                      <a:pt x="5131" y="963"/>
                    </a:lnTo>
                    <a:lnTo>
                      <a:pt x="5131" y="963"/>
                    </a:lnTo>
                    <a:lnTo>
                      <a:pt x="5131" y="731"/>
                    </a:lnTo>
                    <a:close/>
                    <a:moveTo>
                      <a:pt x="3138" y="658"/>
                    </a:moveTo>
                    <a:lnTo>
                      <a:pt x="3136" y="658"/>
                    </a:lnTo>
                    <a:lnTo>
                      <a:pt x="3136" y="658"/>
                    </a:lnTo>
                    <a:lnTo>
                      <a:pt x="3136" y="753"/>
                    </a:lnTo>
                    <a:lnTo>
                      <a:pt x="3138" y="753"/>
                    </a:lnTo>
                    <a:lnTo>
                      <a:pt x="3138" y="658"/>
                    </a:lnTo>
                    <a:close/>
                    <a:moveTo>
                      <a:pt x="97" y="618"/>
                    </a:moveTo>
                    <a:lnTo>
                      <a:pt x="95" y="618"/>
                    </a:lnTo>
                    <a:lnTo>
                      <a:pt x="95" y="618"/>
                    </a:lnTo>
                    <a:lnTo>
                      <a:pt x="95" y="1444"/>
                    </a:lnTo>
                    <a:lnTo>
                      <a:pt x="97" y="1444"/>
                    </a:lnTo>
                    <a:lnTo>
                      <a:pt x="97" y="618"/>
                    </a:lnTo>
                    <a:close/>
                    <a:moveTo>
                      <a:pt x="5252" y="611"/>
                    </a:moveTo>
                    <a:lnTo>
                      <a:pt x="5252" y="611"/>
                    </a:lnTo>
                    <a:lnTo>
                      <a:pt x="5252" y="611"/>
                    </a:lnTo>
                    <a:lnTo>
                      <a:pt x="5252" y="722"/>
                    </a:lnTo>
                    <a:lnTo>
                      <a:pt x="5252" y="722"/>
                    </a:lnTo>
                    <a:lnTo>
                      <a:pt x="5252" y="611"/>
                    </a:lnTo>
                    <a:close/>
                    <a:moveTo>
                      <a:pt x="3282" y="582"/>
                    </a:moveTo>
                    <a:lnTo>
                      <a:pt x="3282" y="582"/>
                    </a:lnTo>
                    <a:lnTo>
                      <a:pt x="3280" y="582"/>
                    </a:lnTo>
                    <a:lnTo>
                      <a:pt x="3280" y="585"/>
                    </a:lnTo>
                    <a:lnTo>
                      <a:pt x="3280" y="648"/>
                    </a:lnTo>
                    <a:lnTo>
                      <a:pt x="3282" y="648"/>
                    </a:lnTo>
                    <a:lnTo>
                      <a:pt x="3282" y="582"/>
                    </a:lnTo>
                    <a:close/>
                    <a:moveTo>
                      <a:pt x="303" y="547"/>
                    </a:moveTo>
                    <a:lnTo>
                      <a:pt x="301" y="547"/>
                    </a:lnTo>
                    <a:lnTo>
                      <a:pt x="301" y="549"/>
                    </a:lnTo>
                    <a:lnTo>
                      <a:pt x="301" y="608"/>
                    </a:lnTo>
                    <a:lnTo>
                      <a:pt x="303" y="608"/>
                    </a:lnTo>
                    <a:lnTo>
                      <a:pt x="303" y="547"/>
                    </a:lnTo>
                    <a:close/>
                    <a:moveTo>
                      <a:pt x="7025" y="509"/>
                    </a:moveTo>
                    <a:lnTo>
                      <a:pt x="7023" y="509"/>
                    </a:lnTo>
                    <a:lnTo>
                      <a:pt x="7023" y="511"/>
                    </a:lnTo>
                    <a:lnTo>
                      <a:pt x="7023" y="1683"/>
                    </a:lnTo>
                    <a:lnTo>
                      <a:pt x="7025" y="1683"/>
                    </a:lnTo>
                    <a:lnTo>
                      <a:pt x="7025" y="509"/>
                    </a:lnTo>
                    <a:close/>
                    <a:moveTo>
                      <a:pt x="4193" y="504"/>
                    </a:moveTo>
                    <a:lnTo>
                      <a:pt x="4193" y="504"/>
                    </a:lnTo>
                    <a:lnTo>
                      <a:pt x="4193" y="504"/>
                    </a:lnTo>
                    <a:lnTo>
                      <a:pt x="4129" y="592"/>
                    </a:lnTo>
                    <a:lnTo>
                      <a:pt x="4129" y="592"/>
                    </a:lnTo>
                    <a:lnTo>
                      <a:pt x="4193" y="504"/>
                    </a:lnTo>
                    <a:close/>
                    <a:moveTo>
                      <a:pt x="3301" y="502"/>
                    </a:moveTo>
                    <a:lnTo>
                      <a:pt x="3299" y="502"/>
                    </a:lnTo>
                    <a:lnTo>
                      <a:pt x="3299" y="502"/>
                    </a:lnTo>
                    <a:lnTo>
                      <a:pt x="3299" y="504"/>
                    </a:lnTo>
                    <a:lnTo>
                      <a:pt x="3299" y="573"/>
                    </a:lnTo>
                    <a:lnTo>
                      <a:pt x="3301" y="573"/>
                    </a:lnTo>
                    <a:lnTo>
                      <a:pt x="3301" y="502"/>
                    </a:lnTo>
                    <a:close/>
                    <a:moveTo>
                      <a:pt x="4037" y="454"/>
                    </a:moveTo>
                    <a:lnTo>
                      <a:pt x="4034" y="454"/>
                    </a:lnTo>
                    <a:lnTo>
                      <a:pt x="4034" y="454"/>
                    </a:lnTo>
                    <a:lnTo>
                      <a:pt x="4034" y="457"/>
                    </a:lnTo>
                    <a:lnTo>
                      <a:pt x="4034" y="492"/>
                    </a:lnTo>
                    <a:lnTo>
                      <a:pt x="3954" y="644"/>
                    </a:lnTo>
                    <a:lnTo>
                      <a:pt x="3954" y="918"/>
                    </a:lnTo>
                    <a:lnTo>
                      <a:pt x="3954" y="918"/>
                    </a:lnTo>
                    <a:lnTo>
                      <a:pt x="3954" y="641"/>
                    </a:lnTo>
                    <a:lnTo>
                      <a:pt x="4037" y="490"/>
                    </a:lnTo>
                    <a:lnTo>
                      <a:pt x="4037" y="454"/>
                    </a:lnTo>
                    <a:close/>
                    <a:moveTo>
                      <a:pt x="3330" y="433"/>
                    </a:moveTo>
                    <a:lnTo>
                      <a:pt x="3327" y="433"/>
                    </a:lnTo>
                    <a:lnTo>
                      <a:pt x="3327" y="435"/>
                    </a:lnTo>
                    <a:lnTo>
                      <a:pt x="3327" y="492"/>
                    </a:lnTo>
                    <a:lnTo>
                      <a:pt x="3330" y="492"/>
                    </a:lnTo>
                    <a:lnTo>
                      <a:pt x="3330" y="433"/>
                    </a:lnTo>
                    <a:close/>
                    <a:moveTo>
                      <a:pt x="4041" y="390"/>
                    </a:moveTo>
                    <a:lnTo>
                      <a:pt x="4041" y="390"/>
                    </a:lnTo>
                    <a:lnTo>
                      <a:pt x="4041" y="390"/>
                    </a:lnTo>
                    <a:lnTo>
                      <a:pt x="4041" y="393"/>
                    </a:lnTo>
                    <a:lnTo>
                      <a:pt x="4041" y="450"/>
                    </a:lnTo>
                    <a:lnTo>
                      <a:pt x="4041" y="450"/>
                    </a:lnTo>
                    <a:lnTo>
                      <a:pt x="4041" y="447"/>
                    </a:lnTo>
                    <a:lnTo>
                      <a:pt x="4041" y="447"/>
                    </a:lnTo>
                    <a:lnTo>
                      <a:pt x="4041" y="390"/>
                    </a:lnTo>
                    <a:close/>
                    <a:moveTo>
                      <a:pt x="1809" y="369"/>
                    </a:moveTo>
                    <a:lnTo>
                      <a:pt x="1807" y="369"/>
                    </a:lnTo>
                    <a:lnTo>
                      <a:pt x="1807" y="371"/>
                    </a:lnTo>
                    <a:lnTo>
                      <a:pt x="1807" y="1122"/>
                    </a:lnTo>
                    <a:lnTo>
                      <a:pt x="1809" y="1122"/>
                    </a:lnTo>
                    <a:lnTo>
                      <a:pt x="1809" y="369"/>
                    </a:lnTo>
                    <a:close/>
                    <a:moveTo>
                      <a:pt x="1939" y="334"/>
                    </a:moveTo>
                    <a:lnTo>
                      <a:pt x="1937" y="334"/>
                    </a:lnTo>
                    <a:lnTo>
                      <a:pt x="1937" y="336"/>
                    </a:lnTo>
                    <a:lnTo>
                      <a:pt x="1937" y="360"/>
                    </a:lnTo>
                    <a:lnTo>
                      <a:pt x="1939" y="360"/>
                    </a:lnTo>
                    <a:lnTo>
                      <a:pt x="1939" y="334"/>
                    </a:lnTo>
                    <a:close/>
                    <a:moveTo>
                      <a:pt x="4051" y="326"/>
                    </a:moveTo>
                    <a:lnTo>
                      <a:pt x="4048" y="326"/>
                    </a:lnTo>
                    <a:lnTo>
                      <a:pt x="4048" y="329"/>
                    </a:lnTo>
                    <a:lnTo>
                      <a:pt x="4048" y="383"/>
                    </a:lnTo>
                    <a:lnTo>
                      <a:pt x="4051" y="383"/>
                    </a:lnTo>
                    <a:lnTo>
                      <a:pt x="4051" y="381"/>
                    </a:lnTo>
                    <a:lnTo>
                      <a:pt x="4051" y="381"/>
                    </a:lnTo>
                    <a:lnTo>
                      <a:pt x="4051" y="326"/>
                    </a:lnTo>
                    <a:close/>
                    <a:moveTo>
                      <a:pt x="2029" y="293"/>
                    </a:moveTo>
                    <a:lnTo>
                      <a:pt x="2027" y="293"/>
                    </a:lnTo>
                    <a:lnTo>
                      <a:pt x="2027" y="296"/>
                    </a:lnTo>
                    <a:lnTo>
                      <a:pt x="2027" y="324"/>
                    </a:lnTo>
                    <a:lnTo>
                      <a:pt x="2029" y="324"/>
                    </a:lnTo>
                    <a:lnTo>
                      <a:pt x="2029" y="293"/>
                    </a:lnTo>
                    <a:close/>
                    <a:moveTo>
                      <a:pt x="4703" y="232"/>
                    </a:moveTo>
                    <a:lnTo>
                      <a:pt x="4701" y="232"/>
                    </a:lnTo>
                    <a:lnTo>
                      <a:pt x="4701" y="234"/>
                    </a:lnTo>
                    <a:lnTo>
                      <a:pt x="4637" y="469"/>
                    </a:lnTo>
                    <a:lnTo>
                      <a:pt x="4640" y="469"/>
                    </a:lnTo>
                    <a:lnTo>
                      <a:pt x="4703" y="232"/>
                    </a:lnTo>
                    <a:close/>
                    <a:moveTo>
                      <a:pt x="4803" y="173"/>
                    </a:moveTo>
                    <a:lnTo>
                      <a:pt x="4803" y="173"/>
                    </a:lnTo>
                    <a:lnTo>
                      <a:pt x="4803" y="173"/>
                    </a:lnTo>
                    <a:lnTo>
                      <a:pt x="4803" y="175"/>
                    </a:lnTo>
                    <a:lnTo>
                      <a:pt x="4803" y="222"/>
                    </a:lnTo>
                    <a:lnTo>
                      <a:pt x="4803" y="222"/>
                    </a:lnTo>
                    <a:lnTo>
                      <a:pt x="4803" y="173"/>
                    </a:lnTo>
                    <a:close/>
                    <a:moveTo>
                      <a:pt x="4852" y="0"/>
                    </a:moveTo>
                    <a:lnTo>
                      <a:pt x="4850" y="0"/>
                    </a:lnTo>
                    <a:lnTo>
                      <a:pt x="4850" y="2"/>
                    </a:lnTo>
                    <a:lnTo>
                      <a:pt x="4850" y="163"/>
                    </a:lnTo>
                    <a:lnTo>
                      <a:pt x="4852" y="163"/>
                    </a:lnTo>
                    <a:lnTo>
                      <a:pt x="4852" y="0"/>
                    </a:lnTo>
                    <a:close/>
                    <a:moveTo>
                      <a:pt x="4911" y="0"/>
                    </a:moveTo>
                    <a:lnTo>
                      <a:pt x="4909" y="0"/>
                    </a:lnTo>
                    <a:lnTo>
                      <a:pt x="4909" y="2"/>
                    </a:lnTo>
                    <a:lnTo>
                      <a:pt x="4909" y="163"/>
                    </a:lnTo>
                    <a:lnTo>
                      <a:pt x="4911" y="163"/>
                    </a:lnTo>
                    <a:lnTo>
                      <a:pt x="4911" y="0"/>
                    </a:lnTo>
                    <a:close/>
                  </a:path>
                </a:pathLst>
              </a:custGeom>
              <a:solidFill>
                <a:srgbClr val="BEBE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3" name="Freeform 135"/>
              <p:cNvSpPr>
                <a:spLocks noEditPoints="1"/>
              </p:cNvSpPr>
              <p:nvPr/>
            </p:nvSpPr>
            <p:spPr bwMode="auto">
              <a:xfrm>
                <a:off x="37" y="1670"/>
                <a:ext cx="7025" cy="1683"/>
              </a:xfrm>
              <a:custGeom>
                <a:avLst/>
                <a:gdLst>
                  <a:gd name="T0" fmla="*/ 3 w 7025"/>
                  <a:gd name="T1" fmla="*/ 1524 h 1683"/>
                  <a:gd name="T2" fmla="*/ 5663 w 7025"/>
                  <a:gd name="T3" fmla="*/ 1439 h 1683"/>
                  <a:gd name="T4" fmla="*/ 3710 w 7025"/>
                  <a:gd name="T5" fmla="*/ 1221 h 1683"/>
                  <a:gd name="T6" fmla="*/ 5831 w 7025"/>
                  <a:gd name="T7" fmla="*/ 1210 h 1683"/>
                  <a:gd name="T8" fmla="*/ 5831 w 7025"/>
                  <a:gd name="T9" fmla="*/ 1316 h 1683"/>
                  <a:gd name="T10" fmla="*/ 1665 w 7025"/>
                  <a:gd name="T11" fmla="*/ 1160 h 1683"/>
                  <a:gd name="T12" fmla="*/ 1686 w 7025"/>
                  <a:gd name="T13" fmla="*/ 1131 h 1683"/>
                  <a:gd name="T14" fmla="*/ 5857 w 7025"/>
                  <a:gd name="T15" fmla="*/ 1129 h 1683"/>
                  <a:gd name="T16" fmla="*/ 5857 w 7025"/>
                  <a:gd name="T17" fmla="*/ 1200 h 1683"/>
                  <a:gd name="T18" fmla="*/ 6321 w 7025"/>
                  <a:gd name="T19" fmla="*/ 1129 h 1683"/>
                  <a:gd name="T20" fmla="*/ 1445 w 7025"/>
                  <a:gd name="T21" fmla="*/ 1127 h 1683"/>
                  <a:gd name="T22" fmla="*/ 1447 w 7025"/>
                  <a:gd name="T23" fmla="*/ 1127 h 1683"/>
                  <a:gd name="T24" fmla="*/ 1464 w 7025"/>
                  <a:gd name="T25" fmla="*/ 1117 h 1683"/>
                  <a:gd name="T26" fmla="*/ 2859 w 7025"/>
                  <a:gd name="T27" fmla="*/ 1065 h 1683"/>
                  <a:gd name="T28" fmla="*/ 5931 w 7025"/>
                  <a:gd name="T29" fmla="*/ 1041 h 1683"/>
                  <a:gd name="T30" fmla="*/ 5931 w 7025"/>
                  <a:gd name="T31" fmla="*/ 1041 h 1683"/>
                  <a:gd name="T32" fmla="*/ 2878 w 7025"/>
                  <a:gd name="T33" fmla="*/ 1053 h 1683"/>
                  <a:gd name="T34" fmla="*/ 3769 w 7025"/>
                  <a:gd name="T35" fmla="*/ 1214 h 1683"/>
                  <a:gd name="T36" fmla="*/ 5947 w 7025"/>
                  <a:gd name="T37" fmla="*/ 992 h 1683"/>
                  <a:gd name="T38" fmla="*/ 6340 w 7025"/>
                  <a:gd name="T39" fmla="*/ 935 h 1683"/>
                  <a:gd name="T40" fmla="*/ 6340 w 7025"/>
                  <a:gd name="T41" fmla="*/ 935 h 1683"/>
                  <a:gd name="T42" fmla="*/ 3845 w 7025"/>
                  <a:gd name="T43" fmla="*/ 985 h 1683"/>
                  <a:gd name="T44" fmla="*/ 6382 w 7025"/>
                  <a:gd name="T45" fmla="*/ 897 h 1683"/>
                  <a:gd name="T46" fmla="*/ 6389 w 7025"/>
                  <a:gd name="T47" fmla="*/ 878 h 1683"/>
                  <a:gd name="T48" fmla="*/ 6389 w 7025"/>
                  <a:gd name="T49" fmla="*/ 890 h 1683"/>
                  <a:gd name="T50" fmla="*/ 6396 w 7025"/>
                  <a:gd name="T51" fmla="*/ 852 h 1683"/>
                  <a:gd name="T52" fmla="*/ 6399 w 7025"/>
                  <a:gd name="T53" fmla="*/ 850 h 1683"/>
                  <a:gd name="T54" fmla="*/ 804 w 7025"/>
                  <a:gd name="T55" fmla="*/ 1060 h 1683"/>
                  <a:gd name="T56" fmla="*/ 3098 w 7025"/>
                  <a:gd name="T57" fmla="*/ 764 h 1683"/>
                  <a:gd name="T58" fmla="*/ 1008 w 7025"/>
                  <a:gd name="T59" fmla="*/ 753 h 1683"/>
                  <a:gd name="T60" fmla="*/ 5131 w 7025"/>
                  <a:gd name="T61" fmla="*/ 731 h 1683"/>
                  <a:gd name="T62" fmla="*/ 5131 w 7025"/>
                  <a:gd name="T63" fmla="*/ 731 h 1683"/>
                  <a:gd name="T64" fmla="*/ 3138 w 7025"/>
                  <a:gd name="T65" fmla="*/ 753 h 1683"/>
                  <a:gd name="T66" fmla="*/ 95 w 7025"/>
                  <a:gd name="T67" fmla="*/ 1444 h 1683"/>
                  <a:gd name="T68" fmla="*/ 5252 w 7025"/>
                  <a:gd name="T69" fmla="*/ 611 h 1683"/>
                  <a:gd name="T70" fmla="*/ 3282 w 7025"/>
                  <a:gd name="T71" fmla="*/ 582 h 1683"/>
                  <a:gd name="T72" fmla="*/ 3282 w 7025"/>
                  <a:gd name="T73" fmla="*/ 582 h 1683"/>
                  <a:gd name="T74" fmla="*/ 303 w 7025"/>
                  <a:gd name="T75" fmla="*/ 608 h 1683"/>
                  <a:gd name="T76" fmla="*/ 7023 w 7025"/>
                  <a:gd name="T77" fmla="*/ 1683 h 1683"/>
                  <a:gd name="T78" fmla="*/ 4193 w 7025"/>
                  <a:gd name="T79" fmla="*/ 504 h 1683"/>
                  <a:gd name="T80" fmla="*/ 3299 w 7025"/>
                  <a:gd name="T81" fmla="*/ 502 h 1683"/>
                  <a:gd name="T82" fmla="*/ 3301 w 7025"/>
                  <a:gd name="T83" fmla="*/ 502 h 1683"/>
                  <a:gd name="T84" fmla="*/ 4034 w 7025"/>
                  <a:gd name="T85" fmla="*/ 492 h 1683"/>
                  <a:gd name="T86" fmla="*/ 4037 w 7025"/>
                  <a:gd name="T87" fmla="*/ 490 h 1683"/>
                  <a:gd name="T88" fmla="*/ 3327 w 7025"/>
                  <a:gd name="T89" fmla="*/ 492 h 1683"/>
                  <a:gd name="T90" fmla="*/ 4041 w 7025"/>
                  <a:gd name="T91" fmla="*/ 390 h 1683"/>
                  <a:gd name="T92" fmla="*/ 4041 w 7025"/>
                  <a:gd name="T93" fmla="*/ 447 h 1683"/>
                  <a:gd name="T94" fmla="*/ 1807 w 7025"/>
                  <a:gd name="T95" fmla="*/ 1122 h 1683"/>
                  <a:gd name="T96" fmla="*/ 1937 w 7025"/>
                  <a:gd name="T97" fmla="*/ 336 h 1683"/>
                  <a:gd name="T98" fmla="*/ 4048 w 7025"/>
                  <a:gd name="T99" fmla="*/ 326 h 1683"/>
                  <a:gd name="T100" fmla="*/ 4051 w 7025"/>
                  <a:gd name="T101" fmla="*/ 381 h 1683"/>
                  <a:gd name="T102" fmla="*/ 2027 w 7025"/>
                  <a:gd name="T103" fmla="*/ 324 h 1683"/>
                  <a:gd name="T104" fmla="*/ 4701 w 7025"/>
                  <a:gd name="T105" fmla="*/ 234 h 1683"/>
                  <a:gd name="T106" fmla="*/ 4803 w 7025"/>
                  <a:gd name="T107" fmla="*/ 173 h 1683"/>
                  <a:gd name="T108" fmla="*/ 4803 w 7025"/>
                  <a:gd name="T109" fmla="*/ 173 h 1683"/>
                  <a:gd name="T110" fmla="*/ 4852 w 7025"/>
                  <a:gd name="T111" fmla="*/ 163 h 1683"/>
                  <a:gd name="T112" fmla="*/ 4909 w 7025"/>
                  <a:gd name="T113" fmla="*/ 163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25" h="1683">
                    <a:moveTo>
                      <a:pt x="3" y="1453"/>
                    </a:moveTo>
                    <a:lnTo>
                      <a:pt x="0" y="1453"/>
                    </a:lnTo>
                    <a:lnTo>
                      <a:pt x="0" y="1456"/>
                    </a:lnTo>
                    <a:lnTo>
                      <a:pt x="0" y="1524"/>
                    </a:lnTo>
                    <a:lnTo>
                      <a:pt x="3" y="1524"/>
                    </a:lnTo>
                    <a:lnTo>
                      <a:pt x="3" y="1453"/>
                    </a:lnTo>
                    <a:moveTo>
                      <a:pt x="5666" y="1326"/>
                    </a:moveTo>
                    <a:lnTo>
                      <a:pt x="5663" y="1326"/>
                    </a:lnTo>
                    <a:lnTo>
                      <a:pt x="5663" y="1328"/>
                    </a:lnTo>
                    <a:lnTo>
                      <a:pt x="5663" y="1439"/>
                    </a:lnTo>
                    <a:lnTo>
                      <a:pt x="5666" y="1439"/>
                    </a:lnTo>
                    <a:lnTo>
                      <a:pt x="5666" y="1326"/>
                    </a:lnTo>
                    <a:moveTo>
                      <a:pt x="3710" y="1221"/>
                    </a:moveTo>
                    <a:lnTo>
                      <a:pt x="3710" y="1221"/>
                    </a:lnTo>
                    <a:lnTo>
                      <a:pt x="3710" y="1221"/>
                    </a:lnTo>
                    <a:lnTo>
                      <a:pt x="3710" y="1224"/>
                    </a:lnTo>
                    <a:lnTo>
                      <a:pt x="3710" y="1382"/>
                    </a:lnTo>
                    <a:lnTo>
                      <a:pt x="3710" y="1382"/>
                    </a:lnTo>
                    <a:lnTo>
                      <a:pt x="3710" y="1221"/>
                    </a:lnTo>
                    <a:moveTo>
                      <a:pt x="5831" y="1210"/>
                    </a:moveTo>
                    <a:lnTo>
                      <a:pt x="5831" y="1210"/>
                    </a:lnTo>
                    <a:lnTo>
                      <a:pt x="5829" y="1210"/>
                    </a:lnTo>
                    <a:lnTo>
                      <a:pt x="5829" y="1212"/>
                    </a:lnTo>
                    <a:lnTo>
                      <a:pt x="5829" y="1316"/>
                    </a:lnTo>
                    <a:lnTo>
                      <a:pt x="5831" y="1316"/>
                    </a:lnTo>
                    <a:lnTo>
                      <a:pt x="5831" y="1210"/>
                    </a:lnTo>
                    <a:moveTo>
                      <a:pt x="1665" y="1158"/>
                    </a:moveTo>
                    <a:lnTo>
                      <a:pt x="1665" y="1158"/>
                    </a:lnTo>
                    <a:lnTo>
                      <a:pt x="1665" y="1158"/>
                    </a:lnTo>
                    <a:lnTo>
                      <a:pt x="1665" y="1160"/>
                    </a:lnTo>
                    <a:lnTo>
                      <a:pt x="1665" y="1191"/>
                    </a:lnTo>
                    <a:lnTo>
                      <a:pt x="1665" y="1191"/>
                    </a:lnTo>
                    <a:lnTo>
                      <a:pt x="1665" y="1158"/>
                    </a:lnTo>
                    <a:moveTo>
                      <a:pt x="1689" y="1131"/>
                    </a:moveTo>
                    <a:lnTo>
                      <a:pt x="1686" y="1131"/>
                    </a:lnTo>
                    <a:lnTo>
                      <a:pt x="1686" y="1134"/>
                    </a:lnTo>
                    <a:lnTo>
                      <a:pt x="1686" y="1148"/>
                    </a:lnTo>
                    <a:lnTo>
                      <a:pt x="1689" y="1148"/>
                    </a:lnTo>
                    <a:lnTo>
                      <a:pt x="1689" y="1131"/>
                    </a:lnTo>
                    <a:moveTo>
                      <a:pt x="5857" y="1129"/>
                    </a:moveTo>
                    <a:lnTo>
                      <a:pt x="5855" y="1129"/>
                    </a:lnTo>
                    <a:lnTo>
                      <a:pt x="5855" y="1129"/>
                    </a:lnTo>
                    <a:lnTo>
                      <a:pt x="5855" y="1129"/>
                    </a:lnTo>
                    <a:lnTo>
                      <a:pt x="5855" y="1200"/>
                    </a:lnTo>
                    <a:lnTo>
                      <a:pt x="5857" y="1200"/>
                    </a:lnTo>
                    <a:lnTo>
                      <a:pt x="5857" y="1129"/>
                    </a:lnTo>
                    <a:moveTo>
                      <a:pt x="6323" y="1129"/>
                    </a:moveTo>
                    <a:lnTo>
                      <a:pt x="6321" y="1129"/>
                    </a:lnTo>
                    <a:lnTo>
                      <a:pt x="6321" y="1129"/>
                    </a:lnTo>
                    <a:lnTo>
                      <a:pt x="6321" y="1129"/>
                    </a:lnTo>
                    <a:lnTo>
                      <a:pt x="6321" y="1354"/>
                    </a:lnTo>
                    <a:lnTo>
                      <a:pt x="6323" y="1354"/>
                    </a:lnTo>
                    <a:lnTo>
                      <a:pt x="6323" y="1129"/>
                    </a:lnTo>
                    <a:moveTo>
                      <a:pt x="1447" y="1127"/>
                    </a:moveTo>
                    <a:lnTo>
                      <a:pt x="1445" y="1127"/>
                    </a:lnTo>
                    <a:lnTo>
                      <a:pt x="1445" y="1127"/>
                    </a:lnTo>
                    <a:lnTo>
                      <a:pt x="1445" y="1127"/>
                    </a:lnTo>
                    <a:lnTo>
                      <a:pt x="1445" y="1191"/>
                    </a:lnTo>
                    <a:lnTo>
                      <a:pt x="1447" y="1191"/>
                    </a:lnTo>
                    <a:lnTo>
                      <a:pt x="1447" y="1127"/>
                    </a:lnTo>
                    <a:moveTo>
                      <a:pt x="1464" y="1084"/>
                    </a:moveTo>
                    <a:lnTo>
                      <a:pt x="1462" y="1084"/>
                    </a:lnTo>
                    <a:lnTo>
                      <a:pt x="1462" y="1086"/>
                    </a:lnTo>
                    <a:lnTo>
                      <a:pt x="1462" y="1117"/>
                    </a:lnTo>
                    <a:lnTo>
                      <a:pt x="1464" y="1117"/>
                    </a:lnTo>
                    <a:lnTo>
                      <a:pt x="1464" y="1084"/>
                    </a:lnTo>
                    <a:moveTo>
                      <a:pt x="2861" y="1063"/>
                    </a:moveTo>
                    <a:lnTo>
                      <a:pt x="2859" y="1063"/>
                    </a:lnTo>
                    <a:lnTo>
                      <a:pt x="2859" y="1063"/>
                    </a:lnTo>
                    <a:lnTo>
                      <a:pt x="2859" y="1065"/>
                    </a:lnTo>
                    <a:lnTo>
                      <a:pt x="2859" y="1231"/>
                    </a:lnTo>
                    <a:lnTo>
                      <a:pt x="2861" y="1231"/>
                    </a:lnTo>
                    <a:lnTo>
                      <a:pt x="2861" y="1063"/>
                    </a:lnTo>
                    <a:moveTo>
                      <a:pt x="5931" y="1041"/>
                    </a:moveTo>
                    <a:lnTo>
                      <a:pt x="5931" y="1041"/>
                    </a:lnTo>
                    <a:lnTo>
                      <a:pt x="5928" y="1041"/>
                    </a:lnTo>
                    <a:lnTo>
                      <a:pt x="5928" y="1044"/>
                    </a:lnTo>
                    <a:lnTo>
                      <a:pt x="5928" y="1120"/>
                    </a:lnTo>
                    <a:lnTo>
                      <a:pt x="5931" y="1120"/>
                    </a:lnTo>
                    <a:lnTo>
                      <a:pt x="5931" y="1041"/>
                    </a:lnTo>
                    <a:moveTo>
                      <a:pt x="2878" y="1013"/>
                    </a:moveTo>
                    <a:lnTo>
                      <a:pt x="2876" y="1013"/>
                    </a:lnTo>
                    <a:lnTo>
                      <a:pt x="2876" y="1013"/>
                    </a:lnTo>
                    <a:lnTo>
                      <a:pt x="2876" y="1053"/>
                    </a:lnTo>
                    <a:lnTo>
                      <a:pt x="2878" y="1053"/>
                    </a:lnTo>
                    <a:lnTo>
                      <a:pt x="2878" y="1013"/>
                    </a:lnTo>
                    <a:moveTo>
                      <a:pt x="3769" y="994"/>
                    </a:moveTo>
                    <a:lnTo>
                      <a:pt x="3769" y="994"/>
                    </a:lnTo>
                    <a:lnTo>
                      <a:pt x="3769" y="997"/>
                    </a:lnTo>
                    <a:lnTo>
                      <a:pt x="3769" y="1214"/>
                    </a:lnTo>
                    <a:lnTo>
                      <a:pt x="3769" y="1214"/>
                    </a:lnTo>
                    <a:lnTo>
                      <a:pt x="3769" y="994"/>
                    </a:lnTo>
                    <a:moveTo>
                      <a:pt x="5949" y="989"/>
                    </a:moveTo>
                    <a:lnTo>
                      <a:pt x="5947" y="989"/>
                    </a:lnTo>
                    <a:lnTo>
                      <a:pt x="5947" y="992"/>
                    </a:lnTo>
                    <a:lnTo>
                      <a:pt x="5947" y="1032"/>
                    </a:lnTo>
                    <a:lnTo>
                      <a:pt x="5949" y="1032"/>
                    </a:lnTo>
                    <a:lnTo>
                      <a:pt x="5949" y="989"/>
                    </a:lnTo>
                    <a:moveTo>
                      <a:pt x="6340" y="935"/>
                    </a:moveTo>
                    <a:lnTo>
                      <a:pt x="6340" y="935"/>
                    </a:lnTo>
                    <a:lnTo>
                      <a:pt x="6337" y="935"/>
                    </a:lnTo>
                    <a:lnTo>
                      <a:pt x="6337" y="937"/>
                    </a:lnTo>
                    <a:lnTo>
                      <a:pt x="6337" y="1120"/>
                    </a:lnTo>
                    <a:lnTo>
                      <a:pt x="6340" y="1120"/>
                    </a:lnTo>
                    <a:lnTo>
                      <a:pt x="6340" y="935"/>
                    </a:lnTo>
                    <a:moveTo>
                      <a:pt x="3845" y="928"/>
                    </a:moveTo>
                    <a:lnTo>
                      <a:pt x="3843" y="928"/>
                    </a:lnTo>
                    <a:lnTo>
                      <a:pt x="3843" y="930"/>
                    </a:lnTo>
                    <a:lnTo>
                      <a:pt x="3843" y="985"/>
                    </a:lnTo>
                    <a:lnTo>
                      <a:pt x="3845" y="985"/>
                    </a:lnTo>
                    <a:lnTo>
                      <a:pt x="3845" y="928"/>
                    </a:lnTo>
                    <a:moveTo>
                      <a:pt x="6385" y="895"/>
                    </a:moveTo>
                    <a:lnTo>
                      <a:pt x="6385" y="895"/>
                    </a:lnTo>
                    <a:lnTo>
                      <a:pt x="6382" y="895"/>
                    </a:lnTo>
                    <a:lnTo>
                      <a:pt x="6382" y="897"/>
                    </a:lnTo>
                    <a:lnTo>
                      <a:pt x="6377" y="925"/>
                    </a:lnTo>
                    <a:lnTo>
                      <a:pt x="6377" y="925"/>
                    </a:lnTo>
                    <a:lnTo>
                      <a:pt x="6385" y="895"/>
                    </a:lnTo>
                    <a:moveTo>
                      <a:pt x="6389" y="878"/>
                    </a:moveTo>
                    <a:lnTo>
                      <a:pt x="6389" y="878"/>
                    </a:lnTo>
                    <a:lnTo>
                      <a:pt x="6387" y="878"/>
                    </a:lnTo>
                    <a:lnTo>
                      <a:pt x="6387" y="881"/>
                    </a:lnTo>
                    <a:lnTo>
                      <a:pt x="6387" y="892"/>
                    </a:lnTo>
                    <a:lnTo>
                      <a:pt x="6389" y="892"/>
                    </a:lnTo>
                    <a:lnTo>
                      <a:pt x="6389" y="890"/>
                    </a:lnTo>
                    <a:lnTo>
                      <a:pt x="6389" y="890"/>
                    </a:lnTo>
                    <a:lnTo>
                      <a:pt x="6389" y="878"/>
                    </a:lnTo>
                    <a:moveTo>
                      <a:pt x="6399" y="850"/>
                    </a:moveTo>
                    <a:lnTo>
                      <a:pt x="6396" y="850"/>
                    </a:lnTo>
                    <a:lnTo>
                      <a:pt x="6396" y="852"/>
                    </a:lnTo>
                    <a:lnTo>
                      <a:pt x="6396" y="871"/>
                    </a:lnTo>
                    <a:lnTo>
                      <a:pt x="6396" y="871"/>
                    </a:lnTo>
                    <a:lnTo>
                      <a:pt x="6396" y="869"/>
                    </a:lnTo>
                    <a:lnTo>
                      <a:pt x="6399" y="869"/>
                    </a:lnTo>
                    <a:lnTo>
                      <a:pt x="6399" y="850"/>
                    </a:lnTo>
                    <a:moveTo>
                      <a:pt x="804" y="828"/>
                    </a:moveTo>
                    <a:lnTo>
                      <a:pt x="804" y="828"/>
                    </a:lnTo>
                    <a:lnTo>
                      <a:pt x="804" y="828"/>
                    </a:lnTo>
                    <a:lnTo>
                      <a:pt x="804" y="1060"/>
                    </a:lnTo>
                    <a:lnTo>
                      <a:pt x="804" y="1060"/>
                    </a:lnTo>
                    <a:lnTo>
                      <a:pt x="804" y="828"/>
                    </a:lnTo>
                    <a:moveTo>
                      <a:pt x="3100" y="762"/>
                    </a:moveTo>
                    <a:lnTo>
                      <a:pt x="3100" y="762"/>
                    </a:lnTo>
                    <a:lnTo>
                      <a:pt x="3098" y="762"/>
                    </a:lnTo>
                    <a:lnTo>
                      <a:pt x="3098" y="764"/>
                    </a:lnTo>
                    <a:lnTo>
                      <a:pt x="3098" y="970"/>
                    </a:lnTo>
                    <a:lnTo>
                      <a:pt x="3100" y="970"/>
                    </a:lnTo>
                    <a:lnTo>
                      <a:pt x="3100" y="762"/>
                    </a:lnTo>
                    <a:moveTo>
                      <a:pt x="1010" y="753"/>
                    </a:moveTo>
                    <a:lnTo>
                      <a:pt x="1008" y="753"/>
                    </a:lnTo>
                    <a:lnTo>
                      <a:pt x="1008" y="755"/>
                    </a:lnTo>
                    <a:lnTo>
                      <a:pt x="1008" y="819"/>
                    </a:lnTo>
                    <a:lnTo>
                      <a:pt x="1010" y="819"/>
                    </a:lnTo>
                    <a:lnTo>
                      <a:pt x="1010" y="753"/>
                    </a:lnTo>
                    <a:moveTo>
                      <a:pt x="5131" y="731"/>
                    </a:moveTo>
                    <a:lnTo>
                      <a:pt x="5131" y="731"/>
                    </a:lnTo>
                    <a:lnTo>
                      <a:pt x="5131" y="734"/>
                    </a:lnTo>
                    <a:lnTo>
                      <a:pt x="5131" y="963"/>
                    </a:lnTo>
                    <a:lnTo>
                      <a:pt x="5131" y="963"/>
                    </a:lnTo>
                    <a:lnTo>
                      <a:pt x="5131" y="731"/>
                    </a:lnTo>
                    <a:moveTo>
                      <a:pt x="3138" y="658"/>
                    </a:moveTo>
                    <a:lnTo>
                      <a:pt x="3136" y="658"/>
                    </a:lnTo>
                    <a:lnTo>
                      <a:pt x="3136" y="658"/>
                    </a:lnTo>
                    <a:lnTo>
                      <a:pt x="3136" y="753"/>
                    </a:lnTo>
                    <a:lnTo>
                      <a:pt x="3138" y="753"/>
                    </a:lnTo>
                    <a:lnTo>
                      <a:pt x="3138" y="658"/>
                    </a:lnTo>
                    <a:moveTo>
                      <a:pt x="97" y="618"/>
                    </a:moveTo>
                    <a:lnTo>
                      <a:pt x="95" y="618"/>
                    </a:lnTo>
                    <a:lnTo>
                      <a:pt x="95" y="618"/>
                    </a:lnTo>
                    <a:lnTo>
                      <a:pt x="95" y="1444"/>
                    </a:lnTo>
                    <a:lnTo>
                      <a:pt x="97" y="1444"/>
                    </a:lnTo>
                    <a:lnTo>
                      <a:pt x="97" y="618"/>
                    </a:lnTo>
                    <a:moveTo>
                      <a:pt x="5252" y="611"/>
                    </a:moveTo>
                    <a:lnTo>
                      <a:pt x="5252" y="611"/>
                    </a:lnTo>
                    <a:lnTo>
                      <a:pt x="5252" y="611"/>
                    </a:lnTo>
                    <a:lnTo>
                      <a:pt x="5252" y="722"/>
                    </a:lnTo>
                    <a:lnTo>
                      <a:pt x="5252" y="722"/>
                    </a:lnTo>
                    <a:lnTo>
                      <a:pt x="5252" y="611"/>
                    </a:lnTo>
                    <a:moveTo>
                      <a:pt x="3282" y="582"/>
                    </a:moveTo>
                    <a:lnTo>
                      <a:pt x="3282" y="582"/>
                    </a:lnTo>
                    <a:lnTo>
                      <a:pt x="3280" y="582"/>
                    </a:lnTo>
                    <a:lnTo>
                      <a:pt x="3280" y="585"/>
                    </a:lnTo>
                    <a:lnTo>
                      <a:pt x="3280" y="648"/>
                    </a:lnTo>
                    <a:lnTo>
                      <a:pt x="3282" y="648"/>
                    </a:lnTo>
                    <a:lnTo>
                      <a:pt x="3282" y="582"/>
                    </a:lnTo>
                    <a:moveTo>
                      <a:pt x="303" y="547"/>
                    </a:moveTo>
                    <a:lnTo>
                      <a:pt x="301" y="547"/>
                    </a:lnTo>
                    <a:lnTo>
                      <a:pt x="301" y="549"/>
                    </a:lnTo>
                    <a:lnTo>
                      <a:pt x="301" y="608"/>
                    </a:lnTo>
                    <a:lnTo>
                      <a:pt x="303" y="608"/>
                    </a:lnTo>
                    <a:lnTo>
                      <a:pt x="303" y="547"/>
                    </a:lnTo>
                    <a:moveTo>
                      <a:pt x="7025" y="509"/>
                    </a:moveTo>
                    <a:lnTo>
                      <a:pt x="7023" y="509"/>
                    </a:lnTo>
                    <a:lnTo>
                      <a:pt x="7023" y="511"/>
                    </a:lnTo>
                    <a:lnTo>
                      <a:pt x="7023" y="1683"/>
                    </a:lnTo>
                    <a:lnTo>
                      <a:pt x="7025" y="1683"/>
                    </a:lnTo>
                    <a:lnTo>
                      <a:pt x="7025" y="509"/>
                    </a:lnTo>
                    <a:moveTo>
                      <a:pt x="4193" y="504"/>
                    </a:moveTo>
                    <a:lnTo>
                      <a:pt x="4193" y="504"/>
                    </a:lnTo>
                    <a:lnTo>
                      <a:pt x="4193" y="504"/>
                    </a:lnTo>
                    <a:lnTo>
                      <a:pt x="4129" y="592"/>
                    </a:lnTo>
                    <a:lnTo>
                      <a:pt x="4129" y="592"/>
                    </a:lnTo>
                    <a:lnTo>
                      <a:pt x="4193" y="504"/>
                    </a:lnTo>
                    <a:moveTo>
                      <a:pt x="3301" y="502"/>
                    </a:moveTo>
                    <a:lnTo>
                      <a:pt x="3299" y="502"/>
                    </a:lnTo>
                    <a:lnTo>
                      <a:pt x="3299" y="502"/>
                    </a:lnTo>
                    <a:lnTo>
                      <a:pt x="3299" y="504"/>
                    </a:lnTo>
                    <a:lnTo>
                      <a:pt x="3299" y="573"/>
                    </a:lnTo>
                    <a:lnTo>
                      <a:pt x="3301" y="573"/>
                    </a:lnTo>
                    <a:lnTo>
                      <a:pt x="3301" y="502"/>
                    </a:lnTo>
                    <a:moveTo>
                      <a:pt x="4037" y="454"/>
                    </a:moveTo>
                    <a:lnTo>
                      <a:pt x="4034" y="454"/>
                    </a:lnTo>
                    <a:lnTo>
                      <a:pt x="4034" y="454"/>
                    </a:lnTo>
                    <a:lnTo>
                      <a:pt x="4034" y="457"/>
                    </a:lnTo>
                    <a:lnTo>
                      <a:pt x="4034" y="492"/>
                    </a:lnTo>
                    <a:lnTo>
                      <a:pt x="3954" y="644"/>
                    </a:lnTo>
                    <a:lnTo>
                      <a:pt x="3954" y="918"/>
                    </a:lnTo>
                    <a:lnTo>
                      <a:pt x="3954" y="918"/>
                    </a:lnTo>
                    <a:lnTo>
                      <a:pt x="3954" y="641"/>
                    </a:lnTo>
                    <a:lnTo>
                      <a:pt x="4037" y="490"/>
                    </a:lnTo>
                    <a:lnTo>
                      <a:pt x="4037" y="454"/>
                    </a:lnTo>
                    <a:moveTo>
                      <a:pt x="3330" y="433"/>
                    </a:moveTo>
                    <a:lnTo>
                      <a:pt x="3327" y="433"/>
                    </a:lnTo>
                    <a:lnTo>
                      <a:pt x="3327" y="435"/>
                    </a:lnTo>
                    <a:lnTo>
                      <a:pt x="3327" y="492"/>
                    </a:lnTo>
                    <a:lnTo>
                      <a:pt x="3330" y="492"/>
                    </a:lnTo>
                    <a:lnTo>
                      <a:pt x="3330" y="433"/>
                    </a:lnTo>
                    <a:moveTo>
                      <a:pt x="4041" y="390"/>
                    </a:moveTo>
                    <a:lnTo>
                      <a:pt x="4041" y="390"/>
                    </a:lnTo>
                    <a:lnTo>
                      <a:pt x="4041" y="390"/>
                    </a:lnTo>
                    <a:lnTo>
                      <a:pt x="4041" y="393"/>
                    </a:lnTo>
                    <a:lnTo>
                      <a:pt x="4041" y="450"/>
                    </a:lnTo>
                    <a:lnTo>
                      <a:pt x="4041" y="450"/>
                    </a:lnTo>
                    <a:lnTo>
                      <a:pt x="4041" y="447"/>
                    </a:lnTo>
                    <a:lnTo>
                      <a:pt x="4041" y="447"/>
                    </a:lnTo>
                    <a:lnTo>
                      <a:pt x="4041" y="390"/>
                    </a:lnTo>
                    <a:moveTo>
                      <a:pt x="1809" y="369"/>
                    </a:moveTo>
                    <a:lnTo>
                      <a:pt x="1807" y="369"/>
                    </a:lnTo>
                    <a:lnTo>
                      <a:pt x="1807" y="371"/>
                    </a:lnTo>
                    <a:lnTo>
                      <a:pt x="1807" y="1122"/>
                    </a:lnTo>
                    <a:lnTo>
                      <a:pt x="1809" y="1122"/>
                    </a:lnTo>
                    <a:lnTo>
                      <a:pt x="1809" y="369"/>
                    </a:lnTo>
                    <a:moveTo>
                      <a:pt x="1939" y="334"/>
                    </a:moveTo>
                    <a:lnTo>
                      <a:pt x="1937" y="334"/>
                    </a:lnTo>
                    <a:lnTo>
                      <a:pt x="1937" y="336"/>
                    </a:lnTo>
                    <a:lnTo>
                      <a:pt x="1937" y="360"/>
                    </a:lnTo>
                    <a:lnTo>
                      <a:pt x="1939" y="360"/>
                    </a:lnTo>
                    <a:lnTo>
                      <a:pt x="1939" y="334"/>
                    </a:lnTo>
                    <a:moveTo>
                      <a:pt x="4051" y="326"/>
                    </a:moveTo>
                    <a:lnTo>
                      <a:pt x="4048" y="326"/>
                    </a:lnTo>
                    <a:lnTo>
                      <a:pt x="4048" y="329"/>
                    </a:lnTo>
                    <a:lnTo>
                      <a:pt x="4048" y="383"/>
                    </a:lnTo>
                    <a:lnTo>
                      <a:pt x="4051" y="383"/>
                    </a:lnTo>
                    <a:lnTo>
                      <a:pt x="4051" y="381"/>
                    </a:lnTo>
                    <a:lnTo>
                      <a:pt x="4051" y="381"/>
                    </a:lnTo>
                    <a:lnTo>
                      <a:pt x="4051" y="326"/>
                    </a:lnTo>
                    <a:moveTo>
                      <a:pt x="2029" y="293"/>
                    </a:moveTo>
                    <a:lnTo>
                      <a:pt x="2027" y="293"/>
                    </a:lnTo>
                    <a:lnTo>
                      <a:pt x="2027" y="296"/>
                    </a:lnTo>
                    <a:lnTo>
                      <a:pt x="2027" y="324"/>
                    </a:lnTo>
                    <a:lnTo>
                      <a:pt x="2029" y="324"/>
                    </a:lnTo>
                    <a:lnTo>
                      <a:pt x="2029" y="293"/>
                    </a:lnTo>
                    <a:moveTo>
                      <a:pt x="4703" y="232"/>
                    </a:moveTo>
                    <a:lnTo>
                      <a:pt x="4701" y="232"/>
                    </a:lnTo>
                    <a:lnTo>
                      <a:pt x="4701" y="234"/>
                    </a:lnTo>
                    <a:lnTo>
                      <a:pt x="4637" y="469"/>
                    </a:lnTo>
                    <a:lnTo>
                      <a:pt x="4640" y="469"/>
                    </a:lnTo>
                    <a:lnTo>
                      <a:pt x="4703" y="232"/>
                    </a:lnTo>
                    <a:moveTo>
                      <a:pt x="4803" y="173"/>
                    </a:moveTo>
                    <a:lnTo>
                      <a:pt x="4803" y="173"/>
                    </a:lnTo>
                    <a:lnTo>
                      <a:pt x="4803" y="173"/>
                    </a:lnTo>
                    <a:lnTo>
                      <a:pt x="4803" y="175"/>
                    </a:lnTo>
                    <a:lnTo>
                      <a:pt x="4803" y="222"/>
                    </a:lnTo>
                    <a:lnTo>
                      <a:pt x="4803" y="222"/>
                    </a:lnTo>
                    <a:lnTo>
                      <a:pt x="4803" y="173"/>
                    </a:lnTo>
                    <a:moveTo>
                      <a:pt x="4852" y="0"/>
                    </a:moveTo>
                    <a:lnTo>
                      <a:pt x="4850" y="0"/>
                    </a:lnTo>
                    <a:lnTo>
                      <a:pt x="4850" y="2"/>
                    </a:lnTo>
                    <a:lnTo>
                      <a:pt x="4850" y="163"/>
                    </a:lnTo>
                    <a:lnTo>
                      <a:pt x="4852" y="163"/>
                    </a:lnTo>
                    <a:lnTo>
                      <a:pt x="4852" y="0"/>
                    </a:lnTo>
                    <a:moveTo>
                      <a:pt x="4911" y="0"/>
                    </a:moveTo>
                    <a:lnTo>
                      <a:pt x="4909" y="0"/>
                    </a:lnTo>
                    <a:lnTo>
                      <a:pt x="4909" y="2"/>
                    </a:lnTo>
                    <a:lnTo>
                      <a:pt x="4909" y="163"/>
                    </a:lnTo>
                    <a:lnTo>
                      <a:pt x="4911" y="163"/>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4" name="Freeform 136"/>
              <p:cNvSpPr>
                <a:spLocks noEditPoints="1"/>
              </p:cNvSpPr>
              <p:nvPr/>
            </p:nvSpPr>
            <p:spPr bwMode="auto">
              <a:xfrm>
                <a:off x="40" y="1670"/>
                <a:ext cx="7025" cy="1683"/>
              </a:xfrm>
              <a:custGeom>
                <a:avLst/>
                <a:gdLst>
                  <a:gd name="T0" fmla="*/ 0 w 7025"/>
                  <a:gd name="T1" fmla="*/ 1524 h 1683"/>
                  <a:gd name="T2" fmla="*/ 5663 w 7025"/>
                  <a:gd name="T3" fmla="*/ 1439 h 1683"/>
                  <a:gd name="T4" fmla="*/ 3707 w 7025"/>
                  <a:gd name="T5" fmla="*/ 1221 h 1683"/>
                  <a:gd name="T6" fmla="*/ 5831 w 7025"/>
                  <a:gd name="T7" fmla="*/ 1207 h 1683"/>
                  <a:gd name="T8" fmla="*/ 5831 w 7025"/>
                  <a:gd name="T9" fmla="*/ 1316 h 1683"/>
                  <a:gd name="T10" fmla="*/ 1662 w 7025"/>
                  <a:gd name="T11" fmla="*/ 1158 h 1683"/>
                  <a:gd name="T12" fmla="*/ 1686 w 7025"/>
                  <a:gd name="T13" fmla="*/ 1129 h 1683"/>
                  <a:gd name="T14" fmla="*/ 5854 w 7025"/>
                  <a:gd name="T15" fmla="*/ 1127 h 1683"/>
                  <a:gd name="T16" fmla="*/ 5854 w 7025"/>
                  <a:gd name="T17" fmla="*/ 1200 h 1683"/>
                  <a:gd name="T18" fmla="*/ 6320 w 7025"/>
                  <a:gd name="T19" fmla="*/ 1129 h 1683"/>
                  <a:gd name="T20" fmla="*/ 1444 w 7025"/>
                  <a:gd name="T21" fmla="*/ 1124 h 1683"/>
                  <a:gd name="T22" fmla="*/ 1447 w 7025"/>
                  <a:gd name="T23" fmla="*/ 1124 h 1683"/>
                  <a:gd name="T24" fmla="*/ 1463 w 7025"/>
                  <a:gd name="T25" fmla="*/ 1117 h 1683"/>
                  <a:gd name="T26" fmla="*/ 2858 w 7025"/>
                  <a:gd name="T27" fmla="*/ 1063 h 1683"/>
                  <a:gd name="T28" fmla="*/ 5930 w 7025"/>
                  <a:gd name="T29" fmla="*/ 1039 h 1683"/>
                  <a:gd name="T30" fmla="*/ 5930 w 7025"/>
                  <a:gd name="T31" fmla="*/ 1039 h 1683"/>
                  <a:gd name="T32" fmla="*/ 2877 w 7025"/>
                  <a:gd name="T33" fmla="*/ 1053 h 1683"/>
                  <a:gd name="T34" fmla="*/ 3766 w 7025"/>
                  <a:gd name="T35" fmla="*/ 1214 h 1683"/>
                  <a:gd name="T36" fmla="*/ 5946 w 7025"/>
                  <a:gd name="T37" fmla="*/ 989 h 1683"/>
                  <a:gd name="T38" fmla="*/ 6339 w 7025"/>
                  <a:gd name="T39" fmla="*/ 935 h 1683"/>
                  <a:gd name="T40" fmla="*/ 6339 w 7025"/>
                  <a:gd name="T41" fmla="*/ 935 h 1683"/>
                  <a:gd name="T42" fmla="*/ 3844 w 7025"/>
                  <a:gd name="T43" fmla="*/ 985 h 1683"/>
                  <a:gd name="T44" fmla="*/ 6382 w 7025"/>
                  <a:gd name="T45" fmla="*/ 895 h 1683"/>
                  <a:gd name="T46" fmla="*/ 6386 w 7025"/>
                  <a:gd name="T47" fmla="*/ 876 h 1683"/>
                  <a:gd name="T48" fmla="*/ 6389 w 7025"/>
                  <a:gd name="T49" fmla="*/ 888 h 1683"/>
                  <a:gd name="T50" fmla="*/ 6396 w 7025"/>
                  <a:gd name="T51" fmla="*/ 850 h 1683"/>
                  <a:gd name="T52" fmla="*/ 801 w 7025"/>
                  <a:gd name="T53" fmla="*/ 826 h 1683"/>
                  <a:gd name="T54" fmla="*/ 3100 w 7025"/>
                  <a:gd name="T55" fmla="*/ 762 h 1683"/>
                  <a:gd name="T56" fmla="*/ 3100 w 7025"/>
                  <a:gd name="T57" fmla="*/ 970 h 1683"/>
                  <a:gd name="T58" fmla="*/ 1007 w 7025"/>
                  <a:gd name="T59" fmla="*/ 819 h 1683"/>
                  <a:gd name="T60" fmla="*/ 5128 w 7025"/>
                  <a:gd name="T61" fmla="*/ 731 h 1683"/>
                  <a:gd name="T62" fmla="*/ 3135 w 7025"/>
                  <a:gd name="T63" fmla="*/ 656 h 1683"/>
                  <a:gd name="T64" fmla="*/ 97 w 7025"/>
                  <a:gd name="T65" fmla="*/ 615 h 1683"/>
                  <a:gd name="T66" fmla="*/ 97 w 7025"/>
                  <a:gd name="T67" fmla="*/ 615 h 1683"/>
                  <a:gd name="T68" fmla="*/ 5251 w 7025"/>
                  <a:gd name="T69" fmla="*/ 722 h 1683"/>
                  <a:gd name="T70" fmla="*/ 3279 w 7025"/>
                  <a:gd name="T71" fmla="*/ 582 h 1683"/>
                  <a:gd name="T72" fmla="*/ 300 w 7025"/>
                  <a:gd name="T73" fmla="*/ 547 h 1683"/>
                  <a:gd name="T74" fmla="*/ 7025 w 7025"/>
                  <a:gd name="T75" fmla="*/ 506 h 1683"/>
                  <a:gd name="T76" fmla="*/ 7025 w 7025"/>
                  <a:gd name="T77" fmla="*/ 506 h 1683"/>
                  <a:gd name="T78" fmla="*/ 4126 w 7025"/>
                  <a:gd name="T79" fmla="*/ 592 h 1683"/>
                  <a:gd name="T80" fmla="*/ 3298 w 7025"/>
                  <a:gd name="T81" fmla="*/ 502 h 1683"/>
                  <a:gd name="T82" fmla="*/ 4034 w 7025"/>
                  <a:gd name="T83" fmla="*/ 452 h 1683"/>
                  <a:gd name="T84" fmla="*/ 3951 w 7025"/>
                  <a:gd name="T85" fmla="*/ 918 h 1683"/>
                  <a:gd name="T86" fmla="*/ 3327 w 7025"/>
                  <a:gd name="T87" fmla="*/ 433 h 1683"/>
                  <a:gd name="T88" fmla="*/ 3327 w 7025"/>
                  <a:gd name="T89" fmla="*/ 433 h 1683"/>
                  <a:gd name="T90" fmla="*/ 4038 w 7025"/>
                  <a:gd name="T91" fmla="*/ 447 h 1683"/>
                  <a:gd name="T92" fmla="*/ 1809 w 7025"/>
                  <a:gd name="T93" fmla="*/ 367 h 1683"/>
                  <a:gd name="T94" fmla="*/ 1809 w 7025"/>
                  <a:gd name="T95" fmla="*/ 367 h 1683"/>
                  <a:gd name="T96" fmla="*/ 1936 w 7025"/>
                  <a:gd name="T97" fmla="*/ 360 h 1683"/>
                  <a:gd name="T98" fmla="*/ 4048 w 7025"/>
                  <a:gd name="T99" fmla="*/ 381 h 1683"/>
                  <a:gd name="T100" fmla="*/ 2026 w 7025"/>
                  <a:gd name="T101" fmla="*/ 293 h 1683"/>
                  <a:gd name="T102" fmla="*/ 4700 w 7025"/>
                  <a:gd name="T103" fmla="*/ 229 h 1683"/>
                  <a:gd name="T104" fmla="*/ 4802 w 7025"/>
                  <a:gd name="T105" fmla="*/ 170 h 1683"/>
                  <a:gd name="T106" fmla="*/ 4802 w 7025"/>
                  <a:gd name="T107" fmla="*/ 222 h 1683"/>
                  <a:gd name="T108" fmla="*/ 4849 w 7025"/>
                  <a:gd name="T109" fmla="*/ 163 h 1683"/>
                  <a:gd name="T110" fmla="*/ 4908 w 7025"/>
                  <a:gd name="T111" fmla="*/ 0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5" h="1683">
                    <a:moveTo>
                      <a:pt x="0" y="1451"/>
                    </a:moveTo>
                    <a:lnTo>
                      <a:pt x="0" y="1451"/>
                    </a:lnTo>
                    <a:lnTo>
                      <a:pt x="0" y="1453"/>
                    </a:lnTo>
                    <a:lnTo>
                      <a:pt x="0" y="1524"/>
                    </a:lnTo>
                    <a:lnTo>
                      <a:pt x="0" y="1524"/>
                    </a:lnTo>
                    <a:lnTo>
                      <a:pt x="0" y="1451"/>
                    </a:lnTo>
                    <a:close/>
                    <a:moveTo>
                      <a:pt x="5665" y="1326"/>
                    </a:moveTo>
                    <a:lnTo>
                      <a:pt x="5663" y="1326"/>
                    </a:lnTo>
                    <a:lnTo>
                      <a:pt x="5663" y="1326"/>
                    </a:lnTo>
                    <a:lnTo>
                      <a:pt x="5663" y="1439"/>
                    </a:lnTo>
                    <a:lnTo>
                      <a:pt x="5665" y="1439"/>
                    </a:lnTo>
                    <a:lnTo>
                      <a:pt x="5665" y="1326"/>
                    </a:lnTo>
                    <a:close/>
                    <a:moveTo>
                      <a:pt x="3710" y="1221"/>
                    </a:moveTo>
                    <a:lnTo>
                      <a:pt x="3707" y="1221"/>
                    </a:lnTo>
                    <a:lnTo>
                      <a:pt x="3707" y="1221"/>
                    </a:lnTo>
                    <a:lnTo>
                      <a:pt x="3707" y="1221"/>
                    </a:lnTo>
                    <a:lnTo>
                      <a:pt x="3707" y="1382"/>
                    </a:lnTo>
                    <a:lnTo>
                      <a:pt x="3710" y="1382"/>
                    </a:lnTo>
                    <a:lnTo>
                      <a:pt x="3710" y="1221"/>
                    </a:lnTo>
                    <a:close/>
                    <a:moveTo>
                      <a:pt x="5831" y="1207"/>
                    </a:moveTo>
                    <a:lnTo>
                      <a:pt x="5828" y="1207"/>
                    </a:lnTo>
                    <a:lnTo>
                      <a:pt x="5828" y="1207"/>
                    </a:lnTo>
                    <a:lnTo>
                      <a:pt x="5828" y="1210"/>
                    </a:lnTo>
                    <a:lnTo>
                      <a:pt x="5828" y="1316"/>
                    </a:lnTo>
                    <a:lnTo>
                      <a:pt x="5831" y="1316"/>
                    </a:lnTo>
                    <a:lnTo>
                      <a:pt x="5831" y="1207"/>
                    </a:lnTo>
                    <a:close/>
                    <a:moveTo>
                      <a:pt x="1664" y="1155"/>
                    </a:moveTo>
                    <a:lnTo>
                      <a:pt x="1664" y="1155"/>
                    </a:lnTo>
                    <a:lnTo>
                      <a:pt x="1662" y="1155"/>
                    </a:lnTo>
                    <a:lnTo>
                      <a:pt x="1662" y="1158"/>
                    </a:lnTo>
                    <a:lnTo>
                      <a:pt x="1662" y="1191"/>
                    </a:lnTo>
                    <a:lnTo>
                      <a:pt x="1664" y="1191"/>
                    </a:lnTo>
                    <a:lnTo>
                      <a:pt x="1664" y="1155"/>
                    </a:lnTo>
                    <a:close/>
                    <a:moveTo>
                      <a:pt x="1688" y="1129"/>
                    </a:moveTo>
                    <a:lnTo>
                      <a:pt x="1686" y="1129"/>
                    </a:lnTo>
                    <a:lnTo>
                      <a:pt x="1686" y="1131"/>
                    </a:lnTo>
                    <a:lnTo>
                      <a:pt x="1686" y="1148"/>
                    </a:lnTo>
                    <a:lnTo>
                      <a:pt x="1688" y="1148"/>
                    </a:lnTo>
                    <a:lnTo>
                      <a:pt x="1688" y="1129"/>
                    </a:lnTo>
                    <a:close/>
                    <a:moveTo>
                      <a:pt x="5854" y="1127"/>
                    </a:moveTo>
                    <a:lnTo>
                      <a:pt x="5854" y="1127"/>
                    </a:lnTo>
                    <a:lnTo>
                      <a:pt x="5854" y="1127"/>
                    </a:lnTo>
                    <a:lnTo>
                      <a:pt x="5854" y="1129"/>
                    </a:lnTo>
                    <a:lnTo>
                      <a:pt x="5854" y="1200"/>
                    </a:lnTo>
                    <a:lnTo>
                      <a:pt x="5854" y="1200"/>
                    </a:lnTo>
                    <a:lnTo>
                      <a:pt x="5854" y="1127"/>
                    </a:lnTo>
                    <a:close/>
                    <a:moveTo>
                      <a:pt x="6322" y="1127"/>
                    </a:moveTo>
                    <a:lnTo>
                      <a:pt x="6320" y="1127"/>
                    </a:lnTo>
                    <a:lnTo>
                      <a:pt x="6320" y="1127"/>
                    </a:lnTo>
                    <a:lnTo>
                      <a:pt x="6320" y="1129"/>
                    </a:lnTo>
                    <a:lnTo>
                      <a:pt x="6320" y="1354"/>
                    </a:lnTo>
                    <a:lnTo>
                      <a:pt x="6322" y="1354"/>
                    </a:lnTo>
                    <a:lnTo>
                      <a:pt x="6322" y="1127"/>
                    </a:lnTo>
                    <a:close/>
                    <a:moveTo>
                      <a:pt x="1447" y="1124"/>
                    </a:moveTo>
                    <a:lnTo>
                      <a:pt x="1444" y="1124"/>
                    </a:lnTo>
                    <a:lnTo>
                      <a:pt x="1444" y="1124"/>
                    </a:lnTo>
                    <a:lnTo>
                      <a:pt x="1444" y="1127"/>
                    </a:lnTo>
                    <a:lnTo>
                      <a:pt x="1444" y="1191"/>
                    </a:lnTo>
                    <a:lnTo>
                      <a:pt x="1447" y="1191"/>
                    </a:lnTo>
                    <a:lnTo>
                      <a:pt x="1447" y="1124"/>
                    </a:lnTo>
                    <a:close/>
                    <a:moveTo>
                      <a:pt x="1463" y="1082"/>
                    </a:moveTo>
                    <a:lnTo>
                      <a:pt x="1461" y="1082"/>
                    </a:lnTo>
                    <a:lnTo>
                      <a:pt x="1461" y="1084"/>
                    </a:lnTo>
                    <a:lnTo>
                      <a:pt x="1461" y="1117"/>
                    </a:lnTo>
                    <a:lnTo>
                      <a:pt x="1463" y="1117"/>
                    </a:lnTo>
                    <a:lnTo>
                      <a:pt x="1463" y="1082"/>
                    </a:lnTo>
                    <a:close/>
                    <a:moveTo>
                      <a:pt x="2858" y="1060"/>
                    </a:moveTo>
                    <a:lnTo>
                      <a:pt x="2858" y="1060"/>
                    </a:lnTo>
                    <a:lnTo>
                      <a:pt x="2858" y="1060"/>
                    </a:lnTo>
                    <a:lnTo>
                      <a:pt x="2858" y="1063"/>
                    </a:lnTo>
                    <a:lnTo>
                      <a:pt x="2858" y="1231"/>
                    </a:lnTo>
                    <a:lnTo>
                      <a:pt x="2858" y="1231"/>
                    </a:lnTo>
                    <a:lnTo>
                      <a:pt x="2858" y="1060"/>
                    </a:lnTo>
                    <a:close/>
                    <a:moveTo>
                      <a:pt x="5930" y="1039"/>
                    </a:moveTo>
                    <a:lnTo>
                      <a:pt x="5930" y="1039"/>
                    </a:lnTo>
                    <a:lnTo>
                      <a:pt x="5928" y="1039"/>
                    </a:lnTo>
                    <a:lnTo>
                      <a:pt x="5928" y="1041"/>
                    </a:lnTo>
                    <a:lnTo>
                      <a:pt x="5928" y="1120"/>
                    </a:lnTo>
                    <a:lnTo>
                      <a:pt x="5930" y="1120"/>
                    </a:lnTo>
                    <a:lnTo>
                      <a:pt x="5930" y="1039"/>
                    </a:lnTo>
                    <a:close/>
                    <a:moveTo>
                      <a:pt x="2877" y="1011"/>
                    </a:moveTo>
                    <a:lnTo>
                      <a:pt x="2875" y="1011"/>
                    </a:lnTo>
                    <a:lnTo>
                      <a:pt x="2875" y="1013"/>
                    </a:lnTo>
                    <a:lnTo>
                      <a:pt x="2875" y="1053"/>
                    </a:lnTo>
                    <a:lnTo>
                      <a:pt x="2877" y="1053"/>
                    </a:lnTo>
                    <a:lnTo>
                      <a:pt x="2877" y="1011"/>
                    </a:lnTo>
                    <a:close/>
                    <a:moveTo>
                      <a:pt x="3769" y="992"/>
                    </a:moveTo>
                    <a:lnTo>
                      <a:pt x="3766" y="992"/>
                    </a:lnTo>
                    <a:lnTo>
                      <a:pt x="3766" y="994"/>
                    </a:lnTo>
                    <a:lnTo>
                      <a:pt x="3766" y="1214"/>
                    </a:lnTo>
                    <a:lnTo>
                      <a:pt x="3769" y="1214"/>
                    </a:lnTo>
                    <a:lnTo>
                      <a:pt x="3769" y="992"/>
                    </a:lnTo>
                    <a:close/>
                    <a:moveTo>
                      <a:pt x="5949" y="987"/>
                    </a:moveTo>
                    <a:lnTo>
                      <a:pt x="5946" y="987"/>
                    </a:lnTo>
                    <a:lnTo>
                      <a:pt x="5946" y="989"/>
                    </a:lnTo>
                    <a:lnTo>
                      <a:pt x="5946" y="1032"/>
                    </a:lnTo>
                    <a:lnTo>
                      <a:pt x="5949" y="1032"/>
                    </a:lnTo>
                    <a:lnTo>
                      <a:pt x="5949" y="987"/>
                    </a:lnTo>
                    <a:close/>
                    <a:moveTo>
                      <a:pt x="6339" y="935"/>
                    </a:moveTo>
                    <a:lnTo>
                      <a:pt x="6339" y="935"/>
                    </a:lnTo>
                    <a:lnTo>
                      <a:pt x="6337" y="935"/>
                    </a:lnTo>
                    <a:lnTo>
                      <a:pt x="6337" y="935"/>
                    </a:lnTo>
                    <a:lnTo>
                      <a:pt x="6337" y="1120"/>
                    </a:lnTo>
                    <a:lnTo>
                      <a:pt x="6339" y="1120"/>
                    </a:lnTo>
                    <a:lnTo>
                      <a:pt x="6339" y="935"/>
                    </a:lnTo>
                    <a:close/>
                    <a:moveTo>
                      <a:pt x="3844" y="925"/>
                    </a:moveTo>
                    <a:lnTo>
                      <a:pt x="3842" y="925"/>
                    </a:lnTo>
                    <a:lnTo>
                      <a:pt x="3842" y="928"/>
                    </a:lnTo>
                    <a:lnTo>
                      <a:pt x="3842" y="985"/>
                    </a:lnTo>
                    <a:lnTo>
                      <a:pt x="3844" y="985"/>
                    </a:lnTo>
                    <a:lnTo>
                      <a:pt x="3844" y="925"/>
                    </a:lnTo>
                    <a:close/>
                    <a:moveTo>
                      <a:pt x="6384" y="892"/>
                    </a:moveTo>
                    <a:lnTo>
                      <a:pt x="6384" y="892"/>
                    </a:lnTo>
                    <a:lnTo>
                      <a:pt x="6382" y="892"/>
                    </a:lnTo>
                    <a:lnTo>
                      <a:pt x="6382" y="895"/>
                    </a:lnTo>
                    <a:lnTo>
                      <a:pt x="6374" y="925"/>
                    </a:lnTo>
                    <a:lnTo>
                      <a:pt x="6377" y="925"/>
                    </a:lnTo>
                    <a:lnTo>
                      <a:pt x="6384" y="892"/>
                    </a:lnTo>
                    <a:close/>
                    <a:moveTo>
                      <a:pt x="6389" y="876"/>
                    </a:moveTo>
                    <a:lnTo>
                      <a:pt x="6386" y="876"/>
                    </a:lnTo>
                    <a:lnTo>
                      <a:pt x="6386" y="876"/>
                    </a:lnTo>
                    <a:lnTo>
                      <a:pt x="6386" y="878"/>
                    </a:lnTo>
                    <a:lnTo>
                      <a:pt x="6386" y="890"/>
                    </a:lnTo>
                    <a:lnTo>
                      <a:pt x="6386" y="890"/>
                    </a:lnTo>
                    <a:lnTo>
                      <a:pt x="6389" y="888"/>
                    </a:lnTo>
                    <a:lnTo>
                      <a:pt x="6389" y="888"/>
                    </a:lnTo>
                    <a:lnTo>
                      <a:pt x="6389" y="876"/>
                    </a:lnTo>
                    <a:close/>
                    <a:moveTo>
                      <a:pt x="6396" y="847"/>
                    </a:moveTo>
                    <a:lnTo>
                      <a:pt x="6396" y="847"/>
                    </a:lnTo>
                    <a:lnTo>
                      <a:pt x="6396" y="850"/>
                    </a:lnTo>
                    <a:lnTo>
                      <a:pt x="6396" y="869"/>
                    </a:lnTo>
                    <a:lnTo>
                      <a:pt x="6396" y="869"/>
                    </a:lnTo>
                    <a:lnTo>
                      <a:pt x="6396" y="847"/>
                    </a:lnTo>
                    <a:close/>
                    <a:moveTo>
                      <a:pt x="804" y="826"/>
                    </a:moveTo>
                    <a:lnTo>
                      <a:pt x="801" y="826"/>
                    </a:lnTo>
                    <a:lnTo>
                      <a:pt x="801" y="828"/>
                    </a:lnTo>
                    <a:lnTo>
                      <a:pt x="801" y="1060"/>
                    </a:lnTo>
                    <a:lnTo>
                      <a:pt x="804" y="1060"/>
                    </a:lnTo>
                    <a:lnTo>
                      <a:pt x="804" y="826"/>
                    </a:lnTo>
                    <a:close/>
                    <a:moveTo>
                      <a:pt x="3100" y="762"/>
                    </a:moveTo>
                    <a:lnTo>
                      <a:pt x="3100" y="762"/>
                    </a:lnTo>
                    <a:lnTo>
                      <a:pt x="3097" y="762"/>
                    </a:lnTo>
                    <a:lnTo>
                      <a:pt x="3097" y="762"/>
                    </a:lnTo>
                    <a:lnTo>
                      <a:pt x="3097" y="970"/>
                    </a:lnTo>
                    <a:lnTo>
                      <a:pt x="3100" y="970"/>
                    </a:lnTo>
                    <a:lnTo>
                      <a:pt x="3100" y="762"/>
                    </a:lnTo>
                    <a:close/>
                    <a:moveTo>
                      <a:pt x="1007" y="750"/>
                    </a:moveTo>
                    <a:lnTo>
                      <a:pt x="1007" y="750"/>
                    </a:lnTo>
                    <a:lnTo>
                      <a:pt x="1007" y="753"/>
                    </a:lnTo>
                    <a:lnTo>
                      <a:pt x="1007" y="819"/>
                    </a:lnTo>
                    <a:lnTo>
                      <a:pt x="1007" y="819"/>
                    </a:lnTo>
                    <a:lnTo>
                      <a:pt x="1007" y="750"/>
                    </a:lnTo>
                    <a:close/>
                    <a:moveTo>
                      <a:pt x="5131" y="731"/>
                    </a:moveTo>
                    <a:lnTo>
                      <a:pt x="5128" y="731"/>
                    </a:lnTo>
                    <a:lnTo>
                      <a:pt x="5128" y="731"/>
                    </a:lnTo>
                    <a:lnTo>
                      <a:pt x="5128" y="963"/>
                    </a:lnTo>
                    <a:lnTo>
                      <a:pt x="5131" y="963"/>
                    </a:lnTo>
                    <a:lnTo>
                      <a:pt x="5131" y="731"/>
                    </a:lnTo>
                    <a:close/>
                    <a:moveTo>
                      <a:pt x="3137" y="656"/>
                    </a:moveTo>
                    <a:lnTo>
                      <a:pt x="3135" y="656"/>
                    </a:lnTo>
                    <a:lnTo>
                      <a:pt x="3135" y="658"/>
                    </a:lnTo>
                    <a:lnTo>
                      <a:pt x="3135" y="753"/>
                    </a:lnTo>
                    <a:lnTo>
                      <a:pt x="3137" y="753"/>
                    </a:lnTo>
                    <a:lnTo>
                      <a:pt x="3137" y="656"/>
                    </a:lnTo>
                    <a:close/>
                    <a:moveTo>
                      <a:pt x="97" y="615"/>
                    </a:moveTo>
                    <a:lnTo>
                      <a:pt x="94" y="615"/>
                    </a:lnTo>
                    <a:lnTo>
                      <a:pt x="94" y="618"/>
                    </a:lnTo>
                    <a:lnTo>
                      <a:pt x="94" y="1444"/>
                    </a:lnTo>
                    <a:lnTo>
                      <a:pt x="97" y="1444"/>
                    </a:lnTo>
                    <a:lnTo>
                      <a:pt x="97" y="615"/>
                    </a:lnTo>
                    <a:close/>
                    <a:moveTo>
                      <a:pt x="5251" y="608"/>
                    </a:moveTo>
                    <a:lnTo>
                      <a:pt x="5249" y="608"/>
                    </a:lnTo>
                    <a:lnTo>
                      <a:pt x="5249" y="611"/>
                    </a:lnTo>
                    <a:lnTo>
                      <a:pt x="5249" y="722"/>
                    </a:lnTo>
                    <a:lnTo>
                      <a:pt x="5251" y="722"/>
                    </a:lnTo>
                    <a:lnTo>
                      <a:pt x="5251" y="608"/>
                    </a:lnTo>
                    <a:close/>
                    <a:moveTo>
                      <a:pt x="3282" y="580"/>
                    </a:moveTo>
                    <a:lnTo>
                      <a:pt x="3279" y="580"/>
                    </a:lnTo>
                    <a:lnTo>
                      <a:pt x="3279" y="580"/>
                    </a:lnTo>
                    <a:lnTo>
                      <a:pt x="3279" y="582"/>
                    </a:lnTo>
                    <a:lnTo>
                      <a:pt x="3279" y="648"/>
                    </a:lnTo>
                    <a:lnTo>
                      <a:pt x="3282" y="648"/>
                    </a:lnTo>
                    <a:lnTo>
                      <a:pt x="3282" y="580"/>
                    </a:lnTo>
                    <a:close/>
                    <a:moveTo>
                      <a:pt x="300" y="547"/>
                    </a:moveTo>
                    <a:lnTo>
                      <a:pt x="300" y="547"/>
                    </a:lnTo>
                    <a:lnTo>
                      <a:pt x="300" y="547"/>
                    </a:lnTo>
                    <a:lnTo>
                      <a:pt x="300" y="608"/>
                    </a:lnTo>
                    <a:lnTo>
                      <a:pt x="300" y="608"/>
                    </a:lnTo>
                    <a:lnTo>
                      <a:pt x="300" y="547"/>
                    </a:lnTo>
                    <a:close/>
                    <a:moveTo>
                      <a:pt x="7025" y="506"/>
                    </a:moveTo>
                    <a:lnTo>
                      <a:pt x="7022" y="506"/>
                    </a:lnTo>
                    <a:lnTo>
                      <a:pt x="7022" y="509"/>
                    </a:lnTo>
                    <a:lnTo>
                      <a:pt x="7022" y="1683"/>
                    </a:lnTo>
                    <a:lnTo>
                      <a:pt x="7025" y="1683"/>
                    </a:lnTo>
                    <a:lnTo>
                      <a:pt x="7025" y="506"/>
                    </a:lnTo>
                    <a:close/>
                    <a:moveTo>
                      <a:pt x="4192" y="502"/>
                    </a:moveTo>
                    <a:lnTo>
                      <a:pt x="4192" y="502"/>
                    </a:lnTo>
                    <a:lnTo>
                      <a:pt x="4190" y="504"/>
                    </a:lnTo>
                    <a:lnTo>
                      <a:pt x="4126" y="592"/>
                    </a:lnTo>
                    <a:lnTo>
                      <a:pt x="4126" y="592"/>
                    </a:lnTo>
                    <a:lnTo>
                      <a:pt x="4192" y="502"/>
                    </a:lnTo>
                    <a:close/>
                    <a:moveTo>
                      <a:pt x="3298" y="499"/>
                    </a:moveTo>
                    <a:lnTo>
                      <a:pt x="3298" y="499"/>
                    </a:lnTo>
                    <a:lnTo>
                      <a:pt x="3298" y="499"/>
                    </a:lnTo>
                    <a:lnTo>
                      <a:pt x="3298" y="502"/>
                    </a:lnTo>
                    <a:lnTo>
                      <a:pt x="3298" y="573"/>
                    </a:lnTo>
                    <a:lnTo>
                      <a:pt x="3298" y="573"/>
                    </a:lnTo>
                    <a:lnTo>
                      <a:pt x="3298" y="499"/>
                    </a:lnTo>
                    <a:close/>
                    <a:moveTo>
                      <a:pt x="4036" y="452"/>
                    </a:moveTo>
                    <a:lnTo>
                      <a:pt x="4034" y="452"/>
                    </a:lnTo>
                    <a:lnTo>
                      <a:pt x="4034" y="452"/>
                    </a:lnTo>
                    <a:lnTo>
                      <a:pt x="4034" y="454"/>
                    </a:lnTo>
                    <a:lnTo>
                      <a:pt x="4034" y="490"/>
                    </a:lnTo>
                    <a:lnTo>
                      <a:pt x="3951" y="641"/>
                    </a:lnTo>
                    <a:lnTo>
                      <a:pt x="3951" y="918"/>
                    </a:lnTo>
                    <a:lnTo>
                      <a:pt x="3953" y="918"/>
                    </a:lnTo>
                    <a:lnTo>
                      <a:pt x="3953" y="639"/>
                    </a:lnTo>
                    <a:lnTo>
                      <a:pt x="4036" y="487"/>
                    </a:lnTo>
                    <a:lnTo>
                      <a:pt x="4036" y="452"/>
                    </a:lnTo>
                    <a:close/>
                    <a:moveTo>
                      <a:pt x="3327" y="433"/>
                    </a:moveTo>
                    <a:lnTo>
                      <a:pt x="3327" y="433"/>
                    </a:lnTo>
                    <a:lnTo>
                      <a:pt x="3327" y="433"/>
                    </a:lnTo>
                    <a:lnTo>
                      <a:pt x="3327" y="492"/>
                    </a:lnTo>
                    <a:lnTo>
                      <a:pt x="3327" y="492"/>
                    </a:lnTo>
                    <a:lnTo>
                      <a:pt x="3327" y="433"/>
                    </a:lnTo>
                    <a:close/>
                    <a:moveTo>
                      <a:pt x="4041" y="388"/>
                    </a:moveTo>
                    <a:lnTo>
                      <a:pt x="4041" y="388"/>
                    </a:lnTo>
                    <a:lnTo>
                      <a:pt x="4038" y="388"/>
                    </a:lnTo>
                    <a:lnTo>
                      <a:pt x="4038" y="390"/>
                    </a:lnTo>
                    <a:lnTo>
                      <a:pt x="4038" y="447"/>
                    </a:lnTo>
                    <a:lnTo>
                      <a:pt x="4041" y="447"/>
                    </a:lnTo>
                    <a:lnTo>
                      <a:pt x="4041" y="445"/>
                    </a:lnTo>
                    <a:lnTo>
                      <a:pt x="4041" y="445"/>
                    </a:lnTo>
                    <a:lnTo>
                      <a:pt x="4041" y="388"/>
                    </a:lnTo>
                    <a:close/>
                    <a:moveTo>
                      <a:pt x="1809" y="367"/>
                    </a:moveTo>
                    <a:lnTo>
                      <a:pt x="1806" y="367"/>
                    </a:lnTo>
                    <a:lnTo>
                      <a:pt x="1806" y="369"/>
                    </a:lnTo>
                    <a:lnTo>
                      <a:pt x="1806" y="1122"/>
                    </a:lnTo>
                    <a:lnTo>
                      <a:pt x="1809" y="1122"/>
                    </a:lnTo>
                    <a:lnTo>
                      <a:pt x="1809" y="367"/>
                    </a:lnTo>
                    <a:close/>
                    <a:moveTo>
                      <a:pt x="1936" y="331"/>
                    </a:moveTo>
                    <a:lnTo>
                      <a:pt x="1936" y="331"/>
                    </a:lnTo>
                    <a:lnTo>
                      <a:pt x="1936" y="334"/>
                    </a:lnTo>
                    <a:lnTo>
                      <a:pt x="1936" y="360"/>
                    </a:lnTo>
                    <a:lnTo>
                      <a:pt x="1936" y="360"/>
                    </a:lnTo>
                    <a:lnTo>
                      <a:pt x="1936" y="331"/>
                    </a:lnTo>
                    <a:close/>
                    <a:moveTo>
                      <a:pt x="4050" y="326"/>
                    </a:moveTo>
                    <a:lnTo>
                      <a:pt x="4048" y="326"/>
                    </a:lnTo>
                    <a:lnTo>
                      <a:pt x="4048" y="326"/>
                    </a:lnTo>
                    <a:lnTo>
                      <a:pt x="4048" y="381"/>
                    </a:lnTo>
                    <a:lnTo>
                      <a:pt x="4050" y="381"/>
                    </a:lnTo>
                    <a:lnTo>
                      <a:pt x="4050" y="326"/>
                    </a:lnTo>
                    <a:close/>
                    <a:moveTo>
                      <a:pt x="2028" y="291"/>
                    </a:moveTo>
                    <a:lnTo>
                      <a:pt x="2026" y="291"/>
                    </a:lnTo>
                    <a:lnTo>
                      <a:pt x="2026" y="293"/>
                    </a:lnTo>
                    <a:lnTo>
                      <a:pt x="2026" y="324"/>
                    </a:lnTo>
                    <a:lnTo>
                      <a:pt x="2028" y="324"/>
                    </a:lnTo>
                    <a:lnTo>
                      <a:pt x="2028" y="291"/>
                    </a:lnTo>
                    <a:close/>
                    <a:moveTo>
                      <a:pt x="4703" y="229"/>
                    </a:moveTo>
                    <a:lnTo>
                      <a:pt x="4700" y="229"/>
                    </a:lnTo>
                    <a:lnTo>
                      <a:pt x="4700" y="232"/>
                    </a:lnTo>
                    <a:lnTo>
                      <a:pt x="4637" y="469"/>
                    </a:lnTo>
                    <a:lnTo>
                      <a:pt x="4639" y="466"/>
                    </a:lnTo>
                    <a:lnTo>
                      <a:pt x="4703" y="229"/>
                    </a:lnTo>
                    <a:close/>
                    <a:moveTo>
                      <a:pt x="4802" y="170"/>
                    </a:moveTo>
                    <a:lnTo>
                      <a:pt x="4802" y="170"/>
                    </a:lnTo>
                    <a:lnTo>
                      <a:pt x="4800" y="170"/>
                    </a:lnTo>
                    <a:lnTo>
                      <a:pt x="4800" y="173"/>
                    </a:lnTo>
                    <a:lnTo>
                      <a:pt x="4800" y="222"/>
                    </a:lnTo>
                    <a:lnTo>
                      <a:pt x="4802" y="222"/>
                    </a:lnTo>
                    <a:lnTo>
                      <a:pt x="4802" y="170"/>
                    </a:lnTo>
                    <a:close/>
                    <a:moveTo>
                      <a:pt x="4852" y="0"/>
                    </a:moveTo>
                    <a:lnTo>
                      <a:pt x="4849" y="0"/>
                    </a:lnTo>
                    <a:lnTo>
                      <a:pt x="4849" y="0"/>
                    </a:lnTo>
                    <a:lnTo>
                      <a:pt x="4849" y="163"/>
                    </a:lnTo>
                    <a:lnTo>
                      <a:pt x="4852" y="163"/>
                    </a:lnTo>
                    <a:lnTo>
                      <a:pt x="4852" y="0"/>
                    </a:lnTo>
                    <a:close/>
                    <a:moveTo>
                      <a:pt x="4908" y="0"/>
                    </a:moveTo>
                    <a:lnTo>
                      <a:pt x="4908" y="0"/>
                    </a:lnTo>
                    <a:lnTo>
                      <a:pt x="4908" y="0"/>
                    </a:lnTo>
                    <a:lnTo>
                      <a:pt x="4908" y="163"/>
                    </a:lnTo>
                    <a:lnTo>
                      <a:pt x="4908" y="163"/>
                    </a:lnTo>
                    <a:lnTo>
                      <a:pt x="4908" y="0"/>
                    </a:lnTo>
                    <a:close/>
                  </a:path>
                </a:pathLst>
              </a:custGeom>
              <a:solidFill>
                <a:srgbClr val="BD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5" name="Freeform 137"/>
              <p:cNvSpPr>
                <a:spLocks noEditPoints="1"/>
              </p:cNvSpPr>
              <p:nvPr/>
            </p:nvSpPr>
            <p:spPr bwMode="auto">
              <a:xfrm>
                <a:off x="40" y="1670"/>
                <a:ext cx="7025" cy="1683"/>
              </a:xfrm>
              <a:custGeom>
                <a:avLst/>
                <a:gdLst>
                  <a:gd name="T0" fmla="*/ 0 w 7025"/>
                  <a:gd name="T1" fmla="*/ 1524 h 1683"/>
                  <a:gd name="T2" fmla="*/ 5663 w 7025"/>
                  <a:gd name="T3" fmla="*/ 1439 h 1683"/>
                  <a:gd name="T4" fmla="*/ 3707 w 7025"/>
                  <a:gd name="T5" fmla="*/ 1221 h 1683"/>
                  <a:gd name="T6" fmla="*/ 5831 w 7025"/>
                  <a:gd name="T7" fmla="*/ 1207 h 1683"/>
                  <a:gd name="T8" fmla="*/ 5831 w 7025"/>
                  <a:gd name="T9" fmla="*/ 1316 h 1683"/>
                  <a:gd name="T10" fmla="*/ 1662 w 7025"/>
                  <a:gd name="T11" fmla="*/ 1158 h 1683"/>
                  <a:gd name="T12" fmla="*/ 1686 w 7025"/>
                  <a:gd name="T13" fmla="*/ 1129 h 1683"/>
                  <a:gd name="T14" fmla="*/ 5854 w 7025"/>
                  <a:gd name="T15" fmla="*/ 1127 h 1683"/>
                  <a:gd name="T16" fmla="*/ 5854 w 7025"/>
                  <a:gd name="T17" fmla="*/ 1200 h 1683"/>
                  <a:gd name="T18" fmla="*/ 6320 w 7025"/>
                  <a:gd name="T19" fmla="*/ 1129 h 1683"/>
                  <a:gd name="T20" fmla="*/ 1444 w 7025"/>
                  <a:gd name="T21" fmla="*/ 1124 h 1683"/>
                  <a:gd name="T22" fmla="*/ 1447 w 7025"/>
                  <a:gd name="T23" fmla="*/ 1124 h 1683"/>
                  <a:gd name="T24" fmla="*/ 1463 w 7025"/>
                  <a:gd name="T25" fmla="*/ 1117 h 1683"/>
                  <a:gd name="T26" fmla="*/ 2858 w 7025"/>
                  <a:gd name="T27" fmla="*/ 1063 h 1683"/>
                  <a:gd name="T28" fmla="*/ 5930 w 7025"/>
                  <a:gd name="T29" fmla="*/ 1039 h 1683"/>
                  <a:gd name="T30" fmla="*/ 5930 w 7025"/>
                  <a:gd name="T31" fmla="*/ 1039 h 1683"/>
                  <a:gd name="T32" fmla="*/ 2877 w 7025"/>
                  <a:gd name="T33" fmla="*/ 1053 h 1683"/>
                  <a:gd name="T34" fmla="*/ 3766 w 7025"/>
                  <a:gd name="T35" fmla="*/ 1214 h 1683"/>
                  <a:gd name="T36" fmla="*/ 5946 w 7025"/>
                  <a:gd name="T37" fmla="*/ 989 h 1683"/>
                  <a:gd name="T38" fmla="*/ 6339 w 7025"/>
                  <a:gd name="T39" fmla="*/ 935 h 1683"/>
                  <a:gd name="T40" fmla="*/ 6339 w 7025"/>
                  <a:gd name="T41" fmla="*/ 935 h 1683"/>
                  <a:gd name="T42" fmla="*/ 3844 w 7025"/>
                  <a:gd name="T43" fmla="*/ 985 h 1683"/>
                  <a:gd name="T44" fmla="*/ 6382 w 7025"/>
                  <a:gd name="T45" fmla="*/ 895 h 1683"/>
                  <a:gd name="T46" fmla="*/ 6386 w 7025"/>
                  <a:gd name="T47" fmla="*/ 876 h 1683"/>
                  <a:gd name="T48" fmla="*/ 6389 w 7025"/>
                  <a:gd name="T49" fmla="*/ 888 h 1683"/>
                  <a:gd name="T50" fmla="*/ 6396 w 7025"/>
                  <a:gd name="T51" fmla="*/ 850 h 1683"/>
                  <a:gd name="T52" fmla="*/ 801 w 7025"/>
                  <a:gd name="T53" fmla="*/ 826 h 1683"/>
                  <a:gd name="T54" fmla="*/ 3100 w 7025"/>
                  <a:gd name="T55" fmla="*/ 762 h 1683"/>
                  <a:gd name="T56" fmla="*/ 3100 w 7025"/>
                  <a:gd name="T57" fmla="*/ 970 h 1683"/>
                  <a:gd name="T58" fmla="*/ 1007 w 7025"/>
                  <a:gd name="T59" fmla="*/ 819 h 1683"/>
                  <a:gd name="T60" fmla="*/ 5128 w 7025"/>
                  <a:gd name="T61" fmla="*/ 731 h 1683"/>
                  <a:gd name="T62" fmla="*/ 3135 w 7025"/>
                  <a:gd name="T63" fmla="*/ 656 h 1683"/>
                  <a:gd name="T64" fmla="*/ 97 w 7025"/>
                  <a:gd name="T65" fmla="*/ 615 h 1683"/>
                  <a:gd name="T66" fmla="*/ 97 w 7025"/>
                  <a:gd name="T67" fmla="*/ 615 h 1683"/>
                  <a:gd name="T68" fmla="*/ 5251 w 7025"/>
                  <a:gd name="T69" fmla="*/ 722 h 1683"/>
                  <a:gd name="T70" fmla="*/ 3279 w 7025"/>
                  <a:gd name="T71" fmla="*/ 582 h 1683"/>
                  <a:gd name="T72" fmla="*/ 300 w 7025"/>
                  <a:gd name="T73" fmla="*/ 547 h 1683"/>
                  <a:gd name="T74" fmla="*/ 7025 w 7025"/>
                  <a:gd name="T75" fmla="*/ 506 h 1683"/>
                  <a:gd name="T76" fmla="*/ 7025 w 7025"/>
                  <a:gd name="T77" fmla="*/ 506 h 1683"/>
                  <a:gd name="T78" fmla="*/ 4126 w 7025"/>
                  <a:gd name="T79" fmla="*/ 592 h 1683"/>
                  <a:gd name="T80" fmla="*/ 3298 w 7025"/>
                  <a:gd name="T81" fmla="*/ 502 h 1683"/>
                  <a:gd name="T82" fmla="*/ 4034 w 7025"/>
                  <a:gd name="T83" fmla="*/ 452 h 1683"/>
                  <a:gd name="T84" fmla="*/ 3951 w 7025"/>
                  <a:gd name="T85" fmla="*/ 918 h 1683"/>
                  <a:gd name="T86" fmla="*/ 3327 w 7025"/>
                  <a:gd name="T87" fmla="*/ 433 h 1683"/>
                  <a:gd name="T88" fmla="*/ 3327 w 7025"/>
                  <a:gd name="T89" fmla="*/ 433 h 1683"/>
                  <a:gd name="T90" fmla="*/ 4038 w 7025"/>
                  <a:gd name="T91" fmla="*/ 447 h 1683"/>
                  <a:gd name="T92" fmla="*/ 1809 w 7025"/>
                  <a:gd name="T93" fmla="*/ 367 h 1683"/>
                  <a:gd name="T94" fmla="*/ 1809 w 7025"/>
                  <a:gd name="T95" fmla="*/ 367 h 1683"/>
                  <a:gd name="T96" fmla="*/ 1936 w 7025"/>
                  <a:gd name="T97" fmla="*/ 360 h 1683"/>
                  <a:gd name="T98" fmla="*/ 4048 w 7025"/>
                  <a:gd name="T99" fmla="*/ 381 h 1683"/>
                  <a:gd name="T100" fmla="*/ 2026 w 7025"/>
                  <a:gd name="T101" fmla="*/ 293 h 1683"/>
                  <a:gd name="T102" fmla="*/ 4700 w 7025"/>
                  <a:gd name="T103" fmla="*/ 229 h 1683"/>
                  <a:gd name="T104" fmla="*/ 4802 w 7025"/>
                  <a:gd name="T105" fmla="*/ 170 h 1683"/>
                  <a:gd name="T106" fmla="*/ 4802 w 7025"/>
                  <a:gd name="T107" fmla="*/ 222 h 1683"/>
                  <a:gd name="T108" fmla="*/ 4849 w 7025"/>
                  <a:gd name="T109" fmla="*/ 163 h 1683"/>
                  <a:gd name="T110" fmla="*/ 4908 w 7025"/>
                  <a:gd name="T111" fmla="*/ 0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5" h="1683">
                    <a:moveTo>
                      <a:pt x="0" y="1451"/>
                    </a:moveTo>
                    <a:lnTo>
                      <a:pt x="0" y="1451"/>
                    </a:lnTo>
                    <a:lnTo>
                      <a:pt x="0" y="1453"/>
                    </a:lnTo>
                    <a:lnTo>
                      <a:pt x="0" y="1524"/>
                    </a:lnTo>
                    <a:lnTo>
                      <a:pt x="0" y="1524"/>
                    </a:lnTo>
                    <a:lnTo>
                      <a:pt x="0" y="1451"/>
                    </a:lnTo>
                    <a:moveTo>
                      <a:pt x="5665" y="1326"/>
                    </a:moveTo>
                    <a:lnTo>
                      <a:pt x="5663" y="1326"/>
                    </a:lnTo>
                    <a:lnTo>
                      <a:pt x="5663" y="1326"/>
                    </a:lnTo>
                    <a:lnTo>
                      <a:pt x="5663" y="1439"/>
                    </a:lnTo>
                    <a:lnTo>
                      <a:pt x="5665" y="1439"/>
                    </a:lnTo>
                    <a:lnTo>
                      <a:pt x="5665" y="1326"/>
                    </a:lnTo>
                    <a:moveTo>
                      <a:pt x="3710" y="1221"/>
                    </a:moveTo>
                    <a:lnTo>
                      <a:pt x="3707" y="1221"/>
                    </a:lnTo>
                    <a:lnTo>
                      <a:pt x="3707" y="1221"/>
                    </a:lnTo>
                    <a:lnTo>
                      <a:pt x="3707" y="1221"/>
                    </a:lnTo>
                    <a:lnTo>
                      <a:pt x="3707" y="1382"/>
                    </a:lnTo>
                    <a:lnTo>
                      <a:pt x="3710" y="1382"/>
                    </a:lnTo>
                    <a:lnTo>
                      <a:pt x="3710" y="1221"/>
                    </a:lnTo>
                    <a:moveTo>
                      <a:pt x="5831" y="1207"/>
                    </a:moveTo>
                    <a:lnTo>
                      <a:pt x="5828" y="1207"/>
                    </a:lnTo>
                    <a:lnTo>
                      <a:pt x="5828" y="1207"/>
                    </a:lnTo>
                    <a:lnTo>
                      <a:pt x="5828" y="1210"/>
                    </a:lnTo>
                    <a:lnTo>
                      <a:pt x="5828" y="1316"/>
                    </a:lnTo>
                    <a:lnTo>
                      <a:pt x="5831" y="1316"/>
                    </a:lnTo>
                    <a:lnTo>
                      <a:pt x="5831" y="1207"/>
                    </a:lnTo>
                    <a:moveTo>
                      <a:pt x="1664" y="1155"/>
                    </a:moveTo>
                    <a:lnTo>
                      <a:pt x="1664" y="1155"/>
                    </a:lnTo>
                    <a:lnTo>
                      <a:pt x="1662" y="1155"/>
                    </a:lnTo>
                    <a:lnTo>
                      <a:pt x="1662" y="1158"/>
                    </a:lnTo>
                    <a:lnTo>
                      <a:pt x="1662" y="1191"/>
                    </a:lnTo>
                    <a:lnTo>
                      <a:pt x="1664" y="1191"/>
                    </a:lnTo>
                    <a:lnTo>
                      <a:pt x="1664" y="1155"/>
                    </a:lnTo>
                    <a:moveTo>
                      <a:pt x="1688" y="1129"/>
                    </a:moveTo>
                    <a:lnTo>
                      <a:pt x="1686" y="1129"/>
                    </a:lnTo>
                    <a:lnTo>
                      <a:pt x="1686" y="1131"/>
                    </a:lnTo>
                    <a:lnTo>
                      <a:pt x="1686" y="1148"/>
                    </a:lnTo>
                    <a:lnTo>
                      <a:pt x="1688" y="1148"/>
                    </a:lnTo>
                    <a:lnTo>
                      <a:pt x="1688" y="1129"/>
                    </a:lnTo>
                    <a:moveTo>
                      <a:pt x="5854" y="1127"/>
                    </a:moveTo>
                    <a:lnTo>
                      <a:pt x="5854" y="1127"/>
                    </a:lnTo>
                    <a:lnTo>
                      <a:pt x="5854" y="1127"/>
                    </a:lnTo>
                    <a:lnTo>
                      <a:pt x="5854" y="1129"/>
                    </a:lnTo>
                    <a:lnTo>
                      <a:pt x="5854" y="1200"/>
                    </a:lnTo>
                    <a:lnTo>
                      <a:pt x="5854" y="1200"/>
                    </a:lnTo>
                    <a:lnTo>
                      <a:pt x="5854" y="1127"/>
                    </a:lnTo>
                    <a:moveTo>
                      <a:pt x="6322" y="1127"/>
                    </a:moveTo>
                    <a:lnTo>
                      <a:pt x="6320" y="1127"/>
                    </a:lnTo>
                    <a:lnTo>
                      <a:pt x="6320" y="1127"/>
                    </a:lnTo>
                    <a:lnTo>
                      <a:pt x="6320" y="1129"/>
                    </a:lnTo>
                    <a:lnTo>
                      <a:pt x="6320" y="1354"/>
                    </a:lnTo>
                    <a:lnTo>
                      <a:pt x="6322" y="1354"/>
                    </a:lnTo>
                    <a:lnTo>
                      <a:pt x="6322" y="1127"/>
                    </a:lnTo>
                    <a:moveTo>
                      <a:pt x="1447" y="1124"/>
                    </a:moveTo>
                    <a:lnTo>
                      <a:pt x="1444" y="1124"/>
                    </a:lnTo>
                    <a:lnTo>
                      <a:pt x="1444" y="1124"/>
                    </a:lnTo>
                    <a:lnTo>
                      <a:pt x="1444" y="1127"/>
                    </a:lnTo>
                    <a:lnTo>
                      <a:pt x="1444" y="1191"/>
                    </a:lnTo>
                    <a:lnTo>
                      <a:pt x="1447" y="1191"/>
                    </a:lnTo>
                    <a:lnTo>
                      <a:pt x="1447" y="1124"/>
                    </a:lnTo>
                    <a:moveTo>
                      <a:pt x="1463" y="1082"/>
                    </a:moveTo>
                    <a:lnTo>
                      <a:pt x="1461" y="1082"/>
                    </a:lnTo>
                    <a:lnTo>
                      <a:pt x="1461" y="1084"/>
                    </a:lnTo>
                    <a:lnTo>
                      <a:pt x="1461" y="1117"/>
                    </a:lnTo>
                    <a:lnTo>
                      <a:pt x="1463" y="1117"/>
                    </a:lnTo>
                    <a:lnTo>
                      <a:pt x="1463" y="1082"/>
                    </a:lnTo>
                    <a:moveTo>
                      <a:pt x="2858" y="1060"/>
                    </a:moveTo>
                    <a:lnTo>
                      <a:pt x="2858" y="1060"/>
                    </a:lnTo>
                    <a:lnTo>
                      <a:pt x="2858" y="1060"/>
                    </a:lnTo>
                    <a:lnTo>
                      <a:pt x="2858" y="1063"/>
                    </a:lnTo>
                    <a:lnTo>
                      <a:pt x="2858" y="1231"/>
                    </a:lnTo>
                    <a:lnTo>
                      <a:pt x="2858" y="1231"/>
                    </a:lnTo>
                    <a:lnTo>
                      <a:pt x="2858" y="1060"/>
                    </a:lnTo>
                    <a:moveTo>
                      <a:pt x="5930" y="1039"/>
                    </a:moveTo>
                    <a:lnTo>
                      <a:pt x="5930" y="1039"/>
                    </a:lnTo>
                    <a:lnTo>
                      <a:pt x="5928" y="1039"/>
                    </a:lnTo>
                    <a:lnTo>
                      <a:pt x="5928" y="1041"/>
                    </a:lnTo>
                    <a:lnTo>
                      <a:pt x="5928" y="1120"/>
                    </a:lnTo>
                    <a:lnTo>
                      <a:pt x="5930" y="1120"/>
                    </a:lnTo>
                    <a:lnTo>
                      <a:pt x="5930" y="1039"/>
                    </a:lnTo>
                    <a:moveTo>
                      <a:pt x="2877" y="1011"/>
                    </a:moveTo>
                    <a:lnTo>
                      <a:pt x="2875" y="1011"/>
                    </a:lnTo>
                    <a:lnTo>
                      <a:pt x="2875" y="1013"/>
                    </a:lnTo>
                    <a:lnTo>
                      <a:pt x="2875" y="1053"/>
                    </a:lnTo>
                    <a:lnTo>
                      <a:pt x="2877" y="1053"/>
                    </a:lnTo>
                    <a:lnTo>
                      <a:pt x="2877" y="1011"/>
                    </a:lnTo>
                    <a:moveTo>
                      <a:pt x="3769" y="992"/>
                    </a:moveTo>
                    <a:lnTo>
                      <a:pt x="3766" y="992"/>
                    </a:lnTo>
                    <a:lnTo>
                      <a:pt x="3766" y="994"/>
                    </a:lnTo>
                    <a:lnTo>
                      <a:pt x="3766" y="1214"/>
                    </a:lnTo>
                    <a:lnTo>
                      <a:pt x="3769" y="1214"/>
                    </a:lnTo>
                    <a:lnTo>
                      <a:pt x="3769" y="992"/>
                    </a:lnTo>
                    <a:moveTo>
                      <a:pt x="5949" y="987"/>
                    </a:moveTo>
                    <a:lnTo>
                      <a:pt x="5946" y="987"/>
                    </a:lnTo>
                    <a:lnTo>
                      <a:pt x="5946" y="989"/>
                    </a:lnTo>
                    <a:lnTo>
                      <a:pt x="5946" y="1032"/>
                    </a:lnTo>
                    <a:lnTo>
                      <a:pt x="5949" y="1032"/>
                    </a:lnTo>
                    <a:lnTo>
                      <a:pt x="5949" y="987"/>
                    </a:lnTo>
                    <a:moveTo>
                      <a:pt x="6339" y="935"/>
                    </a:moveTo>
                    <a:lnTo>
                      <a:pt x="6339" y="935"/>
                    </a:lnTo>
                    <a:lnTo>
                      <a:pt x="6337" y="935"/>
                    </a:lnTo>
                    <a:lnTo>
                      <a:pt x="6337" y="935"/>
                    </a:lnTo>
                    <a:lnTo>
                      <a:pt x="6337" y="1120"/>
                    </a:lnTo>
                    <a:lnTo>
                      <a:pt x="6339" y="1120"/>
                    </a:lnTo>
                    <a:lnTo>
                      <a:pt x="6339" y="935"/>
                    </a:lnTo>
                    <a:moveTo>
                      <a:pt x="3844" y="925"/>
                    </a:moveTo>
                    <a:lnTo>
                      <a:pt x="3842" y="925"/>
                    </a:lnTo>
                    <a:lnTo>
                      <a:pt x="3842" y="928"/>
                    </a:lnTo>
                    <a:lnTo>
                      <a:pt x="3842" y="985"/>
                    </a:lnTo>
                    <a:lnTo>
                      <a:pt x="3844" y="985"/>
                    </a:lnTo>
                    <a:lnTo>
                      <a:pt x="3844" y="925"/>
                    </a:lnTo>
                    <a:moveTo>
                      <a:pt x="6384" y="892"/>
                    </a:moveTo>
                    <a:lnTo>
                      <a:pt x="6384" y="892"/>
                    </a:lnTo>
                    <a:lnTo>
                      <a:pt x="6382" y="892"/>
                    </a:lnTo>
                    <a:lnTo>
                      <a:pt x="6382" y="895"/>
                    </a:lnTo>
                    <a:lnTo>
                      <a:pt x="6374" y="925"/>
                    </a:lnTo>
                    <a:lnTo>
                      <a:pt x="6377" y="925"/>
                    </a:lnTo>
                    <a:lnTo>
                      <a:pt x="6384" y="892"/>
                    </a:lnTo>
                    <a:moveTo>
                      <a:pt x="6389" y="876"/>
                    </a:moveTo>
                    <a:lnTo>
                      <a:pt x="6386" y="876"/>
                    </a:lnTo>
                    <a:lnTo>
                      <a:pt x="6386" y="876"/>
                    </a:lnTo>
                    <a:lnTo>
                      <a:pt x="6386" y="878"/>
                    </a:lnTo>
                    <a:lnTo>
                      <a:pt x="6386" y="890"/>
                    </a:lnTo>
                    <a:lnTo>
                      <a:pt x="6386" y="890"/>
                    </a:lnTo>
                    <a:lnTo>
                      <a:pt x="6389" y="888"/>
                    </a:lnTo>
                    <a:lnTo>
                      <a:pt x="6389" y="888"/>
                    </a:lnTo>
                    <a:lnTo>
                      <a:pt x="6389" y="876"/>
                    </a:lnTo>
                    <a:moveTo>
                      <a:pt x="6396" y="847"/>
                    </a:moveTo>
                    <a:lnTo>
                      <a:pt x="6396" y="847"/>
                    </a:lnTo>
                    <a:lnTo>
                      <a:pt x="6396" y="850"/>
                    </a:lnTo>
                    <a:lnTo>
                      <a:pt x="6396" y="869"/>
                    </a:lnTo>
                    <a:lnTo>
                      <a:pt x="6396" y="869"/>
                    </a:lnTo>
                    <a:lnTo>
                      <a:pt x="6396" y="847"/>
                    </a:lnTo>
                    <a:moveTo>
                      <a:pt x="804" y="826"/>
                    </a:moveTo>
                    <a:lnTo>
                      <a:pt x="801" y="826"/>
                    </a:lnTo>
                    <a:lnTo>
                      <a:pt x="801" y="828"/>
                    </a:lnTo>
                    <a:lnTo>
                      <a:pt x="801" y="1060"/>
                    </a:lnTo>
                    <a:lnTo>
                      <a:pt x="804" y="1060"/>
                    </a:lnTo>
                    <a:lnTo>
                      <a:pt x="804" y="826"/>
                    </a:lnTo>
                    <a:moveTo>
                      <a:pt x="3100" y="762"/>
                    </a:moveTo>
                    <a:lnTo>
                      <a:pt x="3100" y="762"/>
                    </a:lnTo>
                    <a:lnTo>
                      <a:pt x="3097" y="762"/>
                    </a:lnTo>
                    <a:lnTo>
                      <a:pt x="3097" y="762"/>
                    </a:lnTo>
                    <a:lnTo>
                      <a:pt x="3097" y="970"/>
                    </a:lnTo>
                    <a:lnTo>
                      <a:pt x="3100" y="970"/>
                    </a:lnTo>
                    <a:lnTo>
                      <a:pt x="3100" y="762"/>
                    </a:lnTo>
                    <a:moveTo>
                      <a:pt x="1007" y="750"/>
                    </a:moveTo>
                    <a:lnTo>
                      <a:pt x="1007" y="750"/>
                    </a:lnTo>
                    <a:lnTo>
                      <a:pt x="1007" y="753"/>
                    </a:lnTo>
                    <a:lnTo>
                      <a:pt x="1007" y="819"/>
                    </a:lnTo>
                    <a:lnTo>
                      <a:pt x="1007" y="819"/>
                    </a:lnTo>
                    <a:lnTo>
                      <a:pt x="1007" y="750"/>
                    </a:lnTo>
                    <a:moveTo>
                      <a:pt x="5131" y="731"/>
                    </a:moveTo>
                    <a:lnTo>
                      <a:pt x="5128" y="731"/>
                    </a:lnTo>
                    <a:lnTo>
                      <a:pt x="5128" y="731"/>
                    </a:lnTo>
                    <a:lnTo>
                      <a:pt x="5128" y="963"/>
                    </a:lnTo>
                    <a:lnTo>
                      <a:pt x="5131" y="963"/>
                    </a:lnTo>
                    <a:lnTo>
                      <a:pt x="5131" y="731"/>
                    </a:lnTo>
                    <a:moveTo>
                      <a:pt x="3137" y="656"/>
                    </a:moveTo>
                    <a:lnTo>
                      <a:pt x="3135" y="656"/>
                    </a:lnTo>
                    <a:lnTo>
                      <a:pt x="3135" y="658"/>
                    </a:lnTo>
                    <a:lnTo>
                      <a:pt x="3135" y="753"/>
                    </a:lnTo>
                    <a:lnTo>
                      <a:pt x="3137" y="753"/>
                    </a:lnTo>
                    <a:lnTo>
                      <a:pt x="3137" y="656"/>
                    </a:lnTo>
                    <a:moveTo>
                      <a:pt x="97" y="615"/>
                    </a:moveTo>
                    <a:lnTo>
                      <a:pt x="94" y="615"/>
                    </a:lnTo>
                    <a:lnTo>
                      <a:pt x="94" y="618"/>
                    </a:lnTo>
                    <a:lnTo>
                      <a:pt x="94" y="1444"/>
                    </a:lnTo>
                    <a:lnTo>
                      <a:pt x="97" y="1444"/>
                    </a:lnTo>
                    <a:lnTo>
                      <a:pt x="97" y="615"/>
                    </a:lnTo>
                    <a:moveTo>
                      <a:pt x="5251" y="608"/>
                    </a:moveTo>
                    <a:lnTo>
                      <a:pt x="5249" y="608"/>
                    </a:lnTo>
                    <a:lnTo>
                      <a:pt x="5249" y="611"/>
                    </a:lnTo>
                    <a:lnTo>
                      <a:pt x="5249" y="722"/>
                    </a:lnTo>
                    <a:lnTo>
                      <a:pt x="5251" y="722"/>
                    </a:lnTo>
                    <a:lnTo>
                      <a:pt x="5251" y="608"/>
                    </a:lnTo>
                    <a:moveTo>
                      <a:pt x="3282" y="580"/>
                    </a:moveTo>
                    <a:lnTo>
                      <a:pt x="3279" y="580"/>
                    </a:lnTo>
                    <a:lnTo>
                      <a:pt x="3279" y="580"/>
                    </a:lnTo>
                    <a:lnTo>
                      <a:pt x="3279" y="582"/>
                    </a:lnTo>
                    <a:lnTo>
                      <a:pt x="3279" y="648"/>
                    </a:lnTo>
                    <a:lnTo>
                      <a:pt x="3282" y="648"/>
                    </a:lnTo>
                    <a:lnTo>
                      <a:pt x="3282" y="580"/>
                    </a:lnTo>
                    <a:moveTo>
                      <a:pt x="300" y="547"/>
                    </a:moveTo>
                    <a:lnTo>
                      <a:pt x="300" y="547"/>
                    </a:lnTo>
                    <a:lnTo>
                      <a:pt x="300" y="547"/>
                    </a:lnTo>
                    <a:lnTo>
                      <a:pt x="300" y="608"/>
                    </a:lnTo>
                    <a:lnTo>
                      <a:pt x="300" y="608"/>
                    </a:lnTo>
                    <a:lnTo>
                      <a:pt x="300" y="547"/>
                    </a:lnTo>
                    <a:moveTo>
                      <a:pt x="7025" y="506"/>
                    </a:moveTo>
                    <a:lnTo>
                      <a:pt x="7022" y="506"/>
                    </a:lnTo>
                    <a:lnTo>
                      <a:pt x="7022" y="509"/>
                    </a:lnTo>
                    <a:lnTo>
                      <a:pt x="7022" y="1683"/>
                    </a:lnTo>
                    <a:lnTo>
                      <a:pt x="7025" y="1683"/>
                    </a:lnTo>
                    <a:lnTo>
                      <a:pt x="7025" y="506"/>
                    </a:lnTo>
                    <a:moveTo>
                      <a:pt x="4192" y="502"/>
                    </a:moveTo>
                    <a:lnTo>
                      <a:pt x="4192" y="502"/>
                    </a:lnTo>
                    <a:lnTo>
                      <a:pt x="4190" y="504"/>
                    </a:lnTo>
                    <a:lnTo>
                      <a:pt x="4126" y="592"/>
                    </a:lnTo>
                    <a:lnTo>
                      <a:pt x="4126" y="592"/>
                    </a:lnTo>
                    <a:lnTo>
                      <a:pt x="4192" y="502"/>
                    </a:lnTo>
                    <a:moveTo>
                      <a:pt x="3298" y="499"/>
                    </a:moveTo>
                    <a:lnTo>
                      <a:pt x="3298" y="499"/>
                    </a:lnTo>
                    <a:lnTo>
                      <a:pt x="3298" y="499"/>
                    </a:lnTo>
                    <a:lnTo>
                      <a:pt x="3298" y="502"/>
                    </a:lnTo>
                    <a:lnTo>
                      <a:pt x="3298" y="573"/>
                    </a:lnTo>
                    <a:lnTo>
                      <a:pt x="3298" y="573"/>
                    </a:lnTo>
                    <a:lnTo>
                      <a:pt x="3298" y="499"/>
                    </a:lnTo>
                    <a:moveTo>
                      <a:pt x="4036" y="452"/>
                    </a:moveTo>
                    <a:lnTo>
                      <a:pt x="4034" y="452"/>
                    </a:lnTo>
                    <a:lnTo>
                      <a:pt x="4034" y="452"/>
                    </a:lnTo>
                    <a:lnTo>
                      <a:pt x="4034" y="454"/>
                    </a:lnTo>
                    <a:lnTo>
                      <a:pt x="4034" y="490"/>
                    </a:lnTo>
                    <a:lnTo>
                      <a:pt x="3951" y="641"/>
                    </a:lnTo>
                    <a:lnTo>
                      <a:pt x="3951" y="918"/>
                    </a:lnTo>
                    <a:lnTo>
                      <a:pt x="3953" y="918"/>
                    </a:lnTo>
                    <a:lnTo>
                      <a:pt x="3953" y="639"/>
                    </a:lnTo>
                    <a:lnTo>
                      <a:pt x="4036" y="487"/>
                    </a:lnTo>
                    <a:lnTo>
                      <a:pt x="4036" y="452"/>
                    </a:lnTo>
                    <a:moveTo>
                      <a:pt x="3327" y="433"/>
                    </a:moveTo>
                    <a:lnTo>
                      <a:pt x="3327" y="433"/>
                    </a:lnTo>
                    <a:lnTo>
                      <a:pt x="3327" y="433"/>
                    </a:lnTo>
                    <a:lnTo>
                      <a:pt x="3327" y="492"/>
                    </a:lnTo>
                    <a:lnTo>
                      <a:pt x="3327" y="492"/>
                    </a:lnTo>
                    <a:lnTo>
                      <a:pt x="3327" y="433"/>
                    </a:lnTo>
                    <a:moveTo>
                      <a:pt x="4041" y="388"/>
                    </a:moveTo>
                    <a:lnTo>
                      <a:pt x="4041" y="388"/>
                    </a:lnTo>
                    <a:lnTo>
                      <a:pt x="4038" y="388"/>
                    </a:lnTo>
                    <a:lnTo>
                      <a:pt x="4038" y="390"/>
                    </a:lnTo>
                    <a:lnTo>
                      <a:pt x="4038" y="447"/>
                    </a:lnTo>
                    <a:lnTo>
                      <a:pt x="4041" y="447"/>
                    </a:lnTo>
                    <a:lnTo>
                      <a:pt x="4041" y="445"/>
                    </a:lnTo>
                    <a:lnTo>
                      <a:pt x="4041" y="445"/>
                    </a:lnTo>
                    <a:lnTo>
                      <a:pt x="4041" y="388"/>
                    </a:lnTo>
                    <a:moveTo>
                      <a:pt x="1809" y="367"/>
                    </a:moveTo>
                    <a:lnTo>
                      <a:pt x="1806" y="367"/>
                    </a:lnTo>
                    <a:lnTo>
                      <a:pt x="1806" y="369"/>
                    </a:lnTo>
                    <a:lnTo>
                      <a:pt x="1806" y="1122"/>
                    </a:lnTo>
                    <a:lnTo>
                      <a:pt x="1809" y="1122"/>
                    </a:lnTo>
                    <a:lnTo>
                      <a:pt x="1809" y="367"/>
                    </a:lnTo>
                    <a:moveTo>
                      <a:pt x="1936" y="331"/>
                    </a:moveTo>
                    <a:lnTo>
                      <a:pt x="1936" y="331"/>
                    </a:lnTo>
                    <a:lnTo>
                      <a:pt x="1936" y="334"/>
                    </a:lnTo>
                    <a:lnTo>
                      <a:pt x="1936" y="360"/>
                    </a:lnTo>
                    <a:lnTo>
                      <a:pt x="1936" y="360"/>
                    </a:lnTo>
                    <a:lnTo>
                      <a:pt x="1936" y="331"/>
                    </a:lnTo>
                    <a:moveTo>
                      <a:pt x="4050" y="326"/>
                    </a:moveTo>
                    <a:lnTo>
                      <a:pt x="4048" y="326"/>
                    </a:lnTo>
                    <a:lnTo>
                      <a:pt x="4048" y="326"/>
                    </a:lnTo>
                    <a:lnTo>
                      <a:pt x="4048" y="381"/>
                    </a:lnTo>
                    <a:lnTo>
                      <a:pt x="4050" y="381"/>
                    </a:lnTo>
                    <a:lnTo>
                      <a:pt x="4050" y="326"/>
                    </a:lnTo>
                    <a:moveTo>
                      <a:pt x="2028" y="291"/>
                    </a:moveTo>
                    <a:lnTo>
                      <a:pt x="2026" y="291"/>
                    </a:lnTo>
                    <a:lnTo>
                      <a:pt x="2026" y="293"/>
                    </a:lnTo>
                    <a:lnTo>
                      <a:pt x="2026" y="324"/>
                    </a:lnTo>
                    <a:lnTo>
                      <a:pt x="2028" y="324"/>
                    </a:lnTo>
                    <a:lnTo>
                      <a:pt x="2028" y="291"/>
                    </a:lnTo>
                    <a:moveTo>
                      <a:pt x="4703" y="229"/>
                    </a:moveTo>
                    <a:lnTo>
                      <a:pt x="4700" y="229"/>
                    </a:lnTo>
                    <a:lnTo>
                      <a:pt x="4700" y="232"/>
                    </a:lnTo>
                    <a:lnTo>
                      <a:pt x="4637" y="469"/>
                    </a:lnTo>
                    <a:lnTo>
                      <a:pt x="4639" y="466"/>
                    </a:lnTo>
                    <a:lnTo>
                      <a:pt x="4703" y="229"/>
                    </a:lnTo>
                    <a:moveTo>
                      <a:pt x="4802" y="170"/>
                    </a:moveTo>
                    <a:lnTo>
                      <a:pt x="4802" y="170"/>
                    </a:lnTo>
                    <a:lnTo>
                      <a:pt x="4800" y="170"/>
                    </a:lnTo>
                    <a:lnTo>
                      <a:pt x="4800" y="173"/>
                    </a:lnTo>
                    <a:lnTo>
                      <a:pt x="4800" y="222"/>
                    </a:lnTo>
                    <a:lnTo>
                      <a:pt x="4802" y="222"/>
                    </a:lnTo>
                    <a:lnTo>
                      <a:pt x="4802" y="170"/>
                    </a:lnTo>
                    <a:moveTo>
                      <a:pt x="4852" y="0"/>
                    </a:moveTo>
                    <a:lnTo>
                      <a:pt x="4849" y="0"/>
                    </a:lnTo>
                    <a:lnTo>
                      <a:pt x="4849" y="0"/>
                    </a:lnTo>
                    <a:lnTo>
                      <a:pt x="4849" y="163"/>
                    </a:lnTo>
                    <a:lnTo>
                      <a:pt x="4852" y="163"/>
                    </a:lnTo>
                    <a:lnTo>
                      <a:pt x="4852" y="0"/>
                    </a:lnTo>
                    <a:moveTo>
                      <a:pt x="4908" y="0"/>
                    </a:moveTo>
                    <a:lnTo>
                      <a:pt x="4908" y="0"/>
                    </a:lnTo>
                    <a:lnTo>
                      <a:pt x="4908" y="0"/>
                    </a:lnTo>
                    <a:lnTo>
                      <a:pt x="4908" y="163"/>
                    </a:lnTo>
                    <a:lnTo>
                      <a:pt x="4908" y="163"/>
                    </a:lnTo>
                    <a:lnTo>
                      <a:pt x="49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6" name="Freeform 138"/>
              <p:cNvSpPr>
                <a:spLocks noEditPoints="1"/>
              </p:cNvSpPr>
              <p:nvPr/>
            </p:nvSpPr>
            <p:spPr bwMode="auto">
              <a:xfrm>
                <a:off x="40" y="1667"/>
                <a:ext cx="7027" cy="1686"/>
              </a:xfrm>
              <a:custGeom>
                <a:avLst/>
                <a:gdLst>
                  <a:gd name="T0" fmla="*/ 2 w 7027"/>
                  <a:gd name="T1" fmla="*/ 1527 h 1686"/>
                  <a:gd name="T2" fmla="*/ 5665 w 7027"/>
                  <a:gd name="T3" fmla="*/ 1442 h 1686"/>
                  <a:gd name="T4" fmla="*/ 3710 w 7027"/>
                  <a:gd name="T5" fmla="*/ 1222 h 1686"/>
                  <a:gd name="T6" fmla="*/ 5833 w 7027"/>
                  <a:gd name="T7" fmla="*/ 1208 h 1686"/>
                  <a:gd name="T8" fmla="*/ 5833 w 7027"/>
                  <a:gd name="T9" fmla="*/ 1319 h 1686"/>
                  <a:gd name="T10" fmla="*/ 1664 w 7027"/>
                  <a:gd name="T11" fmla="*/ 1158 h 1686"/>
                  <a:gd name="T12" fmla="*/ 1688 w 7027"/>
                  <a:gd name="T13" fmla="*/ 1132 h 1686"/>
                  <a:gd name="T14" fmla="*/ 5857 w 7027"/>
                  <a:gd name="T15" fmla="*/ 1127 h 1686"/>
                  <a:gd name="T16" fmla="*/ 5857 w 7027"/>
                  <a:gd name="T17" fmla="*/ 1203 h 1686"/>
                  <a:gd name="T18" fmla="*/ 6322 w 7027"/>
                  <a:gd name="T19" fmla="*/ 1130 h 1686"/>
                  <a:gd name="T20" fmla="*/ 1447 w 7027"/>
                  <a:gd name="T21" fmla="*/ 1125 h 1686"/>
                  <a:gd name="T22" fmla="*/ 1447 w 7027"/>
                  <a:gd name="T23" fmla="*/ 1125 h 1686"/>
                  <a:gd name="T24" fmla="*/ 1463 w 7027"/>
                  <a:gd name="T25" fmla="*/ 1120 h 1686"/>
                  <a:gd name="T26" fmla="*/ 2858 w 7027"/>
                  <a:gd name="T27" fmla="*/ 1063 h 1686"/>
                  <a:gd name="T28" fmla="*/ 5932 w 7027"/>
                  <a:gd name="T29" fmla="*/ 1042 h 1686"/>
                  <a:gd name="T30" fmla="*/ 5932 w 7027"/>
                  <a:gd name="T31" fmla="*/ 1042 h 1686"/>
                  <a:gd name="T32" fmla="*/ 2877 w 7027"/>
                  <a:gd name="T33" fmla="*/ 1056 h 1686"/>
                  <a:gd name="T34" fmla="*/ 3769 w 7027"/>
                  <a:gd name="T35" fmla="*/ 1217 h 1686"/>
                  <a:gd name="T36" fmla="*/ 5949 w 7027"/>
                  <a:gd name="T37" fmla="*/ 990 h 1686"/>
                  <a:gd name="T38" fmla="*/ 6341 w 7027"/>
                  <a:gd name="T39" fmla="*/ 936 h 1686"/>
                  <a:gd name="T40" fmla="*/ 6341 w 7027"/>
                  <a:gd name="T41" fmla="*/ 936 h 1686"/>
                  <a:gd name="T42" fmla="*/ 3847 w 7027"/>
                  <a:gd name="T43" fmla="*/ 988 h 1686"/>
                  <a:gd name="T44" fmla="*/ 6384 w 7027"/>
                  <a:gd name="T45" fmla="*/ 895 h 1686"/>
                  <a:gd name="T46" fmla="*/ 6389 w 7027"/>
                  <a:gd name="T47" fmla="*/ 879 h 1686"/>
                  <a:gd name="T48" fmla="*/ 6389 w 7027"/>
                  <a:gd name="T49" fmla="*/ 888 h 1686"/>
                  <a:gd name="T50" fmla="*/ 6396 w 7027"/>
                  <a:gd name="T51" fmla="*/ 850 h 1686"/>
                  <a:gd name="T52" fmla="*/ 804 w 7027"/>
                  <a:gd name="T53" fmla="*/ 827 h 1686"/>
                  <a:gd name="T54" fmla="*/ 3102 w 7027"/>
                  <a:gd name="T55" fmla="*/ 763 h 1686"/>
                  <a:gd name="T56" fmla="*/ 3102 w 7027"/>
                  <a:gd name="T57" fmla="*/ 973 h 1686"/>
                  <a:gd name="T58" fmla="*/ 1007 w 7027"/>
                  <a:gd name="T59" fmla="*/ 822 h 1686"/>
                  <a:gd name="T60" fmla="*/ 5131 w 7027"/>
                  <a:gd name="T61" fmla="*/ 734 h 1686"/>
                  <a:gd name="T62" fmla="*/ 3137 w 7027"/>
                  <a:gd name="T63" fmla="*/ 656 h 1686"/>
                  <a:gd name="T64" fmla="*/ 97 w 7027"/>
                  <a:gd name="T65" fmla="*/ 616 h 1686"/>
                  <a:gd name="T66" fmla="*/ 97 w 7027"/>
                  <a:gd name="T67" fmla="*/ 616 h 1686"/>
                  <a:gd name="T68" fmla="*/ 5254 w 7027"/>
                  <a:gd name="T69" fmla="*/ 725 h 1686"/>
                  <a:gd name="T70" fmla="*/ 3282 w 7027"/>
                  <a:gd name="T71" fmla="*/ 583 h 1686"/>
                  <a:gd name="T72" fmla="*/ 300 w 7027"/>
                  <a:gd name="T73" fmla="*/ 547 h 1686"/>
                  <a:gd name="T74" fmla="*/ 7027 w 7027"/>
                  <a:gd name="T75" fmla="*/ 509 h 1686"/>
                  <a:gd name="T76" fmla="*/ 7027 w 7027"/>
                  <a:gd name="T77" fmla="*/ 509 h 1686"/>
                  <a:gd name="T78" fmla="*/ 4126 w 7027"/>
                  <a:gd name="T79" fmla="*/ 597 h 1686"/>
                  <a:gd name="T80" fmla="*/ 3298 w 7027"/>
                  <a:gd name="T81" fmla="*/ 502 h 1686"/>
                  <a:gd name="T82" fmla="*/ 4036 w 7027"/>
                  <a:gd name="T83" fmla="*/ 455 h 1686"/>
                  <a:gd name="T84" fmla="*/ 3953 w 7027"/>
                  <a:gd name="T85" fmla="*/ 921 h 1686"/>
                  <a:gd name="T86" fmla="*/ 3329 w 7027"/>
                  <a:gd name="T87" fmla="*/ 434 h 1686"/>
                  <a:gd name="T88" fmla="*/ 3329 w 7027"/>
                  <a:gd name="T89" fmla="*/ 434 h 1686"/>
                  <a:gd name="T90" fmla="*/ 4041 w 7027"/>
                  <a:gd name="T91" fmla="*/ 448 h 1686"/>
                  <a:gd name="T92" fmla="*/ 1809 w 7027"/>
                  <a:gd name="T93" fmla="*/ 370 h 1686"/>
                  <a:gd name="T94" fmla="*/ 1936 w 7027"/>
                  <a:gd name="T95" fmla="*/ 334 h 1686"/>
                  <a:gd name="T96" fmla="*/ 4050 w 7027"/>
                  <a:gd name="T97" fmla="*/ 327 h 1686"/>
                  <a:gd name="T98" fmla="*/ 4050 w 7027"/>
                  <a:gd name="T99" fmla="*/ 327 h 1686"/>
                  <a:gd name="T100" fmla="*/ 2028 w 7027"/>
                  <a:gd name="T101" fmla="*/ 327 h 1686"/>
                  <a:gd name="T102" fmla="*/ 4639 w 7027"/>
                  <a:gd name="T103" fmla="*/ 469 h 1686"/>
                  <a:gd name="T104" fmla="*/ 4802 w 7027"/>
                  <a:gd name="T105" fmla="*/ 171 h 1686"/>
                  <a:gd name="T106" fmla="*/ 4854 w 7027"/>
                  <a:gd name="T107" fmla="*/ 0 h 1686"/>
                  <a:gd name="T108" fmla="*/ 4854 w 7027"/>
                  <a:gd name="T109" fmla="*/ 0 h 1686"/>
                  <a:gd name="T110" fmla="*/ 4911 w 7027"/>
                  <a:gd name="T111" fmla="*/ 16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86">
                    <a:moveTo>
                      <a:pt x="2" y="1452"/>
                    </a:moveTo>
                    <a:lnTo>
                      <a:pt x="0" y="1452"/>
                    </a:lnTo>
                    <a:lnTo>
                      <a:pt x="0" y="1454"/>
                    </a:lnTo>
                    <a:lnTo>
                      <a:pt x="0" y="1527"/>
                    </a:lnTo>
                    <a:lnTo>
                      <a:pt x="2" y="1527"/>
                    </a:lnTo>
                    <a:lnTo>
                      <a:pt x="2" y="1452"/>
                    </a:lnTo>
                    <a:close/>
                    <a:moveTo>
                      <a:pt x="5667" y="1326"/>
                    </a:moveTo>
                    <a:lnTo>
                      <a:pt x="5665" y="1326"/>
                    </a:lnTo>
                    <a:lnTo>
                      <a:pt x="5665" y="1329"/>
                    </a:lnTo>
                    <a:lnTo>
                      <a:pt x="5665" y="1442"/>
                    </a:lnTo>
                    <a:lnTo>
                      <a:pt x="5667" y="1442"/>
                    </a:lnTo>
                    <a:lnTo>
                      <a:pt x="5667" y="1326"/>
                    </a:lnTo>
                    <a:close/>
                    <a:moveTo>
                      <a:pt x="3712" y="1222"/>
                    </a:moveTo>
                    <a:lnTo>
                      <a:pt x="3710" y="1222"/>
                    </a:lnTo>
                    <a:lnTo>
                      <a:pt x="3710" y="1222"/>
                    </a:lnTo>
                    <a:lnTo>
                      <a:pt x="3710" y="1224"/>
                    </a:lnTo>
                    <a:lnTo>
                      <a:pt x="3710" y="1385"/>
                    </a:lnTo>
                    <a:lnTo>
                      <a:pt x="3712" y="1385"/>
                    </a:lnTo>
                    <a:lnTo>
                      <a:pt x="3712" y="1222"/>
                    </a:lnTo>
                    <a:close/>
                    <a:moveTo>
                      <a:pt x="5833" y="1208"/>
                    </a:moveTo>
                    <a:lnTo>
                      <a:pt x="5831" y="1208"/>
                    </a:lnTo>
                    <a:lnTo>
                      <a:pt x="5831" y="1208"/>
                    </a:lnTo>
                    <a:lnTo>
                      <a:pt x="5831" y="1210"/>
                    </a:lnTo>
                    <a:lnTo>
                      <a:pt x="5831" y="1319"/>
                    </a:lnTo>
                    <a:lnTo>
                      <a:pt x="5833" y="1319"/>
                    </a:lnTo>
                    <a:lnTo>
                      <a:pt x="5833" y="1208"/>
                    </a:lnTo>
                    <a:close/>
                    <a:moveTo>
                      <a:pt x="1667" y="1156"/>
                    </a:moveTo>
                    <a:lnTo>
                      <a:pt x="1664" y="1156"/>
                    </a:lnTo>
                    <a:lnTo>
                      <a:pt x="1664" y="1156"/>
                    </a:lnTo>
                    <a:lnTo>
                      <a:pt x="1664" y="1158"/>
                    </a:lnTo>
                    <a:lnTo>
                      <a:pt x="1664" y="1194"/>
                    </a:lnTo>
                    <a:lnTo>
                      <a:pt x="1667" y="1194"/>
                    </a:lnTo>
                    <a:lnTo>
                      <a:pt x="1667" y="1156"/>
                    </a:lnTo>
                    <a:close/>
                    <a:moveTo>
                      <a:pt x="1690" y="1132"/>
                    </a:moveTo>
                    <a:lnTo>
                      <a:pt x="1688" y="1132"/>
                    </a:lnTo>
                    <a:lnTo>
                      <a:pt x="1688" y="1132"/>
                    </a:lnTo>
                    <a:lnTo>
                      <a:pt x="1688" y="1151"/>
                    </a:lnTo>
                    <a:lnTo>
                      <a:pt x="1690" y="1151"/>
                    </a:lnTo>
                    <a:lnTo>
                      <a:pt x="1690" y="1132"/>
                    </a:lnTo>
                    <a:close/>
                    <a:moveTo>
                      <a:pt x="5857" y="1127"/>
                    </a:moveTo>
                    <a:lnTo>
                      <a:pt x="5857" y="1127"/>
                    </a:lnTo>
                    <a:lnTo>
                      <a:pt x="5854" y="1127"/>
                    </a:lnTo>
                    <a:lnTo>
                      <a:pt x="5854" y="1130"/>
                    </a:lnTo>
                    <a:lnTo>
                      <a:pt x="5854" y="1203"/>
                    </a:lnTo>
                    <a:lnTo>
                      <a:pt x="5857" y="1203"/>
                    </a:lnTo>
                    <a:lnTo>
                      <a:pt x="5857" y="1127"/>
                    </a:lnTo>
                    <a:close/>
                    <a:moveTo>
                      <a:pt x="6322" y="1127"/>
                    </a:moveTo>
                    <a:lnTo>
                      <a:pt x="6322" y="1127"/>
                    </a:lnTo>
                    <a:lnTo>
                      <a:pt x="6322" y="1127"/>
                    </a:lnTo>
                    <a:lnTo>
                      <a:pt x="6322" y="1130"/>
                    </a:lnTo>
                    <a:lnTo>
                      <a:pt x="6322" y="1357"/>
                    </a:lnTo>
                    <a:lnTo>
                      <a:pt x="6322" y="1357"/>
                    </a:lnTo>
                    <a:lnTo>
                      <a:pt x="6322" y="1127"/>
                    </a:lnTo>
                    <a:close/>
                    <a:moveTo>
                      <a:pt x="1447" y="1125"/>
                    </a:moveTo>
                    <a:lnTo>
                      <a:pt x="1447" y="1125"/>
                    </a:lnTo>
                    <a:lnTo>
                      <a:pt x="1447" y="1125"/>
                    </a:lnTo>
                    <a:lnTo>
                      <a:pt x="1447" y="1127"/>
                    </a:lnTo>
                    <a:lnTo>
                      <a:pt x="1447" y="1194"/>
                    </a:lnTo>
                    <a:lnTo>
                      <a:pt x="1447" y="1194"/>
                    </a:lnTo>
                    <a:lnTo>
                      <a:pt x="1447" y="1125"/>
                    </a:lnTo>
                    <a:close/>
                    <a:moveTo>
                      <a:pt x="1463" y="1082"/>
                    </a:moveTo>
                    <a:lnTo>
                      <a:pt x="1463" y="1082"/>
                    </a:lnTo>
                    <a:lnTo>
                      <a:pt x="1463" y="1085"/>
                    </a:lnTo>
                    <a:lnTo>
                      <a:pt x="1463" y="1120"/>
                    </a:lnTo>
                    <a:lnTo>
                      <a:pt x="1463" y="1120"/>
                    </a:lnTo>
                    <a:lnTo>
                      <a:pt x="1463" y="1082"/>
                    </a:lnTo>
                    <a:close/>
                    <a:moveTo>
                      <a:pt x="2861" y="1061"/>
                    </a:moveTo>
                    <a:lnTo>
                      <a:pt x="2861" y="1061"/>
                    </a:lnTo>
                    <a:lnTo>
                      <a:pt x="2858" y="1061"/>
                    </a:lnTo>
                    <a:lnTo>
                      <a:pt x="2858" y="1063"/>
                    </a:lnTo>
                    <a:lnTo>
                      <a:pt x="2858" y="1234"/>
                    </a:lnTo>
                    <a:lnTo>
                      <a:pt x="2861" y="1234"/>
                    </a:lnTo>
                    <a:lnTo>
                      <a:pt x="2861" y="1061"/>
                    </a:lnTo>
                    <a:close/>
                    <a:moveTo>
                      <a:pt x="5932" y="1042"/>
                    </a:moveTo>
                    <a:lnTo>
                      <a:pt x="5932" y="1042"/>
                    </a:lnTo>
                    <a:lnTo>
                      <a:pt x="5930" y="1042"/>
                    </a:lnTo>
                    <a:lnTo>
                      <a:pt x="5930" y="1042"/>
                    </a:lnTo>
                    <a:lnTo>
                      <a:pt x="5930" y="1123"/>
                    </a:lnTo>
                    <a:lnTo>
                      <a:pt x="5932" y="1123"/>
                    </a:lnTo>
                    <a:lnTo>
                      <a:pt x="5932" y="1042"/>
                    </a:lnTo>
                    <a:close/>
                    <a:moveTo>
                      <a:pt x="2877" y="1011"/>
                    </a:moveTo>
                    <a:lnTo>
                      <a:pt x="2877" y="1011"/>
                    </a:lnTo>
                    <a:lnTo>
                      <a:pt x="2877" y="1014"/>
                    </a:lnTo>
                    <a:lnTo>
                      <a:pt x="2877" y="1056"/>
                    </a:lnTo>
                    <a:lnTo>
                      <a:pt x="2877" y="1056"/>
                    </a:lnTo>
                    <a:lnTo>
                      <a:pt x="2877" y="1011"/>
                    </a:lnTo>
                    <a:close/>
                    <a:moveTo>
                      <a:pt x="3771" y="992"/>
                    </a:moveTo>
                    <a:lnTo>
                      <a:pt x="3769" y="992"/>
                    </a:lnTo>
                    <a:lnTo>
                      <a:pt x="3769" y="995"/>
                    </a:lnTo>
                    <a:lnTo>
                      <a:pt x="3769" y="1217"/>
                    </a:lnTo>
                    <a:lnTo>
                      <a:pt x="3771" y="1217"/>
                    </a:lnTo>
                    <a:lnTo>
                      <a:pt x="3771" y="992"/>
                    </a:lnTo>
                    <a:close/>
                    <a:moveTo>
                      <a:pt x="5949" y="990"/>
                    </a:moveTo>
                    <a:lnTo>
                      <a:pt x="5949" y="990"/>
                    </a:lnTo>
                    <a:lnTo>
                      <a:pt x="5949" y="990"/>
                    </a:lnTo>
                    <a:lnTo>
                      <a:pt x="5949" y="1035"/>
                    </a:lnTo>
                    <a:lnTo>
                      <a:pt x="5949" y="1035"/>
                    </a:lnTo>
                    <a:lnTo>
                      <a:pt x="5949" y="990"/>
                    </a:lnTo>
                    <a:close/>
                    <a:moveTo>
                      <a:pt x="6341" y="936"/>
                    </a:moveTo>
                    <a:lnTo>
                      <a:pt x="6341" y="936"/>
                    </a:lnTo>
                    <a:lnTo>
                      <a:pt x="6339" y="936"/>
                    </a:lnTo>
                    <a:lnTo>
                      <a:pt x="6339" y="938"/>
                    </a:lnTo>
                    <a:lnTo>
                      <a:pt x="6339" y="1123"/>
                    </a:lnTo>
                    <a:lnTo>
                      <a:pt x="6341" y="1123"/>
                    </a:lnTo>
                    <a:lnTo>
                      <a:pt x="6341" y="936"/>
                    </a:lnTo>
                    <a:close/>
                    <a:moveTo>
                      <a:pt x="3847" y="928"/>
                    </a:moveTo>
                    <a:lnTo>
                      <a:pt x="3844" y="928"/>
                    </a:lnTo>
                    <a:lnTo>
                      <a:pt x="3844" y="928"/>
                    </a:lnTo>
                    <a:lnTo>
                      <a:pt x="3844" y="988"/>
                    </a:lnTo>
                    <a:lnTo>
                      <a:pt x="3847" y="988"/>
                    </a:lnTo>
                    <a:lnTo>
                      <a:pt x="3847" y="928"/>
                    </a:lnTo>
                    <a:close/>
                    <a:moveTo>
                      <a:pt x="6386" y="895"/>
                    </a:moveTo>
                    <a:lnTo>
                      <a:pt x="6384" y="895"/>
                    </a:lnTo>
                    <a:lnTo>
                      <a:pt x="6384" y="895"/>
                    </a:lnTo>
                    <a:lnTo>
                      <a:pt x="6384" y="895"/>
                    </a:lnTo>
                    <a:lnTo>
                      <a:pt x="6377" y="928"/>
                    </a:lnTo>
                    <a:lnTo>
                      <a:pt x="6377" y="928"/>
                    </a:lnTo>
                    <a:lnTo>
                      <a:pt x="6386" y="895"/>
                    </a:lnTo>
                    <a:close/>
                    <a:moveTo>
                      <a:pt x="6391" y="879"/>
                    </a:moveTo>
                    <a:lnTo>
                      <a:pt x="6389" y="879"/>
                    </a:lnTo>
                    <a:lnTo>
                      <a:pt x="6389" y="879"/>
                    </a:lnTo>
                    <a:lnTo>
                      <a:pt x="6389" y="879"/>
                    </a:lnTo>
                    <a:lnTo>
                      <a:pt x="6389" y="891"/>
                    </a:lnTo>
                    <a:lnTo>
                      <a:pt x="6389" y="891"/>
                    </a:lnTo>
                    <a:lnTo>
                      <a:pt x="6389" y="888"/>
                    </a:lnTo>
                    <a:lnTo>
                      <a:pt x="6391" y="888"/>
                    </a:lnTo>
                    <a:lnTo>
                      <a:pt x="6391" y="879"/>
                    </a:lnTo>
                    <a:close/>
                    <a:moveTo>
                      <a:pt x="6398" y="850"/>
                    </a:moveTo>
                    <a:lnTo>
                      <a:pt x="6396" y="850"/>
                    </a:lnTo>
                    <a:lnTo>
                      <a:pt x="6396" y="850"/>
                    </a:lnTo>
                    <a:lnTo>
                      <a:pt x="6396" y="872"/>
                    </a:lnTo>
                    <a:lnTo>
                      <a:pt x="6398" y="872"/>
                    </a:lnTo>
                    <a:lnTo>
                      <a:pt x="6398" y="850"/>
                    </a:lnTo>
                    <a:close/>
                    <a:moveTo>
                      <a:pt x="806" y="827"/>
                    </a:moveTo>
                    <a:lnTo>
                      <a:pt x="804" y="827"/>
                    </a:lnTo>
                    <a:lnTo>
                      <a:pt x="804" y="829"/>
                    </a:lnTo>
                    <a:lnTo>
                      <a:pt x="804" y="1063"/>
                    </a:lnTo>
                    <a:lnTo>
                      <a:pt x="806" y="1063"/>
                    </a:lnTo>
                    <a:lnTo>
                      <a:pt x="806" y="827"/>
                    </a:lnTo>
                    <a:close/>
                    <a:moveTo>
                      <a:pt x="3102" y="763"/>
                    </a:moveTo>
                    <a:lnTo>
                      <a:pt x="3100" y="763"/>
                    </a:lnTo>
                    <a:lnTo>
                      <a:pt x="3100" y="763"/>
                    </a:lnTo>
                    <a:lnTo>
                      <a:pt x="3100" y="765"/>
                    </a:lnTo>
                    <a:lnTo>
                      <a:pt x="3100" y="973"/>
                    </a:lnTo>
                    <a:lnTo>
                      <a:pt x="3102" y="973"/>
                    </a:lnTo>
                    <a:lnTo>
                      <a:pt x="3102" y="763"/>
                    </a:lnTo>
                    <a:close/>
                    <a:moveTo>
                      <a:pt x="1009" y="753"/>
                    </a:moveTo>
                    <a:lnTo>
                      <a:pt x="1007" y="753"/>
                    </a:lnTo>
                    <a:lnTo>
                      <a:pt x="1007" y="753"/>
                    </a:lnTo>
                    <a:lnTo>
                      <a:pt x="1007" y="822"/>
                    </a:lnTo>
                    <a:lnTo>
                      <a:pt x="1009" y="822"/>
                    </a:lnTo>
                    <a:lnTo>
                      <a:pt x="1009" y="753"/>
                    </a:lnTo>
                    <a:close/>
                    <a:moveTo>
                      <a:pt x="5133" y="732"/>
                    </a:moveTo>
                    <a:lnTo>
                      <a:pt x="5131" y="732"/>
                    </a:lnTo>
                    <a:lnTo>
                      <a:pt x="5131" y="734"/>
                    </a:lnTo>
                    <a:lnTo>
                      <a:pt x="5131" y="966"/>
                    </a:lnTo>
                    <a:lnTo>
                      <a:pt x="5133" y="966"/>
                    </a:lnTo>
                    <a:lnTo>
                      <a:pt x="5133" y="732"/>
                    </a:lnTo>
                    <a:close/>
                    <a:moveTo>
                      <a:pt x="3140" y="656"/>
                    </a:moveTo>
                    <a:lnTo>
                      <a:pt x="3137" y="656"/>
                    </a:lnTo>
                    <a:lnTo>
                      <a:pt x="3137" y="659"/>
                    </a:lnTo>
                    <a:lnTo>
                      <a:pt x="3137" y="756"/>
                    </a:lnTo>
                    <a:lnTo>
                      <a:pt x="3140" y="756"/>
                    </a:lnTo>
                    <a:lnTo>
                      <a:pt x="3140" y="656"/>
                    </a:lnTo>
                    <a:close/>
                    <a:moveTo>
                      <a:pt x="97" y="616"/>
                    </a:moveTo>
                    <a:lnTo>
                      <a:pt x="97" y="616"/>
                    </a:lnTo>
                    <a:lnTo>
                      <a:pt x="97" y="618"/>
                    </a:lnTo>
                    <a:lnTo>
                      <a:pt x="97" y="1447"/>
                    </a:lnTo>
                    <a:lnTo>
                      <a:pt x="97" y="1447"/>
                    </a:lnTo>
                    <a:lnTo>
                      <a:pt x="97" y="616"/>
                    </a:lnTo>
                    <a:close/>
                    <a:moveTo>
                      <a:pt x="5254" y="609"/>
                    </a:moveTo>
                    <a:lnTo>
                      <a:pt x="5251" y="609"/>
                    </a:lnTo>
                    <a:lnTo>
                      <a:pt x="5251" y="611"/>
                    </a:lnTo>
                    <a:lnTo>
                      <a:pt x="5251" y="725"/>
                    </a:lnTo>
                    <a:lnTo>
                      <a:pt x="5254" y="725"/>
                    </a:lnTo>
                    <a:lnTo>
                      <a:pt x="5254" y="609"/>
                    </a:lnTo>
                    <a:close/>
                    <a:moveTo>
                      <a:pt x="3284" y="580"/>
                    </a:moveTo>
                    <a:lnTo>
                      <a:pt x="3282" y="580"/>
                    </a:lnTo>
                    <a:lnTo>
                      <a:pt x="3282" y="580"/>
                    </a:lnTo>
                    <a:lnTo>
                      <a:pt x="3282" y="583"/>
                    </a:lnTo>
                    <a:lnTo>
                      <a:pt x="3282" y="651"/>
                    </a:lnTo>
                    <a:lnTo>
                      <a:pt x="3284" y="651"/>
                    </a:lnTo>
                    <a:lnTo>
                      <a:pt x="3284" y="580"/>
                    </a:lnTo>
                    <a:close/>
                    <a:moveTo>
                      <a:pt x="302" y="547"/>
                    </a:moveTo>
                    <a:lnTo>
                      <a:pt x="300" y="547"/>
                    </a:lnTo>
                    <a:lnTo>
                      <a:pt x="300" y="550"/>
                    </a:lnTo>
                    <a:lnTo>
                      <a:pt x="300" y="611"/>
                    </a:lnTo>
                    <a:lnTo>
                      <a:pt x="302" y="611"/>
                    </a:lnTo>
                    <a:lnTo>
                      <a:pt x="302" y="547"/>
                    </a:lnTo>
                    <a:close/>
                    <a:moveTo>
                      <a:pt x="7027" y="509"/>
                    </a:moveTo>
                    <a:lnTo>
                      <a:pt x="7025" y="509"/>
                    </a:lnTo>
                    <a:lnTo>
                      <a:pt x="7025" y="509"/>
                    </a:lnTo>
                    <a:lnTo>
                      <a:pt x="7025" y="1686"/>
                    </a:lnTo>
                    <a:lnTo>
                      <a:pt x="7027" y="1686"/>
                    </a:lnTo>
                    <a:lnTo>
                      <a:pt x="7027" y="509"/>
                    </a:lnTo>
                    <a:close/>
                    <a:moveTo>
                      <a:pt x="4194" y="502"/>
                    </a:moveTo>
                    <a:lnTo>
                      <a:pt x="4194" y="502"/>
                    </a:lnTo>
                    <a:lnTo>
                      <a:pt x="4192" y="505"/>
                    </a:lnTo>
                    <a:lnTo>
                      <a:pt x="4126" y="595"/>
                    </a:lnTo>
                    <a:lnTo>
                      <a:pt x="4126" y="597"/>
                    </a:lnTo>
                    <a:lnTo>
                      <a:pt x="4194" y="502"/>
                    </a:lnTo>
                    <a:close/>
                    <a:moveTo>
                      <a:pt x="3301" y="500"/>
                    </a:moveTo>
                    <a:lnTo>
                      <a:pt x="3301" y="500"/>
                    </a:lnTo>
                    <a:lnTo>
                      <a:pt x="3298" y="500"/>
                    </a:lnTo>
                    <a:lnTo>
                      <a:pt x="3298" y="502"/>
                    </a:lnTo>
                    <a:lnTo>
                      <a:pt x="3298" y="576"/>
                    </a:lnTo>
                    <a:lnTo>
                      <a:pt x="3301" y="576"/>
                    </a:lnTo>
                    <a:lnTo>
                      <a:pt x="3301" y="500"/>
                    </a:lnTo>
                    <a:close/>
                    <a:moveTo>
                      <a:pt x="4038" y="455"/>
                    </a:moveTo>
                    <a:lnTo>
                      <a:pt x="4036" y="455"/>
                    </a:lnTo>
                    <a:lnTo>
                      <a:pt x="4036" y="455"/>
                    </a:lnTo>
                    <a:lnTo>
                      <a:pt x="4036" y="455"/>
                    </a:lnTo>
                    <a:lnTo>
                      <a:pt x="4036" y="490"/>
                    </a:lnTo>
                    <a:lnTo>
                      <a:pt x="3953" y="642"/>
                    </a:lnTo>
                    <a:lnTo>
                      <a:pt x="3953" y="921"/>
                    </a:lnTo>
                    <a:lnTo>
                      <a:pt x="3956" y="921"/>
                    </a:lnTo>
                    <a:lnTo>
                      <a:pt x="3956" y="642"/>
                    </a:lnTo>
                    <a:lnTo>
                      <a:pt x="4038" y="488"/>
                    </a:lnTo>
                    <a:lnTo>
                      <a:pt x="4038" y="455"/>
                    </a:lnTo>
                    <a:close/>
                    <a:moveTo>
                      <a:pt x="3329" y="434"/>
                    </a:moveTo>
                    <a:lnTo>
                      <a:pt x="3327" y="434"/>
                    </a:lnTo>
                    <a:lnTo>
                      <a:pt x="3327" y="436"/>
                    </a:lnTo>
                    <a:lnTo>
                      <a:pt x="3327" y="495"/>
                    </a:lnTo>
                    <a:lnTo>
                      <a:pt x="3329" y="495"/>
                    </a:lnTo>
                    <a:lnTo>
                      <a:pt x="3329" y="434"/>
                    </a:lnTo>
                    <a:close/>
                    <a:moveTo>
                      <a:pt x="4043" y="391"/>
                    </a:moveTo>
                    <a:lnTo>
                      <a:pt x="4041" y="391"/>
                    </a:lnTo>
                    <a:lnTo>
                      <a:pt x="4041" y="391"/>
                    </a:lnTo>
                    <a:lnTo>
                      <a:pt x="4041" y="391"/>
                    </a:lnTo>
                    <a:lnTo>
                      <a:pt x="4041" y="448"/>
                    </a:lnTo>
                    <a:lnTo>
                      <a:pt x="4043" y="448"/>
                    </a:lnTo>
                    <a:lnTo>
                      <a:pt x="4043" y="391"/>
                    </a:lnTo>
                    <a:close/>
                    <a:moveTo>
                      <a:pt x="1811" y="367"/>
                    </a:moveTo>
                    <a:lnTo>
                      <a:pt x="1809" y="367"/>
                    </a:lnTo>
                    <a:lnTo>
                      <a:pt x="1809" y="370"/>
                    </a:lnTo>
                    <a:lnTo>
                      <a:pt x="1809" y="1125"/>
                    </a:lnTo>
                    <a:lnTo>
                      <a:pt x="1811" y="1125"/>
                    </a:lnTo>
                    <a:lnTo>
                      <a:pt x="1811" y="367"/>
                    </a:lnTo>
                    <a:close/>
                    <a:moveTo>
                      <a:pt x="1939" y="334"/>
                    </a:moveTo>
                    <a:lnTo>
                      <a:pt x="1936" y="334"/>
                    </a:lnTo>
                    <a:lnTo>
                      <a:pt x="1936" y="334"/>
                    </a:lnTo>
                    <a:lnTo>
                      <a:pt x="1936" y="363"/>
                    </a:lnTo>
                    <a:lnTo>
                      <a:pt x="1939" y="363"/>
                    </a:lnTo>
                    <a:lnTo>
                      <a:pt x="1939" y="334"/>
                    </a:lnTo>
                    <a:close/>
                    <a:moveTo>
                      <a:pt x="4050" y="327"/>
                    </a:moveTo>
                    <a:lnTo>
                      <a:pt x="4050" y="327"/>
                    </a:lnTo>
                    <a:lnTo>
                      <a:pt x="4050" y="329"/>
                    </a:lnTo>
                    <a:lnTo>
                      <a:pt x="4050" y="384"/>
                    </a:lnTo>
                    <a:lnTo>
                      <a:pt x="4050" y="384"/>
                    </a:lnTo>
                    <a:lnTo>
                      <a:pt x="4050" y="327"/>
                    </a:lnTo>
                    <a:close/>
                    <a:moveTo>
                      <a:pt x="2028" y="294"/>
                    </a:moveTo>
                    <a:lnTo>
                      <a:pt x="2028" y="294"/>
                    </a:lnTo>
                    <a:lnTo>
                      <a:pt x="2028" y="294"/>
                    </a:lnTo>
                    <a:lnTo>
                      <a:pt x="2028" y="327"/>
                    </a:lnTo>
                    <a:lnTo>
                      <a:pt x="2028" y="327"/>
                    </a:lnTo>
                    <a:lnTo>
                      <a:pt x="2028" y="294"/>
                    </a:lnTo>
                    <a:close/>
                    <a:moveTo>
                      <a:pt x="4705" y="232"/>
                    </a:moveTo>
                    <a:lnTo>
                      <a:pt x="4703" y="232"/>
                    </a:lnTo>
                    <a:lnTo>
                      <a:pt x="4703" y="232"/>
                    </a:lnTo>
                    <a:lnTo>
                      <a:pt x="4639" y="469"/>
                    </a:lnTo>
                    <a:lnTo>
                      <a:pt x="4639" y="469"/>
                    </a:lnTo>
                    <a:lnTo>
                      <a:pt x="4705" y="232"/>
                    </a:lnTo>
                    <a:close/>
                    <a:moveTo>
                      <a:pt x="4804" y="171"/>
                    </a:moveTo>
                    <a:lnTo>
                      <a:pt x="4804" y="171"/>
                    </a:lnTo>
                    <a:lnTo>
                      <a:pt x="4802" y="171"/>
                    </a:lnTo>
                    <a:lnTo>
                      <a:pt x="4802" y="173"/>
                    </a:lnTo>
                    <a:lnTo>
                      <a:pt x="4802" y="225"/>
                    </a:lnTo>
                    <a:lnTo>
                      <a:pt x="4804" y="225"/>
                    </a:lnTo>
                    <a:lnTo>
                      <a:pt x="4804" y="171"/>
                    </a:lnTo>
                    <a:close/>
                    <a:moveTo>
                      <a:pt x="4854" y="0"/>
                    </a:moveTo>
                    <a:lnTo>
                      <a:pt x="4852" y="0"/>
                    </a:lnTo>
                    <a:lnTo>
                      <a:pt x="4852" y="3"/>
                    </a:lnTo>
                    <a:lnTo>
                      <a:pt x="4852" y="166"/>
                    </a:lnTo>
                    <a:lnTo>
                      <a:pt x="4854" y="166"/>
                    </a:lnTo>
                    <a:lnTo>
                      <a:pt x="4854" y="0"/>
                    </a:lnTo>
                    <a:close/>
                    <a:moveTo>
                      <a:pt x="4911" y="0"/>
                    </a:moveTo>
                    <a:lnTo>
                      <a:pt x="4908" y="0"/>
                    </a:lnTo>
                    <a:lnTo>
                      <a:pt x="4908" y="3"/>
                    </a:lnTo>
                    <a:lnTo>
                      <a:pt x="4908" y="166"/>
                    </a:lnTo>
                    <a:lnTo>
                      <a:pt x="4911" y="166"/>
                    </a:lnTo>
                    <a:lnTo>
                      <a:pt x="4911" y="0"/>
                    </a:lnTo>
                    <a:close/>
                  </a:path>
                </a:pathLst>
              </a:custGeom>
              <a:solidFill>
                <a:srgbClr val="BBB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7" name="Freeform 139"/>
              <p:cNvSpPr>
                <a:spLocks noEditPoints="1"/>
              </p:cNvSpPr>
              <p:nvPr/>
            </p:nvSpPr>
            <p:spPr bwMode="auto">
              <a:xfrm>
                <a:off x="40" y="1667"/>
                <a:ext cx="7027" cy="1686"/>
              </a:xfrm>
              <a:custGeom>
                <a:avLst/>
                <a:gdLst>
                  <a:gd name="T0" fmla="*/ 2 w 7027"/>
                  <a:gd name="T1" fmla="*/ 1527 h 1686"/>
                  <a:gd name="T2" fmla="*/ 5665 w 7027"/>
                  <a:gd name="T3" fmla="*/ 1442 h 1686"/>
                  <a:gd name="T4" fmla="*/ 3710 w 7027"/>
                  <a:gd name="T5" fmla="*/ 1222 h 1686"/>
                  <a:gd name="T6" fmla="*/ 5833 w 7027"/>
                  <a:gd name="T7" fmla="*/ 1208 h 1686"/>
                  <a:gd name="T8" fmla="*/ 5833 w 7027"/>
                  <a:gd name="T9" fmla="*/ 1319 h 1686"/>
                  <a:gd name="T10" fmla="*/ 1664 w 7027"/>
                  <a:gd name="T11" fmla="*/ 1158 h 1686"/>
                  <a:gd name="T12" fmla="*/ 1688 w 7027"/>
                  <a:gd name="T13" fmla="*/ 1132 h 1686"/>
                  <a:gd name="T14" fmla="*/ 5857 w 7027"/>
                  <a:gd name="T15" fmla="*/ 1127 h 1686"/>
                  <a:gd name="T16" fmla="*/ 5857 w 7027"/>
                  <a:gd name="T17" fmla="*/ 1203 h 1686"/>
                  <a:gd name="T18" fmla="*/ 6322 w 7027"/>
                  <a:gd name="T19" fmla="*/ 1130 h 1686"/>
                  <a:gd name="T20" fmla="*/ 1447 w 7027"/>
                  <a:gd name="T21" fmla="*/ 1125 h 1686"/>
                  <a:gd name="T22" fmla="*/ 1447 w 7027"/>
                  <a:gd name="T23" fmla="*/ 1125 h 1686"/>
                  <a:gd name="T24" fmla="*/ 1463 w 7027"/>
                  <a:gd name="T25" fmla="*/ 1120 h 1686"/>
                  <a:gd name="T26" fmla="*/ 2858 w 7027"/>
                  <a:gd name="T27" fmla="*/ 1063 h 1686"/>
                  <a:gd name="T28" fmla="*/ 5932 w 7027"/>
                  <a:gd name="T29" fmla="*/ 1042 h 1686"/>
                  <a:gd name="T30" fmla="*/ 5932 w 7027"/>
                  <a:gd name="T31" fmla="*/ 1042 h 1686"/>
                  <a:gd name="T32" fmla="*/ 2877 w 7027"/>
                  <a:gd name="T33" fmla="*/ 1056 h 1686"/>
                  <a:gd name="T34" fmla="*/ 3769 w 7027"/>
                  <a:gd name="T35" fmla="*/ 1217 h 1686"/>
                  <a:gd name="T36" fmla="*/ 5949 w 7027"/>
                  <a:gd name="T37" fmla="*/ 990 h 1686"/>
                  <a:gd name="T38" fmla="*/ 6341 w 7027"/>
                  <a:gd name="T39" fmla="*/ 936 h 1686"/>
                  <a:gd name="T40" fmla="*/ 6341 w 7027"/>
                  <a:gd name="T41" fmla="*/ 936 h 1686"/>
                  <a:gd name="T42" fmla="*/ 3847 w 7027"/>
                  <a:gd name="T43" fmla="*/ 988 h 1686"/>
                  <a:gd name="T44" fmla="*/ 6384 w 7027"/>
                  <a:gd name="T45" fmla="*/ 895 h 1686"/>
                  <a:gd name="T46" fmla="*/ 6389 w 7027"/>
                  <a:gd name="T47" fmla="*/ 879 h 1686"/>
                  <a:gd name="T48" fmla="*/ 6389 w 7027"/>
                  <a:gd name="T49" fmla="*/ 888 h 1686"/>
                  <a:gd name="T50" fmla="*/ 6396 w 7027"/>
                  <a:gd name="T51" fmla="*/ 850 h 1686"/>
                  <a:gd name="T52" fmla="*/ 804 w 7027"/>
                  <a:gd name="T53" fmla="*/ 827 h 1686"/>
                  <a:gd name="T54" fmla="*/ 3102 w 7027"/>
                  <a:gd name="T55" fmla="*/ 763 h 1686"/>
                  <a:gd name="T56" fmla="*/ 3102 w 7027"/>
                  <a:gd name="T57" fmla="*/ 973 h 1686"/>
                  <a:gd name="T58" fmla="*/ 1007 w 7027"/>
                  <a:gd name="T59" fmla="*/ 822 h 1686"/>
                  <a:gd name="T60" fmla="*/ 5131 w 7027"/>
                  <a:gd name="T61" fmla="*/ 734 h 1686"/>
                  <a:gd name="T62" fmla="*/ 3137 w 7027"/>
                  <a:gd name="T63" fmla="*/ 656 h 1686"/>
                  <a:gd name="T64" fmla="*/ 97 w 7027"/>
                  <a:gd name="T65" fmla="*/ 616 h 1686"/>
                  <a:gd name="T66" fmla="*/ 97 w 7027"/>
                  <a:gd name="T67" fmla="*/ 616 h 1686"/>
                  <a:gd name="T68" fmla="*/ 5254 w 7027"/>
                  <a:gd name="T69" fmla="*/ 725 h 1686"/>
                  <a:gd name="T70" fmla="*/ 3282 w 7027"/>
                  <a:gd name="T71" fmla="*/ 583 h 1686"/>
                  <a:gd name="T72" fmla="*/ 300 w 7027"/>
                  <a:gd name="T73" fmla="*/ 547 h 1686"/>
                  <a:gd name="T74" fmla="*/ 7027 w 7027"/>
                  <a:gd name="T75" fmla="*/ 509 h 1686"/>
                  <a:gd name="T76" fmla="*/ 7027 w 7027"/>
                  <a:gd name="T77" fmla="*/ 509 h 1686"/>
                  <a:gd name="T78" fmla="*/ 4126 w 7027"/>
                  <a:gd name="T79" fmla="*/ 597 h 1686"/>
                  <a:gd name="T80" fmla="*/ 3298 w 7027"/>
                  <a:gd name="T81" fmla="*/ 502 h 1686"/>
                  <a:gd name="T82" fmla="*/ 4036 w 7027"/>
                  <a:gd name="T83" fmla="*/ 455 h 1686"/>
                  <a:gd name="T84" fmla="*/ 3953 w 7027"/>
                  <a:gd name="T85" fmla="*/ 921 h 1686"/>
                  <a:gd name="T86" fmla="*/ 3329 w 7027"/>
                  <a:gd name="T87" fmla="*/ 434 h 1686"/>
                  <a:gd name="T88" fmla="*/ 3329 w 7027"/>
                  <a:gd name="T89" fmla="*/ 434 h 1686"/>
                  <a:gd name="T90" fmla="*/ 4041 w 7027"/>
                  <a:gd name="T91" fmla="*/ 448 h 1686"/>
                  <a:gd name="T92" fmla="*/ 1809 w 7027"/>
                  <a:gd name="T93" fmla="*/ 370 h 1686"/>
                  <a:gd name="T94" fmla="*/ 1936 w 7027"/>
                  <a:gd name="T95" fmla="*/ 334 h 1686"/>
                  <a:gd name="T96" fmla="*/ 4050 w 7027"/>
                  <a:gd name="T97" fmla="*/ 327 h 1686"/>
                  <a:gd name="T98" fmla="*/ 4050 w 7027"/>
                  <a:gd name="T99" fmla="*/ 327 h 1686"/>
                  <a:gd name="T100" fmla="*/ 2028 w 7027"/>
                  <a:gd name="T101" fmla="*/ 327 h 1686"/>
                  <a:gd name="T102" fmla="*/ 4639 w 7027"/>
                  <a:gd name="T103" fmla="*/ 469 h 1686"/>
                  <a:gd name="T104" fmla="*/ 4802 w 7027"/>
                  <a:gd name="T105" fmla="*/ 171 h 1686"/>
                  <a:gd name="T106" fmla="*/ 4854 w 7027"/>
                  <a:gd name="T107" fmla="*/ 0 h 1686"/>
                  <a:gd name="T108" fmla="*/ 4854 w 7027"/>
                  <a:gd name="T109" fmla="*/ 0 h 1686"/>
                  <a:gd name="T110" fmla="*/ 4911 w 7027"/>
                  <a:gd name="T111" fmla="*/ 166 h 1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27" h="1686">
                    <a:moveTo>
                      <a:pt x="2" y="1452"/>
                    </a:moveTo>
                    <a:lnTo>
                      <a:pt x="0" y="1452"/>
                    </a:lnTo>
                    <a:lnTo>
                      <a:pt x="0" y="1454"/>
                    </a:lnTo>
                    <a:lnTo>
                      <a:pt x="0" y="1527"/>
                    </a:lnTo>
                    <a:lnTo>
                      <a:pt x="2" y="1527"/>
                    </a:lnTo>
                    <a:lnTo>
                      <a:pt x="2" y="1452"/>
                    </a:lnTo>
                    <a:moveTo>
                      <a:pt x="5667" y="1326"/>
                    </a:moveTo>
                    <a:lnTo>
                      <a:pt x="5665" y="1326"/>
                    </a:lnTo>
                    <a:lnTo>
                      <a:pt x="5665" y="1329"/>
                    </a:lnTo>
                    <a:lnTo>
                      <a:pt x="5665" y="1442"/>
                    </a:lnTo>
                    <a:lnTo>
                      <a:pt x="5667" y="1442"/>
                    </a:lnTo>
                    <a:lnTo>
                      <a:pt x="5667" y="1326"/>
                    </a:lnTo>
                    <a:moveTo>
                      <a:pt x="3712" y="1222"/>
                    </a:moveTo>
                    <a:lnTo>
                      <a:pt x="3710" y="1222"/>
                    </a:lnTo>
                    <a:lnTo>
                      <a:pt x="3710" y="1222"/>
                    </a:lnTo>
                    <a:lnTo>
                      <a:pt x="3710" y="1224"/>
                    </a:lnTo>
                    <a:lnTo>
                      <a:pt x="3710" y="1385"/>
                    </a:lnTo>
                    <a:lnTo>
                      <a:pt x="3712" y="1385"/>
                    </a:lnTo>
                    <a:lnTo>
                      <a:pt x="3712" y="1222"/>
                    </a:lnTo>
                    <a:moveTo>
                      <a:pt x="5833" y="1208"/>
                    </a:moveTo>
                    <a:lnTo>
                      <a:pt x="5831" y="1208"/>
                    </a:lnTo>
                    <a:lnTo>
                      <a:pt x="5831" y="1208"/>
                    </a:lnTo>
                    <a:lnTo>
                      <a:pt x="5831" y="1210"/>
                    </a:lnTo>
                    <a:lnTo>
                      <a:pt x="5831" y="1319"/>
                    </a:lnTo>
                    <a:lnTo>
                      <a:pt x="5833" y="1319"/>
                    </a:lnTo>
                    <a:lnTo>
                      <a:pt x="5833" y="1208"/>
                    </a:lnTo>
                    <a:moveTo>
                      <a:pt x="1667" y="1156"/>
                    </a:moveTo>
                    <a:lnTo>
                      <a:pt x="1664" y="1156"/>
                    </a:lnTo>
                    <a:lnTo>
                      <a:pt x="1664" y="1156"/>
                    </a:lnTo>
                    <a:lnTo>
                      <a:pt x="1664" y="1158"/>
                    </a:lnTo>
                    <a:lnTo>
                      <a:pt x="1664" y="1194"/>
                    </a:lnTo>
                    <a:lnTo>
                      <a:pt x="1667" y="1194"/>
                    </a:lnTo>
                    <a:lnTo>
                      <a:pt x="1667" y="1156"/>
                    </a:lnTo>
                    <a:moveTo>
                      <a:pt x="1690" y="1132"/>
                    </a:moveTo>
                    <a:lnTo>
                      <a:pt x="1688" y="1132"/>
                    </a:lnTo>
                    <a:lnTo>
                      <a:pt x="1688" y="1132"/>
                    </a:lnTo>
                    <a:lnTo>
                      <a:pt x="1688" y="1151"/>
                    </a:lnTo>
                    <a:lnTo>
                      <a:pt x="1690" y="1151"/>
                    </a:lnTo>
                    <a:lnTo>
                      <a:pt x="1690" y="1132"/>
                    </a:lnTo>
                    <a:moveTo>
                      <a:pt x="5857" y="1127"/>
                    </a:moveTo>
                    <a:lnTo>
                      <a:pt x="5857" y="1127"/>
                    </a:lnTo>
                    <a:lnTo>
                      <a:pt x="5854" y="1127"/>
                    </a:lnTo>
                    <a:lnTo>
                      <a:pt x="5854" y="1130"/>
                    </a:lnTo>
                    <a:lnTo>
                      <a:pt x="5854" y="1203"/>
                    </a:lnTo>
                    <a:lnTo>
                      <a:pt x="5857" y="1203"/>
                    </a:lnTo>
                    <a:lnTo>
                      <a:pt x="5857" y="1127"/>
                    </a:lnTo>
                    <a:moveTo>
                      <a:pt x="6322" y="1127"/>
                    </a:moveTo>
                    <a:lnTo>
                      <a:pt x="6322" y="1127"/>
                    </a:lnTo>
                    <a:lnTo>
                      <a:pt x="6322" y="1127"/>
                    </a:lnTo>
                    <a:lnTo>
                      <a:pt x="6322" y="1130"/>
                    </a:lnTo>
                    <a:lnTo>
                      <a:pt x="6322" y="1357"/>
                    </a:lnTo>
                    <a:lnTo>
                      <a:pt x="6322" y="1357"/>
                    </a:lnTo>
                    <a:lnTo>
                      <a:pt x="6322" y="1127"/>
                    </a:lnTo>
                    <a:moveTo>
                      <a:pt x="1447" y="1125"/>
                    </a:moveTo>
                    <a:lnTo>
                      <a:pt x="1447" y="1125"/>
                    </a:lnTo>
                    <a:lnTo>
                      <a:pt x="1447" y="1125"/>
                    </a:lnTo>
                    <a:lnTo>
                      <a:pt x="1447" y="1127"/>
                    </a:lnTo>
                    <a:lnTo>
                      <a:pt x="1447" y="1194"/>
                    </a:lnTo>
                    <a:lnTo>
                      <a:pt x="1447" y="1194"/>
                    </a:lnTo>
                    <a:lnTo>
                      <a:pt x="1447" y="1125"/>
                    </a:lnTo>
                    <a:moveTo>
                      <a:pt x="1463" y="1082"/>
                    </a:moveTo>
                    <a:lnTo>
                      <a:pt x="1463" y="1082"/>
                    </a:lnTo>
                    <a:lnTo>
                      <a:pt x="1463" y="1085"/>
                    </a:lnTo>
                    <a:lnTo>
                      <a:pt x="1463" y="1120"/>
                    </a:lnTo>
                    <a:lnTo>
                      <a:pt x="1463" y="1120"/>
                    </a:lnTo>
                    <a:lnTo>
                      <a:pt x="1463" y="1082"/>
                    </a:lnTo>
                    <a:moveTo>
                      <a:pt x="2861" y="1061"/>
                    </a:moveTo>
                    <a:lnTo>
                      <a:pt x="2861" y="1061"/>
                    </a:lnTo>
                    <a:lnTo>
                      <a:pt x="2858" y="1061"/>
                    </a:lnTo>
                    <a:lnTo>
                      <a:pt x="2858" y="1063"/>
                    </a:lnTo>
                    <a:lnTo>
                      <a:pt x="2858" y="1234"/>
                    </a:lnTo>
                    <a:lnTo>
                      <a:pt x="2861" y="1234"/>
                    </a:lnTo>
                    <a:lnTo>
                      <a:pt x="2861" y="1061"/>
                    </a:lnTo>
                    <a:moveTo>
                      <a:pt x="5932" y="1042"/>
                    </a:moveTo>
                    <a:lnTo>
                      <a:pt x="5932" y="1042"/>
                    </a:lnTo>
                    <a:lnTo>
                      <a:pt x="5930" y="1042"/>
                    </a:lnTo>
                    <a:lnTo>
                      <a:pt x="5930" y="1042"/>
                    </a:lnTo>
                    <a:lnTo>
                      <a:pt x="5930" y="1123"/>
                    </a:lnTo>
                    <a:lnTo>
                      <a:pt x="5932" y="1123"/>
                    </a:lnTo>
                    <a:lnTo>
                      <a:pt x="5932" y="1042"/>
                    </a:lnTo>
                    <a:moveTo>
                      <a:pt x="2877" y="1011"/>
                    </a:moveTo>
                    <a:lnTo>
                      <a:pt x="2877" y="1011"/>
                    </a:lnTo>
                    <a:lnTo>
                      <a:pt x="2877" y="1014"/>
                    </a:lnTo>
                    <a:lnTo>
                      <a:pt x="2877" y="1056"/>
                    </a:lnTo>
                    <a:lnTo>
                      <a:pt x="2877" y="1056"/>
                    </a:lnTo>
                    <a:lnTo>
                      <a:pt x="2877" y="1011"/>
                    </a:lnTo>
                    <a:moveTo>
                      <a:pt x="3771" y="992"/>
                    </a:moveTo>
                    <a:lnTo>
                      <a:pt x="3769" y="992"/>
                    </a:lnTo>
                    <a:lnTo>
                      <a:pt x="3769" y="995"/>
                    </a:lnTo>
                    <a:lnTo>
                      <a:pt x="3769" y="1217"/>
                    </a:lnTo>
                    <a:lnTo>
                      <a:pt x="3771" y="1217"/>
                    </a:lnTo>
                    <a:lnTo>
                      <a:pt x="3771" y="992"/>
                    </a:lnTo>
                    <a:moveTo>
                      <a:pt x="5949" y="990"/>
                    </a:moveTo>
                    <a:lnTo>
                      <a:pt x="5949" y="990"/>
                    </a:lnTo>
                    <a:lnTo>
                      <a:pt x="5949" y="990"/>
                    </a:lnTo>
                    <a:lnTo>
                      <a:pt x="5949" y="1035"/>
                    </a:lnTo>
                    <a:lnTo>
                      <a:pt x="5949" y="1035"/>
                    </a:lnTo>
                    <a:lnTo>
                      <a:pt x="5949" y="990"/>
                    </a:lnTo>
                    <a:moveTo>
                      <a:pt x="6341" y="936"/>
                    </a:moveTo>
                    <a:lnTo>
                      <a:pt x="6341" y="936"/>
                    </a:lnTo>
                    <a:lnTo>
                      <a:pt x="6339" y="936"/>
                    </a:lnTo>
                    <a:lnTo>
                      <a:pt x="6339" y="938"/>
                    </a:lnTo>
                    <a:lnTo>
                      <a:pt x="6339" y="1123"/>
                    </a:lnTo>
                    <a:lnTo>
                      <a:pt x="6341" y="1123"/>
                    </a:lnTo>
                    <a:lnTo>
                      <a:pt x="6341" y="936"/>
                    </a:lnTo>
                    <a:moveTo>
                      <a:pt x="3847" y="928"/>
                    </a:moveTo>
                    <a:lnTo>
                      <a:pt x="3844" y="928"/>
                    </a:lnTo>
                    <a:lnTo>
                      <a:pt x="3844" y="928"/>
                    </a:lnTo>
                    <a:lnTo>
                      <a:pt x="3844" y="988"/>
                    </a:lnTo>
                    <a:lnTo>
                      <a:pt x="3847" y="988"/>
                    </a:lnTo>
                    <a:lnTo>
                      <a:pt x="3847" y="928"/>
                    </a:lnTo>
                    <a:moveTo>
                      <a:pt x="6386" y="895"/>
                    </a:moveTo>
                    <a:lnTo>
                      <a:pt x="6384" y="895"/>
                    </a:lnTo>
                    <a:lnTo>
                      <a:pt x="6384" y="895"/>
                    </a:lnTo>
                    <a:lnTo>
                      <a:pt x="6384" y="895"/>
                    </a:lnTo>
                    <a:lnTo>
                      <a:pt x="6377" y="928"/>
                    </a:lnTo>
                    <a:lnTo>
                      <a:pt x="6377" y="928"/>
                    </a:lnTo>
                    <a:lnTo>
                      <a:pt x="6386" y="895"/>
                    </a:lnTo>
                    <a:moveTo>
                      <a:pt x="6391" y="879"/>
                    </a:moveTo>
                    <a:lnTo>
                      <a:pt x="6389" y="879"/>
                    </a:lnTo>
                    <a:lnTo>
                      <a:pt x="6389" y="879"/>
                    </a:lnTo>
                    <a:lnTo>
                      <a:pt x="6389" y="879"/>
                    </a:lnTo>
                    <a:lnTo>
                      <a:pt x="6389" y="891"/>
                    </a:lnTo>
                    <a:lnTo>
                      <a:pt x="6389" y="891"/>
                    </a:lnTo>
                    <a:lnTo>
                      <a:pt x="6389" y="888"/>
                    </a:lnTo>
                    <a:lnTo>
                      <a:pt x="6391" y="888"/>
                    </a:lnTo>
                    <a:lnTo>
                      <a:pt x="6391" y="879"/>
                    </a:lnTo>
                    <a:moveTo>
                      <a:pt x="6398" y="850"/>
                    </a:moveTo>
                    <a:lnTo>
                      <a:pt x="6396" y="850"/>
                    </a:lnTo>
                    <a:lnTo>
                      <a:pt x="6396" y="850"/>
                    </a:lnTo>
                    <a:lnTo>
                      <a:pt x="6396" y="872"/>
                    </a:lnTo>
                    <a:lnTo>
                      <a:pt x="6398" y="872"/>
                    </a:lnTo>
                    <a:lnTo>
                      <a:pt x="6398" y="850"/>
                    </a:lnTo>
                    <a:moveTo>
                      <a:pt x="806" y="827"/>
                    </a:moveTo>
                    <a:lnTo>
                      <a:pt x="804" y="827"/>
                    </a:lnTo>
                    <a:lnTo>
                      <a:pt x="804" y="829"/>
                    </a:lnTo>
                    <a:lnTo>
                      <a:pt x="804" y="1063"/>
                    </a:lnTo>
                    <a:lnTo>
                      <a:pt x="806" y="1063"/>
                    </a:lnTo>
                    <a:lnTo>
                      <a:pt x="806" y="827"/>
                    </a:lnTo>
                    <a:moveTo>
                      <a:pt x="3102" y="763"/>
                    </a:moveTo>
                    <a:lnTo>
                      <a:pt x="3100" y="763"/>
                    </a:lnTo>
                    <a:lnTo>
                      <a:pt x="3100" y="763"/>
                    </a:lnTo>
                    <a:lnTo>
                      <a:pt x="3100" y="765"/>
                    </a:lnTo>
                    <a:lnTo>
                      <a:pt x="3100" y="973"/>
                    </a:lnTo>
                    <a:lnTo>
                      <a:pt x="3102" y="973"/>
                    </a:lnTo>
                    <a:lnTo>
                      <a:pt x="3102" y="763"/>
                    </a:lnTo>
                    <a:moveTo>
                      <a:pt x="1009" y="753"/>
                    </a:moveTo>
                    <a:lnTo>
                      <a:pt x="1007" y="753"/>
                    </a:lnTo>
                    <a:lnTo>
                      <a:pt x="1007" y="753"/>
                    </a:lnTo>
                    <a:lnTo>
                      <a:pt x="1007" y="822"/>
                    </a:lnTo>
                    <a:lnTo>
                      <a:pt x="1009" y="822"/>
                    </a:lnTo>
                    <a:lnTo>
                      <a:pt x="1009" y="753"/>
                    </a:lnTo>
                    <a:moveTo>
                      <a:pt x="5133" y="732"/>
                    </a:moveTo>
                    <a:lnTo>
                      <a:pt x="5131" y="732"/>
                    </a:lnTo>
                    <a:lnTo>
                      <a:pt x="5131" y="734"/>
                    </a:lnTo>
                    <a:lnTo>
                      <a:pt x="5131" y="966"/>
                    </a:lnTo>
                    <a:lnTo>
                      <a:pt x="5133" y="966"/>
                    </a:lnTo>
                    <a:lnTo>
                      <a:pt x="5133" y="732"/>
                    </a:lnTo>
                    <a:moveTo>
                      <a:pt x="3140" y="656"/>
                    </a:moveTo>
                    <a:lnTo>
                      <a:pt x="3137" y="656"/>
                    </a:lnTo>
                    <a:lnTo>
                      <a:pt x="3137" y="659"/>
                    </a:lnTo>
                    <a:lnTo>
                      <a:pt x="3137" y="756"/>
                    </a:lnTo>
                    <a:lnTo>
                      <a:pt x="3140" y="756"/>
                    </a:lnTo>
                    <a:lnTo>
                      <a:pt x="3140" y="656"/>
                    </a:lnTo>
                    <a:moveTo>
                      <a:pt x="97" y="616"/>
                    </a:moveTo>
                    <a:lnTo>
                      <a:pt x="97" y="616"/>
                    </a:lnTo>
                    <a:lnTo>
                      <a:pt x="97" y="618"/>
                    </a:lnTo>
                    <a:lnTo>
                      <a:pt x="97" y="1447"/>
                    </a:lnTo>
                    <a:lnTo>
                      <a:pt x="97" y="1447"/>
                    </a:lnTo>
                    <a:lnTo>
                      <a:pt x="97" y="616"/>
                    </a:lnTo>
                    <a:moveTo>
                      <a:pt x="5254" y="609"/>
                    </a:moveTo>
                    <a:lnTo>
                      <a:pt x="5251" y="609"/>
                    </a:lnTo>
                    <a:lnTo>
                      <a:pt x="5251" y="611"/>
                    </a:lnTo>
                    <a:lnTo>
                      <a:pt x="5251" y="725"/>
                    </a:lnTo>
                    <a:lnTo>
                      <a:pt x="5254" y="725"/>
                    </a:lnTo>
                    <a:lnTo>
                      <a:pt x="5254" y="609"/>
                    </a:lnTo>
                    <a:moveTo>
                      <a:pt x="3284" y="580"/>
                    </a:moveTo>
                    <a:lnTo>
                      <a:pt x="3282" y="580"/>
                    </a:lnTo>
                    <a:lnTo>
                      <a:pt x="3282" y="580"/>
                    </a:lnTo>
                    <a:lnTo>
                      <a:pt x="3282" y="583"/>
                    </a:lnTo>
                    <a:lnTo>
                      <a:pt x="3282" y="651"/>
                    </a:lnTo>
                    <a:lnTo>
                      <a:pt x="3284" y="651"/>
                    </a:lnTo>
                    <a:lnTo>
                      <a:pt x="3284" y="580"/>
                    </a:lnTo>
                    <a:moveTo>
                      <a:pt x="302" y="547"/>
                    </a:moveTo>
                    <a:lnTo>
                      <a:pt x="300" y="547"/>
                    </a:lnTo>
                    <a:lnTo>
                      <a:pt x="300" y="550"/>
                    </a:lnTo>
                    <a:lnTo>
                      <a:pt x="300" y="611"/>
                    </a:lnTo>
                    <a:lnTo>
                      <a:pt x="302" y="611"/>
                    </a:lnTo>
                    <a:lnTo>
                      <a:pt x="302" y="547"/>
                    </a:lnTo>
                    <a:moveTo>
                      <a:pt x="7027" y="509"/>
                    </a:moveTo>
                    <a:lnTo>
                      <a:pt x="7025" y="509"/>
                    </a:lnTo>
                    <a:lnTo>
                      <a:pt x="7025" y="509"/>
                    </a:lnTo>
                    <a:lnTo>
                      <a:pt x="7025" y="1686"/>
                    </a:lnTo>
                    <a:lnTo>
                      <a:pt x="7027" y="1686"/>
                    </a:lnTo>
                    <a:lnTo>
                      <a:pt x="7027" y="509"/>
                    </a:lnTo>
                    <a:moveTo>
                      <a:pt x="4194" y="502"/>
                    </a:moveTo>
                    <a:lnTo>
                      <a:pt x="4194" y="502"/>
                    </a:lnTo>
                    <a:lnTo>
                      <a:pt x="4192" y="505"/>
                    </a:lnTo>
                    <a:lnTo>
                      <a:pt x="4126" y="595"/>
                    </a:lnTo>
                    <a:lnTo>
                      <a:pt x="4126" y="597"/>
                    </a:lnTo>
                    <a:lnTo>
                      <a:pt x="4194" y="502"/>
                    </a:lnTo>
                    <a:moveTo>
                      <a:pt x="3301" y="500"/>
                    </a:moveTo>
                    <a:lnTo>
                      <a:pt x="3301" y="500"/>
                    </a:lnTo>
                    <a:lnTo>
                      <a:pt x="3298" y="500"/>
                    </a:lnTo>
                    <a:lnTo>
                      <a:pt x="3298" y="502"/>
                    </a:lnTo>
                    <a:lnTo>
                      <a:pt x="3298" y="576"/>
                    </a:lnTo>
                    <a:lnTo>
                      <a:pt x="3301" y="576"/>
                    </a:lnTo>
                    <a:lnTo>
                      <a:pt x="3301" y="500"/>
                    </a:lnTo>
                    <a:moveTo>
                      <a:pt x="4038" y="455"/>
                    </a:moveTo>
                    <a:lnTo>
                      <a:pt x="4036" y="455"/>
                    </a:lnTo>
                    <a:lnTo>
                      <a:pt x="4036" y="455"/>
                    </a:lnTo>
                    <a:lnTo>
                      <a:pt x="4036" y="455"/>
                    </a:lnTo>
                    <a:lnTo>
                      <a:pt x="4036" y="490"/>
                    </a:lnTo>
                    <a:lnTo>
                      <a:pt x="3953" y="642"/>
                    </a:lnTo>
                    <a:lnTo>
                      <a:pt x="3953" y="921"/>
                    </a:lnTo>
                    <a:lnTo>
                      <a:pt x="3956" y="921"/>
                    </a:lnTo>
                    <a:lnTo>
                      <a:pt x="3956" y="642"/>
                    </a:lnTo>
                    <a:lnTo>
                      <a:pt x="4038" y="488"/>
                    </a:lnTo>
                    <a:lnTo>
                      <a:pt x="4038" y="455"/>
                    </a:lnTo>
                    <a:moveTo>
                      <a:pt x="3329" y="434"/>
                    </a:moveTo>
                    <a:lnTo>
                      <a:pt x="3327" y="434"/>
                    </a:lnTo>
                    <a:lnTo>
                      <a:pt x="3327" y="436"/>
                    </a:lnTo>
                    <a:lnTo>
                      <a:pt x="3327" y="495"/>
                    </a:lnTo>
                    <a:lnTo>
                      <a:pt x="3329" y="495"/>
                    </a:lnTo>
                    <a:lnTo>
                      <a:pt x="3329" y="434"/>
                    </a:lnTo>
                    <a:moveTo>
                      <a:pt x="4043" y="391"/>
                    </a:moveTo>
                    <a:lnTo>
                      <a:pt x="4041" y="391"/>
                    </a:lnTo>
                    <a:lnTo>
                      <a:pt x="4041" y="391"/>
                    </a:lnTo>
                    <a:lnTo>
                      <a:pt x="4041" y="391"/>
                    </a:lnTo>
                    <a:lnTo>
                      <a:pt x="4041" y="448"/>
                    </a:lnTo>
                    <a:lnTo>
                      <a:pt x="4043" y="448"/>
                    </a:lnTo>
                    <a:lnTo>
                      <a:pt x="4043" y="391"/>
                    </a:lnTo>
                    <a:moveTo>
                      <a:pt x="1811" y="367"/>
                    </a:moveTo>
                    <a:lnTo>
                      <a:pt x="1809" y="367"/>
                    </a:lnTo>
                    <a:lnTo>
                      <a:pt x="1809" y="370"/>
                    </a:lnTo>
                    <a:lnTo>
                      <a:pt x="1809" y="1125"/>
                    </a:lnTo>
                    <a:lnTo>
                      <a:pt x="1811" y="1125"/>
                    </a:lnTo>
                    <a:lnTo>
                      <a:pt x="1811" y="367"/>
                    </a:lnTo>
                    <a:moveTo>
                      <a:pt x="1939" y="334"/>
                    </a:moveTo>
                    <a:lnTo>
                      <a:pt x="1936" y="334"/>
                    </a:lnTo>
                    <a:lnTo>
                      <a:pt x="1936" y="334"/>
                    </a:lnTo>
                    <a:lnTo>
                      <a:pt x="1936" y="363"/>
                    </a:lnTo>
                    <a:lnTo>
                      <a:pt x="1939" y="363"/>
                    </a:lnTo>
                    <a:lnTo>
                      <a:pt x="1939" y="334"/>
                    </a:lnTo>
                    <a:moveTo>
                      <a:pt x="4050" y="327"/>
                    </a:moveTo>
                    <a:lnTo>
                      <a:pt x="4050" y="327"/>
                    </a:lnTo>
                    <a:lnTo>
                      <a:pt x="4050" y="329"/>
                    </a:lnTo>
                    <a:lnTo>
                      <a:pt x="4050" y="384"/>
                    </a:lnTo>
                    <a:lnTo>
                      <a:pt x="4050" y="384"/>
                    </a:lnTo>
                    <a:lnTo>
                      <a:pt x="4050" y="327"/>
                    </a:lnTo>
                    <a:moveTo>
                      <a:pt x="2028" y="294"/>
                    </a:moveTo>
                    <a:lnTo>
                      <a:pt x="2028" y="294"/>
                    </a:lnTo>
                    <a:lnTo>
                      <a:pt x="2028" y="294"/>
                    </a:lnTo>
                    <a:lnTo>
                      <a:pt x="2028" y="327"/>
                    </a:lnTo>
                    <a:lnTo>
                      <a:pt x="2028" y="327"/>
                    </a:lnTo>
                    <a:lnTo>
                      <a:pt x="2028" y="294"/>
                    </a:lnTo>
                    <a:moveTo>
                      <a:pt x="4705" y="232"/>
                    </a:moveTo>
                    <a:lnTo>
                      <a:pt x="4703" y="232"/>
                    </a:lnTo>
                    <a:lnTo>
                      <a:pt x="4703" y="232"/>
                    </a:lnTo>
                    <a:lnTo>
                      <a:pt x="4639" y="469"/>
                    </a:lnTo>
                    <a:lnTo>
                      <a:pt x="4639" y="469"/>
                    </a:lnTo>
                    <a:lnTo>
                      <a:pt x="4705" y="232"/>
                    </a:lnTo>
                    <a:moveTo>
                      <a:pt x="4804" y="171"/>
                    </a:moveTo>
                    <a:lnTo>
                      <a:pt x="4804" y="171"/>
                    </a:lnTo>
                    <a:lnTo>
                      <a:pt x="4802" y="171"/>
                    </a:lnTo>
                    <a:lnTo>
                      <a:pt x="4802" y="173"/>
                    </a:lnTo>
                    <a:lnTo>
                      <a:pt x="4802" y="225"/>
                    </a:lnTo>
                    <a:lnTo>
                      <a:pt x="4804" y="225"/>
                    </a:lnTo>
                    <a:lnTo>
                      <a:pt x="4804" y="171"/>
                    </a:lnTo>
                    <a:moveTo>
                      <a:pt x="4854" y="0"/>
                    </a:moveTo>
                    <a:lnTo>
                      <a:pt x="4852" y="0"/>
                    </a:lnTo>
                    <a:lnTo>
                      <a:pt x="4852" y="3"/>
                    </a:lnTo>
                    <a:lnTo>
                      <a:pt x="4852" y="166"/>
                    </a:lnTo>
                    <a:lnTo>
                      <a:pt x="4854" y="166"/>
                    </a:lnTo>
                    <a:lnTo>
                      <a:pt x="4854" y="0"/>
                    </a:lnTo>
                    <a:moveTo>
                      <a:pt x="4911" y="0"/>
                    </a:moveTo>
                    <a:lnTo>
                      <a:pt x="4908" y="0"/>
                    </a:lnTo>
                    <a:lnTo>
                      <a:pt x="4908" y="3"/>
                    </a:lnTo>
                    <a:lnTo>
                      <a:pt x="4908" y="166"/>
                    </a:lnTo>
                    <a:lnTo>
                      <a:pt x="4911" y="166"/>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8" name="Freeform 140"/>
              <p:cNvSpPr>
                <a:spLocks noEditPoints="1"/>
              </p:cNvSpPr>
              <p:nvPr/>
            </p:nvSpPr>
            <p:spPr bwMode="auto">
              <a:xfrm>
                <a:off x="42" y="1665"/>
                <a:ext cx="7025" cy="1688"/>
              </a:xfrm>
              <a:custGeom>
                <a:avLst/>
                <a:gdLst>
                  <a:gd name="T0" fmla="*/ 2 w 7025"/>
                  <a:gd name="T1" fmla="*/ 1529 h 1688"/>
                  <a:gd name="T2" fmla="*/ 5665 w 7025"/>
                  <a:gd name="T3" fmla="*/ 1444 h 1688"/>
                  <a:gd name="T4" fmla="*/ 3710 w 7025"/>
                  <a:gd name="T5" fmla="*/ 1222 h 1688"/>
                  <a:gd name="T6" fmla="*/ 5831 w 7025"/>
                  <a:gd name="T7" fmla="*/ 1207 h 1688"/>
                  <a:gd name="T8" fmla="*/ 5831 w 7025"/>
                  <a:gd name="T9" fmla="*/ 1321 h 1688"/>
                  <a:gd name="T10" fmla="*/ 1665 w 7025"/>
                  <a:gd name="T11" fmla="*/ 1158 h 1688"/>
                  <a:gd name="T12" fmla="*/ 1688 w 7025"/>
                  <a:gd name="T13" fmla="*/ 1132 h 1688"/>
                  <a:gd name="T14" fmla="*/ 5857 w 7025"/>
                  <a:gd name="T15" fmla="*/ 1127 h 1688"/>
                  <a:gd name="T16" fmla="*/ 5857 w 7025"/>
                  <a:gd name="T17" fmla="*/ 1205 h 1688"/>
                  <a:gd name="T18" fmla="*/ 6320 w 7025"/>
                  <a:gd name="T19" fmla="*/ 1129 h 1688"/>
                  <a:gd name="T20" fmla="*/ 1445 w 7025"/>
                  <a:gd name="T21" fmla="*/ 1125 h 1688"/>
                  <a:gd name="T22" fmla="*/ 1447 w 7025"/>
                  <a:gd name="T23" fmla="*/ 1125 h 1688"/>
                  <a:gd name="T24" fmla="*/ 1464 w 7025"/>
                  <a:gd name="T25" fmla="*/ 1122 h 1688"/>
                  <a:gd name="T26" fmla="*/ 2859 w 7025"/>
                  <a:gd name="T27" fmla="*/ 1063 h 1688"/>
                  <a:gd name="T28" fmla="*/ 5930 w 7025"/>
                  <a:gd name="T29" fmla="*/ 1042 h 1688"/>
                  <a:gd name="T30" fmla="*/ 5933 w 7025"/>
                  <a:gd name="T31" fmla="*/ 1042 h 1688"/>
                  <a:gd name="T32" fmla="*/ 2878 w 7025"/>
                  <a:gd name="T33" fmla="*/ 1058 h 1688"/>
                  <a:gd name="T34" fmla="*/ 3769 w 7025"/>
                  <a:gd name="T35" fmla="*/ 1219 h 1688"/>
                  <a:gd name="T36" fmla="*/ 5947 w 7025"/>
                  <a:gd name="T37" fmla="*/ 992 h 1688"/>
                  <a:gd name="T38" fmla="*/ 6339 w 7025"/>
                  <a:gd name="T39" fmla="*/ 935 h 1688"/>
                  <a:gd name="T40" fmla="*/ 6342 w 7025"/>
                  <a:gd name="T41" fmla="*/ 935 h 1688"/>
                  <a:gd name="T42" fmla="*/ 3847 w 7025"/>
                  <a:gd name="T43" fmla="*/ 990 h 1688"/>
                  <a:gd name="T44" fmla="*/ 6384 w 7025"/>
                  <a:gd name="T45" fmla="*/ 897 h 1688"/>
                  <a:gd name="T46" fmla="*/ 6389 w 7025"/>
                  <a:gd name="T47" fmla="*/ 878 h 1688"/>
                  <a:gd name="T48" fmla="*/ 6391 w 7025"/>
                  <a:gd name="T49" fmla="*/ 878 h 1688"/>
                  <a:gd name="T50" fmla="*/ 6398 w 7025"/>
                  <a:gd name="T51" fmla="*/ 874 h 1688"/>
                  <a:gd name="T52" fmla="*/ 804 w 7025"/>
                  <a:gd name="T53" fmla="*/ 1065 h 1688"/>
                  <a:gd name="T54" fmla="*/ 3100 w 7025"/>
                  <a:gd name="T55" fmla="*/ 762 h 1688"/>
                  <a:gd name="T56" fmla="*/ 1010 w 7025"/>
                  <a:gd name="T57" fmla="*/ 753 h 1688"/>
                  <a:gd name="T58" fmla="*/ 1010 w 7025"/>
                  <a:gd name="T59" fmla="*/ 753 h 1688"/>
                  <a:gd name="T60" fmla="*/ 5133 w 7025"/>
                  <a:gd name="T61" fmla="*/ 968 h 1688"/>
                  <a:gd name="T62" fmla="*/ 3138 w 7025"/>
                  <a:gd name="T63" fmla="*/ 758 h 1688"/>
                  <a:gd name="T64" fmla="*/ 95 w 7025"/>
                  <a:gd name="T65" fmla="*/ 618 h 1688"/>
                  <a:gd name="T66" fmla="*/ 5252 w 7025"/>
                  <a:gd name="T67" fmla="*/ 608 h 1688"/>
                  <a:gd name="T68" fmla="*/ 3284 w 7025"/>
                  <a:gd name="T69" fmla="*/ 582 h 1688"/>
                  <a:gd name="T70" fmla="*/ 3284 w 7025"/>
                  <a:gd name="T71" fmla="*/ 653 h 1688"/>
                  <a:gd name="T72" fmla="*/ 300 w 7025"/>
                  <a:gd name="T73" fmla="*/ 613 h 1688"/>
                  <a:gd name="T74" fmla="*/ 7025 w 7025"/>
                  <a:gd name="T75" fmla="*/ 511 h 1688"/>
                  <a:gd name="T76" fmla="*/ 4195 w 7025"/>
                  <a:gd name="T77" fmla="*/ 502 h 1688"/>
                  <a:gd name="T78" fmla="*/ 3301 w 7025"/>
                  <a:gd name="T79" fmla="*/ 502 h 1688"/>
                  <a:gd name="T80" fmla="*/ 3301 w 7025"/>
                  <a:gd name="T81" fmla="*/ 578 h 1688"/>
                  <a:gd name="T82" fmla="*/ 4036 w 7025"/>
                  <a:gd name="T83" fmla="*/ 457 h 1688"/>
                  <a:gd name="T84" fmla="*/ 3956 w 7025"/>
                  <a:gd name="T85" fmla="*/ 642 h 1688"/>
                  <a:gd name="T86" fmla="*/ 3327 w 7025"/>
                  <a:gd name="T87" fmla="*/ 436 h 1688"/>
                  <a:gd name="T88" fmla="*/ 4041 w 7025"/>
                  <a:gd name="T89" fmla="*/ 391 h 1688"/>
                  <a:gd name="T90" fmla="*/ 4043 w 7025"/>
                  <a:gd name="T91" fmla="*/ 391 h 1688"/>
                  <a:gd name="T92" fmla="*/ 1811 w 7025"/>
                  <a:gd name="T93" fmla="*/ 1127 h 1688"/>
                  <a:gd name="T94" fmla="*/ 1937 w 7025"/>
                  <a:gd name="T95" fmla="*/ 365 h 1688"/>
                  <a:gd name="T96" fmla="*/ 4048 w 7025"/>
                  <a:gd name="T97" fmla="*/ 329 h 1688"/>
                  <a:gd name="T98" fmla="*/ 2026 w 7025"/>
                  <a:gd name="T99" fmla="*/ 294 h 1688"/>
                  <a:gd name="T100" fmla="*/ 4703 w 7025"/>
                  <a:gd name="T101" fmla="*/ 232 h 1688"/>
                  <a:gd name="T102" fmla="*/ 4703 w 7025"/>
                  <a:gd name="T103" fmla="*/ 232 h 1688"/>
                  <a:gd name="T104" fmla="*/ 4802 w 7025"/>
                  <a:gd name="T105" fmla="*/ 227 h 1688"/>
                  <a:gd name="T106" fmla="*/ 4852 w 7025"/>
                  <a:gd name="T107" fmla="*/ 2 h 1688"/>
                  <a:gd name="T108" fmla="*/ 4909 w 7025"/>
                  <a:gd name="T109" fmla="*/ 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88">
                    <a:moveTo>
                      <a:pt x="2" y="1454"/>
                    </a:moveTo>
                    <a:lnTo>
                      <a:pt x="0" y="1454"/>
                    </a:lnTo>
                    <a:lnTo>
                      <a:pt x="0" y="1454"/>
                    </a:lnTo>
                    <a:lnTo>
                      <a:pt x="0" y="1529"/>
                    </a:lnTo>
                    <a:lnTo>
                      <a:pt x="2" y="1529"/>
                    </a:lnTo>
                    <a:lnTo>
                      <a:pt x="2" y="1454"/>
                    </a:lnTo>
                    <a:close/>
                    <a:moveTo>
                      <a:pt x="5665" y="1326"/>
                    </a:moveTo>
                    <a:lnTo>
                      <a:pt x="5665" y="1326"/>
                    </a:lnTo>
                    <a:lnTo>
                      <a:pt x="5665" y="1328"/>
                    </a:lnTo>
                    <a:lnTo>
                      <a:pt x="5665" y="1444"/>
                    </a:lnTo>
                    <a:lnTo>
                      <a:pt x="5665" y="1444"/>
                    </a:lnTo>
                    <a:lnTo>
                      <a:pt x="5665" y="1326"/>
                    </a:lnTo>
                    <a:close/>
                    <a:moveTo>
                      <a:pt x="3712" y="1222"/>
                    </a:moveTo>
                    <a:lnTo>
                      <a:pt x="3710" y="1222"/>
                    </a:lnTo>
                    <a:lnTo>
                      <a:pt x="3710" y="1222"/>
                    </a:lnTo>
                    <a:lnTo>
                      <a:pt x="3710" y="1224"/>
                    </a:lnTo>
                    <a:lnTo>
                      <a:pt x="3710" y="1387"/>
                    </a:lnTo>
                    <a:lnTo>
                      <a:pt x="3712" y="1387"/>
                    </a:lnTo>
                    <a:lnTo>
                      <a:pt x="3712" y="1222"/>
                    </a:lnTo>
                    <a:close/>
                    <a:moveTo>
                      <a:pt x="5831" y="1207"/>
                    </a:moveTo>
                    <a:lnTo>
                      <a:pt x="5831" y="1207"/>
                    </a:lnTo>
                    <a:lnTo>
                      <a:pt x="5831" y="1207"/>
                    </a:lnTo>
                    <a:lnTo>
                      <a:pt x="5831" y="1210"/>
                    </a:lnTo>
                    <a:lnTo>
                      <a:pt x="5831" y="1321"/>
                    </a:lnTo>
                    <a:lnTo>
                      <a:pt x="5831" y="1321"/>
                    </a:lnTo>
                    <a:lnTo>
                      <a:pt x="5831" y="1207"/>
                    </a:lnTo>
                    <a:close/>
                    <a:moveTo>
                      <a:pt x="1667" y="1155"/>
                    </a:moveTo>
                    <a:lnTo>
                      <a:pt x="1665" y="1155"/>
                    </a:lnTo>
                    <a:lnTo>
                      <a:pt x="1665" y="1155"/>
                    </a:lnTo>
                    <a:lnTo>
                      <a:pt x="1665" y="1158"/>
                    </a:lnTo>
                    <a:lnTo>
                      <a:pt x="1665" y="1196"/>
                    </a:lnTo>
                    <a:lnTo>
                      <a:pt x="1667" y="1196"/>
                    </a:lnTo>
                    <a:lnTo>
                      <a:pt x="1667" y="1155"/>
                    </a:lnTo>
                    <a:close/>
                    <a:moveTo>
                      <a:pt x="1688" y="1132"/>
                    </a:moveTo>
                    <a:lnTo>
                      <a:pt x="1688" y="1132"/>
                    </a:lnTo>
                    <a:lnTo>
                      <a:pt x="1688" y="1134"/>
                    </a:lnTo>
                    <a:lnTo>
                      <a:pt x="1688" y="1153"/>
                    </a:lnTo>
                    <a:lnTo>
                      <a:pt x="1688" y="1153"/>
                    </a:lnTo>
                    <a:lnTo>
                      <a:pt x="1688" y="1132"/>
                    </a:lnTo>
                    <a:close/>
                    <a:moveTo>
                      <a:pt x="5857" y="1127"/>
                    </a:moveTo>
                    <a:lnTo>
                      <a:pt x="5855" y="1127"/>
                    </a:lnTo>
                    <a:lnTo>
                      <a:pt x="5855" y="1127"/>
                    </a:lnTo>
                    <a:lnTo>
                      <a:pt x="5855" y="1129"/>
                    </a:lnTo>
                    <a:lnTo>
                      <a:pt x="5855" y="1205"/>
                    </a:lnTo>
                    <a:lnTo>
                      <a:pt x="5857" y="1205"/>
                    </a:lnTo>
                    <a:lnTo>
                      <a:pt x="5857" y="1127"/>
                    </a:lnTo>
                    <a:close/>
                    <a:moveTo>
                      <a:pt x="6323" y="1127"/>
                    </a:moveTo>
                    <a:lnTo>
                      <a:pt x="6323" y="1127"/>
                    </a:lnTo>
                    <a:lnTo>
                      <a:pt x="6320" y="1127"/>
                    </a:lnTo>
                    <a:lnTo>
                      <a:pt x="6320" y="1129"/>
                    </a:lnTo>
                    <a:lnTo>
                      <a:pt x="6320" y="1359"/>
                    </a:lnTo>
                    <a:lnTo>
                      <a:pt x="6323" y="1359"/>
                    </a:lnTo>
                    <a:lnTo>
                      <a:pt x="6323" y="1127"/>
                    </a:lnTo>
                    <a:close/>
                    <a:moveTo>
                      <a:pt x="1447" y="1125"/>
                    </a:moveTo>
                    <a:lnTo>
                      <a:pt x="1445" y="1125"/>
                    </a:lnTo>
                    <a:lnTo>
                      <a:pt x="1445" y="1125"/>
                    </a:lnTo>
                    <a:lnTo>
                      <a:pt x="1445" y="1127"/>
                    </a:lnTo>
                    <a:lnTo>
                      <a:pt x="1445" y="1196"/>
                    </a:lnTo>
                    <a:lnTo>
                      <a:pt x="1447" y="1196"/>
                    </a:lnTo>
                    <a:lnTo>
                      <a:pt x="1447" y="1125"/>
                    </a:lnTo>
                    <a:close/>
                    <a:moveTo>
                      <a:pt x="1464" y="1084"/>
                    </a:moveTo>
                    <a:lnTo>
                      <a:pt x="1461" y="1084"/>
                    </a:lnTo>
                    <a:lnTo>
                      <a:pt x="1461" y="1084"/>
                    </a:lnTo>
                    <a:lnTo>
                      <a:pt x="1461" y="1122"/>
                    </a:lnTo>
                    <a:lnTo>
                      <a:pt x="1464" y="1122"/>
                    </a:lnTo>
                    <a:lnTo>
                      <a:pt x="1464" y="1084"/>
                    </a:lnTo>
                    <a:close/>
                    <a:moveTo>
                      <a:pt x="2861" y="1063"/>
                    </a:moveTo>
                    <a:lnTo>
                      <a:pt x="2859" y="1063"/>
                    </a:lnTo>
                    <a:lnTo>
                      <a:pt x="2859" y="1063"/>
                    </a:lnTo>
                    <a:lnTo>
                      <a:pt x="2859" y="1063"/>
                    </a:lnTo>
                    <a:lnTo>
                      <a:pt x="2859" y="1236"/>
                    </a:lnTo>
                    <a:lnTo>
                      <a:pt x="2861" y="1236"/>
                    </a:lnTo>
                    <a:lnTo>
                      <a:pt x="2861" y="1063"/>
                    </a:lnTo>
                    <a:close/>
                    <a:moveTo>
                      <a:pt x="5933" y="1042"/>
                    </a:moveTo>
                    <a:lnTo>
                      <a:pt x="5930" y="1042"/>
                    </a:lnTo>
                    <a:lnTo>
                      <a:pt x="5930" y="1042"/>
                    </a:lnTo>
                    <a:lnTo>
                      <a:pt x="5930" y="1044"/>
                    </a:lnTo>
                    <a:lnTo>
                      <a:pt x="5930" y="1125"/>
                    </a:lnTo>
                    <a:lnTo>
                      <a:pt x="5933" y="1125"/>
                    </a:lnTo>
                    <a:lnTo>
                      <a:pt x="5933" y="1042"/>
                    </a:lnTo>
                    <a:close/>
                    <a:moveTo>
                      <a:pt x="2878" y="1011"/>
                    </a:moveTo>
                    <a:lnTo>
                      <a:pt x="2875" y="1013"/>
                    </a:lnTo>
                    <a:lnTo>
                      <a:pt x="2875" y="1013"/>
                    </a:lnTo>
                    <a:lnTo>
                      <a:pt x="2875" y="1058"/>
                    </a:lnTo>
                    <a:lnTo>
                      <a:pt x="2878" y="1058"/>
                    </a:lnTo>
                    <a:lnTo>
                      <a:pt x="2878" y="1011"/>
                    </a:lnTo>
                    <a:close/>
                    <a:moveTo>
                      <a:pt x="3772" y="992"/>
                    </a:moveTo>
                    <a:lnTo>
                      <a:pt x="3769" y="992"/>
                    </a:lnTo>
                    <a:lnTo>
                      <a:pt x="3769" y="994"/>
                    </a:lnTo>
                    <a:lnTo>
                      <a:pt x="3769" y="1219"/>
                    </a:lnTo>
                    <a:lnTo>
                      <a:pt x="3772" y="1219"/>
                    </a:lnTo>
                    <a:lnTo>
                      <a:pt x="3772" y="992"/>
                    </a:lnTo>
                    <a:close/>
                    <a:moveTo>
                      <a:pt x="5949" y="990"/>
                    </a:moveTo>
                    <a:lnTo>
                      <a:pt x="5947" y="990"/>
                    </a:lnTo>
                    <a:lnTo>
                      <a:pt x="5947" y="992"/>
                    </a:lnTo>
                    <a:lnTo>
                      <a:pt x="5947" y="1037"/>
                    </a:lnTo>
                    <a:lnTo>
                      <a:pt x="5949" y="1037"/>
                    </a:lnTo>
                    <a:lnTo>
                      <a:pt x="5949" y="990"/>
                    </a:lnTo>
                    <a:close/>
                    <a:moveTo>
                      <a:pt x="6342" y="935"/>
                    </a:moveTo>
                    <a:lnTo>
                      <a:pt x="6339" y="935"/>
                    </a:lnTo>
                    <a:lnTo>
                      <a:pt x="6339" y="935"/>
                    </a:lnTo>
                    <a:lnTo>
                      <a:pt x="6339" y="938"/>
                    </a:lnTo>
                    <a:lnTo>
                      <a:pt x="6339" y="1125"/>
                    </a:lnTo>
                    <a:lnTo>
                      <a:pt x="6342" y="1125"/>
                    </a:lnTo>
                    <a:lnTo>
                      <a:pt x="6342" y="935"/>
                    </a:lnTo>
                    <a:close/>
                    <a:moveTo>
                      <a:pt x="3847" y="928"/>
                    </a:moveTo>
                    <a:lnTo>
                      <a:pt x="3845" y="928"/>
                    </a:lnTo>
                    <a:lnTo>
                      <a:pt x="3845" y="930"/>
                    </a:lnTo>
                    <a:lnTo>
                      <a:pt x="3845" y="990"/>
                    </a:lnTo>
                    <a:lnTo>
                      <a:pt x="3847" y="990"/>
                    </a:lnTo>
                    <a:lnTo>
                      <a:pt x="3847" y="928"/>
                    </a:lnTo>
                    <a:close/>
                    <a:moveTo>
                      <a:pt x="6384" y="895"/>
                    </a:moveTo>
                    <a:lnTo>
                      <a:pt x="6384" y="895"/>
                    </a:lnTo>
                    <a:lnTo>
                      <a:pt x="6384" y="895"/>
                    </a:lnTo>
                    <a:lnTo>
                      <a:pt x="6384" y="897"/>
                    </a:lnTo>
                    <a:lnTo>
                      <a:pt x="6375" y="930"/>
                    </a:lnTo>
                    <a:lnTo>
                      <a:pt x="6377" y="930"/>
                    </a:lnTo>
                    <a:lnTo>
                      <a:pt x="6384" y="895"/>
                    </a:lnTo>
                    <a:close/>
                    <a:moveTo>
                      <a:pt x="6391" y="878"/>
                    </a:moveTo>
                    <a:lnTo>
                      <a:pt x="6389" y="878"/>
                    </a:lnTo>
                    <a:lnTo>
                      <a:pt x="6389" y="878"/>
                    </a:lnTo>
                    <a:lnTo>
                      <a:pt x="6389" y="881"/>
                    </a:lnTo>
                    <a:lnTo>
                      <a:pt x="6389" y="890"/>
                    </a:lnTo>
                    <a:lnTo>
                      <a:pt x="6391" y="890"/>
                    </a:lnTo>
                    <a:lnTo>
                      <a:pt x="6391" y="878"/>
                    </a:lnTo>
                    <a:close/>
                    <a:moveTo>
                      <a:pt x="6398" y="850"/>
                    </a:moveTo>
                    <a:lnTo>
                      <a:pt x="6396" y="850"/>
                    </a:lnTo>
                    <a:lnTo>
                      <a:pt x="6396" y="852"/>
                    </a:lnTo>
                    <a:lnTo>
                      <a:pt x="6396" y="874"/>
                    </a:lnTo>
                    <a:lnTo>
                      <a:pt x="6398" y="874"/>
                    </a:lnTo>
                    <a:lnTo>
                      <a:pt x="6398" y="850"/>
                    </a:lnTo>
                    <a:close/>
                    <a:moveTo>
                      <a:pt x="806" y="826"/>
                    </a:moveTo>
                    <a:lnTo>
                      <a:pt x="804" y="826"/>
                    </a:lnTo>
                    <a:lnTo>
                      <a:pt x="804" y="829"/>
                    </a:lnTo>
                    <a:lnTo>
                      <a:pt x="804" y="1065"/>
                    </a:lnTo>
                    <a:lnTo>
                      <a:pt x="806" y="1065"/>
                    </a:lnTo>
                    <a:lnTo>
                      <a:pt x="806" y="826"/>
                    </a:lnTo>
                    <a:close/>
                    <a:moveTo>
                      <a:pt x="3100" y="762"/>
                    </a:moveTo>
                    <a:lnTo>
                      <a:pt x="3100" y="762"/>
                    </a:lnTo>
                    <a:lnTo>
                      <a:pt x="3100" y="762"/>
                    </a:lnTo>
                    <a:lnTo>
                      <a:pt x="3100" y="765"/>
                    </a:lnTo>
                    <a:lnTo>
                      <a:pt x="3100" y="975"/>
                    </a:lnTo>
                    <a:lnTo>
                      <a:pt x="3100" y="975"/>
                    </a:lnTo>
                    <a:lnTo>
                      <a:pt x="3100" y="762"/>
                    </a:lnTo>
                    <a:close/>
                    <a:moveTo>
                      <a:pt x="1010" y="753"/>
                    </a:moveTo>
                    <a:lnTo>
                      <a:pt x="1007" y="753"/>
                    </a:lnTo>
                    <a:lnTo>
                      <a:pt x="1007" y="755"/>
                    </a:lnTo>
                    <a:lnTo>
                      <a:pt x="1007" y="824"/>
                    </a:lnTo>
                    <a:lnTo>
                      <a:pt x="1010" y="824"/>
                    </a:lnTo>
                    <a:lnTo>
                      <a:pt x="1010" y="753"/>
                    </a:lnTo>
                    <a:close/>
                    <a:moveTo>
                      <a:pt x="5133" y="732"/>
                    </a:moveTo>
                    <a:lnTo>
                      <a:pt x="5131" y="732"/>
                    </a:lnTo>
                    <a:lnTo>
                      <a:pt x="5131" y="734"/>
                    </a:lnTo>
                    <a:lnTo>
                      <a:pt x="5131" y="968"/>
                    </a:lnTo>
                    <a:lnTo>
                      <a:pt x="5133" y="968"/>
                    </a:lnTo>
                    <a:lnTo>
                      <a:pt x="5133" y="732"/>
                    </a:lnTo>
                    <a:close/>
                    <a:moveTo>
                      <a:pt x="3140" y="656"/>
                    </a:moveTo>
                    <a:lnTo>
                      <a:pt x="3138" y="656"/>
                    </a:lnTo>
                    <a:lnTo>
                      <a:pt x="3138" y="658"/>
                    </a:lnTo>
                    <a:lnTo>
                      <a:pt x="3138" y="758"/>
                    </a:lnTo>
                    <a:lnTo>
                      <a:pt x="3140" y="758"/>
                    </a:lnTo>
                    <a:lnTo>
                      <a:pt x="3140" y="656"/>
                    </a:lnTo>
                    <a:close/>
                    <a:moveTo>
                      <a:pt x="97" y="616"/>
                    </a:moveTo>
                    <a:lnTo>
                      <a:pt x="95" y="616"/>
                    </a:lnTo>
                    <a:lnTo>
                      <a:pt x="95" y="618"/>
                    </a:lnTo>
                    <a:lnTo>
                      <a:pt x="95" y="1449"/>
                    </a:lnTo>
                    <a:lnTo>
                      <a:pt x="97" y="1449"/>
                    </a:lnTo>
                    <a:lnTo>
                      <a:pt x="97" y="616"/>
                    </a:lnTo>
                    <a:close/>
                    <a:moveTo>
                      <a:pt x="5254" y="608"/>
                    </a:moveTo>
                    <a:lnTo>
                      <a:pt x="5252" y="608"/>
                    </a:lnTo>
                    <a:lnTo>
                      <a:pt x="5252" y="611"/>
                    </a:lnTo>
                    <a:lnTo>
                      <a:pt x="5252" y="727"/>
                    </a:lnTo>
                    <a:lnTo>
                      <a:pt x="5254" y="727"/>
                    </a:lnTo>
                    <a:lnTo>
                      <a:pt x="5254" y="608"/>
                    </a:lnTo>
                    <a:close/>
                    <a:moveTo>
                      <a:pt x="3284" y="582"/>
                    </a:moveTo>
                    <a:lnTo>
                      <a:pt x="3282" y="582"/>
                    </a:lnTo>
                    <a:lnTo>
                      <a:pt x="3282" y="582"/>
                    </a:lnTo>
                    <a:lnTo>
                      <a:pt x="3282" y="582"/>
                    </a:lnTo>
                    <a:lnTo>
                      <a:pt x="3282" y="653"/>
                    </a:lnTo>
                    <a:lnTo>
                      <a:pt x="3284" y="653"/>
                    </a:lnTo>
                    <a:lnTo>
                      <a:pt x="3284" y="582"/>
                    </a:lnTo>
                    <a:close/>
                    <a:moveTo>
                      <a:pt x="303" y="547"/>
                    </a:moveTo>
                    <a:lnTo>
                      <a:pt x="300" y="547"/>
                    </a:lnTo>
                    <a:lnTo>
                      <a:pt x="300" y="549"/>
                    </a:lnTo>
                    <a:lnTo>
                      <a:pt x="300" y="613"/>
                    </a:lnTo>
                    <a:lnTo>
                      <a:pt x="303" y="613"/>
                    </a:lnTo>
                    <a:lnTo>
                      <a:pt x="303" y="547"/>
                    </a:lnTo>
                    <a:close/>
                    <a:moveTo>
                      <a:pt x="7025" y="509"/>
                    </a:moveTo>
                    <a:lnTo>
                      <a:pt x="7025" y="509"/>
                    </a:lnTo>
                    <a:lnTo>
                      <a:pt x="7025" y="511"/>
                    </a:lnTo>
                    <a:lnTo>
                      <a:pt x="7025" y="1688"/>
                    </a:lnTo>
                    <a:lnTo>
                      <a:pt x="7025" y="1688"/>
                    </a:lnTo>
                    <a:lnTo>
                      <a:pt x="7025" y="509"/>
                    </a:lnTo>
                    <a:close/>
                    <a:moveTo>
                      <a:pt x="4195" y="502"/>
                    </a:moveTo>
                    <a:lnTo>
                      <a:pt x="4195" y="502"/>
                    </a:lnTo>
                    <a:lnTo>
                      <a:pt x="4192" y="504"/>
                    </a:lnTo>
                    <a:lnTo>
                      <a:pt x="4124" y="599"/>
                    </a:lnTo>
                    <a:lnTo>
                      <a:pt x="4124" y="599"/>
                    </a:lnTo>
                    <a:lnTo>
                      <a:pt x="4195" y="502"/>
                    </a:lnTo>
                    <a:close/>
                    <a:moveTo>
                      <a:pt x="3301" y="502"/>
                    </a:moveTo>
                    <a:lnTo>
                      <a:pt x="3299" y="502"/>
                    </a:lnTo>
                    <a:lnTo>
                      <a:pt x="3299" y="502"/>
                    </a:lnTo>
                    <a:lnTo>
                      <a:pt x="3299" y="502"/>
                    </a:lnTo>
                    <a:lnTo>
                      <a:pt x="3299" y="578"/>
                    </a:lnTo>
                    <a:lnTo>
                      <a:pt x="3301" y="578"/>
                    </a:lnTo>
                    <a:lnTo>
                      <a:pt x="3301" y="502"/>
                    </a:lnTo>
                    <a:close/>
                    <a:moveTo>
                      <a:pt x="4036" y="455"/>
                    </a:moveTo>
                    <a:lnTo>
                      <a:pt x="4036" y="455"/>
                    </a:lnTo>
                    <a:lnTo>
                      <a:pt x="4036" y="455"/>
                    </a:lnTo>
                    <a:lnTo>
                      <a:pt x="4036" y="457"/>
                    </a:lnTo>
                    <a:lnTo>
                      <a:pt x="4036" y="490"/>
                    </a:lnTo>
                    <a:lnTo>
                      <a:pt x="3954" y="644"/>
                    </a:lnTo>
                    <a:lnTo>
                      <a:pt x="3954" y="923"/>
                    </a:lnTo>
                    <a:lnTo>
                      <a:pt x="3956" y="923"/>
                    </a:lnTo>
                    <a:lnTo>
                      <a:pt x="3956" y="642"/>
                    </a:lnTo>
                    <a:lnTo>
                      <a:pt x="4036" y="488"/>
                    </a:lnTo>
                    <a:lnTo>
                      <a:pt x="4036" y="455"/>
                    </a:lnTo>
                    <a:close/>
                    <a:moveTo>
                      <a:pt x="3329" y="433"/>
                    </a:moveTo>
                    <a:lnTo>
                      <a:pt x="3327" y="433"/>
                    </a:lnTo>
                    <a:lnTo>
                      <a:pt x="3327" y="436"/>
                    </a:lnTo>
                    <a:lnTo>
                      <a:pt x="3327" y="497"/>
                    </a:lnTo>
                    <a:lnTo>
                      <a:pt x="3329" y="497"/>
                    </a:lnTo>
                    <a:lnTo>
                      <a:pt x="3329" y="433"/>
                    </a:lnTo>
                    <a:close/>
                    <a:moveTo>
                      <a:pt x="4043" y="391"/>
                    </a:moveTo>
                    <a:lnTo>
                      <a:pt x="4041" y="391"/>
                    </a:lnTo>
                    <a:lnTo>
                      <a:pt x="4041" y="391"/>
                    </a:lnTo>
                    <a:lnTo>
                      <a:pt x="4041" y="393"/>
                    </a:lnTo>
                    <a:lnTo>
                      <a:pt x="4041" y="450"/>
                    </a:lnTo>
                    <a:lnTo>
                      <a:pt x="4043" y="450"/>
                    </a:lnTo>
                    <a:lnTo>
                      <a:pt x="4043" y="391"/>
                    </a:lnTo>
                    <a:close/>
                    <a:moveTo>
                      <a:pt x="1811" y="367"/>
                    </a:moveTo>
                    <a:lnTo>
                      <a:pt x="1809" y="367"/>
                    </a:lnTo>
                    <a:lnTo>
                      <a:pt x="1809" y="369"/>
                    </a:lnTo>
                    <a:lnTo>
                      <a:pt x="1809" y="1127"/>
                    </a:lnTo>
                    <a:lnTo>
                      <a:pt x="1811" y="1127"/>
                    </a:lnTo>
                    <a:lnTo>
                      <a:pt x="1811" y="367"/>
                    </a:lnTo>
                    <a:close/>
                    <a:moveTo>
                      <a:pt x="1939" y="334"/>
                    </a:moveTo>
                    <a:lnTo>
                      <a:pt x="1937" y="334"/>
                    </a:lnTo>
                    <a:lnTo>
                      <a:pt x="1937" y="336"/>
                    </a:lnTo>
                    <a:lnTo>
                      <a:pt x="1937" y="365"/>
                    </a:lnTo>
                    <a:lnTo>
                      <a:pt x="1939" y="365"/>
                    </a:lnTo>
                    <a:lnTo>
                      <a:pt x="1939" y="334"/>
                    </a:lnTo>
                    <a:close/>
                    <a:moveTo>
                      <a:pt x="4051" y="327"/>
                    </a:moveTo>
                    <a:lnTo>
                      <a:pt x="4048" y="327"/>
                    </a:lnTo>
                    <a:lnTo>
                      <a:pt x="4048" y="329"/>
                    </a:lnTo>
                    <a:lnTo>
                      <a:pt x="4048" y="386"/>
                    </a:lnTo>
                    <a:lnTo>
                      <a:pt x="4051" y="386"/>
                    </a:lnTo>
                    <a:lnTo>
                      <a:pt x="4051" y="327"/>
                    </a:lnTo>
                    <a:close/>
                    <a:moveTo>
                      <a:pt x="2029" y="294"/>
                    </a:moveTo>
                    <a:lnTo>
                      <a:pt x="2026" y="294"/>
                    </a:lnTo>
                    <a:lnTo>
                      <a:pt x="2026" y="296"/>
                    </a:lnTo>
                    <a:lnTo>
                      <a:pt x="2026" y="329"/>
                    </a:lnTo>
                    <a:lnTo>
                      <a:pt x="2029" y="329"/>
                    </a:lnTo>
                    <a:lnTo>
                      <a:pt x="2029" y="294"/>
                    </a:lnTo>
                    <a:close/>
                    <a:moveTo>
                      <a:pt x="4703" y="232"/>
                    </a:moveTo>
                    <a:lnTo>
                      <a:pt x="4703" y="232"/>
                    </a:lnTo>
                    <a:lnTo>
                      <a:pt x="4703" y="234"/>
                    </a:lnTo>
                    <a:lnTo>
                      <a:pt x="4637" y="471"/>
                    </a:lnTo>
                    <a:lnTo>
                      <a:pt x="4639" y="469"/>
                    </a:lnTo>
                    <a:lnTo>
                      <a:pt x="4703" y="232"/>
                    </a:lnTo>
                    <a:close/>
                    <a:moveTo>
                      <a:pt x="4805" y="173"/>
                    </a:moveTo>
                    <a:lnTo>
                      <a:pt x="4802" y="173"/>
                    </a:lnTo>
                    <a:lnTo>
                      <a:pt x="4802" y="173"/>
                    </a:lnTo>
                    <a:lnTo>
                      <a:pt x="4802" y="173"/>
                    </a:lnTo>
                    <a:lnTo>
                      <a:pt x="4802" y="227"/>
                    </a:lnTo>
                    <a:lnTo>
                      <a:pt x="4805" y="227"/>
                    </a:lnTo>
                    <a:lnTo>
                      <a:pt x="4805" y="173"/>
                    </a:lnTo>
                    <a:close/>
                    <a:moveTo>
                      <a:pt x="4854" y="0"/>
                    </a:moveTo>
                    <a:lnTo>
                      <a:pt x="4852" y="0"/>
                    </a:lnTo>
                    <a:lnTo>
                      <a:pt x="4852" y="2"/>
                    </a:lnTo>
                    <a:lnTo>
                      <a:pt x="4852" y="168"/>
                    </a:lnTo>
                    <a:lnTo>
                      <a:pt x="4854" y="168"/>
                    </a:lnTo>
                    <a:lnTo>
                      <a:pt x="4854" y="0"/>
                    </a:lnTo>
                    <a:close/>
                    <a:moveTo>
                      <a:pt x="4911" y="0"/>
                    </a:moveTo>
                    <a:lnTo>
                      <a:pt x="4909" y="0"/>
                    </a:lnTo>
                    <a:lnTo>
                      <a:pt x="4909" y="2"/>
                    </a:lnTo>
                    <a:lnTo>
                      <a:pt x="4909" y="168"/>
                    </a:lnTo>
                    <a:lnTo>
                      <a:pt x="4911" y="168"/>
                    </a:lnTo>
                    <a:lnTo>
                      <a:pt x="4911" y="0"/>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19" name="Freeform 141"/>
              <p:cNvSpPr>
                <a:spLocks noEditPoints="1"/>
              </p:cNvSpPr>
              <p:nvPr/>
            </p:nvSpPr>
            <p:spPr bwMode="auto">
              <a:xfrm>
                <a:off x="42" y="1665"/>
                <a:ext cx="7025" cy="1688"/>
              </a:xfrm>
              <a:custGeom>
                <a:avLst/>
                <a:gdLst>
                  <a:gd name="T0" fmla="*/ 2 w 7025"/>
                  <a:gd name="T1" fmla="*/ 1529 h 1688"/>
                  <a:gd name="T2" fmla="*/ 5665 w 7025"/>
                  <a:gd name="T3" fmla="*/ 1444 h 1688"/>
                  <a:gd name="T4" fmla="*/ 3710 w 7025"/>
                  <a:gd name="T5" fmla="*/ 1222 h 1688"/>
                  <a:gd name="T6" fmla="*/ 5831 w 7025"/>
                  <a:gd name="T7" fmla="*/ 1207 h 1688"/>
                  <a:gd name="T8" fmla="*/ 5831 w 7025"/>
                  <a:gd name="T9" fmla="*/ 1321 h 1688"/>
                  <a:gd name="T10" fmla="*/ 1665 w 7025"/>
                  <a:gd name="T11" fmla="*/ 1158 h 1688"/>
                  <a:gd name="T12" fmla="*/ 1688 w 7025"/>
                  <a:gd name="T13" fmla="*/ 1132 h 1688"/>
                  <a:gd name="T14" fmla="*/ 5857 w 7025"/>
                  <a:gd name="T15" fmla="*/ 1127 h 1688"/>
                  <a:gd name="T16" fmla="*/ 5857 w 7025"/>
                  <a:gd name="T17" fmla="*/ 1205 h 1688"/>
                  <a:gd name="T18" fmla="*/ 6320 w 7025"/>
                  <a:gd name="T19" fmla="*/ 1129 h 1688"/>
                  <a:gd name="T20" fmla="*/ 1445 w 7025"/>
                  <a:gd name="T21" fmla="*/ 1125 h 1688"/>
                  <a:gd name="T22" fmla="*/ 1447 w 7025"/>
                  <a:gd name="T23" fmla="*/ 1125 h 1688"/>
                  <a:gd name="T24" fmla="*/ 1464 w 7025"/>
                  <a:gd name="T25" fmla="*/ 1122 h 1688"/>
                  <a:gd name="T26" fmla="*/ 2859 w 7025"/>
                  <a:gd name="T27" fmla="*/ 1063 h 1688"/>
                  <a:gd name="T28" fmla="*/ 5930 w 7025"/>
                  <a:gd name="T29" fmla="*/ 1042 h 1688"/>
                  <a:gd name="T30" fmla="*/ 5933 w 7025"/>
                  <a:gd name="T31" fmla="*/ 1042 h 1688"/>
                  <a:gd name="T32" fmla="*/ 2878 w 7025"/>
                  <a:gd name="T33" fmla="*/ 1058 h 1688"/>
                  <a:gd name="T34" fmla="*/ 3769 w 7025"/>
                  <a:gd name="T35" fmla="*/ 1219 h 1688"/>
                  <a:gd name="T36" fmla="*/ 5947 w 7025"/>
                  <a:gd name="T37" fmla="*/ 992 h 1688"/>
                  <a:gd name="T38" fmla="*/ 6339 w 7025"/>
                  <a:gd name="T39" fmla="*/ 935 h 1688"/>
                  <a:gd name="T40" fmla="*/ 6342 w 7025"/>
                  <a:gd name="T41" fmla="*/ 935 h 1688"/>
                  <a:gd name="T42" fmla="*/ 3847 w 7025"/>
                  <a:gd name="T43" fmla="*/ 990 h 1688"/>
                  <a:gd name="T44" fmla="*/ 6384 w 7025"/>
                  <a:gd name="T45" fmla="*/ 897 h 1688"/>
                  <a:gd name="T46" fmla="*/ 6389 w 7025"/>
                  <a:gd name="T47" fmla="*/ 878 h 1688"/>
                  <a:gd name="T48" fmla="*/ 6391 w 7025"/>
                  <a:gd name="T49" fmla="*/ 878 h 1688"/>
                  <a:gd name="T50" fmla="*/ 6398 w 7025"/>
                  <a:gd name="T51" fmla="*/ 874 h 1688"/>
                  <a:gd name="T52" fmla="*/ 804 w 7025"/>
                  <a:gd name="T53" fmla="*/ 1065 h 1688"/>
                  <a:gd name="T54" fmla="*/ 3100 w 7025"/>
                  <a:gd name="T55" fmla="*/ 762 h 1688"/>
                  <a:gd name="T56" fmla="*/ 1010 w 7025"/>
                  <a:gd name="T57" fmla="*/ 753 h 1688"/>
                  <a:gd name="T58" fmla="*/ 1010 w 7025"/>
                  <a:gd name="T59" fmla="*/ 753 h 1688"/>
                  <a:gd name="T60" fmla="*/ 5133 w 7025"/>
                  <a:gd name="T61" fmla="*/ 968 h 1688"/>
                  <a:gd name="T62" fmla="*/ 3138 w 7025"/>
                  <a:gd name="T63" fmla="*/ 758 h 1688"/>
                  <a:gd name="T64" fmla="*/ 95 w 7025"/>
                  <a:gd name="T65" fmla="*/ 618 h 1688"/>
                  <a:gd name="T66" fmla="*/ 5252 w 7025"/>
                  <a:gd name="T67" fmla="*/ 608 h 1688"/>
                  <a:gd name="T68" fmla="*/ 3284 w 7025"/>
                  <a:gd name="T69" fmla="*/ 582 h 1688"/>
                  <a:gd name="T70" fmla="*/ 3284 w 7025"/>
                  <a:gd name="T71" fmla="*/ 653 h 1688"/>
                  <a:gd name="T72" fmla="*/ 300 w 7025"/>
                  <a:gd name="T73" fmla="*/ 613 h 1688"/>
                  <a:gd name="T74" fmla="*/ 7025 w 7025"/>
                  <a:gd name="T75" fmla="*/ 511 h 1688"/>
                  <a:gd name="T76" fmla="*/ 4195 w 7025"/>
                  <a:gd name="T77" fmla="*/ 502 h 1688"/>
                  <a:gd name="T78" fmla="*/ 3301 w 7025"/>
                  <a:gd name="T79" fmla="*/ 502 h 1688"/>
                  <a:gd name="T80" fmla="*/ 3301 w 7025"/>
                  <a:gd name="T81" fmla="*/ 578 h 1688"/>
                  <a:gd name="T82" fmla="*/ 4036 w 7025"/>
                  <a:gd name="T83" fmla="*/ 457 h 1688"/>
                  <a:gd name="T84" fmla="*/ 3956 w 7025"/>
                  <a:gd name="T85" fmla="*/ 642 h 1688"/>
                  <a:gd name="T86" fmla="*/ 3327 w 7025"/>
                  <a:gd name="T87" fmla="*/ 436 h 1688"/>
                  <a:gd name="T88" fmla="*/ 4041 w 7025"/>
                  <a:gd name="T89" fmla="*/ 391 h 1688"/>
                  <a:gd name="T90" fmla="*/ 4043 w 7025"/>
                  <a:gd name="T91" fmla="*/ 391 h 1688"/>
                  <a:gd name="T92" fmla="*/ 1811 w 7025"/>
                  <a:gd name="T93" fmla="*/ 1127 h 1688"/>
                  <a:gd name="T94" fmla="*/ 1937 w 7025"/>
                  <a:gd name="T95" fmla="*/ 365 h 1688"/>
                  <a:gd name="T96" fmla="*/ 4048 w 7025"/>
                  <a:gd name="T97" fmla="*/ 329 h 1688"/>
                  <a:gd name="T98" fmla="*/ 2026 w 7025"/>
                  <a:gd name="T99" fmla="*/ 294 h 1688"/>
                  <a:gd name="T100" fmla="*/ 4703 w 7025"/>
                  <a:gd name="T101" fmla="*/ 232 h 1688"/>
                  <a:gd name="T102" fmla="*/ 4703 w 7025"/>
                  <a:gd name="T103" fmla="*/ 232 h 1688"/>
                  <a:gd name="T104" fmla="*/ 4802 w 7025"/>
                  <a:gd name="T105" fmla="*/ 227 h 1688"/>
                  <a:gd name="T106" fmla="*/ 4852 w 7025"/>
                  <a:gd name="T107" fmla="*/ 2 h 1688"/>
                  <a:gd name="T108" fmla="*/ 4909 w 7025"/>
                  <a:gd name="T109" fmla="*/ 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88">
                    <a:moveTo>
                      <a:pt x="2" y="1454"/>
                    </a:moveTo>
                    <a:lnTo>
                      <a:pt x="0" y="1454"/>
                    </a:lnTo>
                    <a:lnTo>
                      <a:pt x="0" y="1454"/>
                    </a:lnTo>
                    <a:lnTo>
                      <a:pt x="0" y="1529"/>
                    </a:lnTo>
                    <a:lnTo>
                      <a:pt x="2" y="1529"/>
                    </a:lnTo>
                    <a:lnTo>
                      <a:pt x="2" y="1454"/>
                    </a:lnTo>
                    <a:moveTo>
                      <a:pt x="5665" y="1326"/>
                    </a:moveTo>
                    <a:lnTo>
                      <a:pt x="5665" y="1326"/>
                    </a:lnTo>
                    <a:lnTo>
                      <a:pt x="5665" y="1328"/>
                    </a:lnTo>
                    <a:lnTo>
                      <a:pt x="5665" y="1444"/>
                    </a:lnTo>
                    <a:lnTo>
                      <a:pt x="5665" y="1444"/>
                    </a:lnTo>
                    <a:lnTo>
                      <a:pt x="5665" y="1326"/>
                    </a:lnTo>
                    <a:moveTo>
                      <a:pt x="3712" y="1222"/>
                    </a:moveTo>
                    <a:lnTo>
                      <a:pt x="3710" y="1222"/>
                    </a:lnTo>
                    <a:lnTo>
                      <a:pt x="3710" y="1222"/>
                    </a:lnTo>
                    <a:lnTo>
                      <a:pt x="3710" y="1224"/>
                    </a:lnTo>
                    <a:lnTo>
                      <a:pt x="3710" y="1387"/>
                    </a:lnTo>
                    <a:lnTo>
                      <a:pt x="3712" y="1387"/>
                    </a:lnTo>
                    <a:lnTo>
                      <a:pt x="3712" y="1222"/>
                    </a:lnTo>
                    <a:moveTo>
                      <a:pt x="5831" y="1207"/>
                    </a:moveTo>
                    <a:lnTo>
                      <a:pt x="5831" y="1207"/>
                    </a:lnTo>
                    <a:lnTo>
                      <a:pt x="5831" y="1207"/>
                    </a:lnTo>
                    <a:lnTo>
                      <a:pt x="5831" y="1210"/>
                    </a:lnTo>
                    <a:lnTo>
                      <a:pt x="5831" y="1321"/>
                    </a:lnTo>
                    <a:lnTo>
                      <a:pt x="5831" y="1321"/>
                    </a:lnTo>
                    <a:lnTo>
                      <a:pt x="5831" y="1207"/>
                    </a:lnTo>
                    <a:moveTo>
                      <a:pt x="1667" y="1155"/>
                    </a:moveTo>
                    <a:lnTo>
                      <a:pt x="1665" y="1155"/>
                    </a:lnTo>
                    <a:lnTo>
                      <a:pt x="1665" y="1155"/>
                    </a:lnTo>
                    <a:lnTo>
                      <a:pt x="1665" y="1158"/>
                    </a:lnTo>
                    <a:lnTo>
                      <a:pt x="1665" y="1196"/>
                    </a:lnTo>
                    <a:lnTo>
                      <a:pt x="1667" y="1196"/>
                    </a:lnTo>
                    <a:lnTo>
                      <a:pt x="1667" y="1155"/>
                    </a:lnTo>
                    <a:moveTo>
                      <a:pt x="1688" y="1132"/>
                    </a:moveTo>
                    <a:lnTo>
                      <a:pt x="1688" y="1132"/>
                    </a:lnTo>
                    <a:lnTo>
                      <a:pt x="1688" y="1134"/>
                    </a:lnTo>
                    <a:lnTo>
                      <a:pt x="1688" y="1153"/>
                    </a:lnTo>
                    <a:lnTo>
                      <a:pt x="1688" y="1153"/>
                    </a:lnTo>
                    <a:lnTo>
                      <a:pt x="1688" y="1132"/>
                    </a:lnTo>
                    <a:moveTo>
                      <a:pt x="5857" y="1127"/>
                    </a:moveTo>
                    <a:lnTo>
                      <a:pt x="5855" y="1127"/>
                    </a:lnTo>
                    <a:lnTo>
                      <a:pt x="5855" y="1127"/>
                    </a:lnTo>
                    <a:lnTo>
                      <a:pt x="5855" y="1129"/>
                    </a:lnTo>
                    <a:lnTo>
                      <a:pt x="5855" y="1205"/>
                    </a:lnTo>
                    <a:lnTo>
                      <a:pt x="5857" y="1205"/>
                    </a:lnTo>
                    <a:lnTo>
                      <a:pt x="5857" y="1127"/>
                    </a:lnTo>
                    <a:moveTo>
                      <a:pt x="6323" y="1127"/>
                    </a:moveTo>
                    <a:lnTo>
                      <a:pt x="6323" y="1127"/>
                    </a:lnTo>
                    <a:lnTo>
                      <a:pt x="6320" y="1127"/>
                    </a:lnTo>
                    <a:lnTo>
                      <a:pt x="6320" y="1129"/>
                    </a:lnTo>
                    <a:lnTo>
                      <a:pt x="6320" y="1359"/>
                    </a:lnTo>
                    <a:lnTo>
                      <a:pt x="6323" y="1359"/>
                    </a:lnTo>
                    <a:lnTo>
                      <a:pt x="6323" y="1127"/>
                    </a:lnTo>
                    <a:moveTo>
                      <a:pt x="1447" y="1125"/>
                    </a:moveTo>
                    <a:lnTo>
                      <a:pt x="1445" y="1125"/>
                    </a:lnTo>
                    <a:lnTo>
                      <a:pt x="1445" y="1125"/>
                    </a:lnTo>
                    <a:lnTo>
                      <a:pt x="1445" y="1127"/>
                    </a:lnTo>
                    <a:lnTo>
                      <a:pt x="1445" y="1196"/>
                    </a:lnTo>
                    <a:lnTo>
                      <a:pt x="1447" y="1196"/>
                    </a:lnTo>
                    <a:lnTo>
                      <a:pt x="1447" y="1125"/>
                    </a:lnTo>
                    <a:moveTo>
                      <a:pt x="1464" y="1084"/>
                    </a:moveTo>
                    <a:lnTo>
                      <a:pt x="1461" y="1084"/>
                    </a:lnTo>
                    <a:lnTo>
                      <a:pt x="1461" y="1084"/>
                    </a:lnTo>
                    <a:lnTo>
                      <a:pt x="1461" y="1122"/>
                    </a:lnTo>
                    <a:lnTo>
                      <a:pt x="1464" y="1122"/>
                    </a:lnTo>
                    <a:lnTo>
                      <a:pt x="1464" y="1084"/>
                    </a:lnTo>
                    <a:moveTo>
                      <a:pt x="2861" y="1063"/>
                    </a:moveTo>
                    <a:lnTo>
                      <a:pt x="2859" y="1063"/>
                    </a:lnTo>
                    <a:lnTo>
                      <a:pt x="2859" y="1063"/>
                    </a:lnTo>
                    <a:lnTo>
                      <a:pt x="2859" y="1063"/>
                    </a:lnTo>
                    <a:lnTo>
                      <a:pt x="2859" y="1236"/>
                    </a:lnTo>
                    <a:lnTo>
                      <a:pt x="2861" y="1236"/>
                    </a:lnTo>
                    <a:lnTo>
                      <a:pt x="2861" y="1063"/>
                    </a:lnTo>
                    <a:moveTo>
                      <a:pt x="5933" y="1042"/>
                    </a:moveTo>
                    <a:lnTo>
                      <a:pt x="5930" y="1042"/>
                    </a:lnTo>
                    <a:lnTo>
                      <a:pt x="5930" y="1042"/>
                    </a:lnTo>
                    <a:lnTo>
                      <a:pt x="5930" y="1044"/>
                    </a:lnTo>
                    <a:lnTo>
                      <a:pt x="5930" y="1125"/>
                    </a:lnTo>
                    <a:lnTo>
                      <a:pt x="5933" y="1125"/>
                    </a:lnTo>
                    <a:lnTo>
                      <a:pt x="5933" y="1042"/>
                    </a:lnTo>
                    <a:moveTo>
                      <a:pt x="2878" y="1011"/>
                    </a:moveTo>
                    <a:lnTo>
                      <a:pt x="2875" y="1013"/>
                    </a:lnTo>
                    <a:lnTo>
                      <a:pt x="2875" y="1013"/>
                    </a:lnTo>
                    <a:lnTo>
                      <a:pt x="2875" y="1058"/>
                    </a:lnTo>
                    <a:lnTo>
                      <a:pt x="2878" y="1058"/>
                    </a:lnTo>
                    <a:lnTo>
                      <a:pt x="2878" y="1011"/>
                    </a:lnTo>
                    <a:moveTo>
                      <a:pt x="3772" y="992"/>
                    </a:moveTo>
                    <a:lnTo>
                      <a:pt x="3769" y="992"/>
                    </a:lnTo>
                    <a:lnTo>
                      <a:pt x="3769" y="994"/>
                    </a:lnTo>
                    <a:lnTo>
                      <a:pt x="3769" y="1219"/>
                    </a:lnTo>
                    <a:lnTo>
                      <a:pt x="3772" y="1219"/>
                    </a:lnTo>
                    <a:lnTo>
                      <a:pt x="3772" y="992"/>
                    </a:lnTo>
                    <a:moveTo>
                      <a:pt x="5949" y="990"/>
                    </a:moveTo>
                    <a:lnTo>
                      <a:pt x="5947" y="990"/>
                    </a:lnTo>
                    <a:lnTo>
                      <a:pt x="5947" y="992"/>
                    </a:lnTo>
                    <a:lnTo>
                      <a:pt x="5947" y="1037"/>
                    </a:lnTo>
                    <a:lnTo>
                      <a:pt x="5949" y="1037"/>
                    </a:lnTo>
                    <a:lnTo>
                      <a:pt x="5949" y="990"/>
                    </a:lnTo>
                    <a:moveTo>
                      <a:pt x="6342" y="935"/>
                    </a:moveTo>
                    <a:lnTo>
                      <a:pt x="6339" y="935"/>
                    </a:lnTo>
                    <a:lnTo>
                      <a:pt x="6339" y="935"/>
                    </a:lnTo>
                    <a:lnTo>
                      <a:pt x="6339" y="938"/>
                    </a:lnTo>
                    <a:lnTo>
                      <a:pt x="6339" y="1125"/>
                    </a:lnTo>
                    <a:lnTo>
                      <a:pt x="6342" y="1125"/>
                    </a:lnTo>
                    <a:lnTo>
                      <a:pt x="6342" y="935"/>
                    </a:lnTo>
                    <a:moveTo>
                      <a:pt x="3847" y="928"/>
                    </a:moveTo>
                    <a:lnTo>
                      <a:pt x="3845" y="928"/>
                    </a:lnTo>
                    <a:lnTo>
                      <a:pt x="3845" y="930"/>
                    </a:lnTo>
                    <a:lnTo>
                      <a:pt x="3845" y="990"/>
                    </a:lnTo>
                    <a:lnTo>
                      <a:pt x="3847" y="990"/>
                    </a:lnTo>
                    <a:lnTo>
                      <a:pt x="3847" y="928"/>
                    </a:lnTo>
                    <a:moveTo>
                      <a:pt x="6384" y="895"/>
                    </a:moveTo>
                    <a:lnTo>
                      <a:pt x="6384" y="895"/>
                    </a:lnTo>
                    <a:lnTo>
                      <a:pt x="6384" y="895"/>
                    </a:lnTo>
                    <a:lnTo>
                      <a:pt x="6384" y="897"/>
                    </a:lnTo>
                    <a:lnTo>
                      <a:pt x="6375" y="930"/>
                    </a:lnTo>
                    <a:lnTo>
                      <a:pt x="6377" y="930"/>
                    </a:lnTo>
                    <a:lnTo>
                      <a:pt x="6384" y="895"/>
                    </a:lnTo>
                    <a:moveTo>
                      <a:pt x="6391" y="878"/>
                    </a:moveTo>
                    <a:lnTo>
                      <a:pt x="6389" y="878"/>
                    </a:lnTo>
                    <a:lnTo>
                      <a:pt x="6389" y="878"/>
                    </a:lnTo>
                    <a:lnTo>
                      <a:pt x="6389" y="881"/>
                    </a:lnTo>
                    <a:lnTo>
                      <a:pt x="6389" y="890"/>
                    </a:lnTo>
                    <a:lnTo>
                      <a:pt x="6391" y="890"/>
                    </a:lnTo>
                    <a:lnTo>
                      <a:pt x="6391" y="878"/>
                    </a:lnTo>
                    <a:moveTo>
                      <a:pt x="6398" y="850"/>
                    </a:moveTo>
                    <a:lnTo>
                      <a:pt x="6396" y="850"/>
                    </a:lnTo>
                    <a:lnTo>
                      <a:pt x="6396" y="852"/>
                    </a:lnTo>
                    <a:lnTo>
                      <a:pt x="6396" y="874"/>
                    </a:lnTo>
                    <a:lnTo>
                      <a:pt x="6398" y="874"/>
                    </a:lnTo>
                    <a:lnTo>
                      <a:pt x="6398" y="850"/>
                    </a:lnTo>
                    <a:moveTo>
                      <a:pt x="806" y="826"/>
                    </a:moveTo>
                    <a:lnTo>
                      <a:pt x="804" y="826"/>
                    </a:lnTo>
                    <a:lnTo>
                      <a:pt x="804" y="829"/>
                    </a:lnTo>
                    <a:lnTo>
                      <a:pt x="804" y="1065"/>
                    </a:lnTo>
                    <a:lnTo>
                      <a:pt x="806" y="1065"/>
                    </a:lnTo>
                    <a:lnTo>
                      <a:pt x="806" y="826"/>
                    </a:lnTo>
                    <a:moveTo>
                      <a:pt x="3100" y="762"/>
                    </a:moveTo>
                    <a:lnTo>
                      <a:pt x="3100" y="762"/>
                    </a:lnTo>
                    <a:lnTo>
                      <a:pt x="3100" y="762"/>
                    </a:lnTo>
                    <a:lnTo>
                      <a:pt x="3100" y="765"/>
                    </a:lnTo>
                    <a:lnTo>
                      <a:pt x="3100" y="975"/>
                    </a:lnTo>
                    <a:lnTo>
                      <a:pt x="3100" y="975"/>
                    </a:lnTo>
                    <a:lnTo>
                      <a:pt x="3100" y="762"/>
                    </a:lnTo>
                    <a:moveTo>
                      <a:pt x="1010" y="753"/>
                    </a:moveTo>
                    <a:lnTo>
                      <a:pt x="1007" y="753"/>
                    </a:lnTo>
                    <a:lnTo>
                      <a:pt x="1007" y="755"/>
                    </a:lnTo>
                    <a:lnTo>
                      <a:pt x="1007" y="824"/>
                    </a:lnTo>
                    <a:lnTo>
                      <a:pt x="1010" y="824"/>
                    </a:lnTo>
                    <a:lnTo>
                      <a:pt x="1010" y="753"/>
                    </a:lnTo>
                    <a:moveTo>
                      <a:pt x="5133" y="732"/>
                    </a:moveTo>
                    <a:lnTo>
                      <a:pt x="5131" y="732"/>
                    </a:lnTo>
                    <a:lnTo>
                      <a:pt x="5131" y="734"/>
                    </a:lnTo>
                    <a:lnTo>
                      <a:pt x="5131" y="968"/>
                    </a:lnTo>
                    <a:lnTo>
                      <a:pt x="5133" y="968"/>
                    </a:lnTo>
                    <a:lnTo>
                      <a:pt x="5133" y="732"/>
                    </a:lnTo>
                    <a:moveTo>
                      <a:pt x="3140" y="656"/>
                    </a:moveTo>
                    <a:lnTo>
                      <a:pt x="3138" y="656"/>
                    </a:lnTo>
                    <a:lnTo>
                      <a:pt x="3138" y="658"/>
                    </a:lnTo>
                    <a:lnTo>
                      <a:pt x="3138" y="758"/>
                    </a:lnTo>
                    <a:lnTo>
                      <a:pt x="3140" y="758"/>
                    </a:lnTo>
                    <a:lnTo>
                      <a:pt x="3140" y="656"/>
                    </a:lnTo>
                    <a:moveTo>
                      <a:pt x="97" y="616"/>
                    </a:moveTo>
                    <a:lnTo>
                      <a:pt x="95" y="616"/>
                    </a:lnTo>
                    <a:lnTo>
                      <a:pt x="95" y="618"/>
                    </a:lnTo>
                    <a:lnTo>
                      <a:pt x="95" y="1449"/>
                    </a:lnTo>
                    <a:lnTo>
                      <a:pt x="97" y="1449"/>
                    </a:lnTo>
                    <a:lnTo>
                      <a:pt x="97" y="616"/>
                    </a:lnTo>
                    <a:moveTo>
                      <a:pt x="5254" y="608"/>
                    </a:moveTo>
                    <a:lnTo>
                      <a:pt x="5252" y="608"/>
                    </a:lnTo>
                    <a:lnTo>
                      <a:pt x="5252" y="611"/>
                    </a:lnTo>
                    <a:lnTo>
                      <a:pt x="5252" y="727"/>
                    </a:lnTo>
                    <a:lnTo>
                      <a:pt x="5254" y="727"/>
                    </a:lnTo>
                    <a:lnTo>
                      <a:pt x="5254" y="608"/>
                    </a:lnTo>
                    <a:moveTo>
                      <a:pt x="3284" y="582"/>
                    </a:moveTo>
                    <a:lnTo>
                      <a:pt x="3282" y="582"/>
                    </a:lnTo>
                    <a:lnTo>
                      <a:pt x="3282" y="582"/>
                    </a:lnTo>
                    <a:lnTo>
                      <a:pt x="3282" y="582"/>
                    </a:lnTo>
                    <a:lnTo>
                      <a:pt x="3282" y="653"/>
                    </a:lnTo>
                    <a:lnTo>
                      <a:pt x="3284" y="653"/>
                    </a:lnTo>
                    <a:lnTo>
                      <a:pt x="3284" y="582"/>
                    </a:lnTo>
                    <a:moveTo>
                      <a:pt x="303" y="547"/>
                    </a:moveTo>
                    <a:lnTo>
                      <a:pt x="300" y="547"/>
                    </a:lnTo>
                    <a:lnTo>
                      <a:pt x="300" y="549"/>
                    </a:lnTo>
                    <a:lnTo>
                      <a:pt x="300" y="613"/>
                    </a:lnTo>
                    <a:lnTo>
                      <a:pt x="303" y="613"/>
                    </a:lnTo>
                    <a:lnTo>
                      <a:pt x="303" y="547"/>
                    </a:lnTo>
                    <a:moveTo>
                      <a:pt x="7025" y="509"/>
                    </a:moveTo>
                    <a:lnTo>
                      <a:pt x="7025" y="509"/>
                    </a:lnTo>
                    <a:lnTo>
                      <a:pt x="7025" y="511"/>
                    </a:lnTo>
                    <a:lnTo>
                      <a:pt x="7025" y="1688"/>
                    </a:lnTo>
                    <a:lnTo>
                      <a:pt x="7025" y="1688"/>
                    </a:lnTo>
                    <a:lnTo>
                      <a:pt x="7025" y="509"/>
                    </a:lnTo>
                    <a:moveTo>
                      <a:pt x="4195" y="502"/>
                    </a:moveTo>
                    <a:lnTo>
                      <a:pt x="4195" y="502"/>
                    </a:lnTo>
                    <a:lnTo>
                      <a:pt x="4192" y="504"/>
                    </a:lnTo>
                    <a:lnTo>
                      <a:pt x="4124" y="599"/>
                    </a:lnTo>
                    <a:lnTo>
                      <a:pt x="4124" y="599"/>
                    </a:lnTo>
                    <a:lnTo>
                      <a:pt x="4195" y="502"/>
                    </a:lnTo>
                    <a:moveTo>
                      <a:pt x="3301" y="502"/>
                    </a:moveTo>
                    <a:lnTo>
                      <a:pt x="3299" y="502"/>
                    </a:lnTo>
                    <a:lnTo>
                      <a:pt x="3299" y="502"/>
                    </a:lnTo>
                    <a:lnTo>
                      <a:pt x="3299" y="502"/>
                    </a:lnTo>
                    <a:lnTo>
                      <a:pt x="3299" y="578"/>
                    </a:lnTo>
                    <a:lnTo>
                      <a:pt x="3301" y="578"/>
                    </a:lnTo>
                    <a:lnTo>
                      <a:pt x="3301" y="502"/>
                    </a:lnTo>
                    <a:moveTo>
                      <a:pt x="4036" y="455"/>
                    </a:moveTo>
                    <a:lnTo>
                      <a:pt x="4036" y="455"/>
                    </a:lnTo>
                    <a:lnTo>
                      <a:pt x="4036" y="455"/>
                    </a:lnTo>
                    <a:lnTo>
                      <a:pt x="4036" y="457"/>
                    </a:lnTo>
                    <a:lnTo>
                      <a:pt x="4036" y="490"/>
                    </a:lnTo>
                    <a:lnTo>
                      <a:pt x="3954" y="644"/>
                    </a:lnTo>
                    <a:lnTo>
                      <a:pt x="3954" y="923"/>
                    </a:lnTo>
                    <a:lnTo>
                      <a:pt x="3956" y="923"/>
                    </a:lnTo>
                    <a:lnTo>
                      <a:pt x="3956" y="642"/>
                    </a:lnTo>
                    <a:lnTo>
                      <a:pt x="4036" y="488"/>
                    </a:lnTo>
                    <a:lnTo>
                      <a:pt x="4036" y="455"/>
                    </a:lnTo>
                    <a:moveTo>
                      <a:pt x="3329" y="433"/>
                    </a:moveTo>
                    <a:lnTo>
                      <a:pt x="3327" y="433"/>
                    </a:lnTo>
                    <a:lnTo>
                      <a:pt x="3327" y="436"/>
                    </a:lnTo>
                    <a:lnTo>
                      <a:pt x="3327" y="497"/>
                    </a:lnTo>
                    <a:lnTo>
                      <a:pt x="3329" y="497"/>
                    </a:lnTo>
                    <a:lnTo>
                      <a:pt x="3329" y="433"/>
                    </a:lnTo>
                    <a:moveTo>
                      <a:pt x="4043" y="391"/>
                    </a:moveTo>
                    <a:lnTo>
                      <a:pt x="4041" y="391"/>
                    </a:lnTo>
                    <a:lnTo>
                      <a:pt x="4041" y="391"/>
                    </a:lnTo>
                    <a:lnTo>
                      <a:pt x="4041" y="393"/>
                    </a:lnTo>
                    <a:lnTo>
                      <a:pt x="4041" y="450"/>
                    </a:lnTo>
                    <a:lnTo>
                      <a:pt x="4043" y="450"/>
                    </a:lnTo>
                    <a:lnTo>
                      <a:pt x="4043" y="391"/>
                    </a:lnTo>
                    <a:moveTo>
                      <a:pt x="1811" y="367"/>
                    </a:moveTo>
                    <a:lnTo>
                      <a:pt x="1809" y="367"/>
                    </a:lnTo>
                    <a:lnTo>
                      <a:pt x="1809" y="369"/>
                    </a:lnTo>
                    <a:lnTo>
                      <a:pt x="1809" y="1127"/>
                    </a:lnTo>
                    <a:lnTo>
                      <a:pt x="1811" y="1127"/>
                    </a:lnTo>
                    <a:lnTo>
                      <a:pt x="1811" y="367"/>
                    </a:lnTo>
                    <a:moveTo>
                      <a:pt x="1939" y="334"/>
                    </a:moveTo>
                    <a:lnTo>
                      <a:pt x="1937" y="334"/>
                    </a:lnTo>
                    <a:lnTo>
                      <a:pt x="1937" y="336"/>
                    </a:lnTo>
                    <a:lnTo>
                      <a:pt x="1937" y="365"/>
                    </a:lnTo>
                    <a:lnTo>
                      <a:pt x="1939" y="365"/>
                    </a:lnTo>
                    <a:lnTo>
                      <a:pt x="1939" y="334"/>
                    </a:lnTo>
                    <a:moveTo>
                      <a:pt x="4051" y="327"/>
                    </a:moveTo>
                    <a:lnTo>
                      <a:pt x="4048" y="327"/>
                    </a:lnTo>
                    <a:lnTo>
                      <a:pt x="4048" y="329"/>
                    </a:lnTo>
                    <a:lnTo>
                      <a:pt x="4048" y="386"/>
                    </a:lnTo>
                    <a:lnTo>
                      <a:pt x="4051" y="386"/>
                    </a:lnTo>
                    <a:lnTo>
                      <a:pt x="4051" y="327"/>
                    </a:lnTo>
                    <a:moveTo>
                      <a:pt x="2029" y="294"/>
                    </a:moveTo>
                    <a:lnTo>
                      <a:pt x="2026" y="294"/>
                    </a:lnTo>
                    <a:lnTo>
                      <a:pt x="2026" y="296"/>
                    </a:lnTo>
                    <a:lnTo>
                      <a:pt x="2026" y="329"/>
                    </a:lnTo>
                    <a:lnTo>
                      <a:pt x="2029" y="329"/>
                    </a:lnTo>
                    <a:lnTo>
                      <a:pt x="2029" y="294"/>
                    </a:lnTo>
                    <a:moveTo>
                      <a:pt x="4703" y="232"/>
                    </a:moveTo>
                    <a:lnTo>
                      <a:pt x="4703" y="232"/>
                    </a:lnTo>
                    <a:lnTo>
                      <a:pt x="4703" y="234"/>
                    </a:lnTo>
                    <a:lnTo>
                      <a:pt x="4637" y="471"/>
                    </a:lnTo>
                    <a:lnTo>
                      <a:pt x="4639" y="469"/>
                    </a:lnTo>
                    <a:lnTo>
                      <a:pt x="4703" y="232"/>
                    </a:lnTo>
                    <a:moveTo>
                      <a:pt x="4805" y="173"/>
                    </a:moveTo>
                    <a:lnTo>
                      <a:pt x="4802" y="173"/>
                    </a:lnTo>
                    <a:lnTo>
                      <a:pt x="4802" y="173"/>
                    </a:lnTo>
                    <a:lnTo>
                      <a:pt x="4802" y="173"/>
                    </a:lnTo>
                    <a:lnTo>
                      <a:pt x="4802" y="227"/>
                    </a:lnTo>
                    <a:lnTo>
                      <a:pt x="4805" y="227"/>
                    </a:lnTo>
                    <a:lnTo>
                      <a:pt x="4805" y="173"/>
                    </a:lnTo>
                    <a:moveTo>
                      <a:pt x="4854" y="0"/>
                    </a:moveTo>
                    <a:lnTo>
                      <a:pt x="4852" y="0"/>
                    </a:lnTo>
                    <a:lnTo>
                      <a:pt x="4852" y="2"/>
                    </a:lnTo>
                    <a:lnTo>
                      <a:pt x="4852" y="168"/>
                    </a:lnTo>
                    <a:lnTo>
                      <a:pt x="4854" y="168"/>
                    </a:lnTo>
                    <a:lnTo>
                      <a:pt x="4854" y="0"/>
                    </a:lnTo>
                    <a:moveTo>
                      <a:pt x="4911" y="0"/>
                    </a:moveTo>
                    <a:lnTo>
                      <a:pt x="4909" y="0"/>
                    </a:lnTo>
                    <a:lnTo>
                      <a:pt x="4909" y="2"/>
                    </a:lnTo>
                    <a:lnTo>
                      <a:pt x="4909" y="168"/>
                    </a:lnTo>
                    <a:lnTo>
                      <a:pt x="4911" y="168"/>
                    </a:lnTo>
                    <a:lnTo>
                      <a:pt x="49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0" name="Freeform 142"/>
              <p:cNvSpPr>
                <a:spLocks noEditPoints="1"/>
              </p:cNvSpPr>
              <p:nvPr/>
            </p:nvSpPr>
            <p:spPr bwMode="auto">
              <a:xfrm>
                <a:off x="44" y="1663"/>
                <a:ext cx="7025" cy="1690"/>
              </a:xfrm>
              <a:custGeom>
                <a:avLst/>
                <a:gdLst>
                  <a:gd name="T0" fmla="*/ 3 w 7025"/>
                  <a:gd name="T1" fmla="*/ 1531 h 1690"/>
                  <a:gd name="T2" fmla="*/ 5663 w 7025"/>
                  <a:gd name="T3" fmla="*/ 1446 h 1690"/>
                  <a:gd name="T4" fmla="*/ 3710 w 7025"/>
                  <a:gd name="T5" fmla="*/ 1221 h 1690"/>
                  <a:gd name="T6" fmla="*/ 5831 w 7025"/>
                  <a:gd name="T7" fmla="*/ 1209 h 1690"/>
                  <a:gd name="T8" fmla="*/ 5831 w 7025"/>
                  <a:gd name="T9" fmla="*/ 1323 h 1690"/>
                  <a:gd name="T10" fmla="*/ 1665 w 7025"/>
                  <a:gd name="T11" fmla="*/ 1157 h 1690"/>
                  <a:gd name="T12" fmla="*/ 1686 w 7025"/>
                  <a:gd name="T13" fmla="*/ 1131 h 1690"/>
                  <a:gd name="T14" fmla="*/ 5857 w 7025"/>
                  <a:gd name="T15" fmla="*/ 1129 h 1690"/>
                  <a:gd name="T16" fmla="*/ 5857 w 7025"/>
                  <a:gd name="T17" fmla="*/ 1207 h 1690"/>
                  <a:gd name="T18" fmla="*/ 6321 w 7025"/>
                  <a:gd name="T19" fmla="*/ 1129 h 1690"/>
                  <a:gd name="T20" fmla="*/ 1445 w 7025"/>
                  <a:gd name="T21" fmla="*/ 1124 h 1690"/>
                  <a:gd name="T22" fmla="*/ 1448 w 7025"/>
                  <a:gd name="T23" fmla="*/ 1124 h 1690"/>
                  <a:gd name="T24" fmla="*/ 1464 w 7025"/>
                  <a:gd name="T25" fmla="*/ 1124 h 1690"/>
                  <a:gd name="T26" fmla="*/ 2859 w 7025"/>
                  <a:gd name="T27" fmla="*/ 1065 h 1690"/>
                  <a:gd name="T28" fmla="*/ 5931 w 7025"/>
                  <a:gd name="T29" fmla="*/ 1041 h 1690"/>
                  <a:gd name="T30" fmla="*/ 5931 w 7025"/>
                  <a:gd name="T31" fmla="*/ 1041 h 1690"/>
                  <a:gd name="T32" fmla="*/ 2878 w 7025"/>
                  <a:gd name="T33" fmla="*/ 1060 h 1690"/>
                  <a:gd name="T34" fmla="*/ 3770 w 7025"/>
                  <a:gd name="T35" fmla="*/ 1221 h 1690"/>
                  <a:gd name="T36" fmla="*/ 5947 w 7025"/>
                  <a:gd name="T37" fmla="*/ 992 h 1690"/>
                  <a:gd name="T38" fmla="*/ 6340 w 7025"/>
                  <a:gd name="T39" fmla="*/ 935 h 1690"/>
                  <a:gd name="T40" fmla="*/ 6340 w 7025"/>
                  <a:gd name="T41" fmla="*/ 935 h 1690"/>
                  <a:gd name="T42" fmla="*/ 3845 w 7025"/>
                  <a:gd name="T43" fmla="*/ 992 h 1690"/>
                  <a:gd name="T44" fmla="*/ 6382 w 7025"/>
                  <a:gd name="T45" fmla="*/ 897 h 1690"/>
                  <a:gd name="T46" fmla="*/ 6389 w 7025"/>
                  <a:gd name="T47" fmla="*/ 878 h 1690"/>
                  <a:gd name="T48" fmla="*/ 6389 w 7025"/>
                  <a:gd name="T49" fmla="*/ 878 h 1690"/>
                  <a:gd name="T50" fmla="*/ 6399 w 7025"/>
                  <a:gd name="T51" fmla="*/ 876 h 1690"/>
                  <a:gd name="T52" fmla="*/ 804 w 7025"/>
                  <a:gd name="T53" fmla="*/ 1067 h 1690"/>
                  <a:gd name="T54" fmla="*/ 3098 w 7025"/>
                  <a:gd name="T55" fmla="*/ 762 h 1690"/>
                  <a:gd name="T56" fmla="*/ 1010 w 7025"/>
                  <a:gd name="T57" fmla="*/ 753 h 1690"/>
                  <a:gd name="T58" fmla="*/ 1010 w 7025"/>
                  <a:gd name="T59" fmla="*/ 753 h 1690"/>
                  <a:gd name="T60" fmla="*/ 5131 w 7025"/>
                  <a:gd name="T61" fmla="*/ 970 h 1690"/>
                  <a:gd name="T62" fmla="*/ 3138 w 7025"/>
                  <a:gd name="T63" fmla="*/ 760 h 1690"/>
                  <a:gd name="T64" fmla="*/ 95 w 7025"/>
                  <a:gd name="T65" fmla="*/ 618 h 1690"/>
                  <a:gd name="T66" fmla="*/ 5252 w 7025"/>
                  <a:gd name="T67" fmla="*/ 608 h 1690"/>
                  <a:gd name="T68" fmla="*/ 3282 w 7025"/>
                  <a:gd name="T69" fmla="*/ 582 h 1690"/>
                  <a:gd name="T70" fmla="*/ 3282 w 7025"/>
                  <a:gd name="T71" fmla="*/ 655 h 1690"/>
                  <a:gd name="T72" fmla="*/ 301 w 7025"/>
                  <a:gd name="T73" fmla="*/ 615 h 1690"/>
                  <a:gd name="T74" fmla="*/ 7023 w 7025"/>
                  <a:gd name="T75" fmla="*/ 511 h 1690"/>
                  <a:gd name="T76" fmla="*/ 4193 w 7025"/>
                  <a:gd name="T77" fmla="*/ 504 h 1690"/>
                  <a:gd name="T78" fmla="*/ 3301 w 7025"/>
                  <a:gd name="T79" fmla="*/ 502 h 1690"/>
                  <a:gd name="T80" fmla="*/ 3301 w 7025"/>
                  <a:gd name="T81" fmla="*/ 580 h 1690"/>
                  <a:gd name="T82" fmla="*/ 4034 w 7025"/>
                  <a:gd name="T83" fmla="*/ 457 h 1690"/>
                  <a:gd name="T84" fmla="*/ 3956 w 7025"/>
                  <a:gd name="T85" fmla="*/ 641 h 1690"/>
                  <a:gd name="T86" fmla="*/ 3327 w 7025"/>
                  <a:gd name="T87" fmla="*/ 435 h 1690"/>
                  <a:gd name="T88" fmla="*/ 4041 w 7025"/>
                  <a:gd name="T89" fmla="*/ 390 h 1690"/>
                  <a:gd name="T90" fmla="*/ 4044 w 7025"/>
                  <a:gd name="T91" fmla="*/ 390 h 1690"/>
                  <a:gd name="T92" fmla="*/ 1809 w 7025"/>
                  <a:gd name="T93" fmla="*/ 1129 h 1690"/>
                  <a:gd name="T94" fmla="*/ 1937 w 7025"/>
                  <a:gd name="T95" fmla="*/ 367 h 1690"/>
                  <a:gd name="T96" fmla="*/ 4049 w 7025"/>
                  <a:gd name="T97" fmla="*/ 329 h 1690"/>
                  <a:gd name="T98" fmla="*/ 2027 w 7025"/>
                  <a:gd name="T99" fmla="*/ 293 h 1690"/>
                  <a:gd name="T100" fmla="*/ 4703 w 7025"/>
                  <a:gd name="T101" fmla="*/ 232 h 1690"/>
                  <a:gd name="T102" fmla="*/ 4703 w 7025"/>
                  <a:gd name="T103" fmla="*/ 232 h 1690"/>
                  <a:gd name="T104" fmla="*/ 4803 w 7025"/>
                  <a:gd name="T105" fmla="*/ 229 h 1690"/>
                  <a:gd name="T106" fmla="*/ 4852 w 7025"/>
                  <a:gd name="T107" fmla="*/ 2 h 1690"/>
                  <a:gd name="T108" fmla="*/ 4909 w 7025"/>
                  <a:gd name="T109"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90">
                    <a:moveTo>
                      <a:pt x="3" y="1453"/>
                    </a:moveTo>
                    <a:lnTo>
                      <a:pt x="0" y="1453"/>
                    </a:lnTo>
                    <a:lnTo>
                      <a:pt x="0" y="1456"/>
                    </a:lnTo>
                    <a:lnTo>
                      <a:pt x="0" y="1531"/>
                    </a:lnTo>
                    <a:lnTo>
                      <a:pt x="3" y="1531"/>
                    </a:lnTo>
                    <a:lnTo>
                      <a:pt x="3" y="1453"/>
                    </a:lnTo>
                    <a:close/>
                    <a:moveTo>
                      <a:pt x="5666" y="1326"/>
                    </a:moveTo>
                    <a:lnTo>
                      <a:pt x="5663" y="1326"/>
                    </a:lnTo>
                    <a:lnTo>
                      <a:pt x="5663" y="1328"/>
                    </a:lnTo>
                    <a:lnTo>
                      <a:pt x="5663" y="1446"/>
                    </a:lnTo>
                    <a:lnTo>
                      <a:pt x="5666" y="1446"/>
                    </a:lnTo>
                    <a:lnTo>
                      <a:pt x="5666" y="1326"/>
                    </a:lnTo>
                    <a:close/>
                    <a:moveTo>
                      <a:pt x="3710" y="1221"/>
                    </a:moveTo>
                    <a:lnTo>
                      <a:pt x="3710" y="1221"/>
                    </a:lnTo>
                    <a:lnTo>
                      <a:pt x="3710" y="1221"/>
                    </a:lnTo>
                    <a:lnTo>
                      <a:pt x="3710" y="1224"/>
                    </a:lnTo>
                    <a:lnTo>
                      <a:pt x="3710" y="1389"/>
                    </a:lnTo>
                    <a:lnTo>
                      <a:pt x="3710" y="1389"/>
                    </a:lnTo>
                    <a:lnTo>
                      <a:pt x="3710" y="1221"/>
                    </a:lnTo>
                    <a:close/>
                    <a:moveTo>
                      <a:pt x="5831" y="1209"/>
                    </a:moveTo>
                    <a:lnTo>
                      <a:pt x="5831" y="1209"/>
                    </a:lnTo>
                    <a:lnTo>
                      <a:pt x="5829" y="1209"/>
                    </a:lnTo>
                    <a:lnTo>
                      <a:pt x="5829" y="1209"/>
                    </a:lnTo>
                    <a:lnTo>
                      <a:pt x="5829" y="1323"/>
                    </a:lnTo>
                    <a:lnTo>
                      <a:pt x="5831" y="1323"/>
                    </a:lnTo>
                    <a:lnTo>
                      <a:pt x="5831" y="1209"/>
                    </a:lnTo>
                    <a:close/>
                    <a:moveTo>
                      <a:pt x="1665" y="1157"/>
                    </a:moveTo>
                    <a:lnTo>
                      <a:pt x="1665" y="1157"/>
                    </a:lnTo>
                    <a:lnTo>
                      <a:pt x="1665" y="1157"/>
                    </a:lnTo>
                    <a:lnTo>
                      <a:pt x="1665" y="1157"/>
                    </a:lnTo>
                    <a:lnTo>
                      <a:pt x="1665" y="1198"/>
                    </a:lnTo>
                    <a:lnTo>
                      <a:pt x="1665" y="1198"/>
                    </a:lnTo>
                    <a:lnTo>
                      <a:pt x="1665" y="1157"/>
                    </a:lnTo>
                    <a:close/>
                    <a:moveTo>
                      <a:pt x="1689" y="1131"/>
                    </a:moveTo>
                    <a:lnTo>
                      <a:pt x="1686" y="1131"/>
                    </a:lnTo>
                    <a:lnTo>
                      <a:pt x="1686" y="1134"/>
                    </a:lnTo>
                    <a:lnTo>
                      <a:pt x="1686" y="1155"/>
                    </a:lnTo>
                    <a:lnTo>
                      <a:pt x="1689" y="1155"/>
                    </a:lnTo>
                    <a:lnTo>
                      <a:pt x="1689" y="1131"/>
                    </a:lnTo>
                    <a:close/>
                    <a:moveTo>
                      <a:pt x="5857" y="1129"/>
                    </a:moveTo>
                    <a:lnTo>
                      <a:pt x="5855" y="1129"/>
                    </a:lnTo>
                    <a:lnTo>
                      <a:pt x="5855" y="1129"/>
                    </a:lnTo>
                    <a:lnTo>
                      <a:pt x="5855" y="1129"/>
                    </a:lnTo>
                    <a:lnTo>
                      <a:pt x="5855" y="1207"/>
                    </a:lnTo>
                    <a:lnTo>
                      <a:pt x="5857" y="1207"/>
                    </a:lnTo>
                    <a:lnTo>
                      <a:pt x="5857" y="1129"/>
                    </a:lnTo>
                    <a:close/>
                    <a:moveTo>
                      <a:pt x="6323" y="1129"/>
                    </a:moveTo>
                    <a:lnTo>
                      <a:pt x="6321" y="1129"/>
                    </a:lnTo>
                    <a:lnTo>
                      <a:pt x="6321" y="1129"/>
                    </a:lnTo>
                    <a:lnTo>
                      <a:pt x="6321" y="1129"/>
                    </a:lnTo>
                    <a:lnTo>
                      <a:pt x="6321" y="1361"/>
                    </a:lnTo>
                    <a:lnTo>
                      <a:pt x="6323" y="1361"/>
                    </a:lnTo>
                    <a:lnTo>
                      <a:pt x="6323" y="1129"/>
                    </a:lnTo>
                    <a:close/>
                    <a:moveTo>
                      <a:pt x="1448" y="1124"/>
                    </a:moveTo>
                    <a:lnTo>
                      <a:pt x="1445" y="1124"/>
                    </a:lnTo>
                    <a:lnTo>
                      <a:pt x="1445" y="1124"/>
                    </a:lnTo>
                    <a:lnTo>
                      <a:pt x="1445" y="1127"/>
                    </a:lnTo>
                    <a:lnTo>
                      <a:pt x="1445" y="1198"/>
                    </a:lnTo>
                    <a:lnTo>
                      <a:pt x="1448" y="1198"/>
                    </a:lnTo>
                    <a:lnTo>
                      <a:pt x="1448" y="1124"/>
                    </a:lnTo>
                    <a:close/>
                    <a:moveTo>
                      <a:pt x="1464" y="1084"/>
                    </a:moveTo>
                    <a:lnTo>
                      <a:pt x="1462" y="1084"/>
                    </a:lnTo>
                    <a:lnTo>
                      <a:pt x="1462" y="1086"/>
                    </a:lnTo>
                    <a:lnTo>
                      <a:pt x="1462" y="1124"/>
                    </a:lnTo>
                    <a:lnTo>
                      <a:pt x="1464" y="1124"/>
                    </a:lnTo>
                    <a:lnTo>
                      <a:pt x="1464" y="1084"/>
                    </a:lnTo>
                    <a:close/>
                    <a:moveTo>
                      <a:pt x="2862" y="1063"/>
                    </a:moveTo>
                    <a:lnTo>
                      <a:pt x="2859" y="1063"/>
                    </a:lnTo>
                    <a:lnTo>
                      <a:pt x="2859" y="1063"/>
                    </a:lnTo>
                    <a:lnTo>
                      <a:pt x="2859" y="1065"/>
                    </a:lnTo>
                    <a:lnTo>
                      <a:pt x="2859" y="1238"/>
                    </a:lnTo>
                    <a:lnTo>
                      <a:pt x="2862" y="1238"/>
                    </a:lnTo>
                    <a:lnTo>
                      <a:pt x="2862" y="1063"/>
                    </a:lnTo>
                    <a:close/>
                    <a:moveTo>
                      <a:pt x="5931" y="1041"/>
                    </a:moveTo>
                    <a:lnTo>
                      <a:pt x="5931" y="1041"/>
                    </a:lnTo>
                    <a:lnTo>
                      <a:pt x="5931" y="1041"/>
                    </a:lnTo>
                    <a:lnTo>
                      <a:pt x="5931" y="1044"/>
                    </a:lnTo>
                    <a:lnTo>
                      <a:pt x="5931" y="1127"/>
                    </a:lnTo>
                    <a:lnTo>
                      <a:pt x="5931" y="1127"/>
                    </a:lnTo>
                    <a:lnTo>
                      <a:pt x="5931" y="1041"/>
                    </a:lnTo>
                    <a:close/>
                    <a:moveTo>
                      <a:pt x="2878" y="1011"/>
                    </a:moveTo>
                    <a:lnTo>
                      <a:pt x="2876" y="1013"/>
                    </a:lnTo>
                    <a:lnTo>
                      <a:pt x="2876" y="1013"/>
                    </a:lnTo>
                    <a:lnTo>
                      <a:pt x="2876" y="1060"/>
                    </a:lnTo>
                    <a:lnTo>
                      <a:pt x="2878" y="1060"/>
                    </a:lnTo>
                    <a:lnTo>
                      <a:pt x="2878" y="1011"/>
                    </a:lnTo>
                    <a:close/>
                    <a:moveTo>
                      <a:pt x="3772" y="994"/>
                    </a:moveTo>
                    <a:lnTo>
                      <a:pt x="3770" y="994"/>
                    </a:lnTo>
                    <a:lnTo>
                      <a:pt x="3770" y="994"/>
                    </a:lnTo>
                    <a:lnTo>
                      <a:pt x="3770" y="1221"/>
                    </a:lnTo>
                    <a:lnTo>
                      <a:pt x="3772" y="1221"/>
                    </a:lnTo>
                    <a:lnTo>
                      <a:pt x="3772" y="994"/>
                    </a:lnTo>
                    <a:close/>
                    <a:moveTo>
                      <a:pt x="5950" y="989"/>
                    </a:moveTo>
                    <a:lnTo>
                      <a:pt x="5947" y="989"/>
                    </a:lnTo>
                    <a:lnTo>
                      <a:pt x="5947" y="992"/>
                    </a:lnTo>
                    <a:lnTo>
                      <a:pt x="5947" y="1039"/>
                    </a:lnTo>
                    <a:lnTo>
                      <a:pt x="5950" y="1039"/>
                    </a:lnTo>
                    <a:lnTo>
                      <a:pt x="5950" y="989"/>
                    </a:lnTo>
                    <a:close/>
                    <a:moveTo>
                      <a:pt x="6340" y="935"/>
                    </a:moveTo>
                    <a:lnTo>
                      <a:pt x="6340" y="935"/>
                    </a:lnTo>
                    <a:lnTo>
                      <a:pt x="6340" y="935"/>
                    </a:lnTo>
                    <a:lnTo>
                      <a:pt x="6340" y="937"/>
                    </a:lnTo>
                    <a:lnTo>
                      <a:pt x="6340" y="1127"/>
                    </a:lnTo>
                    <a:lnTo>
                      <a:pt x="6340" y="1127"/>
                    </a:lnTo>
                    <a:lnTo>
                      <a:pt x="6340" y="935"/>
                    </a:lnTo>
                    <a:close/>
                    <a:moveTo>
                      <a:pt x="3845" y="928"/>
                    </a:moveTo>
                    <a:lnTo>
                      <a:pt x="3845" y="928"/>
                    </a:lnTo>
                    <a:lnTo>
                      <a:pt x="3845" y="930"/>
                    </a:lnTo>
                    <a:lnTo>
                      <a:pt x="3845" y="992"/>
                    </a:lnTo>
                    <a:lnTo>
                      <a:pt x="3845" y="992"/>
                    </a:lnTo>
                    <a:lnTo>
                      <a:pt x="3845" y="928"/>
                    </a:lnTo>
                    <a:close/>
                    <a:moveTo>
                      <a:pt x="6385" y="895"/>
                    </a:moveTo>
                    <a:lnTo>
                      <a:pt x="6385" y="895"/>
                    </a:lnTo>
                    <a:lnTo>
                      <a:pt x="6385" y="895"/>
                    </a:lnTo>
                    <a:lnTo>
                      <a:pt x="6382" y="897"/>
                    </a:lnTo>
                    <a:lnTo>
                      <a:pt x="6375" y="932"/>
                    </a:lnTo>
                    <a:lnTo>
                      <a:pt x="6378" y="932"/>
                    </a:lnTo>
                    <a:lnTo>
                      <a:pt x="6385" y="895"/>
                    </a:lnTo>
                    <a:close/>
                    <a:moveTo>
                      <a:pt x="6389" y="878"/>
                    </a:moveTo>
                    <a:lnTo>
                      <a:pt x="6389" y="878"/>
                    </a:lnTo>
                    <a:lnTo>
                      <a:pt x="6389" y="878"/>
                    </a:lnTo>
                    <a:lnTo>
                      <a:pt x="6389" y="880"/>
                    </a:lnTo>
                    <a:lnTo>
                      <a:pt x="6389" y="892"/>
                    </a:lnTo>
                    <a:lnTo>
                      <a:pt x="6389" y="892"/>
                    </a:lnTo>
                    <a:lnTo>
                      <a:pt x="6389" y="878"/>
                    </a:lnTo>
                    <a:close/>
                    <a:moveTo>
                      <a:pt x="6399" y="850"/>
                    </a:moveTo>
                    <a:lnTo>
                      <a:pt x="6396" y="850"/>
                    </a:lnTo>
                    <a:lnTo>
                      <a:pt x="6396" y="852"/>
                    </a:lnTo>
                    <a:lnTo>
                      <a:pt x="6396" y="876"/>
                    </a:lnTo>
                    <a:lnTo>
                      <a:pt x="6399" y="876"/>
                    </a:lnTo>
                    <a:lnTo>
                      <a:pt x="6399" y="850"/>
                    </a:lnTo>
                    <a:close/>
                    <a:moveTo>
                      <a:pt x="807" y="826"/>
                    </a:moveTo>
                    <a:lnTo>
                      <a:pt x="804" y="826"/>
                    </a:lnTo>
                    <a:lnTo>
                      <a:pt x="804" y="828"/>
                    </a:lnTo>
                    <a:lnTo>
                      <a:pt x="804" y="1067"/>
                    </a:lnTo>
                    <a:lnTo>
                      <a:pt x="807" y="1067"/>
                    </a:lnTo>
                    <a:lnTo>
                      <a:pt x="807" y="826"/>
                    </a:lnTo>
                    <a:close/>
                    <a:moveTo>
                      <a:pt x="3100" y="762"/>
                    </a:moveTo>
                    <a:lnTo>
                      <a:pt x="3100" y="762"/>
                    </a:lnTo>
                    <a:lnTo>
                      <a:pt x="3098" y="762"/>
                    </a:lnTo>
                    <a:lnTo>
                      <a:pt x="3098" y="764"/>
                    </a:lnTo>
                    <a:lnTo>
                      <a:pt x="3098" y="977"/>
                    </a:lnTo>
                    <a:lnTo>
                      <a:pt x="3100" y="977"/>
                    </a:lnTo>
                    <a:lnTo>
                      <a:pt x="3100" y="762"/>
                    </a:lnTo>
                    <a:close/>
                    <a:moveTo>
                      <a:pt x="1010" y="753"/>
                    </a:moveTo>
                    <a:lnTo>
                      <a:pt x="1008" y="753"/>
                    </a:lnTo>
                    <a:lnTo>
                      <a:pt x="1008" y="755"/>
                    </a:lnTo>
                    <a:lnTo>
                      <a:pt x="1008" y="826"/>
                    </a:lnTo>
                    <a:lnTo>
                      <a:pt x="1010" y="826"/>
                    </a:lnTo>
                    <a:lnTo>
                      <a:pt x="1010" y="753"/>
                    </a:lnTo>
                    <a:close/>
                    <a:moveTo>
                      <a:pt x="5131" y="731"/>
                    </a:moveTo>
                    <a:lnTo>
                      <a:pt x="5131" y="731"/>
                    </a:lnTo>
                    <a:lnTo>
                      <a:pt x="5131" y="734"/>
                    </a:lnTo>
                    <a:lnTo>
                      <a:pt x="5131" y="970"/>
                    </a:lnTo>
                    <a:lnTo>
                      <a:pt x="5131" y="970"/>
                    </a:lnTo>
                    <a:lnTo>
                      <a:pt x="5131" y="731"/>
                    </a:lnTo>
                    <a:close/>
                    <a:moveTo>
                      <a:pt x="3138" y="658"/>
                    </a:moveTo>
                    <a:lnTo>
                      <a:pt x="3138" y="658"/>
                    </a:lnTo>
                    <a:lnTo>
                      <a:pt x="3138" y="658"/>
                    </a:lnTo>
                    <a:lnTo>
                      <a:pt x="3138" y="760"/>
                    </a:lnTo>
                    <a:lnTo>
                      <a:pt x="3138" y="760"/>
                    </a:lnTo>
                    <a:lnTo>
                      <a:pt x="3138" y="658"/>
                    </a:lnTo>
                    <a:close/>
                    <a:moveTo>
                      <a:pt x="97" y="615"/>
                    </a:moveTo>
                    <a:lnTo>
                      <a:pt x="95" y="615"/>
                    </a:lnTo>
                    <a:lnTo>
                      <a:pt x="95" y="618"/>
                    </a:lnTo>
                    <a:lnTo>
                      <a:pt x="95" y="1451"/>
                    </a:lnTo>
                    <a:lnTo>
                      <a:pt x="97" y="1451"/>
                    </a:lnTo>
                    <a:lnTo>
                      <a:pt x="97" y="615"/>
                    </a:lnTo>
                    <a:close/>
                    <a:moveTo>
                      <a:pt x="5254" y="608"/>
                    </a:moveTo>
                    <a:lnTo>
                      <a:pt x="5252" y="608"/>
                    </a:lnTo>
                    <a:lnTo>
                      <a:pt x="5252" y="610"/>
                    </a:lnTo>
                    <a:lnTo>
                      <a:pt x="5252" y="729"/>
                    </a:lnTo>
                    <a:lnTo>
                      <a:pt x="5254" y="729"/>
                    </a:lnTo>
                    <a:lnTo>
                      <a:pt x="5254" y="608"/>
                    </a:lnTo>
                    <a:close/>
                    <a:moveTo>
                      <a:pt x="3282" y="582"/>
                    </a:moveTo>
                    <a:lnTo>
                      <a:pt x="3282" y="582"/>
                    </a:lnTo>
                    <a:lnTo>
                      <a:pt x="3282" y="582"/>
                    </a:lnTo>
                    <a:lnTo>
                      <a:pt x="3282" y="584"/>
                    </a:lnTo>
                    <a:lnTo>
                      <a:pt x="3282" y="655"/>
                    </a:lnTo>
                    <a:lnTo>
                      <a:pt x="3282" y="655"/>
                    </a:lnTo>
                    <a:lnTo>
                      <a:pt x="3282" y="582"/>
                    </a:lnTo>
                    <a:close/>
                    <a:moveTo>
                      <a:pt x="303" y="547"/>
                    </a:moveTo>
                    <a:lnTo>
                      <a:pt x="301" y="547"/>
                    </a:lnTo>
                    <a:lnTo>
                      <a:pt x="301" y="549"/>
                    </a:lnTo>
                    <a:lnTo>
                      <a:pt x="301" y="615"/>
                    </a:lnTo>
                    <a:lnTo>
                      <a:pt x="303" y="615"/>
                    </a:lnTo>
                    <a:lnTo>
                      <a:pt x="303" y="547"/>
                    </a:lnTo>
                    <a:close/>
                    <a:moveTo>
                      <a:pt x="7025" y="509"/>
                    </a:moveTo>
                    <a:lnTo>
                      <a:pt x="7023" y="509"/>
                    </a:lnTo>
                    <a:lnTo>
                      <a:pt x="7023" y="511"/>
                    </a:lnTo>
                    <a:lnTo>
                      <a:pt x="7023" y="1690"/>
                    </a:lnTo>
                    <a:lnTo>
                      <a:pt x="7025" y="1690"/>
                    </a:lnTo>
                    <a:lnTo>
                      <a:pt x="7025" y="509"/>
                    </a:lnTo>
                    <a:close/>
                    <a:moveTo>
                      <a:pt x="4195" y="504"/>
                    </a:moveTo>
                    <a:lnTo>
                      <a:pt x="4193" y="504"/>
                    </a:lnTo>
                    <a:lnTo>
                      <a:pt x="4193" y="504"/>
                    </a:lnTo>
                    <a:lnTo>
                      <a:pt x="4122" y="601"/>
                    </a:lnTo>
                    <a:lnTo>
                      <a:pt x="4122" y="601"/>
                    </a:lnTo>
                    <a:lnTo>
                      <a:pt x="4195" y="504"/>
                    </a:lnTo>
                    <a:close/>
                    <a:moveTo>
                      <a:pt x="3301" y="502"/>
                    </a:moveTo>
                    <a:lnTo>
                      <a:pt x="3299" y="502"/>
                    </a:lnTo>
                    <a:lnTo>
                      <a:pt x="3299" y="502"/>
                    </a:lnTo>
                    <a:lnTo>
                      <a:pt x="3299" y="504"/>
                    </a:lnTo>
                    <a:lnTo>
                      <a:pt x="3299" y="580"/>
                    </a:lnTo>
                    <a:lnTo>
                      <a:pt x="3301" y="580"/>
                    </a:lnTo>
                    <a:lnTo>
                      <a:pt x="3301" y="502"/>
                    </a:lnTo>
                    <a:close/>
                    <a:moveTo>
                      <a:pt x="4037" y="454"/>
                    </a:moveTo>
                    <a:lnTo>
                      <a:pt x="4034" y="454"/>
                    </a:lnTo>
                    <a:lnTo>
                      <a:pt x="4034" y="454"/>
                    </a:lnTo>
                    <a:lnTo>
                      <a:pt x="4034" y="457"/>
                    </a:lnTo>
                    <a:lnTo>
                      <a:pt x="4034" y="490"/>
                    </a:lnTo>
                    <a:lnTo>
                      <a:pt x="3954" y="644"/>
                    </a:lnTo>
                    <a:lnTo>
                      <a:pt x="3954" y="925"/>
                    </a:lnTo>
                    <a:lnTo>
                      <a:pt x="3956" y="925"/>
                    </a:lnTo>
                    <a:lnTo>
                      <a:pt x="3956" y="641"/>
                    </a:lnTo>
                    <a:lnTo>
                      <a:pt x="4037" y="490"/>
                    </a:lnTo>
                    <a:lnTo>
                      <a:pt x="4037" y="454"/>
                    </a:lnTo>
                    <a:close/>
                    <a:moveTo>
                      <a:pt x="3330" y="433"/>
                    </a:moveTo>
                    <a:lnTo>
                      <a:pt x="3327" y="433"/>
                    </a:lnTo>
                    <a:lnTo>
                      <a:pt x="3327" y="435"/>
                    </a:lnTo>
                    <a:lnTo>
                      <a:pt x="3327" y="499"/>
                    </a:lnTo>
                    <a:lnTo>
                      <a:pt x="3330" y="499"/>
                    </a:lnTo>
                    <a:lnTo>
                      <a:pt x="3330" y="433"/>
                    </a:lnTo>
                    <a:close/>
                    <a:moveTo>
                      <a:pt x="4044" y="390"/>
                    </a:moveTo>
                    <a:lnTo>
                      <a:pt x="4041" y="390"/>
                    </a:lnTo>
                    <a:lnTo>
                      <a:pt x="4041" y="390"/>
                    </a:lnTo>
                    <a:lnTo>
                      <a:pt x="4041" y="393"/>
                    </a:lnTo>
                    <a:lnTo>
                      <a:pt x="4041" y="452"/>
                    </a:lnTo>
                    <a:lnTo>
                      <a:pt x="4044" y="452"/>
                    </a:lnTo>
                    <a:lnTo>
                      <a:pt x="4044" y="390"/>
                    </a:lnTo>
                    <a:close/>
                    <a:moveTo>
                      <a:pt x="1809" y="369"/>
                    </a:moveTo>
                    <a:lnTo>
                      <a:pt x="1809" y="369"/>
                    </a:lnTo>
                    <a:lnTo>
                      <a:pt x="1809" y="369"/>
                    </a:lnTo>
                    <a:lnTo>
                      <a:pt x="1809" y="1129"/>
                    </a:lnTo>
                    <a:lnTo>
                      <a:pt x="1809" y="1129"/>
                    </a:lnTo>
                    <a:lnTo>
                      <a:pt x="1809" y="369"/>
                    </a:lnTo>
                    <a:close/>
                    <a:moveTo>
                      <a:pt x="1939" y="333"/>
                    </a:moveTo>
                    <a:lnTo>
                      <a:pt x="1937" y="333"/>
                    </a:lnTo>
                    <a:lnTo>
                      <a:pt x="1937" y="336"/>
                    </a:lnTo>
                    <a:lnTo>
                      <a:pt x="1937" y="367"/>
                    </a:lnTo>
                    <a:lnTo>
                      <a:pt x="1939" y="367"/>
                    </a:lnTo>
                    <a:lnTo>
                      <a:pt x="1939" y="333"/>
                    </a:lnTo>
                    <a:close/>
                    <a:moveTo>
                      <a:pt x="4051" y="326"/>
                    </a:moveTo>
                    <a:lnTo>
                      <a:pt x="4049" y="326"/>
                    </a:lnTo>
                    <a:lnTo>
                      <a:pt x="4049" y="329"/>
                    </a:lnTo>
                    <a:lnTo>
                      <a:pt x="4049" y="388"/>
                    </a:lnTo>
                    <a:lnTo>
                      <a:pt x="4051" y="388"/>
                    </a:lnTo>
                    <a:lnTo>
                      <a:pt x="4051" y="326"/>
                    </a:lnTo>
                    <a:close/>
                    <a:moveTo>
                      <a:pt x="2029" y="293"/>
                    </a:moveTo>
                    <a:lnTo>
                      <a:pt x="2027" y="293"/>
                    </a:lnTo>
                    <a:lnTo>
                      <a:pt x="2027" y="296"/>
                    </a:lnTo>
                    <a:lnTo>
                      <a:pt x="2027" y="331"/>
                    </a:lnTo>
                    <a:lnTo>
                      <a:pt x="2029" y="331"/>
                    </a:lnTo>
                    <a:lnTo>
                      <a:pt x="2029" y="293"/>
                    </a:lnTo>
                    <a:close/>
                    <a:moveTo>
                      <a:pt x="4703" y="232"/>
                    </a:moveTo>
                    <a:lnTo>
                      <a:pt x="4703" y="232"/>
                    </a:lnTo>
                    <a:lnTo>
                      <a:pt x="4701" y="234"/>
                    </a:lnTo>
                    <a:lnTo>
                      <a:pt x="4637" y="471"/>
                    </a:lnTo>
                    <a:lnTo>
                      <a:pt x="4640" y="471"/>
                    </a:lnTo>
                    <a:lnTo>
                      <a:pt x="4703" y="232"/>
                    </a:lnTo>
                    <a:close/>
                    <a:moveTo>
                      <a:pt x="4805" y="172"/>
                    </a:moveTo>
                    <a:lnTo>
                      <a:pt x="4803" y="172"/>
                    </a:lnTo>
                    <a:lnTo>
                      <a:pt x="4803" y="172"/>
                    </a:lnTo>
                    <a:lnTo>
                      <a:pt x="4803" y="175"/>
                    </a:lnTo>
                    <a:lnTo>
                      <a:pt x="4803" y="229"/>
                    </a:lnTo>
                    <a:lnTo>
                      <a:pt x="4805" y="229"/>
                    </a:lnTo>
                    <a:lnTo>
                      <a:pt x="4805" y="172"/>
                    </a:lnTo>
                    <a:close/>
                    <a:moveTo>
                      <a:pt x="4852" y="0"/>
                    </a:moveTo>
                    <a:lnTo>
                      <a:pt x="4852" y="0"/>
                    </a:lnTo>
                    <a:lnTo>
                      <a:pt x="4852" y="2"/>
                    </a:lnTo>
                    <a:lnTo>
                      <a:pt x="4852" y="170"/>
                    </a:lnTo>
                    <a:lnTo>
                      <a:pt x="4852" y="170"/>
                    </a:lnTo>
                    <a:lnTo>
                      <a:pt x="4852" y="0"/>
                    </a:lnTo>
                    <a:close/>
                    <a:moveTo>
                      <a:pt x="4912" y="0"/>
                    </a:moveTo>
                    <a:lnTo>
                      <a:pt x="4909" y="0"/>
                    </a:lnTo>
                    <a:lnTo>
                      <a:pt x="4909" y="2"/>
                    </a:lnTo>
                    <a:lnTo>
                      <a:pt x="4909" y="170"/>
                    </a:lnTo>
                    <a:lnTo>
                      <a:pt x="4912" y="170"/>
                    </a:lnTo>
                    <a:lnTo>
                      <a:pt x="4912" y="0"/>
                    </a:lnTo>
                    <a:close/>
                  </a:path>
                </a:pathLst>
              </a:custGeom>
              <a:solidFill>
                <a:srgbClr val="B9B8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1" name="Freeform 143"/>
              <p:cNvSpPr>
                <a:spLocks noEditPoints="1"/>
              </p:cNvSpPr>
              <p:nvPr/>
            </p:nvSpPr>
            <p:spPr bwMode="auto">
              <a:xfrm>
                <a:off x="44" y="1663"/>
                <a:ext cx="7025" cy="1690"/>
              </a:xfrm>
              <a:custGeom>
                <a:avLst/>
                <a:gdLst>
                  <a:gd name="T0" fmla="*/ 3 w 7025"/>
                  <a:gd name="T1" fmla="*/ 1531 h 1690"/>
                  <a:gd name="T2" fmla="*/ 5663 w 7025"/>
                  <a:gd name="T3" fmla="*/ 1446 h 1690"/>
                  <a:gd name="T4" fmla="*/ 3710 w 7025"/>
                  <a:gd name="T5" fmla="*/ 1221 h 1690"/>
                  <a:gd name="T6" fmla="*/ 5831 w 7025"/>
                  <a:gd name="T7" fmla="*/ 1209 h 1690"/>
                  <a:gd name="T8" fmla="*/ 5831 w 7025"/>
                  <a:gd name="T9" fmla="*/ 1323 h 1690"/>
                  <a:gd name="T10" fmla="*/ 1665 w 7025"/>
                  <a:gd name="T11" fmla="*/ 1157 h 1690"/>
                  <a:gd name="T12" fmla="*/ 1686 w 7025"/>
                  <a:gd name="T13" fmla="*/ 1131 h 1690"/>
                  <a:gd name="T14" fmla="*/ 5857 w 7025"/>
                  <a:gd name="T15" fmla="*/ 1129 h 1690"/>
                  <a:gd name="T16" fmla="*/ 5857 w 7025"/>
                  <a:gd name="T17" fmla="*/ 1207 h 1690"/>
                  <a:gd name="T18" fmla="*/ 6321 w 7025"/>
                  <a:gd name="T19" fmla="*/ 1129 h 1690"/>
                  <a:gd name="T20" fmla="*/ 1445 w 7025"/>
                  <a:gd name="T21" fmla="*/ 1124 h 1690"/>
                  <a:gd name="T22" fmla="*/ 1448 w 7025"/>
                  <a:gd name="T23" fmla="*/ 1124 h 1690"/>
                  <a:gd name="T24" fmla="*/ 1464 w 7025"/>
                  <a:gd name="T25" fmla="*/ 1124 h 1690"/>
                  <a:gd name="T26" fmla="*/ 2859 w 7025"/>
                  <a:gd name="T27" fmla="*/ 1065 h 1690"/>
                  <a:gd name="T28" fmla="*/ 5931 w 7025"/>
                  <a:gd name="T29" fmla="*/ 1041 h 1690"/>
                  <a:gd name="T30" fmla="*/ 5931 w 7025"/>
                  <a:gd name="T31" fmla="*/ 1041 h 1690"/>
                  <a:gd name="T32" fmla="*/ 2878 w 7025"/>
                  <a:gd name="T33" fmla="*/ 1060 h 1690"/>
                  <a:gd name="T34" fmla="*/ 3770 w 7025"/>
                  <a:gd name="T35" fmla="*/ 1221 h 1690"/>
                  <a:gd name="T36" fmla="*/ 5947 w 7025"/>
                  <a:gd name="T37" fmla="*/ 992 h 1690"/>
                  <a:gd name="T38" fmla="*/ 6340 w 7025"/>
                  <a:gd name="T39" fmla="*/ 935 h 1690"/>
                  <a:gd name="T40" fmla="*/ 6340 w 7025"/>
                  <a:gd name="T41" fmla="*/ 935 h 1690"/>
                  <a:gd name="T42" fmla="*/ 3845 w 7025"/>
                  <a:gd name="T43" fmla="*/ 992 h 1690"/>
                  <a:gd name="T44" fmla="*/ 6382 w 7025"/>
                  <a:gd name="T45" fmla="*/ 897 h 1690"/>
                  <a:gd name="T46" fmla="*/ 6389 w 7025"/>
                  <a:gd name="T47" fmla="*/ 878 h 1690"/>
                  <a:gd name="T48" fmla="*/ 6389 w 7025"/>
                  <a:gd name="T49" fmla="*/ 878 h 1690"/>
                  <a:gd name="T50" fmla="*/ 6399 w 7025"/>
                  <a:gd name="T51" fmla="*/ 876 h 1690"/>
                  <a:gd name="T52" fmla="*/ 804 w 7025"/>
                  <a:gd name="T53" fmla="*/ 1067 h 1690"/>
                  <a:gd name="T54" fmla="*/ 3098 w 7025"/>
                  <a:gd name="T55" fmla="*/ 762 h 1690"/>
                  <a:gd name="T56" fmla="*/ 1010 w 7025"/>
                  <a:gd name="T57" fmla="*/ 753 h 1690"/>
                  <a:gd name="T58" fmla="*/ 1010 w 7025"/>
                  <a:gd name="T59" fmla="*/ 753 h 1690"/>
                  <a:gd name="T60" fmla="*/ 5131 w 7025"/>
                  <a:gd name="T61" fmla="*/ 970 h 1690"/>
                  <a:gd name="T62" fmla="*/ 3138 w 7025"/>
                  <a:gd name="T63" fmla="*/ 760 h 1690"/>
                  <a:gd name="T64" fmla="*/ 95 w 7025"/>
                  <a:gd name="T65" fmla="*/ 618 h 1690"/>
                  <a:gd name="T66" fmla="*/ 5252 w 7025"/>
                  <a:gd name="T67" fmla="*/ 608 h 1690"/>
                  <a:gd name="T68" fmla="*/ 3282 w 7025"/>
                  <a:gd name="T69" fmla="*/ 582 h 1690"/>
                  <a:gd name="T70" fmla="*/ 3282 w 7025"/>
                  <a:gd name="T71" fmla="*/ 655 h 1690"/>
                  <a:gd name="T72" fmla="*/ 301 w 7025"/>
                  <a:gd name="T73" fmla="*/ 615 h 1690"/>
                  <a:gd name="T74" fmla="*/ 7023 w 7025"/>
                  <a:gd name="T75" fmla="*/ 511 h 1690"/>
                  <a:gd name="T76" fmla="*/ 4193 w 7025"/>
                  <a:gd name="T77" fmla="*/ 504 h 1690"/>
                  <a:gd name="T78" fmla="*/ 3301 w 7025"/>
                  <a:gd name="T79" fmla="*/ 502 h 1690"/>
                  <a:gd name="T80" fmla="*/ 3301 w 7025"/>
                  <a:gd name="T81" fmla="*/ 580 h 1690"/>
                  <a:gd name="T82" fmla="*/ 4034 w 7025"/>
                  <a:gd name="T83" fmla="*/ 457 h 1690"/>
                  <a:gd name="T84" fmla="*/ 3956 w 7025"/>
                  <a:gd name="T85" fmla="*/ 641 h 1690"/>
                  <a:gd name="T86" fmla="*/ 3327 w 7025"/>
                  <a:gd name="T87" fmla="*/ 435 h 1690"/>
                  <a:gd name="T88" fmla="*/ 4041 w 7025"/>
                  <a:gd name="T89" fmla="*/ 390 h 1690"/>
                  <a:gd name="T90" fmla="*/ 4044 w 7025"/>
                  <a:gd name="T91" fmla="*/ 390 h 1690"/>
                  <a:gd name="T92" fmla="*/ 1809 w 7025"/>
                  <a:gd name="T93" fmla="*/ 1129 h 1690"/>
                  <a:gd name="T94" fmla="*/ 1937 w 7025"/>
                  <a:gd name="T95" fmla="*/ 367 h 1690"/>
                  <a:gd name="T96" fmla="*/ 4049 w 7025"/>
                  <a:gd name="T97" fmla="*/ 329 h 1690"/>
                  <a:gd name="T98" fmla="*/ 2027 w 7025"/>
                  <a:gd name="T99" fmla="*/ 293 h 1690"/>
                  <a:gd name="T100" fmla="*/ 4703 w 7025"/>
                  <a:gd name="T101" fmla="*/ 232 h 1690"/>
                  <a:gd name="T102" fmla="*/ 4703 w 7025"/>
                  <a:gd name="T103" fmla="*/ 232 h 1690"/>
                  <a:gd name="T104" fmla="*/ 4803 w 7025"/>
                  <a:gd name="T105" fmla="*/ 229 h 1690"/>
                  <a:gd name="T106" fmla="*/ 4852 w 7025"/>
                  <a:gd name="T107" fmla="*/ 2 h 1690"/>
                  <a:gd name="T108" fmla="*/ 4909 w 7025"/>
                  <a:gd name="T109" fmla="*/ 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025" h="1690">
                    <a:moveTo>
                      <a:pt x="3" y="1453"/>
                    </a:moveTo>
                    <a:lnTo>
                      <a:pt x="0" y="1453"/>
                    </a:lnTo>
                    <a:lnTo>
                      <a:pt x="0" y="1456"/>
                    </a:lnTo>
                    <a:lnTo>
                      <a:pt x="0" y="1531"/>
                    </a:lnTo>
                    <a:lnTo>
                      <a:pt x="3" y="1531"/>
                    </a:lnTo>
                    <a:lnTo>
                      <a:pt x="3" y="1453"/>
                    </a:lnTo>
                    <a:moveTo>
                      <a:pt x="5666" y="1326"/>
                    </a:moveTo>
                    <a:lnTo>
                      <a:pt x="5663" y="1326"/>
                    </a:lnTo>
                    <a:lnTo>
                      <a:pt x="5663" y="1328"/>
                    </a:lnTo>
                    <a:lnTo>
                      <a:pt x="5663" y="1446"/>
                    </a:lnTo>
                    <a:lnTo>
                      <a:pt x="5666" y="1446"/>
                    </a:lnTo>
                    <a:lnTo>
                      <a:pt x="5666" y="1326"/>
                    </a:lnTo>
                    <a:moveTo>
                      <a:pt x="3710" y="1221"/>
                    </a:moveTo>
                    <a:lnTo>
                      <a:pt x="3710" y="1221"/>
                    </a:lnTo>
                    <a:lnTo>
                      <a:pt x="3710" y="1221"/>
                    </a:lnTo>
                    <a:lnTo>
                      <a:pt x="3710" y="1224"/>
                    </a:lnTo>
                    <a:lnTo>
                      <a:pt x="3710" y="1389"/>
                    </a:lnTo>
                    <a:lnTo>
                      <a:pt x="3710" y="1389"/>
                    </a:lnTo>
                    <a:lnTo>
                      <a:pt x="3710" y="1221"/>
                    </a:lnTo>
                    <a:moveTo>
                      <a:pt x="5831" y="1209"/>
                    </a:moveTo>
                    <a:lnTo>
                      <a:pt x="5831" y="1209"/>
                    </a:lnTo>
                    <a:lnTo>
                      <a:pt x="5829" y="1209"/>
                    </a:lnTo>
                    <a:lnTo>
                      <a:pt x="5829" y="1209"/>
                    </a:lnTo>
                    <a:lnTo>
                      <a:pt x="5829" y="1323"/>
                    </a:lnTo>
                    <a:lnTo>
                      <a:pt x="5831" y="1323"/>
                    </a:lnTo>
                    <a:lnTo>
                      <a:pt x="5831" y="1209"/>
                    </a:lnTo>
                    <a:moveTo>
                      <a:pt x="1665" y="1157"/>
                    </a:moveTo>
                    <a:lnTo>
                      <a:pt x="1665" y="1157"/>
                    </a:lnTo>
                    <a:lnTo>
                      <a:pt x="1665" y="1157"/>
                    </a:lnTo>
                    <a:lnTo>
                      <a:pt x="1665" y="1157"/>
                    </a:lnTo>
                    <a:lnTo>
                      <a:pt x="1665" y="1198"/>
                    </a:lnTo>
                    <a:lnTo>
                      <a:pt x="1665" y="1198"/>
                    </a:lnTo>
                    <a:lnTo>
                      <a:pt x="1665" y="1157"/>
                    </a:lnTo>
                    <a:moveTo>
                      <a:pt x="1689" y="1131"/>
                    </a:moveTo>
                    <a:lnTo>
                      <a:pt x="1686" y="1131"/>
                    </a:lnTo>
                    <a:lnTo>
                      <a:pt x="1686" y="1134"/>
                    </a:lnTo>
                    <a:lnTo>
                      <a:pt x="1686" y="1155"/>
                    </a:lnTo>
                    <a:lnTo>
                      <a:pt x="1689" y="1155"/>
                    </a:lnTo>
                    <a:lnTo>
                      <a:pt x="1689" y="1131"/>
                    </a:lnTo>
                    <a:moveTo>
                      <a:pt x="5857" y="1129"/>
                    </a:moveTo>
                    <a:lnTo>
                      <a:pt x="5855" y="1129"/>
                    </a:lnTo>
                    <a:lnTo>
                      <a:pt x="5855" y="1129"/>
                    </a:lnTo>
                    <a:lnTo>
                      <a:pt x="5855" y="1129"/>
                    </a:lnTo>
                    <a:lnTo>
                      <a:pt x="5855" y="1207"/>
                    </a:lnTo>
                    <a:lnTo>
                      <a:pt x="5857" y="1207"/>
                    </a:lnTo>
                    <a:lnTo>
                      <a:pt x="5857" y="1129"/>
                    </a:lnTo>
                    <a:moveTo>
                      <a:pt x="6323" y="1129"/>
                    </a:moveTo>
                    <a:lnTo>
                      <a:pt x="6321" y="1129"/>
                    </a:lnTo>
                    <a:lnTo>
                      <a:pt x="6321" y="1129"/>
                    </a:lnTo>
                    <a:lnTo>
                      <a:pt x="6321" y="1129"/>
                    </a:lnTo>
                    <a:lnTo>
                      <a:pt x="6321" y="1361"/>
                    </a:lnTo>
                    <a:lnTo>
                      <a:pt x="6323" y="1361"/>
                    </a:lnTo>
                    <a:lnTo>
                      <a:pt x="6323" y="1129"/>
                    </a:lnTo>
                    <a:moveTo>
                      <a:pt x="1448" y="1124"/>
                    </a:moveTo>
                    <a:lnTo>
                      <a:pt x="1445" y="1124"/>
                    </a:lnTo>
                    <a:lnTo>
                      <a:pt x="1445" y="1124"/>
                    </a:lnTo>
                    <a:lnTo>
                      <a:pt x="1445" y="1127"/>
                    </a:lnTo>
                    <a:lnTo>
                      <a:pt x="1445" y="1198"/>
                    </a:lnTo>
                    <a:lnTo>
                      <a:pt x="1448" y="1198"/>
                    </a:lnTo>
                    <a:lnTo>
                      <a:pt x="1448" y="1124"/>
                    </a:lnTo>
                    <a:moveTo>
                      <a:pt x="1464" y="1084"/>
                    </a:moveTo>
                    <a:lnTo>
                      <a:pt x="1462" y="1084"/>
                    </a:lnTo>
                    <a:lnTo>
                      <a:pt x="1462" y="1086"/>
                    </a:lnTo>
                    <a:lnTo>
                      <a:pt x="1462" y="1124"/>
                    </a:lnTo>
                    <a:lnTo>
                      <a:pt x="1464" y="1124"/>
                    </a:lnTo>
                    <a:lnTo>
                      <a:pt x="1464" y="1084"/>
                    </a:lnTo>
                    <a:moveTo>
                      <a:pt x="2862" y="1063"/>
                    </a:moveTo>
                    <a:lnTo>
                      <a:pt x="2859" y="1063"/>
                    </a:lnTo>
                    <a:lnTo>
                      <a:pt x="2859" y="1063"/>
                    </a:lnTo>
                    <a:lnTo>
                      <a:pt x="2859" y="1065"/>
                    </a:lnTo>
                    <a:lnTo>
                      <a:pt x="2859" y="1238"/>
                    </a:lnTo>
                    <a:lnTo>
                      <a:pt x="2862" y="1238"/>
                    </a:lnTo>
                    <a:lnTo>
                      <a:pt x="2862" y="1063"/>
                    </a:lnTo>
                    <a:moveTo>
                      <a:pt x="5931" y="1041"/>
                    </a:moveTo>
                    <a:lnTo>
                      <a:pt x="5931" y="1041"/>
                    </a:lnTo>
                    <a:lnTo>
                      <a:pt x="5931" y="1041"/>
                    </a:lnTo>
                    <a:lnTo>
                      <a:pt x="5931" y="1044"/>
                    </a:lnTo>
                    <a:lnTo>
                      <a:pt x="5931" y="1127"/>
                    </a:lnTo>
                    <a:lnTo>
                      <a:pt x="5931" y="1127"/>
                    </a:lnTo>
                    <a:lnTo>
                      <a:pt x="5931" y="1041"/>
                    </a:lnTo>
                    <a:moveTo>
                      <a:pt x="2878" y="1011"/>
                    </a:moveTo>
                    <a:lnTo>
                      <a:pt x="2876" y="1013"/>
                    </a:lnTo>
                    <a:lnTo>
                      <a:pt x="2876" y="1013"/>
                    </a:lnTo>
                    <a:lnTo>
                      <a:pt x="2876" y="1060"/>
                    </a:lnTo>
                    <a:lnTo>
                      <a:pt x="2878" y="1060"/>
                    </a:lnTo>
                    <a:lnTo>
                      <a:pt x="2878" y="1011"/>
                    </a:lnTo>
                    <a:moveTo>
                      <a:pt x="3772" y="994"/>
                    </a:moveTo>
                    <a:lnTo>
                      <a:pt x="3770" y="994"/>
                    </a:lnTo>
                    <a:lnTo>
                      <a:pt x="3770" y="994"/>
                    </a:lnTo>
                    <a:lnTo>
                      <a:pt x="3770" y="1221"/>
                    </a:lnTo>
                    <a:lnTo>
                      <a:pt x="3772" y="1221"/>
                    </a:lnTo>
                    <a:lnTo>
                      <a:pt x="3772" y="994"/>
                    </a:lnTo>
                    <a:moveTo>
                      <a:pt x="5950" y="989"/>
                    </a:moveTo>
                    <a:lnTo>
                      <a:pt x="5947" y="989"/>
                    </a:lnTo>
                    <a:lnTo>
                      <a:pt x="5947" y="992"/>
                    </a:lnTo>
                    <a:lnTo>
                      <a:pt x="5947" y="1039"/>
                    </a:lnTo>
                    <a:lnTo>
                      <a:pt x="5950" y="1039"/>
                    </a:lnTo>
                    <a:lnTo>
                      <a:pt x="5950" y="989"/>
                    </a:lnTo>
                    <a:moveTo>
                      <a:pt x="6340" y="935"/>
                    </a:moveTo>
                    <a:lnTo>
                      <a:pt x="6340" y="935"/>
                    </a:lnTo>
                    <a:lnTo>
                      <a:pt x="6340" y="935"/>
                    </a:lnTo>
                    <a:lnTo>
                      <a:pt x="6340" y="937"/>
                    </a:lnTo>
                    <a:lnTo>
                      <a:pt x="6340" y="1127"/>
                    </a:lnTo>
                    <a:lnTo>
                      <a:pt x="6340" y="1127"/>
                    </a:lnTo>
                    <a:lnTo>
                      <a:pt x="6340" y="935"/>
                    </a:lnTo>
                    <a:moveTo>
                      <a:pt x="3845" y="928"/>
                    </a:moveTo>
                    <a:lnTo>
                      <a:pt x="3845" y="928"/>
                    </a:lnTo>
                    <a:lnTo>
                      <a:pt x="3845" y="930"/>
                    </a:lnTo>
                    <a:lnTo>
                      <a:pt x="3845" y="992"/>
                    </a:lnTo>
                    <a:lnTo>
                      <a:pt x="3845" y="992"/>
                    </a:lnTo>
                    <a:lnTo>
                      <a:pt x="3845" y="928"/>
                    </a:lnTo>
                    <a:moveTo>
                      <a:pt x="6385" y="895"/>
                    </a:moveTo>
                    <a:lnTo>
                      <a:pt x="6385" y="895"/>
                    </a:lnTo>
                    <a:lnTo>
                      <a:pt x="6385" y="895"/>
                    </a:lnTo>
                    <a:lnTo>
                      <a:pt x="6382" y="897"/>
                    </a:lnTo>
                    <a:lnTo>
                      <a:pt x="6375" y="932"/>
                    </a:lnTo>
                    <a:lnTo>
                      <a:pt x="6378" y="932"/>
                    </a:lnTo>
                    <a:lnTo>
                      <a:pt x="6385" y="895"/>
                    </a:lnTo>
                    <a:moveTo>
                      <a:pt x="6389" y="878"/>
                    </a:moveTo>
                    <a:lnTo>
                      <a:pt x="6389" y="878"/>
                    </a:lnTo>
                    <a:lnTo>
                      <a:pt x="6389" y="878"/>
                    </a:lnTo>
                    <a:lnTo>
                      <a:pt x="6389" y="880"/>
                    </a:lnTo>
                    <a:lnTo>
                      <a:pt x="6389" y="892"/>
                    </a:lnTo>
                    <a:lnTo>
                      <a:pt x="6389" y="892"/>
                    </a:lnTo>
                    <a:lnTo>
                      <a:pt x="6389" y="878"/>
                    </a:lnTo>
                    <a:moveTo>
                      <a:pt x="6399" y="850"/>
                    </a:moveTo>
                    <a:lnTo>
                      <a:pt x="6396" y="850"/>
                    </a:lnTo>
                    <a:lnTo>
                      <a:pt x="6396" y="852"/>
                    </a:lnTo>
                    <a:lnTo>
                      <a:pt x="6396" y="876"/>
                    </a:lnTo>
                    <a:lnTo>
                      <a:pt x="6399" y="876"/>
                    </a:lnTo>
                    <a:lnTo>
                      <a:pt x="6399" y="850"/>
                    </a:lnTo>
                    <a:moveTo>
                      <a:pt x="807" y="826"/>
                    </a:moveTo>
                    <a:lnTo>
                      <a:pt x="804" y="826"/>
                    </a:lnTo>
                    <a:lnTo>
                      <a:pt x="804" y="828"/>
                    </a:lnTo>
                    <a:lnTo>
                      <a:pt x="804" y="1067"/>
                    </a:lnTo>
                    <a:lnTo>
                      <a:pt x="807" y="1067"/>
                    </a:lnTo>
                    <a:lnTo>
                      <a:pt x="807" y="826"/>
                    </a:lnTo>
                    <a:moveTo>
                      <a:pt x="3100" y="762"/>
                    </a:moveTo>
                    <a:lnTo>
                      <a:pt x="3100" y="762"/>
                    </a:lnTo>
                    <a:lnTo>
                      <a:pt x="3098" y="762"/>
                    </a:lnTo>
                    <a:lnTo>
                      <a:pt x="3098" y="764"/>
                    </a:lnTo>
                    <a:lnTo>
                      <a:pt x="3098" y="977"/>
                    </a:lnTo>
                    <a:lnTo>
                      <a:pt x="3100" y="977"/>
                    </a:lnTo>
                    <a:lnTo>
                      <a:pt x="3100" y="762"/>
                    </a:lnTo>
                    <a:moveTo>
                      <a:pt x="1010" y="753"/>
                    </a:moveTo>
                    <a:lnTo>
                      <a:pt x="1008" y="753"/>
                    </a:lnTo>
                    <a:lnTo>
                      <a:pt x="1008" y="755"/>
                    </a:lnTo>
                    <a:lnTo>
                      <a:pt x="1008" y="826"/>
                    </a:lnTo>
                    <a:lnTo>
                      <a:pt x="1010" y="826"/>
                    </a:lnTo>
                    <a:lnTo>
                      <a:pt x="1010" y="753"/>
                    </a:lnTo>
                    <a:moveTo>
                      <a:pt x="5131" y="731"/>
                    </a:moveTo>
                    <a:lnTo>
                      <a:pt x="5131" y="731"/>
                    </a:lnTo>
                    <a:lnTo>
                      <a:pt x="5131" y="734"/>
                    </a:lnTo>
                    <a:lnTo>
                      <a:pt x="5131" y="970"/>
                    </a:lnTo>
                    <a:lnTo>
                      <a:pt x="5131" y="970"/>
                    </a:lnTo>
                    <a:lnTo>
                      <a:pt x="5131" y="731"/>
                    </a:lnTo>
                    <a:moveTo>
                      <a:pt x="3138" y="658"/>
                    </a:moveTo>
                    <a:lnTo>
                      <a:pt x="3138" y="658"/>
                    </a:lnTo>
                    <a:lnTo>
                      <a:pt x="3138" y="658"/>
                    </a:lnTo>
                    <a:lnTo>
                      <a:pt x="3138" y="760"/>
                    </a:lnTo>
                    <a:lnTo>
                      <a:pt x="3138" y="760"/>
                    </a:lnTo>
                    <a:lnTo>
                      <a:pt x="3138" y="658"/>
                    </a:lnTo>
                    <a:moveTo>
                      <a:pt x="97" y="615"/>
                    </a:moveTo>
                    <a:lnTo>
                      <a:pt x="95" y="615"/>
                    </a:lnTo>
                    <a:lnTo>
                      <a:pt x="95" y="618"/>
                    </a:lnTo>
                    <a:lnTo>
                      <a:pt x="95" y="1451"/>
                    </a:lnTo>
                    <a:lnTo>
                      <a:pt x="97" y="1451"/>
                    </a:lnTo>
                    <a:lnTo>
                      <a:pt x="97" y="615"/>
                    </a:lnTo>
                    <a:moveTo>
                      <a:pt x="5254" y="608"/>
                    </a:moveTo>
                    <a:lnTo>
                      <a:pt x="5252" y="608"/>
                    </a:lnTo>
                    <a:lnTo>
                      <a:pt x="5252" y="610"/>
                    </a:lnTo>
                    <a:lnTo>
                      <a:pt x="5252" y="729"/>
                    </a:lnTo>
                    <a:lnTo>
                      <a:pt x="5254" y="729"/>
                    </a:lnTo>
                    <a:lnTo>
                      <a:pt x="5254" y="608"/>
                    </a:lnTo>
                    <a:moveTo>
                      <a:pt x="3282" y="582"/>
                    </a:moveTo>
                    <a:lnTo>
                      <a:pt x="3282" y="582"/>
                    </a:lnTo>
                    <a:lnTo>
                      <a:pt x="3282" y="582"/>
                    </a:lnTo>
                    <a:lnTo>
                      <a:pt x="3282" y="584"/>
                    </a:lnTo>
                    <a:lnTo>
                      <a:pt x="3282" y="655"/>
                    </a:lnTo>
                    <a:lnTo>
                      <a:pt x="3282" y="655"/>
                    </a:lnTo>
                    <a:lnTo>
                      <a:pt x="3282" y="582"/>
                    </a:lnTo>
                    <a:moveTo>
                      <a:pt x="303" y="547"/>
                    </a:moveTo>
                    <a:lnTo>
                      <a:pt x="301" y="547"/>
                    </a:lnTo>
                    <a:lnTo>
                      <a:pt x="301" y="549"/>
                    </a:lnTo>
                    <a:lnTo>
                      <a:pt x="301" y="615"/>
                    </a:lnTo>
                    <a:lnTo>
                      <a:pt x="303" y="615"/>
                    </a:lnTo>
                    <a:lnTo>
                      <a:pt x="303" y="547"/>
                    </a:lnTo>
                    <a:moveTo>
                      <a:pt x="7025" y="509"/>
                    </a:moveTo>
                    <a:lnTo>
                      <a:pt x="7023" y="509"/>
                    </a:lnTo>
                    <a:lnTo>
                      <a:pt x="7023" y="511"/>
                    </a:lnTo>
                    <a:lnTo>
                      <a:pt x="7023" y="1690"/>
                    </a:lnTo>
                    <a:lnTo>
                      <a:pt x="7025" y="1690"/>
                    </a:lnTo>
                    <a:lnTo>
                      <a:pt x="7025" y="509"/>
                    </a:lnTo>
                    <a:moveTo>
                      <a:pt x="4195" y="504"/>
                    </a:moveTo>
                    <a:lnTo>
                      <a:pt x="4193" y="504"/>
                    </a:lnTo>
                    <a:lnTo>
                      <a:pt x="4193" y="504"/>
                    </a:lnTo>
                    <a:lnTo>
                      <a:pt x="4122" y="601"/>
                    </a:lnTo>
                    <a:lnTo>
                      <a:pt x="4122" y="601"/>
                    </a:lnTo>
                    <a:lnTo>
                      <a:pt x="4195" y="504"/>
                    </a:lnTo>
                    <a:moveTo>
                      <a:pt x="3301" y="502"/>
                    </a:moveTo>
                    <a:lnTo>
                      <a:pt x="3299" y="502"/>
                    </a:lnTo>
                    <a:lnTo>
                      <a:pt x="3299" y="502"/>
                    </a:lnTo>
                    <a:lnTo>
                      <a:pt x="3299" y="504"/>
                    </a:lnTo>
                    <a:lnTo>
                      <a:pt x="3299" y="580"/>
                    </a:lnTo>
                    <a:lnTo>
                      <a:pt x="3301" y="580"/>
                    </a:lnTo>
                    <a:lnTo>
                      <a:pt x="3301" y="502"/>
                    </a:lnTo>
                    <a:moveTo>
                      <a:pt x="4037" y="454"/>
                    </a:moveTo>
                    <a:lnTo>
                      <a:pt x="4034" y="454"/>
                    </a:lnTo>
                    <a:lnTo>
                      <a:pt x="4034" y="454"/>
                    </a:lnTo>
                    <a:lnTo>
                      <a:pt x="4034" y="457"/>
                    </a:lnTo>
                    <a:lnTo>
                      <a:pt x="4034" y="490"/>
                    </a:lnTo>
                    <a:lnTo>
                      <a:pt x="3954" y="644"/>
                    </a:lnTo>
                    <a:lnTo>
                      <a:pt x="3954" y="925"/>
                    </a:lnTo>
                    <a:lnTo>
                      <a:pt x="3956" y="925"/>
                    </a:lnTo>
                    <a:lnTo>
                      <a:pt x="3956" y="641"/>
                    </a:lnTo>
                    <a:lnTo>
                      <a:pt x="4037" y="490"/>
                    </a:lnTo>
                    <a:lnTo>
                      <a:pt x="4037" y="454"/>
                    </a:lnTo>
                    <a:moveTo>
                      <a:pt x="3330" y="433"/>
                    </a:moveTo>
                    <a:lnTo>
                      <a:pt x="3327" y="433"/>
                    </a:lnTo>
                    <a:lnTo>
                      <a:pt x="3327" y="435"/>
                    </a:lnTo>
                    <a:lnTo>
                      <a:pt x="3327" y="499"/>
                    </a:lnTo>
                    <a:lnTo>
                      <a:pt x="3330" y="499"/>
                    </a:lnTo>
                    <a:lnTo>
                      <a:pt x="3330" y="433"/>
                    </a:lnTo>
                    <a:moveTo>
                      <a:pt x="4044" y="390"/>
                    </a:moveTo>
                    <a:lnTo>
                      <a:pt x="4041" y="390"/>
                    </a:lnTo>
                    <a:lnTo>
                      <a:pt x="4041" y="390"/>
                    </a:lnTo>
                    <a:lnTo>
                      <a:pt x="4041" y="393"/>
                    </a:lnTo>
                    <a:lnTo>
                      <a:pt x="4041" y="452"/>
                    </a:lnTo>
                    <a:lnTo>
                      <a:pt x="4044" y="452"/>
                    </a:lnTo>
                    <a:lnTo>
                      <a:pt x="4044" y="390"/>
                    </a:lnTo>
                    <a:moveTo>
                      <a:pt x="1809" y="369"/>
                    </a:moveTo>
                    <a:lnTo>
                      <a:pt x="1809" y="369"/>
                    </a:lnTo>
                    <a:lnTo>
                      <a:pt x="1809" y="369"/>
                    </a:lnTo>
                    <a:lnTo>
                      <a:pt x="1809" y="1129"/>
                    </a:lnTo>
                    <a:lnTo>
                      <a:pt x="1809" y="1129"/>
                    </a:lnTo>
                    <a:lnTo>
                      <a:pt x="1809" y="369"/>
                    </a:lnTo>
                    <a:moveTo>
                      <a:pt x="1939" y="333"/>
                    </a:moveTo>
                    <a:lnTo>
                      <a:pt x="1937" y="333"/>
                    </a:lnTo>
                    <a:lnTo>
                      <a:pt x="1937" y="336"/>
                    </a:lnTo>
                    <a:lnTo>
                      <a:pt x="1937" y="367"/>
                    </a:lnTo>
                    <a:lnTo>
                      <a:pt x="1939" y="367"/>
                    </a:lnTo>
                    <a:lnTo>
                      <a:pt x="1939" y="333"/>
                    </a:lnTo>
                    <a:moveTo>
                      <a:pt x="4051" y="326"/>
                    </a:moveTo>
                    <a:lnTo>
                      <a:pt x="4049" y="326"/>
                    </a:lnTo>
                    <a:lnTo>
                      <a:pt x="4049" y="329"/>
                    </a:lnTo>
                    <a:lnTo>
                      <a:pt x="4049" y="388"/>
                    </a:lnTo>
                    <a:lnTo>
                      <a:pt x="4051" y="388"/>
                    </a:lnTo>
                    <a:lnTo>
                      <a:pt x="4051" y="326"/>
                    </a:lnTo>
                    <a:moveTo>
                      <a:pt x="2029" y="293"/>
                    </a:moveTo>
                    <a:lnTo>
                      <a:pt x="2027" y="293"/>
                    </a:lnTo>
                    <a:lnTo>
                      <a:pt x="2027" y="296"/>
                    </a:lnTo>
                    <a:lnTo>
                      <a:pt x="2027" y="331"/>
                    </a:lnTo>
                    <a:lnTo>
                      <a:pt x="2029" y="331"/>
                    </a:lnTo>
                    <a:lnTo>
                      <a:pt x="2029" y="293"/>
                    </a:lnTo>
                    <a:moveTo>
                      <a:pt x="4703" y="232"/>
                    </a:moveTo>
                    <a:lnTo>
                      <a:pt x="4703" y="232"/>
                    </a:lnTo>
                    <a:lnTo>
                      <a:pt x="4701" y="234"/>
                    </a:lnTo>
                    <a:lnTo>
                      <a:pt x="4637" y="471"/>
                    </a:lnTo>
                    <a:lnTo>
                      <a:pt x="4640" y="471"/>
                    </a:lnTo>
                    <a:lnTo>
                      <a:pt x="4703" y="232"/>
                    </a:lnTo>
                    <a:moveTo>
                      <a:pt x="4805" y="172"/>
                    </a:moveTo>
                    <a:lnTo>
                      <a:pt x="4803" y="172"/>
                    </a:lnTo>
                    <a:lnTo>
                      <a:pt x="4803" y="172"/>
                    </a:lnTo>
                    <a:lnTo>
                      <a:pt x="4803" y="175"/>
                    </a:lnTo>
                    <a:lnTo>
                      <a:pt x="4803" y="229"/>
                    </a:lnTo>
                    <a:lnTo>
                      <a:pt x="4805" y="229"/>
                    </a:lnTo>
                    <a:lnTo>
                      <a:pt x="4805" y="172"/>
                    </a:lnTo>
                    <a:moveTo>
                      <a:pt x="4852" y="0"/>
                    </a:moveTo>
                    <a:lnTo>
                      <a:pt x="4852" y="0"/>
                    </a:lnTo>
                    <a:lnTo>
                      <a:pt x="4852" y="2"/>
                    </a:lnTo>
                    <a:lnTo>
                      <a:pt x="4852" y="170"/>
                    </a:lnTo>
                    <a:lnTo>
                      <a:pt x="4852" y="170"/>
                    </a:lnTo>
                    <a:lnTo>
                      <a:pt x="4852" y="0"/>
                    </a:lnTo>
                    <a:moveTo>
                      <a:pt x="4912" y="0"/>
                    </a:moveTo>
                    <a:lnTo>
                      <a:pt x="4909" y="0"/>
                    </a:lnTo>
                    <a:lnTo>
                      <a:pt x="4909" y="2"/>
                    </a:lnTo>
                    <a:lnTo>
                      <a:pt x="4909" y="170"/>
                    </a:lnTo>
                    <a:lnTo>
                      <a:pt x="4912" y="170"/>
                    </a:lnTo>
                    <a:lnTo>
                      <a:pt x="4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2" name="Freeform 144"/>
              <p:cNvSpPr>
                <a:spLocks/>
              </p:cNvSpPr>
              <p:nvPr/>
            </p:nvSpPr>
            <p:spPr bwMode="auto">
              <a:xfrm>
                <a:off x="-3" y="1660"/>
                <a:ext cx="7567" cy="2676"/>
              </a:xfrm>
              <a:custGeom>
                <a:avLst/>
                <a:gdLst>
                  <a:gd name="T0" fmla="*/ 4921 w 7567"/>
                  <a:gd name="T1" fmla="*/ 173 h 2676"/>
                  <a:gd name="T2" fmla="*/ 4864 w 7567"/>
                  <a:gd name="T3" fmla="*/ 173 h 2676"/>
                  <a:gd name="T4" fmla="*/ 4826 w 7567"/>
                  <a:gd name="T5" fmla="*/ 232 h 2676"/>
                  <a:gd name="T6" fmla="*/ 4682 w 7567"/>
                  <a:gd name="T7" fmla="*/ 476 h 2676"/>
                  <a:gd name="T8" fmla="*/ 4642 w 7567"/>
                  <a:gd name="T9" fmla="*/ 502 h 2676"/>
                  <a:gd name="T10" fmla="*/ 4602 w 7567"/>
                  <a:gd name="T11" fmla="*/ 528 h 2676"/>
                  <a:gd name="T12" fmla="*/ 4166 w 7567"/>
                  <a:gd name="T13" fmla="*/ 597 h 2676"/>
                  <a:gd name="T14" fmla="*/ 4162 w 7567"/>
                  <a:gd name="T15" fmla="*/ 585 h 2676"/>
                  <a:gd name="T16" fmla="*/ 4003 w 7567"/>
                  <a:gd name="T17" fmla="*/ 644 h 2676"/>
                  <a:gd name="T18" fmla="*/ 3961 w 7567"/>
                  <a:gd name="T19" fmla="*/ 928 h 2676"/>
                  <a:gd name="T20" fmla="*/ 3916 w 7567"/>
                  <a:gd name="T21" fmla="*/ 928 h 2676"/>
                  <a:gd name="T22" fmla="*/ 3861 w 7567"/>
                  <a:gd name="T23" fmla="*/ 995 h 2676"/>
                  <a:gd name="T24" fmla="*/ 3812 w 7567"/>
                  <a:gd name="T25" fmla="*/ 1224 h 2676"/>
                  <a:gd name="T26" fmla="*/ 3767 w 7567"/>
                  <a:gd name="T27" fmla="*/ 1224 h 2676"/>
                  <a:gd name="T28" fmla="*/ 3729 w 7567"/>
                  <a:gd name="T29" fmla="*/ 1392 h 2676"/>
                  <a:gd name="T30" fmla="*/ 3689 w 7567"/>
                  <a:gd name="T31" fmla="*/ 1317 h 2676"/>
                  <a:gd name="T32" fmla="*/ 3493 w 7567"/>
                  <a:gd name="T33" fmla="*/ 436 h 2676"/>
                  <a:gd name="T34" fmla="*/ 3341 w 7567"/>
                  <a:gd name="T35" fmla="*/ 583 h 2676"/>
                  <a:gd name="T36" fmla="*/ 3303 w 7567"/>
                  <a:gd name="T37" fmla="*/ 658 h 2676"/>
                  <a:gd name="T38" fmla="*/ 3258 w 7567"/>
                  <a:gd name="T39" fmla="*/ 658 h 2676"/>
                  <a:gd name="T40" fmla="*/ 3152 w 7567"/>
                  <a:gd name="T41" fmla="*/ 763 h 2676"/>
                  <a:gd name="T42" fmla="*/ 3112 w 7567"/>
                  <a:gd name="T43" fmla="*/ 980 h 2676"/>
                  <a:gd name="T44" fmla="*/ 3067 w 7567"/>
                  <a:gd name="T45" fmla="*/ 980 h 2676"/>
                  <a:gd name="T46" fmla="*/ 2909 w 7567"/>
                  <a:gd name="T47" fmla="*/ 1241 h 2676"/>
                  <a:gd name="T48" fmla="*/ 2864 w 7567"/>
                  <a:gd name="T49" fmla="*/ 1241 h 2676"/>
                  <a:gd name="T50" fmla="*/ 2819 w 7567"/>
                  <a:gd name="T51" fmla="*/ 1241 h 2676"/>
                  <a:gd name="T52" fmla="*/ 2062 w 7567"/>
                  <a:gd name="T53" fmla="*/ 334 h 2676"/>
                  <a:gd name="T54" fmla="*/ 1972 w 7567"/>
                  <a:gd name="T55" fmla="*/ 370 h 2676"/>
                  <a:gd name="T56" fmla="*/ 1837 w 7567"/>
                  <a:gd name="T57" fmla="*/ 1132 h 2676"/>
                  <a:gd name="T58" fmla="*/ 1792 w 7567"/>
                  <a:gd name="T59" fmla="*/ 1132 h 2676"/>
                  <a:gd name="T60" fmla="*/ 1726 w 7567"/>
                  <a:gd name="T61" fmla="*/ 1158 h 2676"/>
                  <a:gd name="T62" fmla="*/ 1686 w 7567"/>
                  <a:gd name="T63" fmla="*/ 1201 h 2676"/>
                  <a:gd name="T64" fmla="*/ 1499 w 7567"/>
                  <a:gd name="T65" fmla="*/ 1127 h 2676"/>
                  <a:gd name="T66" fmla="*/ 1459 w 7567"/>
                  <a:gd name="T67" fmla="*/ 1201 h 2676"/>
                  <a:gd name="T68" fmla="*/ 1041 w 7567"/>
                  <a:gd name="T69" fmla="*/ 829 h 2676"/>
                  <a:gd name="T70" fmla="*/ 996 w 7567"/>
                  <a:gd name="T71" fmla="*/ 829 h 2676"/>
                  <a:gd name="T72" fmla="*/ 825 w 7567"/>
                  <a:gd name="T73" fmla="*/ 1070 h 2676"/>
                  <a:gd name="T74" fmla="*/ 326 w 7567"/>
                  <a:gd name="T75" fmla="*/ 618 h 2676"/>
                  <a:gd name="T76" fmla="*/ 282 w 7567"/>
                  <a:gd name="T77" fmla="*/ 618 h 2676"/>
                  <a:gd name="T78" fmla="*/ 104 w 7567"/>
                  <a:gd name="T79" fmla="*/ 1454 h 2676"/>
                  <a:gd name="T80" fmla="*/ 62 w 7567"/>
                  <a:gd name="T81" fmla="*/ 1454 h 2676"/>
                  <a:gd name="T82" fmla="*/ 21 w 7567"/>
                  <a:gd name="T83" fmla="*/ 1534 h 2676"/>
                  <a:gd name="T84" fmla="*/ 7328 w 7567"/>
                  <a:gd name="T85" fmla="*/ 509 h 2676"/>
                  <a:gd name="T86" fmla="*/ 7035 w 7567"/>
                  <a:gd name="T87" fmla="*/ 1693 h 2676"/>
                  <a:gd name="T88" fmla="*/ 6994 w 7567"/>
                  <a:gd name="T89" fmla="*/ 1094 h 2676"/>
                  <a:gd name="T90" fmla="*/ 6439 w 7567"/>
                  <a:gd name="T91" fmla="*/ 879 h 2676"/>
                  <a:gd name="T92" fmla="*/ 6401 w 7567"/>
                  <a:gd name="T93" fmla="*/ 935 h 2676"/>
                  <a:gd name="T94" fmla="*/ 6370 w 7567"/>
                  <a:gd name="T95" fmla="*/ 1364 h 2676"/>
                  <a:gd name="T96" fmla="*/ 6330 w 7567"/>
                  <a:gd name="T97" fmla="*/ 1210 h 2676"/>
                  <a:gd name="T98" fmla="*/ 6122 w 7567"/>
                  <a:gd name="T99" fmla="*/ 1130 h 2676"/>
                  <a:gd name="T100" fmla="*/ 5968 w 7567"/>
                  <a:gd name="T101" fmla="*/ 1130 h 2676"/>
                  <a:gd name="T102" fmla="*/ 5923 w 7567"/>
                  <a:gd name="T103" fmla="*/ 1130 h 2676"/>
                  <a:gd name="T104" fmla="*/ 5883 w 7567"/>
                  <a:gd name="T105" fmla="*/ 1210 h 2676"/>
                  <a:gd name="T106" fmla="*/ 5843 w 7567"/>
                  <a:gd name="T107" fmla="*/ 1326 h 2676"/>
                  <a:gd name="T108" fmla="*/ 5798 w 7567"/>
                  <a:gd name="T109" fmla="*/ 1326 h 2676"/>
                  <a:gd name="T110" fmla="*/ 5689 w 7567"/>
                  <a:gd name="T111" fmla="*/ 1449 h 2676"/>
                  <a:gd name="T112" fmla="*/ 5292 w 7567"/>
                  <a:gd name="T113" fmla="*/ 732 h 2676"/>
                  <a:gd name="T114" fmla="*/ 5249 w 7567"/>
                  <a:gd name="T115" fmla="*/ 732 h 2676"/>
                  <a:gd name="T116" fmla="*/ 5178 w 7567"/>
                  <a:gd name="T117" fmla="*/ 732 h 2676"/>
                  <a:gd name="T118" fmla="*/ 5138 w 7567"/>
                  <a:gd name="T119" fmla="*/ 973 h 2676"/>
                  <a:gd name="T120" fmla="*/ 5093 w 7567"/>
                  <a:gd name="T121" fmla="*/ 973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67" h="2676">
                    <a:moveTo>
                      <a:pt x="4980" y="0"/>
                    </a:moveTo>
                    <a:lnTo>
                      <a:pt x="4959" y="0"/>
                    </a:lnTo>
                    <a:lnTo>
                      <a:pt x="4959" y="3"/>
                    </a:lnTo>
                    <a:lnTo>
                      <a:pt x="4959" y="173"/>
                    </a:lnTo>
                    <a:lnTo>
                      <a:pt x="4956" y="173"/>
                    </a:lnTo>
                    <a:lnTo>
                      <a:pt x="4954" y="173"/>
                    </a:lnTo>
                    <a:lnTo>
                      <a:pt x="4951" y="173"/>
                    </a:lnTo>
                    <a:lnTo>
                      <a:pt x="4951" y="173"/>
                    </a:lnTo>
                    <a:lnTo>
                      <a:pt x="4949" y="173"/>
                    </a:lnTo>
                    <a:lnTo>
                      <a:pt x="4947" y="173"/>
                    </a:lnTo>
                    <a:lnTo>
                      <a:pt x="4944" y="173"/>
                    </a:lnTo>
                    <a:lnTo>
                      <a:pt x="4942" y="173"/>
                    </a:lnTo>
                    <a:lnTo>
                      <a:pt x="4942" y="173"/>
                    </a:lnTo>
                    <a:lnTo>
                      <a:pt x="4940" y="173"/>
                    </a:lnTo>
                    <a:lnTo>
                      <a:pt x="4937" y="173"/>
                    </a:lnTo>
                    <a:lnTo>
                      <a:pt x="4935" y="173"/>
                    </a:lnTo>
                    <a:lnTo>
                      <a:pt x="4933" y="173"/>
                    </a:lnTo>
                    <a:lnTo>
                      <a:pt x="4933" y="173"/>
                    </a:lnTo>
                    <a:lnTo>
                      <a:pt x="4930" y="173"/>
                    </a:lnTo>
                    <a:lnTo>
                      <a:pt x="4928" y="173"/>
                    </a:lnTo>
                    <a:lnTo>
                      <a:pt x="4925" y="173"/>
                    </a:lnTo>
                    <a:lnTo>
                      <a:pt x="4925" y="173"/>
                    </a:lnTo>
                    <a:lnTo>
                      <a:pt x="4923" y="173"/>
                    </a:lnTo>
                    <a:lnTo>
                      <a:pt x="4921" y="173"/>
                    </a:lnTo>
                    <a:lnTo>
                      <a:pt x="4921" y="38"/>
                    </a:lnTo>
                    <a:lnTo>
                      <a:pt x="4921" y="0"/>
                    </a:lnTo>
                    <a:lnTo>
                      <a:pt x="4899" y="0"/>
                    </a:lnTo>
                    <a:lnTo>
                      <a:pt x="4899" y="3"/>
                    </a:lnTo>
                    <a:lnTo>
                      <a:pt x="4899" y="173"/>
                    </a:lnTo>
                    <a:lnTo>
                      <a:pt x="4899" y="173"/>
                    </a:lnTo>
                    <a:lnTo>
                      <a:pt x="4897" y="173"/>
                    </a:lnTo>
                    <a:lnTo>
                      <a:pt x="4895" y="173"/>
                    </a:lnTo>
                    <a:lnTo>
                      <a:pt x="4892" y="173"/>
                    </a:lnTo>
                    <a:lnTo>
                      <a:pt x="4890" y="173"/>
                    </a:lnTo>
                    <a:lnTo>
                      <a:pt x="4890" y="173"/>
                    </a:lnTo>
                    <a:lnTo>
                      <a:pt x="4888" y="173"/>
                    </a:lnTo>
                    <a:lnTo>
                      <a:pt x="4885" y="173"/>
                    </a:lnTo>
                    <a:lnTo>
                      <a:pt x="4883" y="173"/>
                    </a:lnTo>
                    <a:lnTo>
                      <a:pt x="4881" y="173"/>
                    </a:lnTo>
                    <a:lnTo>
                      <a:pt x="4881" y="173"/>
                    </a:lnTo>
                    <a:lnTo>
                      <a:pt x="4878" y="173"/>
                    </a:lnTo>
                    <a:lnTo>
                      <a:pt x="4876" y="173"/>
                    </a:lnTo>
                    <a:lnTo>
                      <a:pt x="4873" y="173"/>
                    </a:lnTo>
                    <a:lnTo>
                      <a:pt x="4873" y="173"/>
                    </a:lnTo>
                    <a:lnTo>
                      <a:pt x="4871" y="173"/>
                    </a:lnTo>
                    <a:lnTo>
                      <a:pt x="4869" y="173"/>
                    </a:lnTo>
                    <a:lnTo>
                      <a:pt x="4866" y="173"/>
                    </a:lnTo>
                    <a:lnTo>
                      <a:pt x="4864" y="173"/>
                    </a:lnTo>
                    <a:lnTo>
                      <a:pt x="4864" y="173"/>
                    </a:lnTo>
                    <a:lnTo>
                      <a:pt x="4862" y="173"/>
                    </a:lnTo>
                    <a:lnTo>
                      <a:pt x="4859" y="173"/>
                    </a:lnTo>
                    <a:lnTo>
                      <a:pt x="4857" y="173"/>
                    </a:lnTo>
                    <a:lnTo>
                      <a:pt x="4855" y="173"/>
                    </a:lnTo>
                    <a:lnTo>
                      <a:pt x="4855" y="173"/>
                    </a:lnTo>
                    <a:lnTo>
                      <a:pt x="4852" y="173"/>
                    </a:lnTo>
                    <a:lnTo>
                      <a:pt x="4852" y="173"/>
                    </a:lnTo>
                    <a:lnTo>
                      <a:pt x="4852" y="175"/>
                    </a:lnTo>
                    <a:lnTo>
                      <a:pt x="4852" y="232"/>
                    </a:lnTo>
                    <a:lnTo>
                      <a:pt x="4850" y="232"/>
                    </a:lnTo>
                    <a:lnTo>
                      <a:pt x="4847" y="232"/>
                    </a:lnTo>
                    <a:lnTo>
                      <a:pt x="4845" y="232"/>
                    </a:lnTo>
                    <a:lnTo>
                      <a:pt x="4843" y="232"/>
                    </a:lnTo>
                    <a:lnTo>
                      <a:pt x="4843" y="232"/>
                    </a:lnTo>
                    <a:lnTo>
                      <a:pt x="4840" y="232"/>
                    </a:lnTo>
                    <a:lnTo>
                      <a:pt x="4838" y="232"/>
                    </a:lnTo>
                    <a:lnTo>
                      <a:pt x="4836" y="232"/>
                    </a:lnTo>
                    <a:lnTo>
                      <a:pt x="4836" y="232"/>
                    </a:lnTo>
                    <a:lnTo>
                      <a:pt x="4833" y="232"/>
                    </a:lnTo>
                    <a:lnTo>
                      <a:pt x="4831" y="232"/>
                    </a:lnTo>
                    <a:lnTo>
                      <a:pt x="4829" y="232"/>
                    </a:lnTo>
                    <a:lnTo>
                      <a:pt x="4826" y="232"/>
                    </a:lnTo>
                    <a:lnTo>
                      <a:pt x="4826" y="232"/>
                    </a:lnTo>
                    <a:lnTo>
                      <a:pt x="4824" y="232"/>
                    </a:lnTo>
                    <a:lnTo>
                      <a:pt x="4821" y="232"/>
                    </a:lnTo>
                    <a:lnTo>
                      <a:pt x="4819" y="232"/>
                    </a:lnTo>
                    <a:lnTo>
                      <a:pt x="4817" y="232"/>
                    </a:lnTo>
                    <a:lnTo>
                      <a:pt x="4817" y="232"/>
                    </a:lnTo>
                    <a:lnTo>
                      <a:pt x="4814" y="232"/>
                    </a:lnTo>
                    <a:lnTo>
                      <a:pt x="4812" y="232"/>
                    </a:lnTo>
                    <a:lnTo>
                      <a:pt x="4810" y="232"/>
                    </a:lnTo>
                    <a:lnTo>
                      <a:pt x="4810" y="232"/>
                    </a:lnTo>
                    <a:lnTo>
                      <a:pt x="4807" y="232"/>
                    </a:lnTo>
                    <a:lnTo>
                      <a:pt x="4805" y="232"/>
                    </a:lnTo>
                    <a:lnTo>
                      <a:pt x="4802" y="232"/>
                    </a:lnTo>
                    <a:lnTo>
                      <a:pt x="4800" y="232"/>
                    </a:lnTo>
                    <a:lnTo>
                      <a:pt x="4800" y="232"/>
                    </a:lnTo>
                    <a:lnTo>
                      <a:pt x="4798" y="232"/>
                    </a:lnTo>
                    <a:lnTo>
                      <a:pt x="4795" y="232"/>
                    </a:lnTo>
                    <a:lnTo>
                      <a:pt x="4793" y="232"/>
                    </a:lnTo>
                    <a:lnTo>
                      <a:pt x="4791" y="232"/>
                    </a:lnTo>
                    <a:lnTo>
                      <a:pt x="4750" y="232"/>
                    </a:lnTo>
                    <a:lnTo>
                      <a:pt x="4750" y="235"/>
                    </a:lnTo>
                    <a:lnTo>
                      <a:pt x="4687" y="474"/>
                    </a:lnTo>
                    <a:lnTo>
                      <a:pt x="4684" y="474"/>
                    </a:lnTo>
                    <a:lnTo>
                      <a:pt x="4682" y="476"/>
                    </a:lnTo>
                    <a:lnTo>
                      <a:pt x="4682" y="476"/>
                    </a:lnTo>
                    <a:lnTo>
                      <a:pt x="4680" y="479"/>
                    </a:lnTo>
                    <a:lnTo>
                      <a:pt x="4677" y="479"/>
                    </a:lnTo>
                    <a:lnTo>
                      <a:pt x="4677" y="479"/>
                    </a:lnTo>
                    <a:lnTo>
                      <a:pt x="4675" y="481"/>
                    </a:lnTo>
                    <a:lnTo>
                      <a:pt x="4672" y="481"/>
                    </a:lnTo>
                    <a:lnTo>
                      <a:pt x="4670" y="483"/>
                    </a:lnTo>
                    <a:lnTo>
                      <a:pt x="4670" y="483"/>
                    </a:lnTo>
                    <a:lnTo>
                      <a:pt x="4668" y="486"/>
                    </a:lnTo>
                    <a:lnTo>
                      <a:pt x="4665" y="486"/>
                    </a:lnTo>
                    <a:lnTo>
                      <a:pt x="4665" y="488"/>
                    </a:lnTo>
                    <a:lnTo>
                      <a:pt x="4663" y="488"/>
                    </a:lnTo>
                    <a:lnTo>
                      <a:pt x="4661" y="490"/>
                    </a:lnTo>
                    <a:lnTo>
                      <a:pt x="4661" y="490"/>
                    </a:lnTo>
                    <a:lnTo>
                      <a:pt x="4658" y="490"/>
                    </a:lnTo>
                    <a:lnTo>
                      <a:pt x="4656" y="493"/>
                    </a:lnTo>
                    <a:lnTo>
                      <a:pt x="4656" y="493"/>
                    </a:lnTo>
                    <a:lnTo>
                      <a:pt x="4654" y="495"/>
                    </a:lnTo>
                    <a:lnTo>
                      <a:pt x="4651" y="495"/>
                    </a:lnTo>
                    <a:lnTo>
                      <a:pt x="4649" y="497"/>
                    </a:lnTo>
                    <a:lnTo>
                      <a:pt x="4649" y="497"/>
                    </a:lnTo>
                    <a:lnTo>
                      <a:pt x="4646" y="500"/>
                    </a:lnTo>
                    <a:lnTo>
                      <a:pt x="4644" y="500"/>
                    </a:lnTo>
                    <a:lnTo>
                      <a:pt x="4644" y="500"/>
                    </a:lnTo>
                    <a:lnTo>
                      <a:pt x="4642" y="502"/>
                    </a:lnTo>
                    <a:lnTo>
                      <a:pt x="4639" y="502"/>
                    </a:lnTo>
                    <a:lnTo>
                      <a:pt x="4639" y="505"/>
                    </a:lnTo>
                    <a:lnTo>
                      <a:pt x="4637" y="505"/>
                    </a:lnTo>
                    <a:lnTo>
                      <a:pt x="4635" y="507"/>
                    </a:lnTo>
                    <a:lnTo>
                      <a:pt x="4635" y="507"/>
                    </a:lnTo>
                    <a:lnTo>
                      <a:pt x="4632" y="509"/>
                    </a:lnTo>
                    <a:lnTo>
                      <a:pt x="4630" y="509"/>
                    </a:lnTo>
                    <a:lnTo>
                      <a:pt x="4628" y="509"/>
                    </a:lnTo>
                    <a:lnTo>
                      <a:pt x="4628" y="512"/>
                    </a:lnTo>
                    <a:lnTo>
                      <a:pt x="4625" y="512"/>
                    </a:lnTo>
                    <a:lnTo>
                      <a:pt x="4623" y="514"/>
                    </a:lnTo>
                    <a:lnTo>
                      <a:pt x="4623" y="514"/>
                    </a:lnTo>
                    <a:lnTo>
                      <a:pt x="4620" y="516"/>
                    </a:lnTo>
                    <a:lnTo>
                      <a:pt x="4618" y="516"/>
                    </a:lnTo>
                    <a:lnTo>
                      <a:pt x="4618" y="519"/>
                    </a:lnTo>
                    <a:lnTo>
                      <a:pt x="4616" y="519"/>
                    </a:lnTo>
                    <a:lnTo>
                      <a:pt x="4613" y="521"/>
                    </a:lnTo>
                    <a:lnTo>
                      <a:pt x="4613" y="521"/>
                    </a:lnTo>
                    <a:lnTo>
                      <a:pt x="4611" y="521"/>
                    </a:lnTo>
                    <a:lnTo>
                      <a:pt x="4609" y="524"/>
                    </a:lnTo>
                    <a:lnTo>
                      <a:pt x="4606" y="524"/>
                    </a:lnTo>
                    <a:lnTo>
                      <a:pt x="4606" y="526"/>
                    </a:lnTo>
                    <a:lnTo>
                      <a:pt x="4604" y="526"/>
                    </a:lnTo>
                    <a:lnTo>
                      <a:pt x="4602" y="528"/>
                    </a:lnTo>
                    <a:lnTo>
                      <a:pt x="4583" y="540"/>
                    </a:lnTo>
                    <a:lnTo>
                      <a:pt x="4434" y="540"/>
                    </a:lnTo>
                    <a:lnTo>
                      <a:pt x="4405" y="505"/>
                    </a:lnTo>
                    <a:lnTo>
                      <a:pt x="4242" y="505"/>
                    </a:lnTo>
                    <a:lnTo>
                      <a:pt x="4242" y="507"/>
                    </a:lnTo>
                    <a:lnTo>
                      <a:pt x="4169" y="604"/>
                    </a:lnTo>
                    <a:lnTo>
                      <a:pt x="4169" y="604"/>
                    </a:lnTo>
                    <a:lnTo>
                      <a:pt x="4169" y="604"/>
                    </a:lnTo>
                    <a:lnTo>
                      <a:pt x="4169" y="602"/>
                    </a:lnTo>
                    <a:lnTo>
                      <a:pt x="4169" y="602"/>
                    </a:lnTo>
                    <a:lnTo>
                      <a:pt x="4169" y="602"/>
                    </a:lnTo>
                    <a:lnTo>
                      <a:pt x="4169" y="602"/>
                    </a:lnTo>
                    <a:lnTo>
                      <a:pt x="4169" y="602"/>
                    </a:lnTo>
                    <a:lnTo>
                      <a:pt x="4169" y="602"/>
                    </a:lnTo>
                    <a:lnTo>
                      <a:pt x="4169" y="599"/>
                    </a:lnTo>
                    <a:lnTo>
                      <a:pt x="4166" y="599"/>
                    </a:lnTo>
                    <a:lnTo>
                      <a:pt x="4166" y="599"/>
                    </a:lnTo>
                    <a:lnTo>
                      <a:pt x="4166" y="599"/>
                    </a:lnTo>
                    <a:lnTo>
                      <a:pt x="4166" y="599"/>
                    </a:lnTo>
                    <a:lnTo>
                      <a:pt x="4166" y="597"/>
                    </a:lnTo>
                    <a:lnTo>
                      <a:pt x="4166" y="597"/>
                    </a:lnTo>
                    <a:lnTo>
                      <a:pt x="4166" y="597"/>
                    </a:lnTo>
                    <a:lnTo>
                      <a:pt x="4166" y="597"/>
                    </a:lnTo>
                    <a:lnTo>
                      <a:pt x="4166" y="597"/>
                    </a:lnTo>
                    <a:lnTo>
                      <a:pt x="4166" y="597"/>
                    </a:lnTo>
                    <a:lnTo>
                      <a:pt x="4166" y="595"/>
                    </a:lnTo>
                    <a:lnTo>
                      <a:pt x="4166" y="595"/>
                    </a:lnTo>
                    <a:lnTo>
                      <a:pt x="4166" y="595"/>
                    </a:lnTo>
                    <a:lnTo>
                      <a:pt x="4164" y="595"/>
                    </a:lnTo>
                    <a:lnTo>
                      <a:pt x="4164" y="595"/>
                    </a:lnTo>
                    <a:lnTo>
                      <a:pt x="4164" y="592"/>
                    </a:lnTo>
                    <a:lnTo>
                      <a:pt x="4164" y="592"/>
                    </a:lnTo>
                    <a:lnTo>
                      <a:pt x="4164" y="592"/>
                    </a:lnTo>
                    <a:lnTo>
                      <a:pt x="4164" y="592"/>
                    </a:lnTo>
                    <a:lnTo>
                      <a:pt x="4164" y="592"/>
                    </a:lnTo>
                    <a:lnTo>
                      <a:pt x="4164" y="590"/>
                    </a:lnTo>
                    <a:lnTo>
                      <a:pt x="4164" y="590"/>
                    </a:lnTo>
                    <a:lnTo>
                      <a:pt x="4164" y="590"/>
                    </a:lnTo>
                    <a:lnTo>
                      <a:pt x="4164" y="590"/>
                    </a:lnTo>
                    <a:lnTo>
                      <a:pt x="4164" y="590"/>
                    </a:lnTo>
                    <a:lnTo>
                      <a:pt x="4164" y="590"/>
                    </a:lnTo>
                    <a:lnTo>
                      <a:pt x="4162" y="587"/>
                    </a:lnTo>
                    <a:lnTo>
                      <a:pt x="4162" y="587"/>
                    </a:lnTo>
                    <a:lnTo>
                      <a:pt x="4162" y="587"/>
                    </a:lnTo>
                    <a:lnTo>
                      <a:pt x="4162" y="587"/>
                    </a:lnTo>
                    <a:lnTo>
                      <a:pt x="4162" y="587"/>
                    </a:lnTo>
                    <a:lnTo>
                      <a:pt x="4162" y="585"/>
                    </a:lnTo>
                    <a:lnTo>
                      <a:pt x="4162" y="585"/>
                    </a:lnTo>
                    <a:lnTo>
                      <a:pt x="4162" y="585"/>
                    </a:lnTo>
                    <a:lnTo>
                      <a:pt x="4124" y="495"/>
                    </a:lnTo>
                    <a:lnTo>
                      <a:pt x="4124" y="455"/>
                    </a:lnTo>
                    <a:lnTo>
                      <a:pt x="4119" y="455"/>
                    </a:lnTo>
                    <a:lnTo>
                      <a:pt x="4119" y="391"/>
                    </a:lnTo>
                    <a:lnTo>
                      <a:pt x="4110" y="391"/>
                    </a:lnTo>
                    <a:lnTo>
                      <a:pt x="4110" y="329"/>
                    </a:lnTo>
                    <a:lnTo>
                      <a:pt x="4098" y="329"/>
                    </a:lnTo>
                    <a:lnTo>
                      <a:pt x="4098" y="329"/>
                    </a:lnTo>
                    <a:lnTo>
                      <a:pt x="4098" y="391"/>
                    </a:lnTo>
                    <a:lnTo>
                      <a:pt x="4096" y="391"/>
                    </a:lnTo>
                    <a:lnTo>
                      <a:pt x="4093" y="391"/>
                    </a:lnTo>
                    <a:lnTo>
                      <a:pt x="4093" y="391"/>
                    </a:lnTo>
                    <a:lnTo>
                      <a:pt x="4091" y="391"/>
                    </a:lnTo>
                    <a:lnTo>
                      <a:pt x="4091" y="391"/>
                    </a:lnTo>
                    <a:lnTo>
                      <a:pt x="4091" y="393"/>
                    </a:lnTo>
                    <a:lnTo>
                      <a:pt x="4091" y="455"/>
                    </a:lnTo>
                    <a:lnTo>
                      <a:pt x="4088" y="455"/>
                    </a:lnTo>
                    <a:lnTo>
                      <a:pt x="4086" y="455"/>
                    </a:lnTo>
                    <a:lnTo>
                      <a:pt x="4084" y="455"/>
                    </a:lnTo>
                    <a:lnTo>
                      <a:pt x="4084" y="455"/>
                    </a:lnTo>
                    <a:lnTo>
                      <a:pt x="4084" y="457"/>
                    </a:lnTo>
                    <a:lnTo>
                      <a:pt x="4084" y="493"/>
                    </a:lnTo>
                    <a:lnTo>
                      <a:pt x="4003" y="644"/>
                    </a:lnTo>
                    <a:lnTo>
                      <a:pt x="4003" y="928"/>
                    </a:lnTo>
                    <a:lnTo>
                      <a:pt x="4001" y="928"/>
                    </a:lnTo>
                    <a:lnTo>
                      <a:pt x="3999" y="928"/>
                    </a:lnTo>
                    <a:lnTo>
                      <a:pt x="3996" y="928"/>
                    </a:lnTo>
                    <a:lnTo>
                      <a:pt x="3994" y="928"/>
                    </a:lnTo>
                    <a:lnTo>
                      <a:pt x="3994" y="928"/>
                    </a:lnTo>
                    <a:lnTo>
                      <a:pt x="3991" y="928"/>
                    </a:lnTo>
                    <a:lnTo>
                      <a:pt x="3989" y="928"/>
                    </a:lnTo>
                    <a:lnTo>
                      <a:pt x="3987" y="928"/>
                    </a:lnTo>
                    <a:lnTo>
                      <a:pt x="3987" y="928"/>
                    </a:lnTo>
                    <a:lnTo>
                      <a:pt x="3984" y="928"/>
                    </a:lnTo>
                    <a:lnTo>
                      <a:pt x="3982" y="928"/>
                    </a:lnTo>
                    <a:lnTo>
                      <a:pt x="3980" y="928"/>
                    </a:lnTo>
                    <a:lnTo>
                      <a:pt x="3977" y="928"/>
                    </a:lnTo>
                    <a:lnTo>
                      <a:pt x="3977" y="928"/>
                    </a:lnTo>
                    <a:lnTo>
                      <a:pt x="3975" y="928"/>
                    </a:lnTo>
                    <a:lnTo>
                      <a:pt x="3973" y="928"/>
                    </a:lnTo>
                    <a:lnTo>
                      <a:pt x="3970" y="928"/>
                    </a:lnTo>
                    <a:lnTo>
                      <a:pt x="3968" y="928"/>
                    </a:lnTo>
                    <a:lnTo>
                      <a:pt x="3968" y="928"/>
                    </a:lnTo>
                    <a:lnTo>
                      <a:pt x="3965" y="928"/>
                    </a:lnTo>
                    <a:lnTo>
                      <a:pt x="3963" y="928"/>
                    </a:lnTo>
                    <a:lnTo>
                      <a:pt x="3961" y="928"/>
                    </a:lnTo>
                    <a:lnTo>
                      <a:pt x="3961" y="928"/>
                    </a:lnTo>
                    <a:lnTo>
                      <a:pt x="3958" y="928"/>
                    </a:lnTo>
                    <a:lnTo>
                      <a:pt x="3956" y="928"/>
                    </a:lnTo>
                    <a:lnTo>
                      <a:pt x="3954" y="928"/>
                    </a:lnTo>
                    <a:lnTo>
                      <a:pt x="3951" y="928"/>
                    </a:lnTo>
                    <a:lnTo>
                      <a:pt x="3951" y="928"/>
                    </a:lnTo>
                    <a:lnTo>
                      <a:pt x="3949" y="928"/>
                    </a:lnTo>
                    <a:lnTo>
                      <a:pt x="3947" y="928"/>
                    </a:lnTo>
                    <a:lnTo>
                      <a:pt x="3944" y="928"/>
                    </a:lnTo>
                    <a:lnTo>
                      <a:pt x="3942" y="928"/>
                    </a:lnTo>
                    <a:lnTo>
                      <a:pt x="3942" y="928"/>
                    </a:lnTo>
                    <a:lnTo>
                      <a:pt x="3939" y="928"/>
                    </a:lnTo>
                    <a:lnTo>
                      <a:pt x="3937" y="928"/>
                    </a:lnTo>
                    <a:lnTo>
                      <a:pt x="3935" y="928"/>
                    </a:lnTo>
                    <a:lnTo>
                      <a:pt x="3935" y="928"/>
                    </a:lnTo>
                    <a:lnTo>
                      <a:pt x="3932" y="928"/>
                    </a:lnTo>
                    <a:lnTo>
                      <a:pt x="3930" y="928"/>
                    </a:lnTo>
                    <a:lnTo>
                      <a:pt x="3928" y="928"/>
                    </a:lnTo>
                    <a:lnTo>
                      <a:pt x="3925" y="928"/>
                    </a:lnTo>
                    <a:lnTo>
                      <a:pt x="3925" y="928"/>
                    </a:lnTo>
                    <a:lnTo>
                      <a:pt x="3923" y="928"/>
                    </a:lnTo>
                    <a:lnTo>
                      <a:pt x="3921" y="928"/>
                    </a:lnTo>
                    <a:lnTo>
                      <a:pt x="3918" y="928"/>
                    </a:lnTo>
                    <a:lnTo>
                      <a:pt x="3918" y="928"/>
                    </a:lnTo>
                    <a:lnTo>
                      <a:pt x="3916" y="928"/>
                    </a:lnTo>
                    <a:lnTo>
                      <a:pt x="3913" y="928"/>
                    </a:lnTo>
                    <a:lnTo>
                      <a:pt x="3911" y="928"/>
                    </a:lnTo>
                    <a:lnTo>
                      <a:pt x="3909" y="928"/>
                    </a:lnTo>
                    <a:lnTo>
                      <a:pt x="3909" y="928"/>
                    </a:lnTo>
                    <a:lnTo>
                      <a:pt x="3892" y="928"/>
                    </a:lnTo>
                    <a:lnTo>
                      <a:pt x="3892" y="931"/>
                    </a:lnTo>
                    <a:lnTo>
                      <a:pt x="3892" y="995"/>
                    </a:lnTo>
                    <a:lnTo>
                      <a:pt x="3892" y="995"/>
                    </a:lnTo>
                    <a:lnTo>
                      <a:pt x="3890" y="995"/>
                    </a:lnTo>
                    <a:lnTo>
                      <a:pt x="3887" y="995"/>
                    </a:lnTo>
                    <a:lnTo>
                      <a:pt x="3885" y="995"/>
                    </a:lnTo>
                    <a:lnTo>
                      <a:pt x="3883" y="995"/>
                    </a:lnTo>
                    <a:lnTo>
                      <a:pt x="3883" y="995"/>
                    </a:lnTo>
                    <a:lnTo>
                      <a:pt x="3880" y="995"/>
                    </a:lnTo>
                    <a:lnTo>
                      <a:pt x="3878" y="995"/>
                    </a:lnTo>
                    <a:lnTo>
                      <a:pt x="3876" y="995"/>
                    </a:lnTo>
                    <a:lnTo>
                      <a:pt x="3873" y="995"/>
                    </a:lnTo>
                    <a:lnTo>
                      <a:pt x="3873" y="995"/>
                    </a:lnTo>
                    <a:lnTo>
                      <a:pt x="3871" y="995"/>
                    </a:lnTo>
                    <a:lnTo>
                      <a:pt x="3869" y="995"/>
                    </a:lnTo>
                    <a:lnTo>
                      <a:pt x="3866" y="995"/>
                    </a:lnTo>
                    <a:lnTo>
                      <a:pt x="3866" y="995"/>
                    </a:lnTo>
                    <a:lnTo>
                      <a:pt x="3864" y="995"/>
                    </a:lnTo>
                    <a:lnTo>
                      <a:pt x="3861" y="995"/>
                    </a:lnTo>
                    <a:lnTo>
                      <a:pt x="3859" y="995"/>
                    </a:lnTo>
                    <a:lnTo>
                      <a:pt x="3857" y="995"/>
                    </a:lnTo>
                    <a:lnTo>
                      <a:pt x="3857" y="995"/>
                    </a:lnTo>
                    <a:lnTo>
                      <a:pt x="3854" y="995"/>
                    </a:lnTo>
                    <a:lnTo>
                      <a:pt x="3852" y="995"/>
                    </a:lnTo>
                    <a:lnTo>
                      <a:pt x="3850" y="995"/>
                    </a:lnTo>
                    <a:lnTo>
                      <a:pt x="3847" y="995"/>
                    </a:lnTo>
                    <a:lnTo>
                      <a:pt x="3847" y="995"/>
                    </a:lnTo>
                    <a:lnTo>
                      <a:pt x="3845" y="995"/>
                    </a:lnTo>
                    <a:lnTo>
                      <a:pt x="3843" y="995"/>
                    </a:lnTo>
                    <a:lnTo>
                      <a:pt x="3840" y="995"/>
                    </a:lnTo>
                    <a:lnTo>
                      <a:pt x="3840" y="995"/>
                    </a:lnTo>
                    <a:lnTo>
                      <a:pt x="3838" y="995"/>
                    </a:lnTo>
                    <a:lnTo>
                      <a:pt x="3835" y="995"/>
                    </a:lnTo>
                    <a:lnTo>
                      <a:pt x="3833" y="995"/>
                    </a:lnTo>
                    <a:lnTo>
                      <a:pt x="3831" y="995"/>
                    </a:lnTo>
                    <a:lnTo>
                      <a:pt x="3831" y="995"/>
                    </a:lnTo>
                    <a:lnTo>
                      <a:pt x="3828" y="995"/>
                    </a:lnTo>
                    <a:lnTo>
                      <a:pt x="3819" y="995"/>
                    </a:lnTo>
                    <a:lnTo>
                      <a:pt x="3819" y="997"/>
                    </a:lnTo>
                    <a:lnTo>
                      <a:pt x="3819" y="1224"/>
                    </a:lnTo>
                    <a:lnTo>
                      <a:pt x="3817" y="1224"/>
                    </a:lnTo>
                    <a:lnTo>
                      <a:pt x="3814" y="1224"/>
                    </a:lnTo>
                    <a:lnTo>
                      <a:pt x="3812" y="1224"/>
                    </a:lnTo>
                    <a:lnTo>
                      <a:pt x="3809" y="1224"/>
                    </a:lnTo>
                    <a:lnTo>
                      <a:pt x="3809" y="1224"/>
                    </a:lnTo>
                    <a:lnTo>
                      <a:pt x="3807" y="1224"/>
                    </a:lnTo>
                    <a:lnTo>
                      <a:pt x="3805" y="1224"/>
                    </a:lnTo>
                    <a:lnTo>
                      <a:pt x="3802" y="1224"/>
                    </a:lnTo>
                    <a:lnTo>
                      <a:pt x="3802" y="1224"/>
                    </a:lnTo>
                    <a:lnTo>
                      <a:pt x="3800" y="1224"/>
                    </a:lnTo>
                    <a:lnTo>
                      <a:pt x="3798" y="1224"/>
                    </a:lnTo>
                    <a:lnTo>
                      <a:pt x="3795" y="1224"/>
                    </a:lnTo>
                    <a:lnTo>
                      <a:pt x="3793" y="1224"/>
                    </a:lnTo>
                    <a:lnTo>
                      <a:pt x="3793" y="1224"/>
                    </a:lnTo>
                    <a:lnTo>
                      <a:pt x="3790" y="1224"/>
                    </a:lnTo>
                    <a:lnTo>
                      <a:pt x="3788" y="1224"/>
                    </a:lnTo>
                    <a:lnTo>
                      <a:pt x="3786" y="1224"/>
                    </a:lnTo>
                    <a:lnTo>
                      <a:pt x="3786" y="1224"/>
                    </a:lnTo>
                    <a:lnTo>
                      <a:pt x="3783" y="1224"/>
                    </a:lnTo>
                    <a:lnTo>
                      <a:pt x="3781" y="1224"/>
                    </a:lnTo>
                    <a:lnTo>
                      <a:pt x="3779" y="1224"/>
                    </a:lnTo>
                    <a:lnTo>
                      <a:pt x="3776" y="1224"/>
                    </a:lnTo>
                    <a:lnTo>
                      <a:pt x="3776" y="1224"/>
                    </a:lnTo>
                    <a:lnTo>
                      <a:pt x="3774" y="1224"/>
                    </a:lnTo>
                    <a:lnTo>
                      <a:pt x="3772" y="1224"/>
                    </a:lnTo>
                    <a:lnTo>
                      <a:pt x="3769" y="1224"/>
                    </a:lnTo>
                    <a:lnTo>
                      <a:pt x="3767" y="1224"/>
                    </a:lnTo>
                    <a:lnTo>
                      <a:pt x="3767" y="1224"/>
                    </a:lnTo>
                    <a:lnTo>
                      <a:pt x="3764" y="1224"/>
                    </a:lnTo>
                    <a:lnTo>
                      <a:pt x="3762" y="1224"/>
                    </a:lnTo>
                    <a:lnTo>
                      <a:pt x="3760" y="1224"/>
                    </a:lnTo>
                    <a:lnTo>
                      <a:pt x="3760" y="1224"/>
                    </a:lnTo>
                    <a:lnTo>
                      <a:pt x="3757" y="1224"/>
                    </a:lnTo>
                    <a:lnTo>
                      <a:pt x="3757" y="1224"/>
                    </a:lnTo>
                    <a:lnTo>
                      <a:pt x="3757" y="1392"/>
                    </a:lnTo>
                    <a:lnTo>
                      <a:pt x="3757" y="1392"/>
                    </a:lnTo>
                    <a:lnTo>
                      <a:pt x="3755" y="1392"/>
                    </a:lnTo>
                    <a:lnTo>
                      <a:pt x="3753" y="1392"/>
                    </a:lnTo>
                    <a:lnTo>
                      <a:pt x="3750" y="1392"/>
                    </a:lnTo>
                    <a:lnTo>
                      <a:pt x="3750" y="1392"/>
                    </a:lnTo>
                    <a:lnTo>
                      <a:pt x="3748" y="1392"/>
                    </a:lnTo>
                    <a:lnTo>
                      <a:pt x="3746" y="1392"/>
                    </a:lnTo>
                    <a:lnTo>
                      <a:pt x="3743" y="1392"/>
                    </a:lnTo>
                    <a:lnTo>
                      <a:pt x="3741" y="1392"/>
                    </a:lnTo>
                    <a:lnTo>
                      <a:pt x="3741" y="1392"/>
                    </a:lnTo>
                    <a:lnTo>
                      <a:pt x="3738" y="1392"/>
                    </a:lnTo>
                    <a:lnTo>
                      <a:pt x="3736" y="1392"/>
                    </a:lnTo>
                    <a:lnTo>
                      <a:pt x="3734" y="1392"/>
                    </a:lnTo>
                    <a:lnTo>
                      <a:pt x="3731" y="1392"/>
                    </a:lnTo>
                    <a:lnTo>
                      <a:pt x="3731" y="1392"/>
                    </a:lnTo>
                    <a:lnTo>
                      <a:pt x="3729" y="1392"/>
                    </a:lnTo>
                    <a:lnTo>
                      <a:pt x="3727" y="1392"/>
                    </a:lnTo>
                    <a:lnTo>
                      <a:pt x="3724" y="1392"/>
                    </a:lnTo>
                    <a:lnTo>
                      <a:pt x="3724" y="1392"/>
                    </a:lnTo>
                    <a:lnTo>
                      <a:pt x="3724" y="1317"/>
                    </a:lnTo>
                    <a:lnTo>
                      <a:pt x="3724" y="1317"/>
                    </a:lnTo>
                    <a:lnTo>
                      <a:pt x="3722" y="1317"/>
                    </a:lnTo>
                    <a:lnTo>
                      <a:pt x="3720" y="1317"/>
                    </a:lnTo>
                    <a:lnTo>
                      <a:pt x="3717" y="1317"/>
                    </a:lnTo>
                    <a:lnTo>
                      <a:pt x="3715" y="1317"/>
                    </a:lnTo>
                    <a:lnTo>
                      <a:pt x="3715" y="1317"/>
                    </a:lnTo>
                    <a:lnTo>
                      <a:pt x="3712" y="1317"/>
                    </a:lnTo>
                    <a:lnTo>
                      <a:pt x="3710" y="1317"/>
                    </a:lnTo>
                    <a:lnTo>
                      <a:pt x="3708" y="1317"/>
                    </a:lnTo>
                    <a:lnTo>
                      <a:pt x="3705" y="1317"/>
                    </a:lnTo>
                    <a:lnTo>
                      <a:pt x="3705" y="1317"/>
                    </a:lnTo>
                    <a:lnTo>
                      <a:pt x="3703" y="1317"/>
                    </a:lnTo>
                    <a:lnTo>
                      <a:pt x="3701" y="1317"/>
                    </a:lnTo>
                    <a:lnTo>
                      <a:pt x="3698" y="1317"/>
                    </a:lnTo>
                    <a:lnTo>
                      <a:pt x="3698" y="1317"/>
                    </a:lnTo>
                    <a:lnTo>
                      <a:pt x="3696" y="1317"/>
                    </a:lnTo>
                    <a:lnTo>
                      <a:pt x="3694" y="1317"/>
                    </a:lnTo>
                    <a:lnTo>
                      <a:pt x="3691" y="1317"/>
                    </a:lnTo>
                    <a:lnTo>
                      <a:pt x="3689" y="1317"/>
                    </a:lnTo>
                    <a:lnTo>
                      <a:pt x="3689" y="1317"/>
                    </a:lnTo>
                    <a:lnTo>
                      <a:pt x="3686" y="1317"/>
                    </a:lnTo>
                    <a:lnTo>
                      <a:pt x="3684" y="1317"/>
                    </a:lnTo>
                    <a:lnTo>
                      <a:pt x="3682" y="1317"/>
                    </a:lnTo>
                    <a:lnTo>
                      <a:pt x="3682" y="1317"/>
                    </a:lnTo>
                    <a:lnTo>
                      <a:pt x="3679" y="1317"/>
                    </a:lnTo>
                    <a:lnTo>
                      <a:pt x="3677" y="1317"/>
                    </a:lnTo>
                    <a:lnTo>
                      <a:pt x="3675" y="1317"/>
                    </a:lnTo>
                    <a:lnTo>
                      <a:pt x="3672" y="1317"/>
                    </a:lnTo>
                    <a:lnTo>
                      <a:pt x="3672" y="1317"/>
                    </a:lnTo>
                    <a:lnTo>
                      <a:pt x="3670" y="1317"/>
                    </a:lnTo>
                    <a:lnTo>
                      <a:pt x="3668" y="1317"/>
                    </a:lnTo>
                    <a:lnTo>
                      <a:pt x="3665"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436"/>
                    </a:lnTo>
                    <a:lnTo>
                      <a:pt x="3377" y="502"/>
                    </a:lnTo>
                    <a:lnTo>
                      <a:pt x="3374" y="502"/>
                    </a:lnTo>
                    <a:lnTo>
                      <a:pt x="3372" y="502"/>
                    </a:lnTo>
                    <a:lnTo>
                      <a:pt x="3370" y="502"/>
                    </a:lnTo>
                    <a:lnTo>
                      <a:pt x="3370" y="502"/>
                    </a:lnTo>
                    <a:lnTo>
                      <a:pt x="3367" y="502"/>
                    </a:lnTo>
                    <a:lnTo>
                      <a:pt x="3365" y="502"/>
                    </a:lnTo>
                    <a:lnTo>
                      <a:pt x="3363" y="502"/>
                    </a:lnTo>
                    <a:lnTo>
                      <a:pt x="3363" y="502"/>
                    </a:lnTo>
                    <a:lnTo>
                      <a:pt x="3360" y="502"/>
                    </a:lnTo>
                    <a:lnTo>
                      <a:pt x="3358" y="502"/>
                    </a:lnTo>
                    <a:lnTo>
                      <a:pt x="3355" y="502"/>
                    </a:lnTo>
                    <a:lnTo>
                      <a:pt x="3353" y="502"/>
                    </a:lnTo>
                    <a:lnTo>
                      <a:pt x="3353" y="502"/>
                    </a:lnTo>
                    <a:lnTo>
                      <a:pt x="3351" y="502"/>
                    </a:lnTo>
                    <a:lnTo>
                      <a:pt x="3348" y="502"/>
                    </a:lnTo>
                    <a:lnTo>
                      <a:pt x="3348" y="502"/>
                    </a:lnTo>
                    <a:lnTo>
                      <a:pt x="3348" y="505"/>
                    </a:lnTo>
                    <a:lnTo>
                      <a:pt x="3348" y="583"/>
                    </a:lnTo>
                    <a:lnTo>
                      <a:pt x="3346" y="583"/>
                    </a:lnTo>
                    <a:lnTo>
                      <a:pt x="3344" y="583"/>
                    </a:lnTo>
                    <a:lnTo>
                      <a:pt x="3341" y="583"/>
                    </a:lnTo>
                    <a:lnTo>
                      <a:pt x="3341" y="583"/>
                    </a:lnTo>
                    <a:lnTo>
                      <a:pt x="3339" y="583"/>
                    </a:lnTo>
                    <a:lnTo>
                      <a:pt x="3337" y="583"/>
                    </a:lnTo>
                    <a:lnTo>
                      <a:pt x="3334" y="583"/>
                    </a:lnTo>
                    <a:lnTo>
                      <a:pt x="3332" y="583"/>
                    </a:lnTo>
                    <a:lnTo>
                      <a:pt x="3332" y="583"/>
                    </a:lnTo>
                    <a:lnTo>
                      <a:pt x="3329" y="583"/>
                    </a:lnTo>
                    <a:lnTo>
                      <a:pt x="3329" y="585"/>
                    </a:lnTo>
                    <a:lnTo>
                      <a:pt x="3329" y="658"/>
                    </a:lnTo>
                    <a:lnTo>
                      <a:pt x="3329" y="658"/>
                    </a:lnTo>
                    <a:lnTo>
                      <a:pt x="3327" y="658"/>
                    </a:lnTo>
                    <a:lnTo>
                      <a:pt x="3325" y="658"/>
                    </a:lnTo>
                    <a:lnTo>
                      <a:pt x="3322" y="658"/>
                    </a:lnTo>
                    <a:lnTo>
                      <a:pt x="3320" y="658"/>
                    </a:lnTo>
                    <a:lnTo>
                      <a:pt x="3320" y="658"/>
                    </a:lnTo>
                    <a:lnTo>
                      <a:pt x="3318" y="658"/>
                    </a:lnTo>
                    <a:lnTo>
                      <a:pt x="3315" y="658"/>
                    </a:lnTo>
                    <a:lnTo>
                      <a:pt x="3313" y="658"/>
                    </a:lnTo>
                    <a:lnTo>
                      <a:pt x="3310" y="658"/>
                    </a:lnTo>
                    <a:lnTo>
                      <a:pt x="3310" y="658"/>
                    </a:lnTo>
                    <a:lnTo>
                      <a:pt x="3308" y="658"/>
                    </a:lnTo>
                    <a:lnTo>
                      <a:pt x="3306" y="658"/>
                    </a:lnTo>
                    <a:lnTo>
                      <a:pt x="3303" y="658"/>
                    </a:lnTo>
                    <a:lnTo>
                      <a:pt x="3303" y="658"/>
                    </a:lnTo>
                    <a:lnTo>
                      <a:pt x="3301" y="658"/>
                    </a:lnTo>
                    <a:lnTo>
                      <a:pt x="3299" y="658"/>
                    </a:lnTo>
                    <a:lnTo>
                      <a:pt x="3296" y="658"/>
                    </a:lnTo>
                    <a:lnTo>
                      <a:pt x="3294" y="658"/>
                    </a:lnTo>
                    <a:lnTo>
                      <a:pt x="3294" y="658"/>
                    </a:lnTo>
                    <a:lnTo>
                      <a:pt x="3292" y="658"/>
                    </a:lnTo>
                    <a:lnTo>
                      <a:pt x="3289" y="658"/>
                    </a:lnTo>
                    <a:lnTo>
                      <a:pt x="3287" y="658"/>
                    </a:lnTo>
                    <a:lnTo>
                      <a:pt x="3287" y="658"/>
                    </a:lnTo>
                    <a:lnTo>
                      <a:pt x="3284" y="658"/>
                    </a:lnTo>
                    <a:lnTo>
                      <a:pt x="3282" y="658"/>
                    </a:lnTo>
                    <a:lnTo>
                      <a:pt x="3280" y="658"/>
                    </a:lnTo>
                    <a:lnTo>
                      <a:pt x="3277" y="658"/>
                    </a:lnTo>
                    <a:lnTo>
                      <a:pt x="3277" y="658"/>
                    </a:lnTo>
                    <a:lnTo>
                      <a:pt x="3275" y="658"/>
                    </a:lnTo>
                    <a:lnTo>
                      <a:pt x="3273" y="658"/>
                    </a:lnTo>
                    <a:lnTo>
                      <a:pt x="3270" y="658"/>
                    </a:lnTo>
                    <a:lnTo>
                      <a:pt x="3268" y="658"/>
                    </a:lnTo>
                    <a:lnTo>
                      <a:pt x="3268" y="658"/>
                    </a:lnTo>
                    <a:lnTo>
                      <a:pt x="3266" y="658"/>
                    </a:lnTo>
                    <a:lnTo>
                      <a:pt x="3263" y="658"/>
                    </a:lnTo>
                    <a:lnTo>
                      <a:pt x="3261" y="658"/>
                    </a:lnTo>
                    <a:lnTo>
                      <a:pt x="3261" y="658"/>
                    </a:lnTo>
                    <a:lnTo>
                      <a:pt x="3258" y="658"/>
                    </a:lnTo>
                    <a:lnTo>
                      <a:pt x="3256" y="658"/>
                    </a:lnTo>
                    <a:lnTo>
                      <a:pt x="3254" y="658"/>
                    </a:lnTo>
                    <a:lnTo>
                      <a:pt x="3254" y="658"/>
                    </a:lnTo>
                    <a:lnTo>
                      <a:pt x="3185" y="658"/>
                    </a:lnTo>
                    <a:lnTo>
                      <a:pt x="3185" y="661"/>
                    </a:lnTo>
                    <a:lnTo>
                      <a:pt x="3185" y="763"/>
                    </a:lnTo>
                    <a:lnTo>
                      <a:pt x="3185" y="763"/>
                    </a:lnTo>
                    <a:lnTo>
                      <a:pt x="3183" y="763"/>
                    </a:lnTo>
                    <a:lnTo>
                      <a:pt x="3180" y="763"/>
                    </a:lnTo>
                    <a:lnTo>
                      <a:pt x="3178" y="763"/>
                    </a:lnTo>
                    <a:lnTo>
                      <a:pt x="3176" y="763"/>
                    </a:lnTo>
                    <a:lnTo>
                      <a:pt x="3176" y="763"/>
                    </a:lnTo>
                    <a:lnTo>
                      <a:pt x="3173" y="763"/>
                    </a:lnTo>
                    <a:lnTo>
                      <a:pt x="3171" y="763"/>
                    </a:lnTo>
                    <a:lnTo>
                      <a:pt x="3169" y="763"/>
                    </a:lnTo>
                    <a:lnTo>
                      <a:pt x="3169" y="763"/>
                    </a:lnTo>
                    <a:lnTo>
                      <a:pt x="3166" y="763"/>
                    </a:lnTo>
                    <a:lnTo>
                      <a:pt x="3164" y="763"/>
                    </a:lnTo>
                    <a:lnTo>
                      <a:pt x="3162" y="763"/>
                    </a:lnTo>
                    <a:lnTo>
                      <a:pt x="3159" y="763"/>
                    </a:lnTo>
                    <a:lnTo>
                      <a:pt x="3159" y="763"/>
                    </a:lnTo>
                    <a:lnTo>
                      <a:pt x="3157" y="763"/>
                    </a:lnTo>
                    <a:lnTo>
                      <a:pt x="3154" y="763"/>
                    </a:lnTo>
                    <a:lnTo>
                      <a:pt x="3152" y="763"/>
                    </a:lnTo>
                    <a:lnTo>
                      <a:pt x="3152" y="763"/>
                    </a:lnTo>
                    <a:lnTo>
                      <a:pt x="3150" y="763"/>
                    </a:lnTo>
                    <a:lnTo>
                      <a:pt x="3147" y="763"/>
                    </a:lnTo>
                    <a:lnTo>
                      <a:pt x="3147" y="765"/>
                    </a:lnTo>
                    <a:lnTo>
                      <a:pt x="3147" y="980"/>
                    </a:lnTo>
                    <a:lnTo>
                      <a:pt x="3145" y="980"/>
                    </a:lnTo>
                    <a:lnTo>
                      <a:pt x="3145" y="980"/>
                    </a:lnTo>
                    <a:lnTo>
                      <a:pt x="3143" y="980"/>
                    </a:lnTo>
                    <a:lnTo>
                      <a:pt x="3140" y="980"/>
                    </a:lnTo>
                    <a:lnTo>
                      <a:pt x="3138" y="980"/>
                    </a:lnTo>
                    <a:lnTo>
                      <a:pt x="3136" y="980"/>
                    </a:lnTo>
                    <a:lnTo>
                      <a:pt x="3136" y="980"/>
                    </a:lnTo>
                    <a:lnTo>
                      <a:pt x="3133" y="980"/>
                    </a:lnTo>
                    <a:lnTo>
                      <a:pt x="3131" y="980"/>
                    </a:lnTo>
                    <a:lnTo>
                      <a:pt x="3128" y="980"/>
                    </a:lnTo>
                    <a:lnTo>
                      <a:pt x="3128" y="980"/>
                    </a:lnTo>
                    <a:lnTo>
                      <a:pt x="3126" y="980"/>
                    </a:lnTo>
                    <a:lnTo>
                      <a:pt x="3124" y="980"/>
                    </a:lnTo>
                    <a:lnTo>
                      <a:pt x="3121" y="980"/>
                    </a:lnTo>
                    <a:lnTo>
                      <a:pt x="3119" y="980"/>
                    </a:lnTo>
                    <a:lnTo>
                      <a:pt x="3119" y="980"/>
                    </a:lnTo>
                    <a:lnTo>
                      <a:pt x="3117" y="980"/>
                    </a:lnTo>
                    <a:lnTo>
                      <a:pt x="3114" y="980"/>
                    </a:lnTo>
                    <a:lnTo>
                      <a:pt x="3112" y="980"/>
                    </a:lnTo>
                    <a:lnTo>
                      <a:pt x="3110" y="980"/>
                    </a:lnTo>
                    <a:lnTo>
                      <a:pt x="3110" y="980"/>
                    </a:lnTo>
                    <a:lnTo>
                      <a:pt x="3107" y="980"/>
                    </a:lnTo>
                    <a:lnTo>
                      <a:pt x="3105" y="980"/>
                    </a:lnTo>
                    <a:lnTo>
                      <a:pt x="3102" y="980"/>
                    </a:lnTo>
                    <a:lnTo>
                      <a:pt x="3102" y="980"/>
                    </a:lnTo>
                    <a:lnTo>
                      <a:pt x="3100" y="980"/>
                    </a:lnTo>
                    <a:lnTo>
                      <a:pt x="3098" y="980"/>
                    </a:lnTo>
                    <a:lnTo>
                      <a:pt x="3095" y="980"/>
                    </a:lnTo>
                    <a:lnTo>
                      <a:pt x="3093" y="980"/>
                    </a:lnTo>
                    <a:lnTo>
                      <a:pt x="3093" y="980"/>
                    </a:lnTo>
                    <a:lnTo>
                      <a:pt x="3091" y="980"/>
                    </a:lnTo>
                    <a:lnTo>
                      <a:pt x="3088" y="980"/>
                    </a:lnTo>
                    <a:lnTo>
                      <a:pt x="3086" y="980"/>
                    </a:lnTo>
                    <a:lnTo>
                      <a:pt x="3086" y="980"/>
                    </a:lnTo>
                    <a:lnTo>
                      <a:pt x="3084" y="980"/>
                    </a:lnTo>
                    <a:lnTo>
                      <a:pt x="3081" y="980"/>
                    </a:lnTo>
                    <a:lnTo>
                      <a:pt x="3079" y="980"/>
                    </a:lnTo>
                    <a:lnTo>
                      <a:pt x="3076" y="980"/>
                    </a:lnTo>
                    <a:lnTo>
                      <a:pt x="3076" y="980"/>
                    </a:lnTo>
                    <a:lnTo>
                      <a:pt x="3074" y="980"/>
                    </a:lnTo>
                    <a:lnTo>
                      <a:pt x="3072" y="980"/>
                    </a:lnTo>
                    <a:lnTo>
                      <a:pt x="3069" y="980"/>
                    </a:lnTo>
                    <a:lnTo>
                      <a:pt x="3067" y="980"/>
                    </a:lnTo>
                    <a:lnTo>
                      <a:pt x="3067" y="980"/>
                    </a:lnTo>
                    <a:lnTo>
                      <a:pt x="3065" y="980"/>
                    </a:lnTo>
                    <a:lnTo>
                      <a:pt x="3062" y="980"/>
                    </a:lnTo>
                    <a:lnTo>
                      <a:pt x="3060" y="980"/>
                    </a:lnTo>
                    <a:lnTo>
                      <a:pt x="3060" y="980"/>
                    </a:lnTo>
                    <a:lnTo>
                      <a:pt x="3057" y="980"/>
                    </a:lnTo>
                    <a:lnTo>
                      <a:pt x="3055" y="980"/>
                    </a:lnTo>
                    <a:lnTo>
                      <a:pt x="3053" y="980"/>
                    </a:lnTo>
                    <a:lnTo>
                      <a:pt x="3001" y="980"/>
                    </a:lnTo>
                    <a:lnTo>
                      <a:pt x="2925" y="1014"/>
                    </a:lnTo>
                    <a:lnTo>
                      <a:pt x="2925" y="1014"/>
                    </a:lnTo>
                    <a:lnTo>
                      <a:pt x="2925" y="1063"/>
                    </a:lnTo>
                    <a:lnTo>
                      <a:pt x="2923" y="1063"/>
                    </a:lnTo>
                    <a:lnTo>
                      <a:pt x="2920" y="1063"/>
                    </a:lnTo>
                    <a:lnTo>
                      <a:pt x="2920" y="1063"/>
                    </a:lnTo>
                    <a:lnTo>
                      <a:pt x="2918" y="1063"/>
                    </a:lnTo>
                    <a:lnTo>
                      <a:pt x="2916" y="1063"/>
                    </a:lnTo>
                    <a:lnTo>
                      <a:pt x="2913" y="1063"/>
                    </a:lnTo>
                    <a:lnTo>
                      <a:pt x="2911" y="1063"/>
                    </a:lnTo>
                    <a:lnTo>
                      <a:pt x="2911" y="1063"/>
                    </a:lnTo>
                    <a:lnTo>
                      <a:pt x="2909" y="1063"/>
                    </a:lnTo>
                    <a:lnTo>
                      <a:pt x="2909" y="1063"/>
                    </a:lnTo>
                    <a:lnTo>
                      <a:pt x="2909" y="1066"/>
                    </a:lnTo>
                    <a:lnTo>
                      <a:pt x="2909" y="1241"/>
                    </a:lnTo>
                    <a:lnTo>
                      <a:pt x="2906" y="1241"/>
                    </a:lnTo>
                    <a:lnTo>
                      <a:pt x="2904" y="1241"/>
                    </a:lnTo>
                    <a:lnTo>
                      <a:pt x="2901" y="1241"/>
                    </a:lnTo>
                    <a:lnTo>
                      <a:pt x="2901" y="1241"/>
                    </a:lnTo>
                    <a:lnTo>
                      <a:pt x="2899" y="1241"/>
                    </a:lnTo>
                    <a:lnTo>
                      <a:pt x="2897" y="1241"/>
                    </a:lnTo>
                    <a:lnTo>
                      <a:pt x="2894" y="1241"/>
                    </a:lnTo>
                    <a:lnTo>
                      <a:pt x="2892" y="1241"/>
                    </a:lnTo>
                    <a:lnTo>
                      <a:pt x="2892" y="1241"/>
                    </a:lnTo>
                    <a:lnTo>
                      <a:pt x="2890" y="1241"/>
                    </a:lnTo>
                    <a:lnTo>
                      <a:pt x="2887" y="1241"/>
                    </a:lnTo>
                    <a:lnTo>
                      <a:pt x="2885" y="1241"/>
                    </a:lnTo>
                    <a:lnTo>
                      <a:pt x="2883" y="1241"/>
                    </a:lnTo>
                    <a:lnTo>
                      <a:pt x="2883" y="1241"/>
                    </a:lnTo>
                    <a:lnTo>
                      <a:pt x="2880" y="1241"/>
                    </a:lnTo>
                    <a:lnTo>
                      <a:pt x="2878" y="1241"/>
                    </a:lnTo>
                    <a:lnTo>
                      <a:pt x="2875" y="1241"/>
                    </a:lnTo>
                    <a:lnTo>
                      <a:pt x="2875" y="1241"/>
                    </a:lnTo>
                    <a:lnTo>
                      <a:pt x="2873" y="1241"/>
                    </a:lnTo>
                    <a:lnTo>
                      <a:pt x="2871" y="1241"/>
                    </a:lnTo>
                    <a:lnTo>
                      <a:pt x="2868" y="1241"/>
                    </a:lnTo>
                    <a:lnTo>
                      <a:pt x="2866" y="1241"/>
                    </a:lnTo>
                    <a:lnTo>
                      <a:pt x="2866" y="1241"/>
                    </a:lnTo>
                    <a:lnTo>
                      <a:pt x="2864" y="1241"/>
                    </a:lnTo>
                    <a:lnTo>
                      <a:pt x="2861" y="1241"/>
                    </a:lnTo>
                    <a:lnTo>
                      <a:pt x="2859" y="1241"/>
                    </a:lnTo>
                    <a:lnTo>
                      <a:pt x="2857" y="1241"/>
                    </a:lnTo>
                    <a:lnTo>
                      <a:pt x="2857" y="1241"/>
                    </a:lnTo>
                    <a:lnTo>
                      <a:pt x="2854" y="1241"/>
                    </a:lnTo>
                    <a:lnTo>
                      <a:pt x="2852" y="1241"/>
                    </a:lnTo>
                    <a:lnTo>
                      <a:pt x="2849" y="1241"/>
                    </a:lnTo>
                    <a:lnTo>
                      <a:pt x="2849" y="1241"/>
                    </a:lnTo>
                    <a:lnTo>
                      <a:pt x="2847" y="1241"/>
                    </a:lnTo>
                    <a:lnTo>
                      <a:pt x="2845" y="1241"/>
                    </a:lnTo>
                    <a:lnTo>
                      <a:pt x="2842" y="1241"/>
                    </a:lnTo>
                    <a:lnTo>
                      <a:pt x="2840" y="1241"/>
                    </a:lnTo>
                    <a:lnTo>
                      <a:pt x="2840" y="1241"/>
                    </a:lnTo>
                    <a:lnTo>
                      <a:pt x="2838" y="1241"/>
                    </a:lnTo>
                    <a:lnTo>
                      <a:pt x="2835" y="1241"/>
                    </a:lnTo>
                    <a:lnTo>
                      <a:pt x="2833" y="1241"/>
                    </a:lnTo>
                    <a:lnTo>
                      <a:pt x="2831" y="1241"/>
                    </a:lnTo>
                    <a:lnTo>
                      <a:pt x="2831" y="1241"/>
                    </a:lnTo>
                    <a:lnTo>
                      <a:pt x="2828" y="1241"/>
                    </a:lnTo>
                    <a:lnTo>
                      <a:pt x="2826" y="1241"/>
                    </a:lnTo>
                    <a:lnTo>
                      <a:pt x="2823" y="1241"/>
                    </a:lnTo>
                    <a:lnTo>
                      <a:pt x="2823" y="1241"/>
                    </a:lnTo>
                    <a:lnTo>
                      <a:pt x="2821" y="1241"/>
                    </a:lnTo>
                    <a:lnTo>
                      <a:pt x="2819" y="1241"/>
                    </a:lnTo>
                    <a:lnTo>
                      <a:pt x="2816" y="1241"/>
                    </a:lnTo>
                    <a:lnTo>
                      <a:pt x="2814" y="1241"/>
                    </a:lnTo>
                    <a:lnTo>
                      <a:pt x="2814"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296"/>
                    </a:lnTo>
                    <a:lnTo>
                      <a:pt x="2076" y="334"/>
                    </a:lnTo>
                    <a:lnTo>
                      <a:pt x="2074" y="334"/>
                    </a:lnTo>
                    <a:lnTo>
                      <a:pt x="2071" y="334"/>
                    </a:lnTo>
                    <a:lnTo>
                      <a:pt x="2071" y="334"/>
                    </a:lnTo>
                    <a:lnTo>
                      <a:pt x="2069" y="334"/>
                    </a:lnTo>
                    <a:lnTo>
                      <a:pt x="2067" y="334"/>
                    </a:lnTo>
                    <a:lnTo>
                      <a:pt x="2064" y="334"/>
                    </a:lnTo>
                    <a:lnTo>
                      <a:pt x="2062" y="334"/>
                    </a:lnTo>
                    <a:lnTo>
                      <a:pt x="2062" y="334"/>
                    </a:lnTo>
                    <a:lnTo>
                      <a:pt x="2060" y="334"/>
                    </a:lnTo>
                    <a:lnTo>
                      <a:pt x="2057" y="334"/>
                    </a:lnTo>
                    <a:lnTo>
                      <a:pt x="2055" y="334"/>
                    </a:lnTo>
                    <a:lnTo>
                      <a:pt x="2055" y="334"/>
                    </a:lnTo>
                    <a:lnTo>
                      <a:pt x="2053" y="334"/>
                    </a:lnTo>
                    <a:lnTo>
                      <a:pt x="2050" y="334"/>
                    </a:lnTo>
                    <a:lnTo>
                      <a:pt x="2048" y="334"/>
                    </a:lnTo>
                    <a:lnTo>
                      <a:pt x="2045" y="334"/>
                    </a:lnTo>
                    <a:lnTo>
                      <a:pt x="2045" y="334"/>
                    </a:lnTo>
                    <a:lnTo>
                      <a:pt x="2043" y="334"/>
                    </a:lnTo>
                    <a:lnTo>
                      <a:pt x="2041" y="334"/>
                    </a:lnTo>
                    <a:lnTo>
                      <a:pt x="2038" y="334"/>
                    </a:lnTo>
                    <a:lnTo>
                      <a:pt x="2038" y="334"/>
                    </a:lnTo>
                    <a:lnTo>
                      <a:pt x="1986" y="334"/>
                    </a:lnTo>
                    <a:lnTo>
                      <a:pt x="1986" y="336"/>
                    </a:lnTo>
                    <a:lnTo>
                      <a:pt x="1986" y="370"/>
                    </a:lnTo>
                    <a:lnTo>
                      <a:pt x="1984" y="370"/>
                    </a:lnTo>
                    <a:lnTo>
                      <a:pt x="1982" y="370"/>
                    </a:lnTo>
                    <a:lnTo>
                      <a:pt x="1979" y="370"/>
                    </a:lnTo>
                    <a:lnTo>
                      <a:pt x="1979" y="370"/>
                    </a:lnTo>
                    <a:lnTo>
                      <a:pt x="1977" y="370"/>
                    </a:lnTo>
                    <a:lnTo>
                      <a:pt x="1975" y="370"/>
                    </a:lnTo>
                    <a:lnTo>
                      <a:pt x="1972" y="370"/>
                    </a:lnTo>
                    <a:lnTo>
                      <a:pt x="1972" y="370"/>
                    </a:lnTo>
                    <a:lnTo>
                      <a:pt x="1970" y="370"/>
                    </a:lnTo>
                    <a:lnTo>
                      <a:pt x="1967" y="370"/>
                    </a:lnTo>
                    <a:lnTo>
                      <a:pt x="1965" y="370"/>
                    </a:lnTo>
                    <a:lnTo>
                      <a:pt x="1963" y="370"/>
                    </a:lnTo>
                    <a:lnTo>
                      <a:pt x="1963" y="370"/>
                    </a:lnTo>
                    <a:lnTo>
                      <a:pt x="1960" y="370"/>
                    </a:lnTo>
                    <a:lnTo>
                      <a:pt x="1958" y="370"/>
                    </a:lnTo>
                    <a:lnTo>
                      <a:pt x="1956" y="370"/>
                    </a:lnTo>
                    <a:lnTo>
                      <a:pt x="1953" y="370"/>
                    </a:lnTo>
                    <a:lnTo>
                      <a:pt x="1953" y="370"/>
                    </a:lnTo>
                    <a:lnTo>
                      <a:pt x="1856" y="370"/>
                    </a:lnTo>
                    <a:lnTo>
                      <a:pt x="1856" y="372"/>
                    </a:lnTo>
                    <a:lnTo>
                      <a:pt x="1856" y="1132"/>
                    </a:lnTo>
                    <a:lnTo>
                      <a:pt x="1856" y="1132"/>
                    </a:lnTo>
                    <a:lnTo>
                      <a:pt x="1854" y="1132"/>
                    </a:lnTo>
                    <a:lnTo>
                      <a:pt x="1852" y="1132"/>
                    </a:lnTo>
                    <a:lnTo>
                      <a:pt x="1849" y="1132"/>
                    </a:lnTo>
                    <a:lnTo>
                      <a:pt x="1847" y="1132"/>
                    </a:lnTo>
                    <a:lnTo>
                      <a:pt x="1847" y="1132"/>
                    </a:lnTo>
                    <a:lnTo>
                      <a:pt x="1845" y="1132"/>
                    </a:lnTo>
                    <a:lnTo>
                      <a:pt x="1842" y="1132"/>
                    </a:lnTo>
                    <a:lnTo>
                      <a:pt x="1840" y="1132"/>
                    </a:lnTo>
                    <a:lnTo>
                      <a:pt x="1840" y="1132"/>
                    </a:lnTo>
                    <a:lnTo>
                      <a:pt x="1837" y="1132"/>
                    </a:lnTo>
                    <a:lnTo>
                      <a:pt x="1835" y="1132"/>
                    </a:lnTo>
                    <a:lnTo>
                      <a:pt x="1833" y="1132"/>
                    </a:lnTo>
                    <a:lnTo>
                      <a:pt x="1830" y="1132"/>
                    </a:lnTo>
                    <a:lnTo>
                      <a:pt x="1830" y="1132"/>
                    </a:lnTo>
                    <a:lnTo>
                      <a:pt x="1828" y="1132"/>
                    </a:lnTo>
                    <a:lnTo>
                      <a:pt x="1826" y="1132"/>
                    </a:lnTo>
                    <a:lnTo>
                      <a:pt x="1823" y="1132"/>
                    </a:lnTo>
                    <a:lnTo>
                      <a:pt x="1821" y="1132"/>
                    </a:lnTo>
                    <a:lnTo>
                      <a:pt x="1821" y="1132"/>
                    </a:lnTo>
                    <a:lnTo>
                      <a:pt x="1818" y="1132"/>
                    </a:lnTo>
                    <a:lnTo>
                      <a:pt x="1816" y="1132"/>
                    </a:lnTo>
                    <a:lnTo>
                      <a:pt x="1814" y="1132"/>
                    </a:lnTo>
                    <a:lnTo>
                      <a:pt x="1814" y="1132"/>
                    </a:lnTo>
                    <a:lnTo>
                      <a:pt x="1811" y="1132"/>
                    </a:lnTo>
                    <a:lnTo>
                      <a:pt x="1809" y="1132"/>
                    </a:lnTo>
                    <a:lnTo>
                      <a:pt x="1807" y="1132"/>
                    </a:lnTo>
                    <a:lnTo>
                      <a:pt x="1804" y="1132"/>
                    </a:lnTo>
                    <a:lnTo>
                      <a:pt x="1804" y="1132"/>
                    </a:lnTo>
                    <a:lnTo>
                      <a:pt x="1802" y="1132"/>
                    </a:lnTo>
                    <a:lnTo>
                      <a:pt x="1800" y="1132"/>
                    </a:lnTo>
                    <a:lnTo>
                      <a:pt x="1797" y="1132"/>
                    </a:lnTo>
                    <a:lnTo>
                      <a:pt x="1797" y="1132"/>
                    </a:lnTo>
                    <a:lnTo>
                      <a:pt x="1795" y="1132"/>
                    </a:lnTo>
                    <a:lnTo>
                      <a:pt x="1792" y="1132"/>
                    </a:lnTo>
                    <a:lnTo>
                      <a:pt x="1790" y="1132"/>
                    </a:lnTo>
                    <a:lnTo>
                      <a:pt x="1788" y="1132"/>
                    </a:lnTo>
                    <a:lnTo>
                      <a:pt x="1788" y="1132"/>
                    </a:lnTo>
                    <a:lnTo>
                      <a:pt x="1785" y="1132"/>
                    </a:lnTo>
                    <a:lnTo>
                      <a:pt x="1783" y="1132"/>
                    </a:lnTo>
                    <a:lnTo>
                      <a:pt x="1781" y="1132"/>
                    </a:lnTo>
                    <a:lnTo>
                      <a:pt x="1778" y="1132"/>
                    </a:lnTo>
                    <a:lnTo>
                      <a:pt x="1778" y="1132"/>
                    </a:lnTo>
                    <a:lnTo>
                      <a:pt x="1776" y="1132"/>
                    </a:lnTo>
                    <a:lnTo>
                      <a:pt x="1774" y="1132"/>
                    </a:lnTo>
                    <a:lnTo>
                      <a:pt x="1771" y="1132"/>
                    </a:lnTo>
                    <a:lnTo>
                      <a:pt x="1771" y="1132"/>
                    </a:lnTo>
                    <a:lnTo>
                      <a:pt x="1769" y="1132"/>
                    </a:lnTo>
                    <a:lnTo>
                      <a:pt x="1766" y="1132"/>
                    </a:lnTo>
                    <a:lnTo>
                      <a:pt x="1764" y="1132"/>
                    </a:lnTo>
                    <a:lnTo>
                      <a:pt x="1762" y="1132"/>
                    </a:lnTo>
                    <a:lnTo>
                      <a:pt x="1736" y="1132"/>
                    </a:lnTo>
                    <a:lnTo>
                      <a:pt x="1736" y="1134"/>
                    </a:lnTo>
                    <a:lnTo>
                      <a:pt x="1736" y="1158"/>
                    </a:lnTo>
                    <a:lnTo>
                      <a:pt x="1733" y="1158"/>
                    </a:lnTo>
                    <a:lnTo>
                      <a:pt x="1733" y="1158"/>
                    </a:lnTo>
                    <a:lnTo>
                      <a:pt x="1731" y="1158"/>
                    </a:lnTo>
                    <a:lnTo>
                      <a:pt x="1729" y="1158"/>
                    </a:lnTo>
                    <a:lnTo>
                      <a:pt x="1726" y="1158"/>
                    </a:lnTo>
                    <a:lnTo>
                      <a:pt x="1726" y="1158"/>
                    </a:lnTo>
                    <a:lnTo>
                      <a:pt x="1724" y="1158"/>
                    </a:lnTo>
                    <a:lnTo>
                      <a:pt x="1722" y="1158"/>
                    </a:lnTo>
                    <a:lnTo>
                      <a:pt x="1719" y="1158"/>
                    </a:lnTo>
                    <a:lnTo>
                      <a:pt x="1717" y="1158"/>
                    </a:lnTo>
                    <a:lnTo>
                      <a:pt x="1717" y="1158"/>
                    </a:lnTo>
                    <a:lnTo>
                      <a:pt x="1714" y="1158"/>
                    </a:lnTo>
                    <a:lnTo>
                      <a:pt x="1712" y="1158"/>
                    </a:lnTo>
                    <a:lnTo>
                      <a:pt x="1712" y="1160"/>
                    </a:lnTo>
                    <a:lnTo>
                      <a:pt x="1712" y="1201"/>
                    </a:lnTo>
                    <a:lnTo>
                      <a:pt x="1712" y="1201"/>
                    </a:lnTo>
                    <a:lnTo>
                      <a:pt x="1710" y="1201"/>
                    </a:lnTo>
                    <a:lnTo>
                      <a:pt x="1707" y="1201"/>
                    </a:lnTo>
                    <a:lnTo>
                      <a:pt x="1705" y="1201"/>
                    </a:lnTo>
                    <a:lnTo>
                      <a:pt x="1705" y="1201"/>
                    </a:lnTo>
                    <a:lnTo>
                      <a:pt x="1703" y="1201"/>
                    </a:lnTo>
                    <a:lnTo>
                      <a:pt x="1700" y="1201"/>
                    </a:lnTo>
                    <a:lnTo>
                      <a:pt x="1698" y="1201"/>
                    </a:lnTo>
                    <a:lnTo>
                      <a:pt x="1696" y="1201"/>
                    </a:lnTo>
                    <a:lnTo>
                      <a:pt x="1696" y="1201"/>
                    </a:lnTo>
                    <a:lnTo>
                      <a:pt x="1693" y="1201"/>
                    </a:lnTo>
                    <a:lnTo>
                      <a:pt x="1691" y="1201"/>
                    </a:lnTo>
                    <a:lnTo>
                      <a:pt x="1688" y="1201"/>
                    </a:lnTo>
                    <a:lnTo>
                      <a:pt x="1686" y="1201"/>
                    </a:lnTo>
                    <a:lnTo>
                      <a:pt x="1686" y="1201"/>
                    </a:lnTo>
                    <a:lnTo>
                      <a:pt x="1684" y="1201"/>
                    </a:lnTo>
                    <a:lnTo>
                      <a:pt x="1681" y="1201"/>
                    </a:lnTo>
                    <a:lnTo>
                      <a:pt x="1679" y="1201"/>
                    </a:lnTo>
                    <a:lnTo>
                      <a:pt x="1679" y="1201"/>
                    </a:lnTo>
                    <a:lnTo>
                      <a:pt x="1677" y="1201"/>
                    </a:lnTo>
                    <a:lnTo>
                      <a:pt x="1674" y="1201"/>
                    </a:lnTo>
                    <a:lnTo>
                      <a:pt x="1672" y="1201"/>
                    </a:lnTo>
                    <a:lnTo>
                      <a:pt x="1672" y="1201"/>
                    </a:lnTo>
                    <a:lnTo>
                      <a:pt x="1670" y="1201"/>
                    </a:lnTo>
                    <a:lnTo>
                      <a:pt x="1570" y="1201"/>
                    </a:lnTo>
                    <a:lnTo>
                      <a:pt x="1570" y="1127"/>
                    </a:lnTo>
                    <a:lnTo>
                      <a:pt x="1551" y="1127"/>
                    </a:lnTo>
                    <a:lnTo>
                      <a:pt x="1551" y="1085"/>
                    </a:lnTo>
                    <a:lnTo>
                      <a:pt x="1511" y="1085"/>
                    </a:lnTo>
                    <a:lnTo>
                      <a:pt x="1511" y="1087"/>
                    </a:lnTo>
                    <a:lnTo>
                      <a:pt x="1511" y="1127"/>
                    </a:lnTo>
                    <a:lnTo>
                      <a:pt x="1509" y="1127"/>
                    </a:lnTo>
                    <a:lnTo>
                      <a:pt x="1506" y="1127"/>
                    </a:lnTo>
                    <a:lnTo>
                      <a:pt x="1506" y="1127"/>
                    </a:lnTo>
                    <a:lnTo>
                      <a:pt x="1504" y="1127"/>
                    </a:lnTo>
                    <a:lnTo>
                      <a:pt x="1502" y="1127"/>
                    </a:lnTo>
                    <a:lnTo>
                      <a:pt x="1499" y="1127"/>
                    </a:lnTo>
                    <a:lnTo>
                      <a:pt x="1499" y="1127"/>
                    </a:lnTo>
                    <a:lnTo>
                      <a:pt x="1497" y="1127"/>
                    </a:lnTo>
                    <a:lnTo>
                      <a:pt x="1495" y="1127"/>
                    </a:lnTo>
                    <a:lnTo>
                      <a:pt x="1495" y="1127"/>
                    </a:lnTo>
                    <a:lnTo>
                      <a:pt x="1495" y="1127"/>
                    </a:lnTo>
                    <a:lnTo>
                      <a:pt x="1495" y="1201"/>
                    </a:lnTo>
                    <a:lnTo>
                      <a:pt x="1492" y="1201"/>
                    </a:lnTo>
                    <a:lnTo>
                      <a:pt x="1490" y="1201"/>
                    </a:lnTo>
                    <a:lnTo>
                      <a:pt x="1490" y="1201"/>
                    </a:lnTo>
                    <a:lnTo>
                      <a:pt x="1487" y="1201"/>
                    </a:lnTo>
                    <a:lnTo>
                      <a:pt x="1485" y="1201"/>
                    </a:lnTo>
                    <a:lnTo>
                      <a:pt x="1483" y="1201"/>
                    </a:lnTo>
                    <a:lnTo>
                      <a:pt x="1480" y="1201"/>
                    </a:lnTo>
                    <a:lnTo>
                      <a:pt x="1480" y="1201"/>
                    </a:lnTo>
                    <a:lnTo>
                      <a:pt x="1478" y="1201"/>
                    </a:lnTo>
                    <a:lnTo>
                      <a:pt x="1476" y="1201"/>
                    </a:lnTo>
                    <a:lnTo>
                      <a:pt x="1473" y="1201"/>
                    </a:lnTo>
                    <a:lnTo>
                      <a:pt x="1471" y="1201"/>
                    </a:lnTo>
                    <a:lnTo>
                      <a:pt x="1471" y="1201"/>
                    </a:lnTo>
                    <a:lnTo>
                      <a:pt x="1469" y="1201"/>
                    </a:lnTo>
                    <a:lnTo>
                      <a:pt x="1466" y="1201"/>
                    </a:lnTo>
                    <a:lnTo>
                      <a:pt x="1464" y="1201"/>
                    </a:lnTo>
                    <a:lnTo>
                      <a:pt x="1464" y="1201"/>
                    </a:lnTo>
                    <a:lnTo>
                      <a:pt x="1461" y="1201"/>
                    </a:lnTo>
                    <a:lnTo>
                      <a:pt x="1459" y="1201"/>
                    </a:lnTo>
                    <a:lnTo>
                      <a:pt x="1457" y="1201"/>
                    </a:lnTo>
                    <a:lnTo>
                      <a:pt x="1454" y="1201"/>
                    </a:lnTo>
                    <a:lnTo>
                      <a:pt x="1454" y="1201"/>
                    </a:lnTo>
                    <a:lnTo>
                      <a:pt x="1452" y="1201"/>
                    </a:lnTo>
                    <a:lnTo>
                      <a:pt x="1450" y="1201"/>
                    </a:lnTo>
                    <a:lnTo>
                      <a:pt x="1447" y="1201"/>
                    </a:lnTo>
                    <a:lnTo>
                      <a:pt x="1447" y="1201"/>
                    </a:lnTo>
                    <a:lnTo>
                      <a:pt x="1447" y="1175"/>
                    </a:lnTo>
                    <a:lnTo>
                      <a:pt x="1447" y="1151"/>
                    </a:lnTo>
                    <a:lnTo>
                      <a:pt x="1447" y="829"/>
                    </a:lnTo>
                    <a:lnTo>
                      <a:pt x="1251" y="829"/>
                    </a:lnTo>
                    <a:lnTo>
                      <a:pt x="1251" y="753"/>
                    </a:lnTo>
                    <a:lnTo>
                      <a:pt x="1057" y="753"/>
                    </a:lnTo>
                    <a:lnTo>
                      <a:pt x="1057" y="756"/>
                    </a:lnTo>
                    <a:lnTo>
                      <a:pt x="1057" y="829"/>
                    </a:lnTo>
                    <a:lnTo>
                      <a:pt x="1055" y="829"/>
                    </a:lnTo>
                    <a:lnTo>
                      <a:pt x="1052" y="829"/>
                    </a:lnTo>
                    <a:lnTo>
                      <a:pt x="1050" y="829"/>
                    </a:lnTo>
                    <a:lnTo>
                      <a:pt x="1050" y="829"/>
                    </a:lnTo>
                    <a:lnTo>
                      <a:pt x="1048" y="829"/>
                    </a:lnTo>
                    <a:lnTo>
                      <a:pt x="1045" y="829"/>
                    </a:lnTo>
                    <a:lnTo>
                      <a:pt x="1043" y="829"/>
                    </a:lnTo>
                    <a:lnTo>
                      <a:pt x="1041" y="829"/>
                    </a:lnTo>
                    <a:lnTo>
                      <a:pt x="1041" y="829"/>
                    </a:lnTo>
                    <a:lnTo>
                      <a:pt x="1038" y="829"/>
                    </a:lnTo>
                    <a:lnTo>
                      <a:pt x="1036" y="829"/>
                    </a:lnTo>
                    <a:lnTo>
                      <a:pt x="1033" y="829"/>
                    </a:lnTo>
                    <a:lnTo>
                      <a:pt x="1033" y="829"/>
                    </a:lnTo>
                    <a:lnTo>
                      <a:pt x="1031" y="829"/>
                    </a:lnTo>
                    <a:lnTo>
                      <a:pt x="1029" y="829"/>
                    </a:lnTo>
                    <a:lnTo>
                      <a:pt x="1026" y="829"/>
                    </a:lnTo>
                    <a:lnTo>
                      <a:pt x="1024" y="829"/>
                    </a:lnTo>
                    <a:lnTo>
                      <a:pt x="1024" y="829"/>
                    </a:lnTo>
                    <a:lnTo>
                      <a:pt x="1022" y="829"/>
                    </a:lnTo>
                    <a:lnTo>
                      <a:pt x="1019" y="829"/>
                    </a:lnTo>
                    <a:lnTo>
                      <a:pt x="1017" y="829"/>
                    </a:lnTo>
                    <a:lnTo>
                      <a:pt x="1015" y="829"/>
                    </a:lnTo>
                    <a:lnTo>
                      <a:pt x="1015" y="829"/>
                    </a:lnTo>
                    <a:lnTo>
                      <a:pt x="1012" y="829"/>
                    </a:lnTo>
                    <a:lnTo>
                      <a:pt x="1010" y="829"/>
                    </a:lnTo>
                    <a:lnTo>
                      <a:pt x="1007" y="829"/>
                    </a:lnTo>
                    <a:lnTo>
                      <a:pt x="1007" y="829"/>
                    </a:lnTo>
                    <a:lnTo>
                      <a:pt x="1005" y="829"/>
                    </a:lnTo>
                    <a:lnTo>
                      <a:pt x="1003" y="829"/>
                    </a:lnTo>
                    <a:lnTo>
                      <a:pt x="1000" y="829"/>
                    </a:lnTo>
                    <a:lnTo>
                      <a:pt x="998" y="829"/>
                    </a:lnTo>
                    <a:lnTo>
                      <a:pt x="998" y="829"/>
                    </a:lnTo>
                    <a:lnTo>
                      <a:pt x="996" y="829"/>
                    </a:lnTo>
                    <a:lnTo>
                      <a:pt x="993" y="829"/>
                    </a:lnTo>
                    <a:lnTo>
                      <a:pt x="991" y="829"/>
                    </a:lnTo>
                    <a:lnTo>
                      <a:pt x="989" y="829"/>
                    </a:lnTo>
                    <a:lnTo>
                      <a:pt x="989" y="829"/>
                    </a:lnTo>
                    <a:lnTo>
                      <a:pt x="986" y="829"/>
                    </a:lnTo>
                    <a:lnTo>
                      <a:pt x="984" y="829"/>
                    </a:lnTo>
                    <a:lnTo>
                      <a:pt x="854" y="829"/>
                    </a:lnTo>
                    <a:lnTo>
                      <a:pt x="854" y="829"/>
                    </a:lnTo>
                    <a:lnTo>
                      <a:pt x="854" y="1070"/>
                    </a:lnTo>
                    <a:lnTo>
                      <a:pt x="851" y="1070"/>
                    </a:lnTo>
                    <a:lnTo>
                      <a:pt x="849" y="1070"/>
                    </a:lnTo>
                    <a:lnTo>
                      <a:pt x="847" y="1070"/>
                    </a:lnTo>
                    <a:lnTo>
                      <a:pt x="844" y="1070"/>
                    </a:lnTo>
                    <a:lnTo>
                      <a:pt x="844" y="1070"/>
                    </a:lnTo>
                    <a:lnTo>
                      <a:pt x="842" y="1070"/>
                    </a:lnTo>
                    <a:lnTo>
                      <a:pt x="840" y="1070"/>
                    </a:lnTo>
                    <a:lnTo>
                      <a:pt x="837" y="1070"/>
                    </a:lnTo>
                    <a:lnTo>
                      <a:pt x="837" y="1070"/>
                    </a:lnTo>
                    <a:lnTo>
                      <a:pt x="835" y="1070"/>
                    </a:lnTo>
                    <a:lnTo>
                      <a:pt x="832" y="1070"/>
                    </a:lnTo>
                    <a:lnTo>
                      <a:pt x="830" y="1070"/>
                    </a:lnTo>
                    <a:lnTo>
                      <a:pt x="828" y="1070"/>
                    </a:lnTo>
                    <a:lnTo>
                      <a:pt x="828" y="1070"/>
                    </a:lnTo>
                    <a:lnTo>
                      <a:pt x="825" y="1070"/>
                    </a:lnTo>
                    <a:lnTo>
                      <a:pt x="823" y="1070"/>
                    </a:lnTo>
                    <a:lnTo>
                      <a:pt x="821" y="1070"/>
                    </a:lnTo>
                    <a:lnTo>
                      <a:pt x="818" y="1070"/>
                    </a:lnTo>
                    <a:lnTo>
                      <a:pt x="818" y="1070"/>
                    </a:lnTo>
                    <a:lnTo>
                      <a:pt x="818" y="864"/>
                    </a:lnTo>
                    <a:lnTo>
                      <a:pt x="818" y="618"/>
                    </a:lnTo>
                    <a:lnTo>
                      <a:pt x="601" y="618"/>
                    </a:lnTo>
                    <a:lnTo>
                      <a:pt x="601" y="547"/>
                    </a:lnTo>
                    <a:lnTo>
                      <a:pt x="350" y="547"/>
                    </a:lnTo>
                    <a:lnTo>
                      <a:pt x="350" y="550"/>
                    </a:lnTo>
                    <a:lnTo>
                      <a:pt x="350" y="618"/>
                    </a:lnTo>
                    <a:lnTo>
                      <a:pt x="348" y="618"/>
                    </a:lnTo>
                    <a:lnTo>
                      <a:pt x="345" y="618"/>
                    </a:lnTo>
                    <a:lnTo>
                      <a:pt x="343" y="618"/>
                    </a:lnTo>
                    <a:lnTo>
                      <a:pt x="343" y="618"/>
                    </a:lnTo>
                    <a:lnTo>
                      <a:pt x="341" y="618"/>
                    </a:lnTo>
                    <a:lnTo>
                      <a:pt x="338" y="618"/>
                    </a:lnTo>
                    <a:lnTo>
                      <a:pt x="336" y="618"/>
                    </a:lnTo>
                    <a:lnTo>
                      <a:pt x="336" y="618"/>
                    </a:lnTo>
                    <a:lnTo>
                      <a:pt x="334" y="618"/>
                    </a:lnTo>
                    <a:lnTo>
                      <a:pt x="331" y="618"/>
                    </a:lnTo>
                    <a:lnTo>
                      <a:pt x="329" y="618"/>
                    </a:lnTo>
                    <a:lnTo>
                      <a:pt x="326" y="618"/>
                    </a:lnTo>
                    <a:lnTo>
                      <a:pt x="326" y="618"/>
                    </a:lnTo>
                    <a:lnTo>
                      <a:pt x="324" y="618"/>
                    </a:lnTo>
                    <a:lnTo>
                      <a:pt x="322" y="618"/>
                    </a:lnTo>
                    <a:lnTo>
                      <a:pt x="319" y="618"/>
                    </a:lnTo>
                    <a:lnTo>
                      <a:pt x="317" y="618"/>
                    </a:lnTo>
                    <a:lnTo>
                      <a:pt x="317" y="618"/>
                    </a:lnTo>
                    <a:lnTo>
                      <a:pt x="315" y="618"/>
                    </a:lnTo>
                    <a:lnTo>
                      <a:pt x="312" y="618"/>
                    </a:lnTo>
                    <a:lnTo>
                      <a:pt x="310" y="618"/>
                    </a:lnTo>
                    <a:lnTo>
                      <a:pt x="310" y="618"/>
                    </a:lnTo>
                    <a:lnTo>
                      <a:pt x="308" y="618"/>
                    </a:lnTo>
                    <a:lnTo>
                      <a:pt x="305" y="618"/>
                    </a:lnTo>
                    <a:lnTo>
                      <a:pt x="303" y="618"/>
                    </a:lnTo>
                    <a:lnTo>
                      <a:pt x="300" y="618"/>
                    </a:lnTo>
                    <a:lnTo>
                      <a:pt x="300" y="618"/>
                    </a:lnTo>
                    <a:lnTo>
                      <a:pt x="298" y="618"/>
                    </a:lnTo>
                    <a:lnTo>
                      <a:pt x="296" y="618"/>
                    </a:lnTo>
                    <a:lnTo>
                      <a:pt x="293" y="618"/>
                    </a:lnTo>
                    <a:lnTo>
                      <a:pt x="293" y="618"/>
                    </a:lnTo>
                    <a:lnTo>
                      <a:pt x="291" y="618"/>
                    </a:lnTo>
                    <a:lnTo>
                      <a:pt x="289" y="618"/>
                    </a:lnTo>
                    <a:lnTo>
                      <a:pt x="286" y="618"/>
                    </a:lnTo>
                    <a:lnTo>
                      <a:pt x="284" y="618"/>
                    </a:lnTo>
                    <a:lnTo>
                      <a:pt x="284" y="618"/>
                    </a:lnTo>
                    <a:lnTo>
                      <a:pt x="282" y="618"/>
                    </a:lnTo>
                    <a:lnTo>
                      <a:pt x="144" y="618"/>
                    </a:lnTo>
                    <a:lnTo>
                      <a:pt x="144" y="618"/>
                    </a:lnTo>
                    <a:lnTo>
                      <a:pt x="144" y="1454"/>
                    </a:lnTo>
                    <a:lnTo>
                      <a:pt x="142" y="1454"/>
                    </a:lnTo>
                    <a:lnTo>
                      <a:pt x="140" y="1454"/>
                    </a:lnTo>
                    <a:lnTo>
                      <a:pt x="140" y="1454"/>
                    </a:lnTo>
                    <a:lnTo>
                      <a:pt x="137" y="1454"/>
                    </a:lnTo>
                    <a:lnTo>
                      <a:pt x="135" y="1454"/>
                    </a:lnTo>
                    <a:lnTo>
                      <a:pt x="133" y="1454"/>
                    </a:lnTo>
                    <a:lnTo>
                      <a:pt x="130" y="1454"/>
                    </a:lnTo>
                    <a:lnTo>
                      <a:pt x="130" y="1454"/>
                    </a:lnTo>
                    <a:lnTo>
                      <a:pt x="128" y="1454"/>
                    </a:lnTo>
                    <a:lnTo>
                      <a:pt x="126" y="1454"/>
                    </a:lnTo>
                    <a:lnTo>
                      <a:pt x="123" y="1454"/>
                    </a:lnTo>
                    <a:lnTo>
                      <a:pt x="123" y="1454"/>
                    </a:lnTo>
                    <a:lnTo>
                      <a:pt x="121" y="1454"/>
                    </a:lnTo>
                    <a:lnTo>
                      <a:pt x="118" y="1454"/>
                    </a:lnTo>
                    <a:lnTo>
                      <a:pt x="116" y="1454"/>
                    </a:lnTo>
                    <a:lnTo>
                      <a:pt x="114" y="1454"/>
                    </a:lnTo>
                    <a:lnTo>
                      <a:pt x="114" y="1454"/>
                    </a:lnTo>
                    <a:lnTo>
                      <a:pt x="111" y="1454"/>
                    </a:lnTo>
                    <a:lnTo>
                      <a:pt x="109" y="1454"/>
                    </a:lnTo>
                    <a:lnTo>
                      <a:pt x="107" y="1454"/>
                    </a:lnTo>
                    <a:lnTo>
                      <a:pt x="104" y="1454"/>
                    </a:lnTo>
                    <a:lnTo>
                      <a:pt x="104" y="1454"/>
                    </a:lnTo>
                    <a:lnTo>
                      <a:pt x="102" y="1454"/>
                    </a:lnTo>
                    <a:lnTo>
                      <a:pt x="99" y="1454"/>
                    </a:lnTo>
                    <a:lnTo>
                      <a:pt x="97" y="1454"/>
                    </a:lnTo>
                    <a:lnTo>
                      <a:pt x="97" y="1454"/>
                    </a:lnTo>
                    <a:lnTo>
                      <a:pt x="95" y="1454"/>
                    </a:lnTo>
                    <a:lnTo>
                      <a:pt x="92" y="1454"/>
                    </a:lnTo>
                    <a:lnTo>
                      <a:pt x="90" y="1454"/>
                    </a:lnTo>
                    <a:lnTo>
                      <a:pt x="88" y="1454"/>
                    </a:lnTo>
                    <a:lnTo>
                      <a:pt x="88" y="1454"/>
                    </a:lnTo>
                    <a:lnTo>
                      <a:pt x="85" y="1454"/>
                    </a:lnTo>
                    <a:lnTo>
                      <a:pt x="83" y="1454"/>
                    </a:lnTo>
                    <a:lnTo>
                      <a:pt x="81" y="1454"/>
                    </a:lnTo>
                    <a:lnTo>
                      <a:pt x="78" y="1454"/>
                    </a:lnTo>
                    <a:lnTo>
                      <a:pt x="78" y="1454"/>
                    </a:lnTo>
                    <a:lnTo>
                      <a:pt x="76" y="1454"/>
                    </a:lnTo>
                    <a:lnTo>
                      <a:pt x="73" y="1454"/>
                    </a:lnTo>
                    <a:lnTo>
                      <a:pt x="71" y="1454"/>
                    </a:lnTo>
                    <a:lnTo>
                      <a:pt x="71" y="1454"/>
                    </a:lnTo>
                    <a:lnTo>
                      <a:pt x="69" y="1454"/>
                    </a:lnTo>
                    <a:lnTo>
                      <a:pt x="66" y="1454"/>
                    </a:lnTo>
                    <a:lnTo>
                      <a:pt x="64" y="1454"/>
                    </a:lnTo>
                    <a:lnTo>
                      <a:pt x="62" y="1454"/>
                    </a:lnTo>
                    <a:lnTo>
                      <a:pt x="62" y="1454"/>
                    </a:lnTo>
                    <a:lnTo>
                      <a:pt x="59" y="1454"/>
                    </a:lnTo>
                    <a:lnTo>
                      <a:pt x="57" y="1454"/>
                    </a:lnTo>
                    <a:lnTo>
                      <a:pt x="55" y="1454"/>
                    </a:lnTo>
                    <a:lnTo>
                      <a:pt x="52" y="1454"/>
                    </a:lnTo>
                    <a:lnTo>
                      <a:pt x="52" y="1454"/>
                    </a:lnTo>
                    <a:lnTo>
                      <a:pt x="50" y="1454"/>
                    </a:lnTo>
                    <a:lnTo>
                      <a:pt x="50" y="1454"/>
                    </a:lnTo>
                    <a:lnTo>
                      <a:pt x="50" y="1456"/>
                    </a:lnTo>
                    <a:lnTo>
                      <a:pt x="50" y="1534"/>
                    </a:lnTo>
                    <a:lnTo>
                      <a:pt x="47" y="1534"/>
                    </a:lnTo>
                    <a:lnTo>
                      <a:pt x="45" y="1534"/>
                    </a:lnTo>
                    <a:lnTo>
                      <a:pt x="43" y="1534"/>
                    </a:lnTo>
                    <a:lnTo>
                      <a:pt x="43" y="1534"/>
                    </a:lnTo>
                    <a:lnTo>
                      <a:pt x="40" y="1534"/>
                    </a:lnTo>
                    <a:lnTo>
                      <a:pt x="38" y="1534"/>
                    </a:lnTo>
                    <a:lnTo>
                      <a:pt x="36" y="1534"/>
                    </a:lnTo>
                    <a:lnTo>
                      <a:pt x="33" y="1534"/>
                    </a:lnTo>
                    <a:lnTo>
                      <a:pt x="33" y="1534"/>
                    </a:lnTo>
                    <a:lnTo>
                      <a:pt x="31" y="1534"/>
                    </a:lnTo>
                    <a:lnTo>
                      <a:pt x="29" y="1534"/>
                    </a:lnTo>
                    <a:lnTo>
                      <a:pt x="26" y="1534"/>
                    </a:lnTo>
                    <a:lnTo>
                      <a:pt x="26" y="1534"/>
                    </a:lnTo>
                    <a:lnTo>
                      <a:pt x="24" y="1534"/>
                    </a:lnTo>
                    <a:lnTo>
                      <a:pt x="21" y="1534"/>
                    </a:lnTo>
                    <a:lnTo>
                      <a:pt x="19" y="1534"/>
                    </a:lnTo>
                    <a:lnTo>
                      <a:pt x="17" y="1534"/>
                    </a:lnTo>
                    <a:lnTo>
                      <a:pt x="17" y="1534"/>
                    </a:lnTo>
                    <a:lnTo>
                      <a:pt x="14" y="1534"/>
                    </a:lnTo>
                    <a:lnTo>
                      <a:pt x="12" y="1534"/>
                    </a:lnTo>
                    <a:lnTo>
                      <a:pt x="10" y="1534"/>
                    </a:lnTo>
                    <a:lnTo>
                      <a:pt x="7" y="1534"/>
                    </a:lnTo>
                    <a:lnTo>
                      <a:pt x="7" y="1534"/>
                    </a:lnTo>
                    <a:lnTo>
                      <a:pt x="5" y="1534"/>
                    </a:lnTo>
                    <a:lnTo>
                      <a:pt x="3" y="1534"/>
                    </a:lnTo>
                    <a:lnTo>
                      <a:pt x="0" y="1534"/>
                    </a:lnTo>
                    <a:lnTo>
                      <a:pt x="0" y="1534"/>
                    </a:lnTo>
                    <a:lnTo>
                      <a:pt x="0" y="1537"/>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512"/>
                    </a:lnTo>
                    <a:lnTo>
                      <a:pt x="7072" y="1693"/>
                    </a:lnTo>
                    <a:lnTo>
                      <a:pt x="7070" y="1693"/>
                    </a:lnTo>
                    <a:lnTo>
                      <a:pt x="7070" y="1693"/>
                    </a:lnTo>
                    <a:lnTo>
                      <a:pt x="7068" y="1693"/>
                    </a:lnTo>
                    <a:lnTo>
                      <a:pt x="7065" y="1693"/>
                    </a:lnTo>
                    <a:lnTo>
                      <a:pt x="7063" y="1693"/>
                    </a:lnTo>
                    <a:lnTo>
                      <a:pt x="7063" y="1693"/>
                    </a:lnTo>
                    <a:lnTo>
                      <a:pt x="7061" y="1693"/>
                    </a:lnTo>
                    <a:lnTo>
                      <a:pt x="7058" y="1693"/>
                    </a:lnTo>
                    <a:lnTo>
                      <a:pt x="7056" y="1693"/>
                    </a:lnTo>
                    <a:lnTo>
                      <a:pt x="7054" y="1693"/>
                    </a:lnTo>
                    <a:lnTo>
                      <a:pt x="7054" y="1693"/>
                    </a:lnTo>
                    <a:lnTo>
                      <a:pt x="7051" y="1693"/>
                    </a:lnTo>
                    <a:lnTo>
                      <a:pt x="7049" y="1693"/>
                    </a:lnTo>
                    <a:lnTo>
                      <a:pt x="7046" y="1693"/>
                    </a:lnTo>
                    <a:lnTo>
                      <a:pt x="7046" y="1693"/>
                    </a:lnTo>
                    <a:lnTo>
                      <a:pt x="7044" y="1693"/>
                    </a:lnTo>
                    <a:lnTo>
                      <a:pt x="7042" y="1693"/>
                    </a:lnTo>
                    <a:lnTo>
                      <a:pt x="7039" y="1693"/>
                    </a:lnTo>
                    <a:lnTo>
                      <a:pt x="7037" y="1693"/>
                    </a:lnTo>
                    <a:lnTo>
                      <a:pt x="7037" y="1693"/>
                    </a:lnTo>
                    <a:lnTo>
                      <a:pt x="7035" y="1693"/>
                    </a:lnTo>
                    <a:lnTo>
                      <a:pt x="7032" y="1693"/>
                    </a:lnTo>
                    <a:lnTo>
                      <a:pt x="7030" y="1693"/>
                    </a:lnTo>
                    <a:lnTo>
                      <a:pt x="7030" y="1693"/>
                    </a:lnTo>
                    <a:lnTo>
                      <a:pt x="7030" y="1094"/>
                    </a:lnTo>
                    <a:lnTo>
                      <a:pt x="7028" y="1094"/>
                    </a:lnTo>
                    <a:lnTo>
                      <a:pt x="7028" y="1094"/>
                    </a:lnTo>
                    <a:lnTo>
                      <a:pt x="7025" y="1094"/>
                    </a:lnTo>
                    <a:lnTo>
                      <a:pt x="7023" y="1094"/>
                    </a:lnTo>
                    <a:lnTo>
                      <a:pt x="7020" y="1094"/>
                    </a:lnTo>
                    <a:lnTo>
                      <a:pt x="7020" y="1094"/>
                    </a:lnTo>
                    <a:lnTo>
                      <a:pt x="7018" y="1094"/>
                    </a:lnTo>
                    <a:lnTo>
                      <a:pt x="7016" y="1094"/>
                    </a:lnTo>
                    <a:lnTo>
                      <a:pt x="7013" y="1094"/>
                    </a:lnTo>
                    <a:lnTo>
                      <a:pt x="7011" y="1094"/>
                    </a:lnTo>
                    <a:lnTo>
                      <a:pt x="7011" y="1094"/>
                    </a:lnTo>
                    <a:lnTo>
                      <a:pt x="7009" y="1094"/>
                    </a:lnTo>
                    <a:lnTo>
                      <a:pt x="7006" y="1094"/>
                    </a:lnTo>
                    <a:lnTo>
                      <a:pt x="7004" y="1094"/>
                    </a:lnTo>
                    <a:lnTo>
                      <a:pt x="7001" y="1094"/>
                    </a:lnTo>
                    <a:lnTo>
                      <a:pt x="7001" y="1094"/>
                    </a:lnTo>
                    <a:lnTo>
                      <a:pt x="6999" y="1094"/>
                    </a:lnTo>
                    <a:lnTo>
                      <a:pt x="6997" y="1094"/>
                    </a:lnTo>
                    <a:lnTo>
                      <a:pt x="6994" y="1094"/>
                    </a:lnTo>
                    <a:lnTo>
                      <a:pt x="6994" y="1094"/>
                    </a:lnTo>
                    <a:lnTo>
                      <a:pt x="6992" y="1094"/>
                    </a:lnTo>
                    <a:lnTo>
                      <a:pt x="6990" y="1094"/>
                    </a:lnTo>
                    <a:lnTo>
                      <a:pt x="6987" y="1094"/>
                    </a:lnTo>
                    <a:lnTo>
                      <a:pt x="6985" y="1094"/>
                    </a:lnTo>
                    <a:lnTo>
                      <a:pt x="6985" y="1094"/>
                    </a:lnTo>
                    <a:lnTo>
                      <a:pt x="6983" y="1094"/>
                    </a:lnTo>
                    <a:lnTo>
                      <a:pt x="6980" y="1094"/>
                    </a:lnTo>
                    <a:lnTo>
                      <a:pt x="6978" y="1094"/>
                    </a:lnTo>
                    <a:lnTo>
                      <a:pt x="6905" y="1094"/>
                    </a:lnTo>
                    <a:lnTo>
                      <a:pt x="6905" y="1059"/>
                    </a:lnTo>
                    <a:lnTo>
                      <a:pt x="6519" y="1059"/>
                    </a:lnTo>
                    <a:lnTo>
                      <a:pt x="6519" y="935"/>
                    </a:lnTo>
                    <a:lnTo>
                      <a:pt x="6486" y="935"/>
                    </a:lnTo>
                    <a:lnTo>
                      <a:pt x="6477" y="895"/>
                    </a:lnTo>
                    <a:lnTo>
                      <a:pt x="6472" y="895"/>
                    </a:lnTo>
                    <a:lnTo>
                      <a:pt x="6472" y="879"/>
                    </a:lnTo>
                    <a:lnTo>
                      <a:pt x="6465" y="879"/>
                    </a:lnTo>
                    <a:lnTo>
                      <a:pt x="6465" y="850"/>
                    </a:lnTo>
                    <a:lnTo>
                      <a:pt x="6446" y="850"/>
                    </a:lnTo>
                    <a:lnTo>
                      <a:pt x="6446" y="853"/>
                    </a:lnTo>
                    <a:lnTo>
                      <a:pt x="6446" y="879"/>
                    </a:lnTo>
                    <a:lnTo>
                      <a:pt x="6443" y="879"/>
                    </a:lnTo>
                    <a:lnTo>
                      <a:pt x="6441" y="879"/>
                    </a:lnTo>
                    <a:lnTo>
                      <a:pt x="6439" y="879"/>
                    </a:lnTo>
                    <a:lnTo>
                      <a:pt x="6439" y="879"/>
                    </a:lnTo>
                    <a:lnTo>
                      <a:pt x="6436" y="879"/>
                    </a:lnTo>
                    <a:lnTo>
                      <a:pt x="6436" y="881"/>
                    </a:lnTo>
                    <a:lnTo>
                      <a:pt x="6436" y="895"/>
                    </a:lnTo>
                    <a:lnTo>
                      <a:pt x="6436" y="895"/>
                    </a:lnTo>
                    <a:lnTo>
                      <a:pt x="6434" y="895"/>
                    </a:lnTo>
                    <a:lnTo>
                      <a:pt x="6432" y="895"/>
                    </a:lnTo>
                    <a:lnTo>
                      <a:pt x="6432" y="898"/>
                    </a:lnTo>
                    <a:lnTo>
                      <a:pt x="6425" y="935"/>
                    </a:lnTo>
                    <a:lnTo>
                      <a:pt x="6422" y="935"/>
                    </a:lnTo>
                    <a:lnTo>
                      <a:pt x="6420" y="935"/>
                    </a:lnTo>
                    <a:lnTo>
                      <a:pt x="6420" y="935"/>
                    </a:lnTo>
                    <a:lnTo>
                      <a:pt x="6417" y="935"/>
                    </a:lnTo>
                    <a:lnTo>
                      <a:pt x="6417" y="935"/>
                    </a:lnTo>
                    <a:lnTo>
                      <a:pt x="6415" y="935"/>
                    </a:lnTo>
                    <a:lnTo>
                      <a:pt x="6413" y="935"/>
                    </a:lnTo>
                    <a:lnTo>
                      <a:pt x="6413" y="935"/>
                    </a:lnTo>
                    <a:lnTo>
                      <a:pt x="6410" y="935"/>
                    </a:lnTo>
                    <a:lnTo>
                      <a:pt x="6408" y="935"/>
                    </a:lnTo>
                    <a:lnTo>
                      <a:pt x="6408" y="935"/>
                    </a:lnTo>
                    <a:lnTo>
                      <a:pt x="6406" y="935"/>
                    </a:lnTo>
                    <a:lnTo>
                      <a:pt x="6406" y="935"/>
                    </a:lnTo>
                    <a:lnTo>
                      <a:pt x="6403" y="935"/>
                    </a:lnTo>
                    <a:lnTo>
                      <a:pt x="6401" y="935"/>
                    </a:lnTo>
                    <a:lnTo>
                      <a:pt x="6401" y="935"/>
                    </a:lnTo>
                    <a:lnTo>
                      <a:pt x="6399" y="935"/>
                    </a:lnTo>
                    <a:lnTo>
                      <a:pt x="6399" y="935"/>
                    </a:lnTo>
                    <a:lnTo>
                      <a:pt x="6396" y="935"/>
                    </a:lnTo>
                    <a:lnTo>
                      <a:pt x="6394" y="935"/>
                    </a:lnTo>
                    <a:lnTo>
                      <a:pt x="6394" y="935"/>
                    </a:lnTo>
                    <a:lnTo>
                      <a:pt x="6391" y="935"/>
                    </a:lnTo>
                    <a:lnTo>
                      <a:pt x="6391" y="935"/>
                    </a:lnTo>
                    <a:lnTo>
                      <a:pt x="6389" y="935"/>
                    </a:lnTo>
                    <a:lnTo>
                      <a:pt x="6387" y="935"/>
                    </a:lnTo>
                    <a:lnTo>
                      <a:pt x="6387" y="938"/>
                    </a:lnTo>
                    <a:lnTo>
                      <a:pt x="6387" y="1130"/>
                    </a:lnTo>
                    <a:lnTo>
                      <a:pt x="6387" y="1130"/>
                    </a:lnTo>
                    <a:lnTo>
                      <a:pt x="6384" y="1130"/>
                    </a:lnTo>
                    <a:lnTo>
                      <a:pt x="6382" y="1130"/>
                    </a:lnTo>
                    <a:lnTo>
                      <a:pt x="6380" y="1130"/>
                    </a:lnTo>
                    <a:lnTo>
                      <a:pt x="6377" y="1130"/>
                    </a:lnTo>
                    <a:lnTo>
                      <a:pt x="6377" y="1130"/>
                    </a:lnTo>
                    <a:lnTo>
                      <a:pt x="6375" y="1130"/>
                    </a:lnTo>
                    <a:lnTo>
                      <a:pt x="6373" y="1130"/>
                    </a:lnTo>
                    <a:lnTo>
                      <a:pt x="6370" y="1130"/>
                    </a:lnTo>
                    <a:lnTo>
                      <a:pt x="6370" y="1130"/>
                    </a:lnTo>
                    <a:lnTo>
                      <a:pt x="6370" y="1132"/>
                    </a:lnTo>
                    <a:lnTo>
                      <a:pt x="6370" y="1364"/>
                    </a:lnTo>
                    <a:lnTo>
                      <a:pt x="6368" y="1364"/>
                    </a:lnTo>
                    <a:lnTo>
                      <a:pt x="6365" y="1364"/>
                    </a:lnTo>
                    <a:lnTo>
                      <a:pt x="6365" y="1364"/>
                    </a:lnTo>
                    <a:lnTo>
                      <a:pt x="6363" y="1364"/>
                    </a:lnTo>
                    <a:lnTo>
                      <a:pt x="6361" y="1364"/>
                    </a:lnTo>
                    <a:lnTo>
                      <a:pt x="6358" y="1364"/>
                    </a:lnTo>
                    <a:lnTo>
                      <a:pt x="6358" y="1364"/>
                    </a:lnTo>
                    <a:lnTo>
                      <a:pt x="6356" y="1364"/>
                    </a:lnTo>
                    <a:lnTo>
                      <a:pt x="6354" y="1364"/>
                    </a:lnTo>
                    <a:lnTo>
                      <a:pt x="6351" y="1364"/>
                    </a:lnTo>
                    <a:lnTo>
                      <a:pt x="6349" y="1364"/>
                    </a:lnTo>
                    <a:lnTo>
                      <a:pt x="6349" y="1364"/>
                    </a:lnTo>
                    <a:lnTo>
                      <a:pt x="6347" y="1364"/>
                    </a:lnTo>
                    <a:lnTo>
                      <a:pt x="6344" y="1364"/>
                    </a:lnTo>
                    <a:lnTo>
                      <a:pt x="6344" y="1364"/>
                    </a:lnTo>
                    <a:lnTo>
                      <a:pt x="6344" y="1210"/>
                    </a:lnTo>
                    <a:lnTo>
                      <a:pt x="6342" y="1210"/>
                    </a:lnTo>
                    <a:lnTo>
                      <a:pt x="6339" y="1210"/>
                    </a:lnTo>
                    <a:lnTo>
                      <a:pt x="6339" y="1210"/>
                    </a:lnTo>
                    <a:lnTo>
                      <a:pt x="6337" y="1210"/>
                    </a:lnTo>
                    <a:lnTo>
                      <a:pt x="6335" y="1210"/>
                    </a:lnTo>
                    <a:lnTo>
                      <a:pt x="6332" y="1210"/>
                    </a:lnTo>
                    <a:lnTo>
                      <a:pt x="6332" y="1210"/>
                    </a:lnTo>
                    <a:lnTo>
                      <a:pt x="6330" y="1210"/>
                    </a:lnTo>
                    <a:lnTo>
                      <a:pt x="6328" y="1210"/>
                    </a:lnTo>
                    <a:lnTo>
                      <a:pt x="6325" y="1210"/>
                    </a:lnTo>
                    <a:lnTo>
                      <a:pt x="6323" y="1210"/>
                    </a:lnTo>
                    <a:lnTo>
                      <a:pt x="6323" y="1210"/>
                    </a:lnTo>
                    <a:lnTo>
                      <a:pt x="6321" y="1210"/>
                    </a:lnTo>
                    <a:lnTo>
                      <a:pt x="6318" y="1210"/>
                    </a:lnTo>
                    <a:lnTo>
                      <a:pt x="6316" y="1210"/>
                    </a:lnTo>
                    <a:lnTo>
                      <a:pt x="6313" y="1210"/>
                    </a:lnTo>
                    <a:lnTo>
                      <a:pt x="6313" y="1210"/>
                    </a:lnTo>
                    <a:lnTo>
                      <a:pt x="6311" y="1210"/>
                    </a:lnTo>
                    <a:lnTo>
                      <a:pt x="6309" y="1210"/>
                    </a:lnTo>
                    <a:lnTo>
                      <a:pt x="6306" y="1210"/>
                    </a:lnTo>
                    <a:lnTo>
                      <a:pt x="6306" y="1210"/>
                    </a:lnTo>
                    <a:lnTo>
                      <a:pt x="6304" y="1210"/>
                    </a:lnTo>
                    <a:lnTo>
                      <a:pt x="6302" y="1210"/>
                    </a:lnTo>
                    <a:lnTo>
                      <a:pt x="6299" y="1210"/>
                    </a:lnTo>
                    <a:lnTo>
                      <a:pt x="6297" y="1210"/>
                    </a:lnTo>
                    <a:lnTo>
                      <a:pt x="6297" y="1210"/>
                    </a:lnTo>
                    <a:lnTo>
                      <a:pt x="6295" y="1210"/>
                    </a:lnTo>
                    <a:lnTo>
                      <a:pt x="6292" y="1210"/>
                    </a:lnTo>
                    <a:lnTo>
                      <a:pt x="6290" y="1210"/>
                    </a:lnTo>
                    <a:lnTo>
                      <a:pt x="6280" y="1210"/>
                    </a:lnTo>
                    <a:lnTo>
                      <a:pt x="6280" y="1130"/>
                    </a:lnTo>
                    <a:lnTo>
                      <a:pt x="6122" y="1130"/>
                    </a:lnTo>
                    <a:lnTo>
                      <a:pt x="6122" y="1042"/>
                    </a:lnTo>
                    <a:lnTo>
                      <a:pt x="6103" y="1042"/>
                    </a:lnTo>
                    <a:lnTo>
                      <a:pt x="6103" y="990"/>
                    </a:lnTo>
                    <a:lnTo>
                      <a:pt x="5997" y="990"/>
                    </a:lnTo>
                    <a:lnTo>
                      <a:pt x="5997" y="992"/>
                    </a:lnTo>
                    <a:lnTo>
                      <a:pt x="5997" y="1042"/>
                    </a:lnTo>
                    <a:lnTo>
                      <a:pt x="5994" y="1042"/>
                    </a:lnTo>
                    <a:lnTo>
                      <a:pt x="5992" y="1042"/>
                    </a:lnTo>
                    <a:lnTo>
                      <a:pt x="5992" y="1042"/>
                    </a:lnTo>
                    <a:lnTo>
                      <a:pt x="5989" y="1042"/>
                    </a:lnTo>
                    <a:lnTo>
                      <a:pt x="5987" y="1042"/>
                    </a:lnTo>
                    <a:lnTo>
                      <a:pt x="5985" y="1042"/>
                    </a:lnTo>
                    <a:lnTo>
                      <a:pt x="5985" y="1042"/>
                    </a:lnTo>
                    <a:lnTo>
                      <a:pt x="5982" y="1042"/>
                    </a:lnTo>
                    <a:lnTo>
                      <a:pt x="5980" y="1042"/>
                    </a:lnTo>
                    <a:lnTo>
                      <a:pt x="5978" y="1042"/>
                    </a:lnTo>
                    <a:lnTo>
                      <a:pt x="5978" y="1044"/>
                    </a:lnTo>
                    <a:lnTo>
                      <a:pt x="5978" y="1130"/>
                    </a:lnTo>
                    <a:lnTo>
                      <a:pt x="5978" y="1130"/>
                    </a:lnTo>
                    <a:lnTo>
                      <a:pt x="5975" y="1130"/>
                    </a:lnTo>
                    <a:lnTo>
                      <a:pt x="5973" y="1130"/>
                    </a:lnTo>
                    <a:lnTo>
                      <a:pt x="5971" y="1130"/>
                    </a:lnTo>
                    <a:lnTo>
                      <a:pt x="5968" y="1130"/>
                    </a:lnTo>
                    <a:lnTo>
                      <a:pt x="5968" y="1130"/>
                    </a:lnTo>
                    <a:lnTo>
                      <a:pt x="5966" y="1130"/>
                    </a:lnTo>
                    <a:lnTo>
                      <a:pt x="5963" y="1130"/>
                    </a:lnTo>
                    <a:lnTo>
                      <a:pt x="5961" y="1130"/>
                    </a:lnTo>
                    <a:lnTo>
                      <a:pt x="5959" y="1130"/>
                    </a:lnTo>
                    <a:lnTo>
                      <a:pt x="5959" y="1130"/>
                    </a:lnTo>
                    <a:lnTo>
                      <a:pt x="5956" y="1130"/>
                    </a:lnTo>
                    <a:lnTo>
                      <a:pt x="5954" y="1130"/>
                    </a:lnTo>
                    <a:lnTo>
                      <a:pt x="5952" y="1130"/>
                    </a:lnTo>
                    <a:lnTo>
                      <a:pt x="5952" y="1130"/>
                    </a:lnTo>
                    <a:lnTo>
                      <a:pt x="5949" y="1130"/>
                    </a:lnTo>
                    <a:lnTo>
                      <a:pt x="5947" y="1130"/>
                    </a:lnTo>
                    <a:lnTo>
                      <a:pt x="5945" y="1130"/>
                    </a:lnTo>
                    <a:lnTo>
                      <a:pt x="5942" y="1130"/>
                    </a:lnTo>
                    <a:lnTo>
                      <a:pt x="5942" y="1130"/>
                    </a:lnTo>
                    <a:lnTo>
                      <a:pt x="5940" y="1130"/>
                    </a:lnTo>
                    <a:lnTo>
                      <a:pt x="5937" y="1130"/>
                    </a:lnTo>
                    <a:lnTo>
                      <a:pt x="5935" y="1130"/>
                    </a:lnTo>
                    <a:lnTo>
                      <a:pt x="5935" y="1130"/>
                    </a:lnTo>
                    <a:lnTo>
                      <a:pt x="5933" y="1130"/>
                    </a:lnTo>
                    <a:lnTo>
                      <a:pt x="5930" y="1130"/>
                    </a:lnTo>
                    <a:lnTo>
                      <a:pt x="5928" y="1130"/>
                    </a:lnTo>
                    <a:lnTo>
                      <a:pt x="5926" y="1130"/>
                    </a:lnTo>
                    <a:lnTo>
                      <a:pt x="5926" y="1130"/>
                    </a:lnTo>
                    <a:lnTo>
                      <a:pt x="5923" y="1130"/>
                    </a:lnTo>
                    <a:lnTo>
                      <a:pt x="5921" y="1130"/>
                    </a:lnTo>
                    <a:lnTo>
                      <a:pt x="5919" y="1130"/>
                    </a:lnTo>
                    <a:lnTo>
                      <a:pt x="5916" y="1130"/>
                    </a:lnTo>
                    <a:lnTo>
                      <a:pt x="5916" y="1130"/>
                    </a:lnTo>
                    <a:lnTo>
                      <a:pt x="5914" y="1130"/>
                    </a:lnTo>
                    <a:lnTo>
                      <a:pt x="5911" y="1130"/>
                    </a:lnTo>
                    <a:lnTo>
                      <a:pt x="5909" y="1130"/>
                    </a:lnTo>
                    <a:lnTo>
                      <a:pt x="5909" y="1130"/>
                    </a:lnTo>
                    <a:lnTo>
                      <a:pt x="5907" y="1130"/>
                    </a:lnTo>
                    <a:lnTo>
                      <a:pt x="5904" y="1130"/>
                    </a:lnTo>
                    <a:lnTo>
                      <a:pt x="5904" y="1130"/>
                    </a:lnTo>
                    <a:lnTo>
                      <a:pt x="5904" y="1132"/>
                    </a:lnTo>
                    <a:lnTo>
                      <a:pt x="5904" y="1210"/>
                    </a:lnTo>
                    <a:lnTo>
                      <a:pt x="5902" y="1210"/>
                    </a:lnTo>
                    <a:lnTo>
                      <a:pt x="5900" y="1210"/>
                    </a:lnTo>
                    <a:lnTo>
                      <a:pt x="5897" y="1210"/>
                    </a:lnTo>
                    <a:lnTo>
                      <a:pt x="5897" y="1210"/>
                    </a:lnTo>
                    <a:lnTo>
                      <a:pt x="5895" y="1210"/>
                    </a:lnTo>
                    <a:lnTo>
                      <a:pt x="5893" y="1210"/>
                    </a:lnTo>
                    <a:lnTo>
                      <a:pt x="5890" y="1210"/>
                    </a:lnTo>
                    <a:lnTo>
                      <a:pt x="5888" y="1210"/>
                    </a:lnTo>
                    <a:lnTo>
                      <a:pt x="5888" y="1210"/>
                    </a:lnTo>
                    <a:lnTo>
                      <a:pt x="5885" y="1210"/>
                    </a:lnTo>
                    <a:lnTo>
                      <a:pt x="5883" y="1210"/>
                    </a:lnTo>
                    <a:lnTo>
                      <a:pt x="5881" y="1210"/>
                    </a:lnTo>
                    <a:lnTo>
                      <a:pt x="5878" y="1210"/>
                    </a:lnTo>
                    <a:lnTo>
                      <a:pt x="5878" y="1210"/>
                    </a:lnTo>
                    <a:lnTo>
                      <a:pt x="5878" y="1212"/>
                    </a:lnTo>
                    <a:lnTo>
                      <a:pt x="5878" y="1326"/>
                    </a:lnTo>
                    <a:lnTo>
                      <a:pt x="5876" y="1326"/>
                    </a:lnTo>
                    <a:lnTo>
                      <a:pt x="5876" y="1326"/>
                    </a:lnTo>
                    <a:lnTo>
                      <a:pt x="5874" y="1326"/>
                    </a:lnTo>
                    <a:lnTo>
                      <a:pt x="5871" y="1326"/>
                    </a:lnTo>
                    <a:lnTo>
                      <a:pt x="5869" y="1326"/>
                    </a:lnTo>
                    <a:lnTo>
                      <a:pt x="5867" y="1326"/>
                    </a:lnTo>
                    <a:lnTo>
                      <a:pt x="5867" y="1326"/>
                    </a:lnTo>
                    <a:lnTo>
                      <a:pt x="5864" y="1326"/>
                    </a:lnTo>
                    <a:lnTo>
                      <a:pt x="5862" y="1326"/>
                    </a:lnTo>
                    <a:lnTo>
                      <a:pt x="5859" y="1326"/>
                    </a:lnTo>
                    <a:lnTo>
                      <a:pt x="5857" y="1326"/>
                    </a:lnTo>
                    <a:lnTo>
                      <a:pt x="5857" y="1326"/>
                    </a:lnTo>
                    <a:lnTo>
                      <a:pt x="5855" y="1326"/>
                    </a:lnTo>
                    <a:lnTo>
                      <a:pt x="5852" y="1326"/>
                    </a:lnTo>
                    <a:lnTo>
                      <a:pt x="5850" y="1326"/>
                    </a:lnTo>
                    <a:lnTo>
                      <a:pt x="5850" y="1326"/>
                    </a:lnTo>
                    <a:lnTo>
                      <a:pt x="5848" y="1326"/>
                    </a:lnTo>
                    <a:lnTo>
                      <a:pt x="5845" y="1326"/>
                    </a:lnTo>
                    <a:lnTo>
                      <a:pt x="5843" y="1326"/>
                    </a:lnTo>
                    <a:lnTo>
                      <a:pt x="5841" y="1326"/>
                    </a:lnTo>
                    <a:lnTo>
                      <a:pt x="5841" y="1326"/>
                    </a:lnTo>
                    <a:lnTo>
                      <a:pt x="5838" y="1326"/>
                    </a:lnTo>
                    <a:lnTo>
                      <a:pt x="5836" y="1326"/>
                    </a:lnTo>
                    <a:lnTo>
                      <a:pt x="5833" y="1326"/>
                    </a:lnTo>
                    <a:lnTo>
                      <a:pt x="5831" y="1326"/>
                    </a:lnTo>
                    <a:lnTo>
                      <a:pt x="5831" y="1326"/>
                    </a:lnTo>
                    <a:lnTo>
                      <a:pt x="5829" y="1326"/>
                    </a:lnTo>
                    <a:lnTo>
                      <a:pt x="5826" y="1326"/>
                    </a:lnTo>
                    <a:lnTo>
                      <a:pt x="5824" y="1326"/>
                    </a:lnTo>
                    <a:lnTo>
                      <a:pt x="5824" y="1326"/>
                    </a:lnTo>
                    <a:lnTo>
                      <a:pt x="5822" y="1326"/>
                    </a:lnTo>
                    <a:lnTo>
                      <a:pt x="5819" y="1326"/>
                    </a:lnTo>
                    <a:lnTo>
                      <a:pt x="5817" y="1326"/>
                    </a:lnTo>
                    <a:lnTo>
                      <a:pt x="5815" y="1326"/>
                    </a:lnTo>
                    <a:lnTo>
                      <a:pt x="5815" y="1326"/>
                    </a:lnTo>
                    <a:lnTo>
                      <a:pt x="5812" y="1326"/>
                    </a:lnTo>
                    <a:lnTo>
                      <a:pt x="5810" y="1326"/>
                    </a:lnTo>
                    <a:lnTo>
                      <a:pt x="5807" y="1326"/>
                    </a:lnTo>
                    <a:lnTo>
                      <a:pt x="5807" y="1326"/>
                    </a:lnTo>
                    <a:lnTo>
                      <a:pt x="5805" y="1326"/>
                    </a:lnTo>
                    <a:lnTo>
                      <a:pt x="5803" y="1326"/>
                    </a:lnTo>
                    <a:lnTo>
                      <a:pt x="5800" y="1326"/>
                    </a:lnTo>
                    <a:lnTo>
                      <a:pt x="5798" y="1326"/>
                    </a:lnTo>
                    <a:lnTo>
                      <a:pt x="5798" y="1326"/>
                    </a:lnTo>
                    <a:lnTo>
                      <a:pt x="5796" y="1326"/>
                    </a:lnTo>
                    <a:lnTo>
                      <a:pt x="5793" y="1326"/>
                    </a:lnTo>
                    <a:lnTo>
                      <a:pt x="5791" y="1326"/>
                    </a:lnTo>
                    <a:lnTo>
                      <a:pt x="5788" y="1326"/>
                    </a:lnTo>
                    <a:lnTo>
                      <a:pt x="5788" y="1326"/>
                    </a:lnTo>
                    <a:lnTo>
                      <a:pt x="5786" y="1326"/>
                    </a:lnTo>
                    <a:lnTo>
                      <a:pt x="5784" y="1326"/>
                    </a:lnTo>
                    <a:lnTo>
                      <a:pt x="5713" y="1326"/>
                    </a:lnTo>
                    <a:lnTo>
                      <a:pt x="5713" y="1329"/>
                    </a:lnTo>
                    <a:lnTo>
                      <a:pt x="5713" y="1449"/>
                    </a:lnTo>
                    <a:lnTo>
                      <a:pt x="5710" y="1449"/>
                    </a:lnTo>
                    <a:lnTo>
                      <a:pt x="5710" y="1449"/>
                    </a:lnTo>
                    <a:lnTo>
                      <a:pt x="5708" y="1449"/>
                    </a:lnTo>
                    <a:lnTo>
                      <a:pt x="5706" y="1449"/>
                    </a:lnTo>
                    <a:lnTo>
                      <a:pt x="5703" y="1449"/>
                    </a:lnTo>
                    <a:lnTo>
                      <a:pt x="5703" y="1449"/>
                    </a:lnTo>
                    <a:lnTo>
                      <a:pt x="5701" y="1449"/>
                    </a:lnTo>
                    <a:lnTo>
                      <a:pt x="5699" y="1449"/>
                    </a:lnTo>
                    <a:lnTo>
                      <a:pt x="5696" y="1449"/>
                    </a:lnTo>
                    <a:lnTo>
                      <a:pt x="5694" y="1449"/>
                    </a:lnTo>
                    <a:lnTo>
                      <a:pt x="5694" y="1449"/>
                    </a:lnTo>
                    <a:lnTo>
                      <a:pt x="5692" y="1449"/>
                    </a:lnTo>
                    <a:lnTo>
                      <a:pt x="5689" y="1449"/>
                    </a:lnTo>
                    <a:lnTo>
                      <a:pt x="5687" y="1449"/>
                    </a:lnTo>
                    <a:lnTo>
                      <a:pt x="5684" y="1449"/>
                    </a:lnTo>
                    <a:lnTo>
                      <a:pt x="5684" y="1449"/>
                    </a:lnTo>
                    <a:lnTo>
                      <a:pt x="5682" y="1449"/>
                    </a:lnTo>
                    <a:lnTo>
                      <a:pt x="5680" y="1449"/>
                    </a:lnTo>
                    <a:lnTo>
                      <a:pt x="5677" y="1449"/>
                    </a:lnTo>
                    <a:lnTo>
                      <a:pt x="5677" y="1449"/>
                    </a:lnTo>
                    <a:lnTo>
                      <a:pt x="5675" y="1449"/>
                    </a:lnTo>
                    <a:lnTo>
                      <a:pt x="5673" y="1449"/>
                    </a:lnTo>
                    <a:lnTo>
                      <a:pt x="5670" y="1449"/>
                    </a:lnTo>
                    <a:lnTo>
                      <a:pt x="5668" y="1449"/>
                    </a:lnTo>
                    <a:lnTo>
                      <a:pt x="5668" y="1449"/>
                    </a:lnTo>
                    <a:lnTo>
                      <a:pt x="5666" y="1449"/>
                    </a:lnTo>
                    <a:lnTo>
                      <a:pt x="5666" y="1376"/>
                    </a:lnTo>
                    <a:lnTo>
                      <a:pt x="5666" y="732"/>
                    </a:lnTo>
                    <a:lnTo>
                      <a:pt x="5531" y="732"/>
                    </a:lnTo>
                    <a:lnTo>
                      <a:pt x="5531" y="611"/>
                    </a:lnTo>
                    <a:lnTo>
                      <a:pt x="5301" y="611"/>
                    </a:lnTo>
                    <a:lnTo>
                      <a:pt x="5301" y="611"/>
                    </a:lnTo>
                    <a:lnTo>
                      <a:pt x="5301" y="732"/>
                    </a:lnTo>
                    <a:lnTo>
                      <a:pt x="5299" y="732"/>
                    </a:lnTo>
                    <a:lnTo>
                      <a:pt x="5297" y="732"/>
                    </a:lnTo>
                    <a:lnTo>
                      <a:pt x="5294" y="732"/>
                    </a:lnTo>
                    <a:lnTo>
                      <a:pt x="5292" y="732"/>
                    </a:lnTo>
                    <a:lnTo>
                      <a:pt x="5292" y="732"/>
                    </a:lnTo>
                    <a:lnTo>
                      <a:pt x="5290" y="732"/>
                    </a:lnTo>
                    <a:lnTo>
                      <a:pt x="5287" y="732"/>
                    </a:lnTo>
                    <a:lnTo>
                      <a:pt x="5285" y="732"/>
                    </a:lnTo>
                    <a:lnTo>
                      <a:pt x="5285" y="732"/>
                    </a:lnTo>
                    <a:lnTo>
                      <a:pt x="5282" y="732"/>
                    </a:lnTo>
                    <a:lnTo>
                      <a:pt x="5280" y="732"/>
                    </a:lnTo>
                    <a:lnTo>
                      <a:pt x="5278" y="732"/>
                    </a:lnTo>
                    <a:lnTo>
                      <a:pt x="5275" y="732"/>
                    </a:lnTo>
                    <a:lnTo>
                      <a:pt x="5275" y="732"/>
                    </a:lnTo>
                    <a:lnTo>
                      <a:pt x="5273" y="732"/>
                    </a:lnTo>
                    <a:lnTo>
                      <a:pt x="5271" y="732"/>
                    </a:lnTo>
                    <a:lnTo>
                      <a:pt x="5268" y="732"/>
                    </a:lnTo>
                    <a:lnTo>
                      <a:pt x="5268" y="732"/>
                    </a:lnTo>
                    <a:lnTo>
                      <a:pt x="5266" y="732"/>
                    </a:lnTo>
                    <a:lnTo>
                      <a:pt x="5264" y="732"/>
                    </a:lnTo>
                    <a:lnTo>
                      <a:pt x="5261" y="732"/>
                    </a:lnTo>
                    <a:lnTo>
                      <a:pt x="5259" y="732"/>
                    </a:lnTo>
                    <a:lnTo>
                      <a:pt x="5259" y="732"/>
                    </a:lnTo>
                    <a:lnTo>
                      <a:pt x="5256" y="732"/>
                    </a:lnTo>
                    <a:lnTo>
                      <a:pt x="5254" y="732"/>
                    </a:lnTo>
                    <a:lnTo>
                      <a:pt x="5252" y="732"/>
                    </a:lnTo>
                    <a:lnTo>
                      <a:pt x="5249" y="732"/>
                    </a:lnTo>
                    <a:lnTo>
                      <a:pt x="5249" y="732"/>
                    </a:lnTo>
                    <a:lnTo>
                      <a:pt x="5247" y="732"/>
                    </a:lnTo>
                    <a:lnTo>
                      <a:pt x="5245" y="732"/>
                    </a:lnTo>
                    <a:lnTo>
                      <a:pt x="5242" y="732"/>
                    </a:lnTo>
                    <a:lnTo>
                      <a:pt x="5242" y="732"/>
                    </a:lnTo>
                    <a:lnTo>
                      <a:pt x="5240" y="732"/>
                    </a:lnTo>
                    <a:lnTo>
                      <a:pt x="5238" y="732"/>
                    </a:lnTo>
                    <a:lnTo>
                      <a:pt x="5235" y="732"/>
                    </a:lnTo>
                    <a:lnTo>
                      <a:pt x="5233" y="732"/>
                    </a:lnTo>
                    <a:lnTo>
                      <a:pt x="5233" y="732"/>
                    </a:lnTo>
                    <a:lnTo>
                      <a:pt x="5230" y="732"/>
                    </a:lnTo>
                    <a:lnTo>
                      <a:pt x="5228" y="732"/>
                    </a:lnTo>
                    <a:lnTo>
                      <a:pt x="5226" y="732"/>
                    </a:lnTo>
                    <a:lnTo>
                      <a:pt x="5223" y="732"/>
                    </a:lnTo>
                    <a:lnTo>
                      <a:pt x="5223" y="732"/>
                    </a:lnTo>
                    <a:lnTo>
                      <a:pt x="5221" y="732"/>
                    </a:lnTo>
                    <a:lnTo>
                      <a:pt x="5219" y="732"/>
                    </a:lnTo>
                    <a:lnTo>
                      <a:pt x="5216" y="732"/>
                    </a:lnTo>
                    <a:lnTo>
                      <a:pt x="5216" y="732"/>
                    </a:lnTo>
                    <a:lnTo>
                      <a:pt x="5214" y="732"/>
                    </a:lnTo>
                    <a:lnTo>
                      <a:pt x="5212" y="732"/>
                    </a:lnTo>
                    <a:lnTo>
                      <a:pt x="5209" y="732"/>
                    </a:lnTo>
                    <a:lnTo>
                      <a:pt x="5207" y="732"/>
                    </a:lnTo>
                    <a:lnTo>
                      <a:pt x="5207" y="732"/>
                    </a:lnTo>
                    <a:lnTo>
                      <a:pt x="5178" y="732"/>
                    </a:lnTo>
                    <a:lnTo>
                      <a:pt x="5178" y="734"/>
                    </a:lnTo>
                    <a:lnTo>
                      <a:pt x="5178" y="973"/>
                    </a:lnTo>
                    <a:lnTo>
                      <a:pt x="5178" y="973"/>
                    </a:lnTo>
                    <a:lnTo>
                      <a:pt x="5176" y="973"/>
                    </a:lnTo>
                    <a:lnTo>
                      <a:pt x="5174" y="973"/>
                    </a:lnTo>
                    <a:lnTo>
                      <a:pt x="5171" y="973"/>
                    </a:lnTo>
                    <a:lnTo>
                      <a:pt x="5171" y="973"/>
                    </a:lnTo>
                    <a:lnTo>
                      <a:pt x="5169" y="973"/>
                    </a:lnTo>
                    <a:lnTo>
                      <a:pt x="5167" y="973"/>
                    </a:lnTo>
                    <a:lnTo>
                      <a:pt x="5164" y="973"/>
                    </a:lnTo>
                    <a:lnTo>
                      <a:pt x="5162" y="973"/>
                    </a:lnTo>
                    <a:lnTo>
                      <a:pt x="5162" y="973"/>
                    </a:lnTo>
                    <a:lnTo>
                      <a:pt x="5160" y="973"/>
                    </a:lnTo>
                    <a:lnTo>
                      <a:pt x="5157" y="973"/>
                    </a:lnTo>
                    <a:lnTo>
                      <a:pt x="5155" y="973"/>
                    </a:lnTo>
                    <a:lnTo>
                      <a:pt x="5152" y="973"/>
                    </a:lnTo>
                    <a:lnTo>
                      <a:pt x="5152" y="973"/>
                    </a:lnTo>
                    <a:lnTo>
                      <a:pt x="5150" y="973"/>
                    </a:lnTo>
                    <a:lnTo>
                      <a:pt x="5148" y="973"/>
                    </a:lnTo>
                    <a:lnTo>
                      <a:pt x="5145" y="973"/>
                    </a:lnTo>
                    <a:lnTo>
                      <a:pt x="5145" y="973"/>
                    </a:lnTo>
                    <a:lnTo>
                      <a:pt x="5143" y="973"/>
                    </a:lnTo>
                    <a:lnTo>
                      <a:pt x="5141" y="973"/>
                    </a:lnTo>
                    <a:lnTo>
                      <a:pt x="5138" y="973"/>
                    </a:lnTo>
                    <a:lnTo>
                      <a:pt x="5136" y="973"/>
                    </a:lnTo>
                    <a:lnTo>
                      <a:pt x="5136" y="973"/>
                    </a:lnTo>
                    <a:lnTo>
                      <a:pt x="5134" y="973"/>
                    </a:lnTo>
                    <a:lnTo>
                      <a:pt x="5131" y="973"/>
                    </a:lnTo>
                    <a:lnTo>
                      <a:pt x="5129" y="973"/>
                    </a:lnTo>
                    <a:lnTo>
                      <a:pt x="5126" y="973"/>
                    </a:lnTo>
                    <a:lnTo>
                      <a:pt x="5126" y="973"/>
                    </a:lnTo>
                    <a:lnTo>
                      <a:pt x="5124" y="973"/>
                    </a:lnTo>
                    <a:lnTo>
                      <a:pt x="5122" y="973"/>
                    </a:lnTo>
                    <a:lnTo>
                      <a:pt x="5119" y="973"/>
                    </a:lnTo>
                    <a:lnTo>
                      <a:pt x="5119" y="973"/>
                    </a:lnTo>
                    <a:lnTo>
                      <a:pt x="5117" y="973"/>
                    </a:lnTo>
                    <a:lnTo>
                      <a:pt x="5115" y="973"/>
                    </a:lnTo>
                    <a:lnTo>
                      <a:pt x="5112" y="973"/>
                    </a:lnTo>
                    <a:lnTo>
                      <a:pt x="5110" y="973"/>
                    </a:lnTo>
                    <a:lnTo>
                      <a:pt x="5110" y="973"/>
                    </a:lnTo>
                    <a:lnTo>
                      <a:pt x="5108" y="973"/>
                    </a:lnTo>
                    <a:lnTo>
                      <a:pt x="5105" y="973"/>
                    </a:lnTo>
                    <a:lnTo>
                      <a:pt x="5103" y="973"/>
                    </a:lnTo>
                    <a:lnTo>
                      <a:pt x="5103" y="973"/>
                    </a:lnTo>
                    <a:lnTo>
                      <a:pt x="5100" y="973"/>
                    </a:lnTo>
                    <a:lnTo>
                      <a:pt x="5098" y="973"/>
                    </a:lnTo>
                    <a:lnTo>
                      <a:pt x="5096" y="973"/>
                    </a:lnTo>
                    <a:lnTo>
                      <a:pt x="5093" y="973"/>
                    </a:lnTo>
                    <a:lnTo>
                      <a:pt x="5093" y="973"/>
                    </a:lnTo>
                    <a:lnTo>
                      <a:pt x="5091" y="973"/>
                    </a:lnTo>
                    <a:lnTo>
                      <a:pt x="5089" y="973"/>
                    </a:lnTo>
                    <a:lnTo>
                      <a:pt x="5086" y="973"/>
                    </a:lnTo>
                    <a:lnTo>
                      <a:pt x="5084" y="973"/>
                    </a:lnTo>
                    <a:lnTo>
                      <a:pt x="4980" y="973"/>
                    </a:lnTo>
                    <a:lnTo>
                      <a:pt x="4980" y="232"/>
                    </a:lnTo>
                    <a:lnTo>
                      <a:pt x="4980" y="232"/>
                    </a:lnTo>
                    <a:lnTo>
                      <a:pt x="4980" y="0"/>
                    </a:lnTo>
                    <a:close/>
                  </a:path>
                </a:pathLst>
              </a:custGeom>
              <a:solidFill>
                <a:srgbClr val="113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3" name="Freeform 145"/>
              <p:cNvSpPr>
                <a:spLocks/>
              </p:cNvSpPr>
              <p:nvPr/>
            </p:nvSpPr>
            <p:spPr bwMode="auto">
              <a:xfrm>
                <a:off x="-3" y="1660"/>
                <a:ext cx="7567" cy="2676"/>
              </a:xfrm>
              <a:custGeom>
                <a:avLst/>
                <a:gdLst>
                  <a:gd name="T0" fmla="*/ 4921 w 7567"/>
                  <a:gd name="T1" fmla="*/ 173 h 2676"/>
                  <a:gd name="T2" fmla="*/ 4864 w 7567"/>
                  <a:gd name="T3" fmla="*/ 173 h 2676"/>
                  <a:gd name="T4" fmla="*/ 4826 w 7567"/>
                  <a:gd name="T5" fmla="*/ 232 h 2676"/>
                  <a:gd name="T6" fmla="*/ 4682 w 7567"/>
                  <a:gd name="T7" fmla="*/ 476 h 2676"/>
                  <a:gd name="T8" fmla="*/ 4642 w 7567"/>
                  <a:gd name="T9" fmla="*/ 502 h 2676"/>
                  <a:gd name="T10" fmla="*/ 4602 w 7567"/>
                  <a:gd name="T11" fmla="*/ 528 h 2676"/>
                  <a:gd name="T12" fmla="*/ 4166 w 7567"/>
                  <a:gd name="T13" fmla="*/ 597 h 2676"/>
                  <a:gd name="T14" fmla="*/ 4162 w 7567"/>
                  <a:gd name="T15" fmla="*/ 585 h 2676"/>
                  <a:gd name="T16" fmla="*/ 4003 w 7567"/>
                  <a:gd name="T17" fmla="*/ 644 h 2676"/>
                  <a:gd name="T18" fmla="*/ 3961 w 7567"/>
                  <a:gd name="T19" fmla="*/ 928 h 2676"/>
                  <a:gd name="T20" fmla="*/ 3916 w 7567"/>
                  <a:gd name="T21" fmla="*/ 928 h 2676"/>
                  <a:gd name="T22" fmla="*/ 3861 w 7567"/>
                  <a:gd name="T23" fmla="*/ 995 h 2676"/>
                  <a:gd name="T24" fmla="*/ 3812 w 7567"/>
                  <a:gd name="T25" fmla="*/ 1224 h 2676"/>
                  <a:gd name="T26" fmla="*/ 3767 w 7567"/>
                  <a:gd name="T27" fmla="*/ 1224 h 2676"/>
                  <a:gd name="T28" fmla="*/ 3729 w 7567"/>
                  <a:gd name="T29" fmla="*/ 1392 h 2676"/>
                  <a:gd name="T30" fmla="*/ 3689 w 7567"/>
                  <a:gd name="T31" fmla="*/ 1317 h 2676"/>
                  <a:gd name="T32" fmla="*/ 3493 w 7567"/>
                  <a:gd name="T33" fmla="*/ 436 h 2676"/>
                  <a:gd name="T34" fmla="*/ 3341 w 7567"/>
                  <a:gd name="T35" fmla="*/ 583 h 2676"/>
                  <a:gd name="T36" fmla="*/ 3303 w 7567"/>
                  <a:gd name="T37" fmla="*/ 658 h 2676"/>
                  <a:gd name="T38" fmla="*/ 3258 w 7567"/>
                  <a:gd name="T39" fmla="*/ 658 h 2676"/>
                  <a:gd name="T40" fmla="*/ 3152 w 7567"/>
                  <a:gd name="T41" fmla="*/ 763 h 2676"/>
                  <a:gd name="T42" fmla="*/ 3112 w 7567"/>
                  <a:gd name="T43" fmla="*/ 980 h 2676"/>
                  <a:gd name="T44" fmla="*/ 3067 w 7567"/>
                  <a:gd name="T45" fmla="*/ 980 h 2676"/>
                  <a:gd name="T46" fmla="*/ 2909 w 7567"/>
                  <a:gd name="T47" fmla="*/ 1241 h 2676"/>
                  <a:gd name="T48" fmla="*/ 2864 w 7567"/>
                  <a:gd name="T49" fmla="*/ 1241 h 2676"/>
                  <a:gd name="T50" fmla="*/ 2819 w 7567"/>
                  <a:gd name="T51" fmla="*/ 1241 h 2676"/>
                  <a:gd name="T52" fmla="*/ 2062 w 7567"/>
                  <a:gd name="T53" fmla="*/ 334 h 2676"/>
                  <a:gd name="T54" fmla="*/ 1972 w 7567"/>
                  <a:gd name="T55" fmla="*/ 370 h 2676"/>
                  <a:gd name="T56" fmla="*/ 1837 w 7567"/>
                  <a:gd name="T57" fmla="*/ 1132 h 2676"/>
                  <a:gd name="T58" fmla="*/ 1792 w 7567"/>
                  <a:gd name="T59" fmla="*/ 1132 h 2676"/>
                  <a:gd name="T60" fmla="*/ 1726 w 7567"/>
                  <a:gd name="T61" fmla="*/ 1158 h 2676"/>
                  <a:gd name="T62" fmla="*/ 1686 w 7567"/>
                  <a:gd name="T63" fmla="*/ 1201 h 2676"/>
                  <a:gd name="T64" fmla="*/ 1499 w 7567"/>
                  <a:gd name="T65" fmla="*/ 1127 h 2676"/>
                  <a:gd name="T66" fmla="*/ 1459 w 7567"/>
                  <a:gd name="T67" fmla="*/ 1201 h 2676"/>
                  <a:gd name="T68" fmla="*/ 1041 w 7567"/>
                  <a:gd name="T69" fmla="*/ 829 h 2676"/>
                  <a:gd name="T70" fmla="*/ 996 w 7567"/>
                  <a:gd name="T71" fmla="*/ 829 h 2676"/>
                  <a:gd name="T72" fmla="*/ 825 w 7567"/>
                  <a:gd name="T73" fmla="*/ 1070 h 2676"/>
                  <a:gd name="T74" fmla="*/ 326 w 7567"/>
                  <a:gd name="T75" fmla="*/ 618 h 2676"/>
                  <a:gd name="T76" fmla="*/ 282 w 7567"/>
                  <a:gd name="T77" fmla="*/ 618 h 2676"/>
                  <a:gd name="T78" fmla="*/ 104 w 7567"/>
                  <a:gd name="T79" fmla="*/ 1454 h 2676"/>
                  <a:gd name="T80" fmla="*/ 62 w 7567"/>
                  <a:gd name="T81" fmla="*/ 1454 h 2676"/>
                  <a:gd name="T82" fmla="*/ 21 w 7567"/>
                  <a:gd name="T83" fmla="*/ 1534 h 2676"/>
                  <a:gd name="T84" fmla="*/ 7328 w 7567"/>
                  <a:gd name="T85" fmla="*/ 509 h 2676"/>
                  <a:gd name="T86" fmla="*/ 7035 w 7567"/>
                  <a:gd name="T87" fmla="*/ 1693 h 2676"/>
                  <a:gd name="T88" fmla="*/ 6994 w 7567"/>
                  <a:gd name="T89" fmla="*/ 1094 h 2676"/>
                  <a:gd name="T90" fmla="*/ 6439 w 7567"/>
                  <a:gd name="T91" fmla="*/ 879 h 2676"/>
                  <a:gd name="T92" fmla="*/ 6401 w 7567"/>
                  <a:gd name="T93" fmla="*/ 935 h 2676"/>
                  <a:gd name="T94" fmla="*/ 6370 w 7567"/>
                  <a:gd name="T95" fmla="*/ 1364 h 2676"/>
                  <a:gd name="T96" fmla="*/ 6330 w 7567"/>
                  <a:gd name="T97" fmla="*/ 1210 h 2676"/>
                  <a:gd name="T98" fmla="*/ 6122 w 7567"/>
                  <a:gd name="T99" fmla="*/ 1130 h 2676"/>
                  <a:gd name="T100" fmla="*/ 5968 w 7567"/>
                  <a:gd name="T101" fmla="*/ 1130 h 2676"/>
                  <a:gd name="T102" fmla="*/ 5923 w 7567"/>
                  <a:gd name="T103" fmla="*/ 1130 h 2676"/>
                  <a:gd name="T104" fmla="*/ 5883 w 7567"/>
                  <a:gd name="T105" fmla="*/ 1210 h 2676"/>
                  <a:gd name="T106" fmla="*/ 5843 w 7567"/>
                  <a:gd name="T107" fmla="*/ 1326 h 2676"/>
                  <a:gd name="T108" fmla="*/ 5798 w 7567"/>
                  <a:gd name="T109" fmla="*/ 1326 h 2676"/>
                  <a:gd name="T110" fmla="*/ 5689 w 7567"/>
                  <a:gd name="T111" fmla="*/ 1449 h 2676"/>
                  <a:gd name="T112" fmla="*/ 5292 w 7567"/>
                  <a:gd name="T113" fmla="*/ 732 h 2676"/>
                  <a:gd name="T114" fmla="*/ 5249 w 7567"/>
                  <a:gd name="T115" fmla="*/ 732 h 2676"/>
                  <a:gd name="T116" fmla="*/ 5178 w 7567"/>
                  <a:gd name="T117" fmla="*/ 732 h 2676"/>
                  <a:gd name="T118" fmla="*/ 5138 w 7567"/>
                  <a:gd name="T119" fmla="*/ 973 h 2676"/>
                  <a:gd name="T120" fmla="*/ 5093 w 7567"/>
                  <a:gd name="T121" fmla="*/ 973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67" h="2676">
                    <a:moveTo>
                      <a:pt x="4980" y="0"/>
                    </a:moveTo>
                    <a:lnTo>
                      <a:pt x="4959" y="0"/>
                    </a:lnTo>
                    <a:lnTo>
                      <a:pt x="4959" y="3"/>
                    </a:lnTo>
                    <a:lnTo>
                      <a:pt x="4959" y="173"/>
                    </a:lnTo>
                    <a:lnTo>
                      <a:pt x="4956" y="173"/>
                    </a:lnTo>
                    <a:lnTo>
                      <a:pt x="4954" y="173"/>
                    </a:lnTo>
                    <a:lnTo>
                      <a:pt x="4951" y="173"/>
                    </a:lnTo>
                    <a:lnTo>
                      <a:pt x="4951" y="173"/>
                    </a:lnTo>
                    <a:lnTo>
                      <a:pt x="4949" y="173"/>
                    </a:lnTo>
                    <a:lnTo>
                      <a:pt x="4947" y="173"/>
                    </a:lnTo>
                    <a:lnTo>
                      <a:pt x="4944" y="173"/>
                    </a:lnTo>
                    <a:lnTo>
                      <a:pt x="4942" y="173"/>
                    </a:lnTo>
                    <a:lnTo>
                      <a:pt x="4942" y="173"/>
                    </a:lnTo>
                    <a:lnTo>
                      <a:pt x="4940" y="173"/>
                    </a:lnTo>
                    <a:lnTo>
                      <a:pt x="4937" y="173"/>
                    </a:lnTo>
                    <a:lnTo>
                      <a:pt x="4935" y="173"/>
                    </a:lnTo>
                    <a:lnTo>
                      <a:pt x="4933" y="173"/>
                    </a:lnTo>
                    <a:lnTo>
                      <a:pt x="4933" y="173"/>
                    </a:lnTo>
                    <a:lnTo>
                      <a:pt x="4930" y="173"/>
                    </a:lnTo>
                    <a:lnTo>
                      <a:pt x="4928" y="173"/>
                    </a:lnTo>
                    <a:lnTo>
                      <a:pt x="4925" y="173"/>
                    </a:lnTo>
                    <a:lnTo>
                      <a:pt x="4925" y="173"/>
                    </a:lnTo>
                    <a:lnTo>
                      <a:pt x="4923" y="173"/>
                    </a:lnTo>
                    <a:lnTo>
                      <a:pt x="4921" y="173"/>
                    </a:lnTo>
                    <a:lnTo>
                      <a:pt x="4921" y="38"/>
                    </a:lnTo>
                    <a:lnTo>
                      <a:pt x="4921" y="0"/>
                    </a:lnTo>
                    <a:lnTo>
                      <a:pt x="4899" y="0"/>
                    </a:lnTo>
                    <a:lnTo>
                      <a:pt x="4899" y="3"/>
                    </a:lnTo>
                    <a:lnTo>
                      <a:pt x="4899" y="173"/>
                    </a:lnTo>
                    <a:lnTo>
                      <a:pt x="4899" y="173"/>
                    </a:lnTo>
                    <a:lnTo>
                      <a:pt x="4897" y="173"/>
                    </a:lnTo>
                    <a:lnTo>
                      <a:pt x="4895" y="173"/>
                    </a:lnTo>
                    <a:lnTo>
                      <a:pt x="4892" y="173"/>
                    </a:lnTo>
                    <a:lnTo>
                      <a:pt x="4890" y="173"/>
                    </a:lnTo>
                    <a:lnTo>
                      <a:pt x="4890" y="173"/>
                    </a:lnTo>
                    <a:lnTo>
                      <a:pt x="4888" y="173"/>
                    </a:lnTo>
                    <a:lnTo>
                      <a:pt x="4885" y="173"/>
                    </a:lnTo>
                    <a:lnTo>
                      <a:pt x="4883" y="173"/>
                    </a:lnTo>
                    <a:lnTo>
                      <a:pt x="4881" y="173"/>
                    </a:lnTo>
                    <a:lnTo>
                      <a:pt x="4881" y="173"/>
                    </a:lnTo>
                    <a:lnTo>
                      <a:pt x="4878" y="173"/>
                    </a:lnTo>
                    <a:lnTo>
                      <a:pt x="4876" y="173"/>
                    </a:lnTo>
                    <a:lnTo>
                      <a:pt x="4873" y="173"/>
                    </a:lnTo>
                    <a:lnTo>
                      <a:pt x="4873" y="173"/>
                    </a:lnTo>
                    <a:lnTo>
                      <a:pt x="4871" y="173"/>
                    </a:lnTo>
                    <a:lnTo>
                      <a:pt x="4869" y="173"/>
                    </a:lnTo>
                    <a:lnTo>
                      <a:pt x="4866" y="173"/>
                    </a:lnTo>
                    <a:lnTo>
                      <a:pt x="4864" y="173"/>
                    </a:lnTo>
                    <a:lnTo>
                      <a:pt x="4864" y="173"/>
                    </a:lnTo>
                    <a:lnTo>
                      <a:pt x="4862" y="173"/>
                    </a:lnTo>
                    <a:lnTo>
                      <a:pt x="4859" y="173"/>
                    </a:lnTo>
                    <a:lnTo>
                      <a:pt x="4857" y="173"/>
                    </a:lnTo>
                    <a:lnTo>
                      <a:pt x="4855" y="173"/>
                    </a:lnTo>
                    <a:lnTo>
                      <a:pt x="4855" y="173"/>
                    </a:lnTo>
                    <a:lnTo>
                      <a:pt x="4852" y="173"/>
                    </a:lnTo>
                    <a:lnTo>
                      <a:pt x="4852" y="173"/>
                    </a:lnTo>
                    <a:lnTo>
                      <a:pt x="4852" y="175"/>
                    </a:lnTo>
                    <a:lnTo>
                      <a:pt x="4852" y="232"/>
                    </a:lnTo>
                    <a:lnTo>
                      <a:pt x="4850" y="232"/>
                    </a:lnTo>
                    <a:lnTo>
                      <a:pt x="4847" y="232"/>
                    </a:lnTo>
                    <a:lnTo>
                      <a:pt x="4845" y="232"/>
                    </a:lnTo>
                    <a:lnTo>
                      <a:pt x="4843" y="232"/>
                    </a:lnTo>
                    <a:lnTo>
                      <a:pt x="4843" y="232"/>
                    </a:lnTo>
                    <a:lnTo>
                      <a:pt x="4840" y="232"/>
                    </a:lnTo>
                    <a:lnTo>
                      <a:pt x="4838" y="232"/>
                    </a:lnTo>
                    <a:lnTo>
                      <a:pt x="4836" y="232"/>
                    </a:lnTo>
                    <a:lnTo>
                      <a:pt x="4836" y="232"/>
                    </a:lnTo>
                    <a:lnTo>
                      <a:pt x="4833" y="232"/>
                    </a:lnTo>
                    <a:lnTo>
                      <a:pt x="4831" y="232"/>
                    </a:lnTo>
                    <a:lnTo>
                      <a:pt x="4829" y="232"/>
                    </a:lnTo>
                    <a:lnTo>
                      <a:pt x="4826" y="232"/>
                    </a:lnTo>
                    <a:lnTo>
                      <a:pt x="4826" y="232"/>
                    </a:lnTo>
                    <a:lnTo>
                      <a:pt x="4824" y="232"/>
                    </a:lnTo>
                    <a:lnTo>
                      <a:pt x="4821" y="232"/>
                    </a:lnTo>
                    <a:lnTo>
                      <a:pt x="4819" y="232"/>
                    </a:lnTo>
                    <a:lnTo>
                      <a:pt x="4817" y="232"/>
                    </a:lnTo>
                    <a:lnTo>
                      <a:pt x="4817" y="232"/>
                    </a:lnTo>
                    <a:lnTo>
                      <a:pt x="4814" y="232"/>
                    </a:lnTo>
                    <a:lnTo>
                      <a:pt x="4812" y="232"/>
                    </a:lnTo>
                    <a:lnTo>
                      <a:pt x="4810" y="232"/>
                    </a:lnTo>
                    <a:lnTo>
                      <a:pt x="4810" y="232"/>
                    </a:lnTo>
                    <a:lnTo>
                      <a:pt x="4807" y="232"/>
                    </a:lnTo>
                    <a:lnTo>
                      <a:pt x="4805" y="232"/>
                    </a:lnTo>
                    <a:lnTo>
                      <a:pt x="4802" y="232"/>
                    </a:lnTo>
                    <a:lnTo>
                      <a:pt x="4800" y="232"/>
                    </a:lnTo>
                    <a:lnTo>
                      <a:pt x="4800" y="232"/>
                    </a:lnTo>
                    <a:lnTo>
                      <a:pt x="4798" y="232"/>
                    </a:lnTo>
                    <a:lnTo>
                      <a:pt x="4795" y="232"/>
                    </a:lnTo>
                    <a:lnTo>
                      <a:pt x="4793" y="232"/>
                    </a:lnTo>
                    <a:lnTo>
                      <a:pt x="4791" y="232"/>
                    </a:lnTo>
                    <a:lnTo>
                      <a:pt x="4750" y="232"/>
                    </a:lnTo>
                    <a:lnTo>
                      <a:pt x="4750" y="235"/>
                    </a:lnTo>
                    <a:lnTo>
                      <a:pt x="4687" y="474"/>
                    </a:lnTo>
                    <a:lnTo>
                      <a:pt x="4684" y="474"/>
                    </a:lnTo>
                    <a:lnTo>
                      <a:pt x="4682" y="476"/>
                    </a:lnTo>
                    <a:lnTo>
                      <a:pt x="4682" y="476"/>
                    </a:lnTo>
                    <a:lnTo>
                      <a:pt x="4680" y="479"/>
                    </a:lnTo>
                    <a:lnTo>
                      <a:pt x="4677" y="479"/>
                    </a:lnTo>
                    <a:lnTo>
                      <a:pt x="4677" y="479"/>
                    </a:lnTo>
                    <a:lnTo>
                      <a:pt x="4675" y="481"/>
                    </a:lnTo>
                    <a:lnTo>
                      <a:pt x="4672" y="481"/>
                    </a:lnTo>
                    <a:lnTo>
                      <a:pt x="4670" y="483"/>
                    </a:lnTo>
                    <a:lnTo>
                      <a:pt x="4670" y="483"/>
                    </a:lnTo>
                    <a:lnTo>
                      <a:pt x="4668" y="486"/>
                    </a:lnTo>
                    <a:lnTo>
                      <a:pt x="4665" y="486"/>
                    </a:lnTo>
                    <a:lnTo>
                      <a:pt x="4665" y="488"/>
                    </a:lnTo>
                    <a:lnTo>
                      <a:pt x="4663" y="488"/>
                    </a:lnTo>
                    <a:lnTo>
                      <a:pt x="4661" y="490"/>
                    </a:lnTo>
                    <a:lnTo>
                      <a:pt x="4661" y="490"/>
                    </a:lnTo>
                    <a:lnTo>
                      <a:pt x="4658" y="490"/>
                    </a:lnTo>
                    <a:lnTo>
                      <a:pt x="4656" y="493"/>
                    </a:lnTo>
                    <a:lnTo>
                      <a:pt x="4656" y="493"/>
                    </a:lnTo>
                    <a:lnTo>
                      <a:pt x="4654" y="495"/>
                    </a:lnTo>
                    <a:lnTo>
                      <a:pt x="4651" y="495"/>
                    </a:lnTo>
                    <a:lnTo>
                      <a:pt x="4649" y="497"/>
                    </a:lnTo>
                    <a:lnTo>
                      <a:pt x="4649" y="497"/>
                    </a:lnTo>
                    <a:lnTo>
                      <a:pt x="4646" y="500"/>
                    </a:lnTo>
                    <a:lnTo>
                      <a:pt x="4644" y="500"/>
                    </a:lnTo>
                    <a:lnTo>
                      <a:pt x="4644" y="500"/>
                    </a:lnTo>
                    <a:lnTo>
                      <a:pt x="4642" y="502"/>
                    </a:lnTo>
                    <a:lnTo>
                      <a:pt x="4639" y="502"/>
                    </a:lnTo>
                    <a:lnTo>
                      <a:pt x="4639" y="505"/>
                    </a:lnTo>
                    <a:lnTo>
                      <a:pt x="4637" y="505"/>
                    </a:lnTo>
                    <a:lnTo>
                      <a:pt x="4635" y="507"/>
                    </a:lnTo>
                    <a:lnTo>
                      <a:pt x="4635" y="507"/>
                    </a:lnTo>
                    <a:lnTo>
                      <a:pt x="4632" y="509"/>
                    </a:lnTo>
                    <a:lnTo>
                      <a:pt x="4630" y="509"/>
                    </a:lnTo>
                    <a:lnTo>
                      <a:pt x="4628" y="509"/>
                    </a:lnTo>
                    <a:lnTo>
                      <a:pt x="4628" y="512"/>
                    </a:lnTo>
                    <a:lnTo>
                      <a:pt x="4625" y="512"/>
                    </a:lnTo>
                    <a:lnTo>
                      <a:pt x="4623" y="514"/>
                    </a:lnTo>
                    <a:lnTo>
                      <a:pt x="4623" y="514"/>
                    </a:lnTo>
                    <a:lnTo>
                      <a:pt x="4620" y="516"/>
                    </a:lnTo>
                    <a:lnTo>
                      <a:pt x="4618" y="516"/>
                    </a:lnTo>
                    <a:lnTo>
                      <a:pt x="4618" y="519"/>
                    </a:lnTo>
                    <a:lnTo>
                      <a:pt x="4616" y="519"/>
                    </a:lnTo>
                    <a:lnTo>
                      <a:pt x="4613" y="521"/>
                    </a:lnTo>
                    <a:lnTo>
                      <a:pt x="4613" y="521"/>
                    </a:lnTo>
                    <a:lnTo>
                      <a:pt x="4611" y="521"/>
                    </a:lnTo>
                    <a:lnTo>
                      <a:pt x="4609" y="524"/>
                    </a:lnTo>
                    <a:lnTo>
                      <a:pt x="4606" y="524"/>
                    </a:lnTo>
                    <a:lnTo>
                      <a:pt x="4606" y="526"/>
                    </a:lnTo>
                    <a:lnTo>
                      <a:pt x="4604" y="526"/>
                    </a:lnTo>
                    <a:lnTo>
                      <a:pt x="4602" y="528"/>
                    </a:lnTo>
                    <a:lnTo>
                      <a:pt x="4583" y="540"/>
                    </a:lnTo>
                    <a:lnTo>
                      <a:pt x="4434" y="540"/>
                    </a:lnTo>
                    <a:lnTo>
                      <a:pt x="4405" y="505"/>
                    </a:lnTo>
                    <a:lnTo>
                      <a:pt x="4242" y="505"/>
                    </a:lnTo>
                    <a:lnTo>
                      <a:pt x="4242" y="507"/>
                    </a:lnTo>
                    <a:lnTo>
                      <a:pt x="4169" y="604"/>
                    </a:lnTo>
                    <a:lnTo>
                      <a:pt x="4169" y="604"/>
                    </a:lnTo>
                    <a:lnTo>
                      <a:pt x="4169" y="604"/>
                    </a:lnTo>
                    <a:lnTo>
                      <a:pt x="4169" y="602"/>
                    </a:lnTo>
                    <a:lnTo>
                      <a:pt x="4169" y="602"/>
                    </a:lnTo>
                    <a:lnTo>
                      <a:pt x="4169" y="602"/>
                    </a:lnTo>
                    <a:lnTo>
                      <a:pt x="4169" y="602"/>
                    </a:lnTo>
                    <a:lnTo>
                      <a:pt x="4169" y="602"/>
                    </a:lnTo>
                    <a:lnTo>
                      <a:pt x="4169" y="602"/>
                    </a:lnTo>
                    <a:lnTo>
                      <a:pt x="4169" y="599"/>
                    </a:lnTo>
                    <a:lnTo>
                      <a:pt x="4166" y="599"/>
                    </a:lnTo>
                    <a:lnTo>
                      <a:pt x="4166" y="599"/>
                    </a:lnTo>
                    <a:lnTo>
                      <a:pt x="4166" y="599"/>
                    </a:lnTo>
                    <a:lnTo>
                      <a:pt x="4166" y="599"/>
                    </a:lnTo>
                    <a:lnTo>
                      <a:pt x="4166" y="597"/>
                    </a:lnTo>
                    <a:lnTo>
                      <a:pt x="4166" y="597"/>
                    </a:lnTo>
                    <a:lnTo>
                      <a:pt x="4166" y="597"/>
                    </a:lnTo>
                    <a:lnTo>
                      <a:pt x="4166" y="597"/>
                    </a:lnTo>
                    <a:lnTo>
                      <a:pt x="4166" y="597"/>
                    </a:lnTo>
                    <a:lnTo>
                      <a:pt x="4166" y="597"/>
                    </a:lnTo>
                    <a:lnTo>
                      <a:pt x="4166" y="595"/>
                    </a:lnTo>
                    <a:lnTo>
                      <a:pt x="4166" y="595"/>
                    </a:lnTo>
                    <a:lnTo>
                      <a:pt x="4166" y="595"/>
                    </a:lnTo>
                    <a:lnTo>
                      <a:pt x="4164" y="595"/>
                    </a:lnTo>
                    <a:lnTo>
                      <a:pt x="4164" y="595"/>
                    </a:lnTo>
                    <a:lnTo>
                      <a:pt x="4164" y="592"/>
                    </a:lnTo>
                    <a:lnTo>
                      <a:pt x="4164" y="592"/>
                    </a:lnTo>
                    <a:lnTo>
                      <a:pt x="4164" y="592"/>
                    </a:lnTo>
                    <a:lnTo>
                      <a:pt x="4164" y="592"/>
                    </a:lnTo>
                    <a:lnTo>
                      <a:pt x="4164" y="592"/>
                    </a:lnTo>
                    <a:lnTo>
                      <a:pt x="4164" y="590"/>
                    </a:lnTo>
                    <a:lnTo>
                      <a:pt x="4164" y="590"/>
                    </a:lnTo>
                    <a:lnTo>
                      <a:pt x="4164" y="590"/>
                    </a:lnTo>
                    <a:lnTo>
                      <a:pt x="4164" y="590"/>
                    </a:lnTo>
                    <a:lnTo>
                      <a:pt x="4164" y="590"/>
                    </a:lnTo>
                    <a:lnTo>
                      <a:pt x="4164" y="590"/>
                    </a:lnTo>
                    <a:lnTo>
                      <a:pt x="4162" y="587"/>
                    </a:lnTo>
                    <a:lnTo>
                      <a:pt x="4162" y="587"/>
                    </a:lnTo>
                    <a:lnTo>
                      <a:pt x="4162" y="587"/>
                    </a:lnTo>
                    <a:lnTo>
                      <a:pt x="4162" y="587"/>
                    </a:lnTo>
                    <a:lnTo>
                      <a:pt x="4162" y="587"/>
                    </a:lnTo>
                    <a:lnTo>
                      <a:pt x="4162" y="585"/>
                    </a:lnTo>
                    <a:lnTo>
                      <a:pt x="4162" y="585"/>
                    </a:lnTo>
                    <a:lnTo>
                      <a:pt x="4162" y="585"/>
                    </a:lnTo>
                    <a:lnTo>
                      <a:pt x="4124" y="495"/>
                    </a:lnTo>
                    <a:lnTo>
                      <a:pt x="4124" y="455"/>
                    </a:lnTo>
                    <a:lnTo>
                      <a:pt x="4119" y="455"/>
                    </a:lnTo>
                    <a:lnTo>
                      <a:pt x="4119" y="391"/>
                    </a:lnTo>
                    <a:lnTo>
                      <a:pt x="4110" y="391"/>
                    </a:lnTo>
                    <a:lnTo>
                      <a:pt x="4110" y="329"/>
                    </a:lnTo>
                    <a:lnTo>
                      <a:pt x="4098" y="329"/>
                    </a:lnTo>
                    <a:lnTo>
                      <a:pt x="4098" y="329"/>
                    </a:lnTo>
                    <a:lnTo>
                      <a:pt x="4098" y="391"/>
                    </a:lnTo>
                    <a:lnTo>
                      <a:pt x="4096" y="391"/>
                    </a:lnTo>
                    <a:lnTo>
                      <a:pt x="4093" y="391"/>
                    </a:lnTo>
                    <a:lnTo>
                      <a:pt x="4093" y="391"/>
                    </a:lnTo>
                    <a:lnTo>
                      <a:pt x="4091" y="391"/>
                    </a:lnTo>
                    <a:lnTo>
                      <a:pt x="4091" y="391"/>
                    </a:lnTo>
                    <a:lnTo>
                      <a:pt x="4091" y="393"/>
                    </a:lnTo>
                    <a:lnTo>
                      <a:pt x="4091" y="455"/>
                    </a:lnTo>
                    <a:lnTo>
                      <a:pt x="4088" y="455"/>
                    </a:lnTo>
                    <a:lnTo>
                      <a:pt x="4086" y="455"/>
                    </a:lnTo>
                    <a:lnTo>
                      <a:pt x="4084" y="455"/>
                    </a:lnTo>
                    <a:lnTo>
                      <a:pt x="4084" y="455"/>
                    </a:lnTo>
                    <a:lnTo>
                      <a:pt x="4084" y="457"/>
                    </a:lnTo>
                    <a:lnTo>
                      <a:pt x="4084" y="493"/>
                    </a:lnTo>
                    <a:lnTo>
                      <a:pt x="4003" y="644"/>
                    </a:lnTo>
                    <a:lnTo>
                      <a:pt x="4003" y="928"/>
                    </a:lnTo>
                    <a:lnTo>
                      <a:pt x="4001" y="928"/>
                    </a:lnTo>
                    <a:lnTo>
                      <a:pt x="3999" y="928"/>
                    </a:lnTo>
                    <a:lnTo>
                      <a:pt x="3996" y="928"/>
                    </a:lnTo>
                    <a:lnTo>
                      <a:pt x="3994" y="928"/>
                    </a:lnTo>
                    <a:lnTo>
                      <a:pt x="3994" y="928"/>
                    </a:lnTo>
                    <a:lnTo>
                      <a:pt x="3991" y="928"/>
                    </a:lnTo>
                    <a:lnTo>
                      <a:pt x="3989" y="928"/>
                    </a:lnTo>
                    <a:lnTo>
                      <a:pt x="3987" y="928"/>
                    </a:lnTo>
                    <a:lnTo>
                      <a:pt x="3987" y="928"/>
                    </a:lnTo>
                    <a:lnTo>
                      <a:pt x="3984" y="928"/>
                    </a:lnTo>
                    <a:lnTo>
                      <a:pt x="3982" y="928"/>
                    </a:lnTo>
                    <a:lnTo>
                      <a:pt x="3980" y="928"/>
                    </a:lnTo>
                    <a:lnTo>
                      <a:pt x="3977" y="928"/>
                    </a:lnTo>
                    <a:lnTo>
                      <a:pt x="3977" y="928"/>
                    </a:lnTo>
                    <a:lnTo>
                      <a:pt x="3975" y="928"/>
                    </a:lnTo>
                    <a:lnTo>
                      <a:pt x="3973" y="928"/>
                    </a:lnTo>
                    <a:lnTo>
                      <a:pt x="3970" y="928"/>
                    </a:lnTo>
                    <a:lnTo>
                      <a:pt x="3968" y="928"/>
                    </a:lnTo>
                    <a:lnTo>
                      <a:pt x="3968" y="928"/>
                    </a:lnTo>
                    <a:lnTo>
                      <a:pt x="3965" y="928"/>
                    </a:lnTo>
                    <a:lnTo>
                      <a:pt x="3963" y="928"/>
                    </a:lnTo>
                    <a:lnTo>
                      <a:pt x="3961" y="928"/>
                    </a:lnTo>
                    <a:lnTo>
                      <a:pt x="3961" y="928"/>
                    </a:lnTo>
                    <a:lnTo>
                      <a:pt x="3958" y="928"/>
                    </a:lnTo>
                    <a:lnTo>
                      <a:pt x="3956" y="928"/>
                    </a:lnTo>
                    <a:lnTo>
                      <a:pt x="3954" y="928"/>
                    </a:lnTo>
                    <a:lnTo>
                      <a:pt x="3951" y="928"/>
                    </a:lnTo>
                    <a:lnTo>
                      <a:pt x="3951" y="928"/>
                    </a:lnTo>
                    <a:lnTo>
                      <a:pt x="3949" y="928"/>
                    </a:lnTo>
                    <a:lnTo>
                      <a:pt x="3947" y="928"/>
                    </a:lnTo>
                    <a:lnTo>
                      <a:pt x="3944" y="928"/>
                    </a:lnTo>
                    <a:lnTo>
                      <a:pt x="3942" y="928"/>
                    </a:lnTo>
                    <a:lnTo>
                      <a:pt x="3942" y="928"/>
                    </a:lnTo>
                    <a:lnTo>
                      <a:pt x="3939" y="928"/>
                    </a:lnTo>
                    <a:lnTo>
                      <a:pt x="3937" y="928"/>
                    </a:lnTo>
                    <a:lnTo>
                      <a:pt x="3935" y="928"/>
                    </a:lnTo>
                    <a:lnTo>
                      <a:pt x="3935" y="928"/>
                    </a:lnTo>
                    <a:lnTo>
                      <a:pt x="3932" y="928"/>
                    </a:lnTo>
                    <a:lnTo>
                      <a:pt x="3930" y="928"/>
                    </a:lnTo>
                    <a:lnTo>
                      <a:pt x="3928" y="928"/>
                    </a:lnTo>
                    <a:lnTo>
                      <a:pt x="3925" y="928"/>
                    </a:lnTo>
                    <a:lnTo>
                      <a:pt x="3925" y="928"/>
                    </a:lnTo>
                    <a:lnTo>
                      <a:pt x="3923" y="928"/>
                    </a:lnTo>
                    <a:lnTo>
                      <a:pt x="3921" y="928"/>
                    </a:lnTo>
                    <a:lnTo>
                      <a:pt x="3918" y="928"/>
                    </a:lnTo>
                    <a:lnTo>
                      <a:pt x="3918" y="928"/>
                    </a:lnTo>
                    <a:lnTo>
                      <a:pt x="3916" y="928"/>
                    </a:lnTo>
                    <a:lnTo>
                      <a:pt x="3913" y="928"/>
                    </a:lnTo>
                    <a:lnTo>
                      <a:pt x="3911" y="928"/>
                    </a:lnTo>
                    <a:lnTo>
                      <a:pt x="3909" y="928"/>
                    </a:lnTo>
                    <a:lnTo>
                      <a:pt x="3909" y="928"/>
                    </a:lnTo>
                    <a:lnTo>
                      <a:pt x="3892" y="928"/>
                    </a:lnTo>
                    <a:lnTo>
                      <a:pt x="3892" y="931"/>
                    </a:lnTo>
                    <a:lnTo>
                      <a:pt x="3892" y="995"/>
                    </a:lnTo>
                    <a:lnTo>
                      <a:pt x="3892" y="995"/>
                    </a:lnTo>
                    <a:lnTo>
                      <a:pt x="3890" y="995"/>
                    </a:lnTo>
                    <a:lnTo>
                      <a:pt x="3887" y="995"/>
                    </a:lnTo>
                    <a:lnTo>
                      <a:pt x="3885" y="995"/>
                    </a:lnTo>
                    <a:lnTo>
                      <a:pt x="3883" y="995"/>
                    </a:lnTo>
                    <a:lnTo>
                      <a:pt x="3883" y="995"/>
                    </a:lnTo>
                    <a:lnTo>
                      <a:pt x="3880" y="995"/>
                    </a:lnTo>
                    <a:lnTo>
                      <a:pt x="3878" y="995"/>
                    </a:lnTo>
                    <a:lnTo>
                      <a:pt x="3876" y="995"/>
                    </a:lnTo>
                    <a:lnTo>
                      <a:pt x="3873" y="995"/>
                    </a:lnTo>
                    <a:lnTo>
                      <a:pt x="3873" y="995"/>
                    </a:lnTo>
                    <a:lnTo>
                      <a:pt x="3871" y="995"/>
                    </a:lnTo>
                    <a:lnTo>
                      <a:pt x="3869" y="995"/>
                    </a:lnTo>
                    <a:lnTo>
                      <a:pt x="3866" y="995"/>
                    </a:lnTo>
                    <a:lnTo>
                      <a:pt x="3866" y="995"/>
                    </a:lnTo>
                    <a:lnTo>
                      <a:pt x="3864" y="995"/>
                    </a:lnTo>
                    <a:lnTo>
                      <a:pt x="3861" y="995"/>
                    </a:lnTo>
                    <a:lnTo>
                      <a:pt x="3859" y="995"/>
                    </a:lnTo>
                    <a:lnTo>
                      <a:pt x="3857" y="995"/>
                    </a:lnTo>
                    <a:lnTo>
                      <a:pt x="3857" y="995"/>
                    </a:lnTo>
                    <a:lnTo>
                      <a:pt x="3854" y="995"/>
                    </a:lnTo>
                    <a:lnTo>
                      <a:pt x="3852" y="995"/>
                    </a:lnTo>
                    <a:lnTo>
                      <a:pt x="3850" y="995"/>
                    </a:lnTo>
                    <a:lnTo>
                      <a:pt x="3847" y="995"/>
                    </a:lnTo>
                    <a:lnTo>
                      <a:pt x="3847" y="995"/>
                    </a:lnTo>
                    <a:lnTo>
                      <a:pt x="3845" y="995"/>
                    </a:lnTo>
                    <a:lnTo>
                      <a:pt x="3843" y="995"/>
                    </a:lnTo>
                    <a:lnTo>
                      <a:pt x="3840" y="995"/>
                    </a:lnTo>
                    <a:lnTo>
                      <a:pt x="3840" y="995"/>
                    </a:lnTo>
                    <a:lnTo>
                      <a:pt x="3838" y="995"/>
                    </a:lnTo>
                    <a:lnTo>
                      <a:pt x="3835" y="995"/>
                    </a:lnTo>
                    <a:lnTo>
                      <a:pt x="3833" y="995"/>
                    </a:lnTo>
                    <a:lnTo>
                      <a:pt x="3831" y="995"/>
                    </a:lnTo>
                    <a:lnTo>
                      <a:pt x="3831" y="995"/>
                    </a:lnTo>
                    <a:lnTo>
                      <a:pt x="3828" y="995"/>
                    </a:lnTo>
                    <a:lnTo>
                      <a:pt x="3819" y="995"/>
                    </a:lnTo>
                    <a:lnTo>
                      <a:pt x="3819" y="997"/>
                    </a:lnTo>
                    <a:lnTo>
                      <a:pt x="3819" y="1224"/>
                    </a:lnTo>
                    <a:lnTo>
                      <a:pt x="3817" y="1224"/>
                    </a:lnTo>
                    <a:lnTo>
                      <a:pt x="3814" y="1224"/>
                    </a:lnTo>
                    <a:lnTo>
                      <a:pt x="3812" y="1224"/>
                    </a:lnTo>
                    <a:lnTo>
                      <a:pt x="3809" y="1224"/>
                    </a:lnTo>
                    <a:lnTo>
                      <a:pt x="3809" y="1224"/>
                    </a:lnTo>
                    <a:lnTo>
                      <a:pt x="3807" y="1224"/>
                    </a:lnTo>
                    <a:lnTo>
                      <a:pt x="3805" y="1224"/>
                    </a:lnTo>
                    <a:lnTo>
                      <a:pt x="3802" y="1224"/>
                    </a:lnTo>
                    <a:lnTo>
                      <a:pt x="3802" y="1224"/>
                    </a:lnTo>
                    <a:lnTo>
                      <a:pt x="3800" y="1224"/>
                    </a:lnTo>
                    <a:lnTo>
                      <a:pt x="3798" y="1224"/>
                    </a:lnTo>
                    <a:lnTo>
                      <a:pt x="3795" y="1224"/>
                    </a:lnTo>
                    <a:lnTo>
                      <a:pt x="3793" y="1224"/>
                    </a:lnTo>
                    <a:lnTo>
                      <a:pt x="3793" y="1224"/>
                    </a:lnTo>
                    <a:lnTo>
                      <a:pt x="3790" y="1224"/>
                    </a:lnTo>
                    <a:lnTo>
                      <a:pt x="3788" y="1224"/>
                    </a:lnTo>
                    <a:lnTo>
                      <a:pt x="3786" y="1224"/>
                    </a:lnTo>
                    <a:lnTo>
                      <a:pt x="3786" y="1224"/>
                    </a:lnTo>
                    <a:lnTo>
                      <a:pt x="3783" y="1224"/>
                    </a:lnTo>
                    <a:lnTo>
                      <a:pt x="3781" y="1224"/>
                    </a:lnTo>
                    <a:lnTo>
                      <a:pt x="3779" y="1224"/>
                    </a:lnTo>
                    <a:lnTo>
                      <a:pt x="3776" y="1224"/>
                    </a:lnTo>
                    <a:lnTo>
                      <a:pt x="3776" y="1224"/>
                    </a:lnTo>
                    <a:lnTo>
                      <a:pt x="3774" y="1224"/>
                    </a:lnTo>
                    <a:lnTo>
                      <a:pt x="3772" y="1224"/>
                    </a:lnTo>
                    <a:lnTo>
                      <a:pt x="3769" y="1224"/>
                    </a:lnTo>
                    <a:lnTo>
                      <a:pt x="3767" y="1224"/>
                    </a:lnTo>
                    <a:lnTo>
                      <a:pt x="3767" y="1224"/>
                    </a:lnTo>
                    <a:lnTo>
                      <a:pt x="3764" y="1224"/>
                    </a:lnTo>
                    <a:lnTo>
                      <a:pt x="3762" y="1224"/>
                    </a:lnTo>
                    <a:lnTo>
                      <a:pt x="3760" y="1224"/>
                    </a:lnTo>
                    <a:lnTo>
                      <a:pt x="3760" y="1224"/>
                    </a:lnTo>
                    <a:lnTo>
                      <a:pt x="3757" y="1224"/>
                    </a:lnTo>
                    <a:lnTo>
                      <a:pt x="3757" y="1224"/>
                    </a:lnTo>
                    <a:lnTo>
                      <a:pt x="3757" y="1392"/>
                    </a:lnTo>
                    <a:lnTo>
                      <a:pt x="3757" y="1392"/>
                    </a:lnTo>
                    <a:lnTo>
                      <a:pt x="3755" y="1392"/>
                    </a:lnTo>
                    <a:lnTo>
                      <a:pt x="3753" y="1392"/>
                    </a:lnTo>
                    <a:lnTo>
                      <a:pt x="3750" y="1392"/>
                    </a:lnTo>
                    <a:lnTo>
                      <a:pt x="3750" y="1392"/>
                    </a:lnTo>
                    <a:lnTo>
                      <a:pt x="3748" y="1392"/>
                    </a:lnTo>
                    <a:lnTo>
                      <a:pt x="3746" y="1392"/>
                    </a:lnTo>
                    <a:lnTo>
                      <a:pt x="3743" y="1392"/>
                    </a:lnTo>
                    <a:lnTo>
                      <a:pt x="3741" y="1392"/>
                    </a:lnTo>
                    <a:lnTo>
                      <a:pt x="3741" y="1392"/>
                    </a:lnTo>
                    <a:lnTo>
                      <a:pt x="3738" y="1392"/>
                    </a:lnTo>
                    <a:lnTo>
                      <a:pt x="3736" y="1392"/>
                    </a:lnTo>
                    <a:lnTo>
                      <a:pt x="3734" y="1392"/>
                    </a:lnTo>
                    <a:lnTo>
                      <a:pt x="3731" y="1392"/>
                    </a:lnTo>
                    <a:lnTo>
                      <a:pt x="3731" y="1392"/>
                    </a:lnTo>
                    <a:lnTo>
                      <a:pt x="3729" y="1392"/>
                    </a:lnTo>
                    <a:lnTo>
                      <a:pt x="3727" y="1392"/>
                    </a:lnTo>
                    <a:lnTo>
                      <a:pt x="3724" y="1392"/>
                    </a:lnTo>
                    <a:lnTo>
                      <a:pt x="3724" y="1392"/>
                    </a:lnTo>
                    <a:lnTo>
                      <a:pt x="3724" y="1317"/>
                    </a:lnTo>
                    <a:lnTo>
                      <a:pt x="3724" y="1317"/>
                    </a:lnTo>
                    <a:lnTo>
                      <a:pt x="3722" y="1317"/>
                    </a:lnTo>
                    <a:lnTo>
                      <a:pt x="3720" y="1317"/>
                    </a:lnTo>
                    <a:lnTo>
                      <a:pt x="3717" y="1317"/>
                    </a:lnTo>
                    <a:lnTo>
                      <a:pt x="3715" y="1317"/>
                    </a:lnTo>
                    <a:lnTo>
                      <a:pt x="3715" y="1317"/>
                    </a:lnTo>
                    <a:lnTo>
                      <a:pt x="3712" y="1317"/>
                    </a:lnTo>
                    <a:lnTo>
                      <a:pt x="3710" y="1317"/>
                    </a:lnTo>
                    <a:lnTo>
                      <a:pt x="3708" y="1317"/>
                    </a:lnTo>
                    <a:lnTo>
                      <a:pt x="3705" y="1317"/>
                    </a:lnTo>
                    <a:lnTo>
                      <a:pt x="3705" y="1317"/>
                    </a:lnTo>
                    <a:lnTo>
                      <a:pt x="3703" y="1317"/>
                    </a:lnTo>
                    <a:lnTo>
                      <a:pt x="3701" y="1317"/>
                    </a:lnTo>
                    <a:lnTo>
                      <a:pt x="3698" y="1317"/>
                    </a:lnTo>
                    <a:lnTo>
                      <a:pt x="3698" y="1317"/>
                    </a:lnTo>
                    <a:lnTo>
                      <a:pt x="3696" y="1317"/>
                    </a:lnTo>
                    <a:lnTo>
                      <a:pt x="3694" y="1317"/>
                    </a:lnTo>
                    <a:lnTo>
                      <a:pt x="3691" y="1317"/>
                    </a:lnTo>
                    <a:lnTo>
                      <a:pt x="3689" y="1317"/>
                    </a:lnTo>
                    <a:lnTo>
                      <a:pt x="3689" y="1317"/>
                    </a:lnTo>
                    <a:lnTo>
                      <a:pt x="3686" y="1317"/>
                    </a:lnTo>
                    <a:lnTo>
                      <a:pt x="3684" y="1317"/>
                    </a:lnTo>
                    <a:lnTo>
                      <a:pt x="3682" y="1317"/>
                    </a:lnTo>
                    <a:lnTo>
                      <a:pt x="3682" y="1317"/>
                    </a:lnTo>
                    <a:lnTo>
                      <a:pt x="3679" y="1317"/>
                    </a:lnTo>
                    <a:lnTo>
                      <a:pt x="3677" y="1317"/>
                    </a:lnTo>
                    <a:lnTo>
                      <a:pt x="3675" y="1317"/>
                    </a:lnTo>
                    <a:lnTo>
                      <a:pt x="3672" y="1317"/>
                    </a:lnTo>
                    <a:lnTo>
                      <a:pt x="3672" y="1317"/>
                    </a:lnTo>
                    <a:lnTo>
                      <a:pt x="3670" y="1317"/>
                    </a:lnTo>
                    <a:lnTo>
                      <a:pt x="3668" y="1317"/>
                    </a:lnTo>
                    <a:lnTo>
                      <a:pt x="3665"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436"/>
                    </a:lnTo>
                    <a:lnTo>
                      <a:pt x="3377" y="502"/>
                    </a:lnTo>
                    <a:lnTo>
                      <a:pt x="3374" y="502"/>
                    </a:lnTo>
                    <a:lnTo>
                      <a:pt x="3372" y="502"/>
                    </a:lnTo>
                    <a:lnTo>
                      <a:pt x="3370" y="502"/>
                    </a:lnTo>
                    <a:lnTo>
                      <a:pt x="3370" y="502"/>
                    </a:lnTo>
                    <a:lnTo>
                      <a:pt x="3367" y="502"/>
                    </a:lnTo>
                    <a:lnTo>
                      <a:pt x="3365" y="502"/>
                    </a:lnTo>
                    <a:lnTo>
                      <a:pt x="3363" y="502"/>
                    </a:lnTo>
                    <a:lnTo>
                      <a:pt x="3363" y="502"/>
                    </a:lnTo>
                    <a:lnTo>
                      <a:pt x="3360" y="502"/>
                    </a:lnTo>
                    <a:lnTo>
                      <a:pt x="3358" y="502"/>
                    </a:lnTo>
                    <a:lnTo>
                      <a:pt x="3355" y="502"/>
                    </a:lnTo>
                    <a:lnTo>
                      <a:pt x="3353" y="502"/>
                    </a:lnTo>
                    <a:lnTo>
                      <a:pt x="3353" y="502"/>
                    </a:lnTo>
                    <a:lnTo>
                      <a:pt x="3351" y="502"/>
                    </a:lnTo>
                    <a:lnTo>
                      <a:pt x="3348" y="502"/>
                    </a:lnTo>
                    <a:lnTo>
                      <a:pt x="3348" y="502"/>
                    </a:lnTo>
                    <a:lnTo>
                      <a:pt x="3348" y="505"/>
                    </a:lnTo>
                    <a:lnTo>
                      <a:pt x="3348" y="583"/>
                    </a:lnTo>
                    <a:lnTo>
                      <a:pt x="3346" y="583"/>
                    </a:lnTo>
                    <a:lnTo>
                      <a:pt x="3344" y="583"/>
                    </a:lnTo>
                    <a:lnTo>
                      <a:pt x="3341" y="583"/>
                    </a:lnTo>
                    <a:lnTo>
                      <a:pt x="3341" y="583"/>
                    </a:lnTo>
                    <a:lnTo>
                      <a:pt x="3339" y="583"/>
                    </a:lnTo>
                    <a:lnTo>
                      <a:pt x="3337" y="583"/>
                    </a:lnTo>
                    <a:lnTo>
                      <a:pt x="3334" y="583"/>
                    </a:lnTo>
                    <a:lnTo>
                      <a:pt x="3332" y="583"/>
                    </a:lnTo>
                    <a:lnTo>
                      <a:pt x="3332" y="583"/>
                    </a:lnTo>
                    <a:lnTo>
                      <a:pt x="3329" y="583"/>
                    </a:lnTo>
                    <a:lnTo>
                      <a:pt x="3329" y="585"/>
                    </a:lnTo>
                    <a:lnTo>
                      <a:pt x="3329" y="658"/>
                    </a:lnTo>
                    <a:lnTo>
                      <a:pt x="3329" y="658"/>
                    </a:lnTo>
                    <a:lnTo>
                      <a:pt x="3327" y="658"/>
                    </a:lnTo>
                    <a:lnTo>
                      <a:pt x="3325" y="658"/>
                    </a:lnTo>
                    <a:lnTo>
                      <a:pt x="3322" y="658"/>
                    </a:lnTo>
                    <a:lnTo>
                      <a:pt x="3320" y="658"/>
                    </a:lnTo>
                    <a:lnTo>
                      <a:pt x="3320" y="658"/>
                    </a:lnTo>
                    <a:lnTo>
                      <a:pt x="3318" y="658"/>
                    </a:lnTo>
                    <a:lnTo>
                      <a:pt x="3315" y="658"/>
                    </a:lnTo>
                    <a:lnTo>
                      <a:pt x="3313" y="658"/>
                    </a:lnTo>
                    <a:lnTo>
                      <a:pt x="3310" y="658"/>
                    </a:lnTo>
                    <a:lnTo>
                      <a:pt x="3310" y="658"/>
                    </a:lnTo>
                    <a:lnTo>
                      <a:pt x="3308" y="658"/>
                    </a:lnTo>
                    <a:lnTo>
                      <a:pt x="3306" y="658"/>
                    </a:lnTo>
                    <a:lnTo>
                      <a:pt x="3303" y="658"/>
                    </a:lnTo>
                    <a:lnTo>
                      <a:pt x="3303" y="658"/>
                    </a:lnTo>
                    <a:lnTo>
                      <a:pt x="3301" y="658"/>
                    </a:lnTo>
                    <a:lnTo>
                      <a:pt x="3299" y="658"/>
                    </a:lnTo>
                    <a:lnTo>
                      <a:pt x="3296" y="658"/>
                    </a:lnTo>
                    <a:lnTo>
                      <a:pt x="3294" y="658"/>
                    </a:lnTo>
                    <a:lnTo>
                      <a:pt x="3294" y="658"/>
                    </a:lnTo>
                    <a:lnTo>
                      <a:pt x="3292" y="658"/>
                    </a:lnTo>
                    <a:lnTo>
                      <a:pt x="3289" y="658"/>
                    </a:lnTo>
                    <a:lnTo>
                      <a:pt x="3287" y="658"/>
                    </a:lnTo>
                    <a:lnTo>
                      <a:pt x="3287" y="658"/>
                    </a:lnTo>
                    <a:lnTo>
                      <a:pt x="3284" y="658"/>
                    </a:lnTo>
                    <a:lnTo>
                      <a:pt x="3282" y="658"/>
                    </a:lnTo>
                    <a:lnTo>
                      <a:pt x="3280" y="658"/>
                    </a:lnTo>
                    <a:lnTo>
                      <a:pt x="3277" y="658"/>
                    </a:lnTo>
                    <a:lnTo>
                      <a:pt x="3277" y="658"/>
                    </a:lnTo>
                    <a:lnTo>
                      <a:pt x="3275" y="658"/>
                    </a:lnTo>
                    <a:lnTo>
                      <a:pt x="3273" y="658"/>
                    </a:lnTo>
                    <a:lnTo>
                      <a:pt x="3270" y="658"/>
                    </a:lnTo>
                    <a:lnTo>
                      <a:pt x="3268" y="658"/>
                    </a:lnTo>
                    <a:lnTo>
                      <a:pt x="3268" y="658"/>
                    </a:lnTo>
                    <a:lnTo>
                      <a:pt x="3266" y="658"/>
                    </a:lnTo>
                    <a:lnTo>
                      <a:pt x="3263" y="658"/>
                    </a:lnTo>
                    <a:lnTo>
                      <a:pt x="3261" y="658"/>
                    </a:lnTo>
                    <a:lnTo>
                      <a:pt x="3261" y="658"/>
                    </a:lnTo>
                    <a:lnTo>
                      <a:pt x="3258" y="658"/>
                    </a:lnTo>
                    <a:lnTo>
                      <a:pt x="3256" y="658"/>
                    </a:lnTo>
                    <a:lnTo>
                      <a:pt x="3254" y="658"/>
                    </a:lnTo>
                    <a:lnTo>
                      <a:pt x="3254" y="658"/>
                    </a:lnTo>
                    <a:lnTo>
                      <a:pt x="3185" y="658"/>
                    </a:lnTo>
                    <a:lnTo>
                      <a:pt x="3185" y="661"/>
                    </a:lnTo>
                    <a:lnTo>
                      <a:pt x="3185" y="763"/>
                    </a:lnTo>
                    <a:lnTo>
                      <a:pt x="3185" y="763"/>
                    </a:lnTo>
                    <a:lnTo>
                      <a:pt x="3183" y="763"/>
                    </a:lnTo>
                    <a:lnTo>
                      <a:pt x="3180" y="763"/>
                    </a:lnTo>
                    <a:lnTo>
                      <a:pt x="3178" y="763"/>
                    </a:lnTo>
                    <a:lnTo>
                      <a:pt x="3176" y="763"/>
                    </a:lnTo>
                    <a:lnTo>
                      <a:pt x="3176" y="763"/>
                    </a:lnTo>
                    <a:lnTo>
                      <a:pt x="3173" y="763"/>
                    </a:lnTo>
                    <a:lnTo>
                      <a:pt x="3171" y="763"/>
                    </a:lnTo>
                    <a:lnTo>
                      <a:pt x="3169" y="763"/>
                    </a:lnTo>
                    <a:lnTo>
                      <a:pt x="3169" y="763"/>
                    </a:lnTo>
                    <a:lnTo>
                      <a:pt x="3166" y="763"/>
                    </a:lnTo>
                    <a:lnTo>
                      <a:pt x="3164" y="763"/>
                    </a:lnTo>
                    <a:lnTo>
                      <a:pt x="3162" y="763"/>
                    </a:lnTo>
                    <a:lnTo>
                      <a:pt x="3159" y="763"/>
                    </a:lnTo>
                    <a:lnTo>
                      <a:pt x="3159" y="763"/>
                    </a:lnTo>
                    <a:lnTo>
                      <a:pt x="3157" y="763"/>
                    </a:lnTo>
                    <a:lnTo>
                      <a:pt x="3154" y="763"/>
                    </a:lnTo>
                    <a:lnTo>
                      <a:pt x="3152" y="763"/>
                    </a:lnTo>
                    <a:lnTo>
                      <a:pt x="3152" y="763"/>
                    </a:lnTo>
                    <a:lnTo>
                      <a:pt x="3150" y="763"/>
                    </a:lnTo>
                    <a:lnTo>
                      <a:pt x="3147" y="763"/>
                    </a:lnTo>
                    <a:lnTo>
                      <a:pt x="3147" y="765"/>
                    </a:lnTo>
                    <a:lnTo>
                      <a:pt x="3147" y="980"/>
                    </a:lnTo>
                    <a:lnTo>
                      <a:pt x="3145" y="980"/>
                    </a:lnTo>
                    <a:lnTo>
                      <a:pt x="3145" y="980"/>
                    </a:lnTo>
                    <a:lnTo>
                      <a:pt x="3143" y="980"/>
                    </a:lnTo>
                    <a:lnTo>
                      <a:pt x="3140" y="980"/>
                    </a:lnTo>
                    <a:lnTo>
                      <a:pt x="3138" y="980"/>
                    </a:lnTo>
                    <a:lnTo>
                      <a:pt x="3136" y="980"/>
                    </a:lnTo>
                    <a:lnTo>
                      <a:pt x="3136" y="980"/>
                    </a:lnTo>
                    <a:lnTo>
                      <a:pt x="3133" y="980"/>
                    </a:lnTo>
                    <a:lnTo>
                      <a:pt x="3131" y="980"/>
                    </a:lnTo>
                    <a:lnTo>
                      <a:pt x="3128" y="980"/>
                    </a:lnTo>
                    <a:lnTo>
                      <a:pt x="3128" y="980"/>
                    </a:lnTo>
                    <a:lnTo>
                      <a:pt x="3126" y="980"/>
                    </a:lnTo>
                    <a:lnTo>
                      <a:pt x="3124" y="980"/>
                    </a:lnTo>
                    <a:lnTo>
                      <a:pt x="3121" y="980"/>
                    </a:lnTo>
                    <a:lnTo>
                      <a:pt x="3119" y="980"/>
                    </a:lnTo>
                    <a:lnTo>
                      <a:pt x="3119" y="980"/>
                    </a:lnTo>
                    <a:lnTo>
                      <a:pt x="3117" y="980"/>
                    </a:lnTo>
                    <a:lnTo>
                      <a:pt x="3114" y="980"/>
                    </a:lnTo>
                    <a:lnTo>
                      <a:pt x="3112" y="980"/>
                    </a:lnTo>
                    <a:lnTo>
                      <a:pt x="3110" y="980"/>
                    </a:lnTo>
                    <a:lnTo>
                      <a:pt x="3110" y="980"/>
                    </a:lnTo>
                    <a:lnTo>
                      <a:pt x="3107" y="980"/>
                    </a:lnTo>
                    <a:lnTo>
                      <a:pt x="3105" y="980"/>
                    </a:lnTo>
                    <a:lnTo>
                      <a:pt x="3102" y="980"/>
                    </a:lnTo>
                    <a:lnTo>
                      <a:pt x="3102" y="980"/>
                    </a:lnTo>
                    <a:lnTo>
                      <a:pt x="3100" y="980"/>
                    </a:lnTo>
                    <a:lnTo>
                      <a:pt x="3098" y="980"/>
                    </a:lnTo>
                    <a:lnTo>
                      <a:pt x="3095" y="980"/>
                    </a:lnTo>
                    <a:lnTo>
                      <a:pt x="3093" y="980"/>
                    </a:lnTo>
                    <a:lnTo>
                      <a:pt x="3093" y="980"/>
                    </a:lnTo>
                    <a:lnTo>
                      <a:pt x="3091" y="980"/>
                    </a:lnTo>
                    <a:lnTo>
                      <a:pt x="3088" y="980"/>
                    </a:lnTo>
                    <a:lnTo>
                      <a:pt x="3086" y="980"/>
                    </a:lnTo>
                    <a:lnTo>
                      <a:pt x="3086" y="980"/>
                    </a:lnTo>
                    <a:lnTo>
                      <a:pt x="3084" y="980"/>
                    </a:lnTo>
                    <a:lnTo>
                      <a:pt x="3081" y="980"/>
                    </a:lnTo>
                    <a:lnTo>
                      <a:pt x="3079" y="980"/>
                    </a:lnTo>
                    <a:lnTo>
                      <a:pt x="3076" y="980"/>
                    </a:lnTo>
                    <a:lnTo>
                      <a:pt x="3076" y="980"/>
                    </a:lnTo>
                    <a:lnTo>
                      <a:pt x="3074" y="980"/>
                    </a:lnTo>
                    <a:lnTo>
                      <a:pt x="3072" y="980"/>
                    </a:lnTo>
                    <a:lnTo>
                      <a:pt x="3069" y="980"/>
                    </a:lnTo>
                    <a:lnTo>
                      <a:pt x="3067" y="980"/>
                    </a:lnTo>
                    <a:lnTo>
                      <a:pt x="3067" y="980"/>
                    </a:lnTo>
                    <a:lnTo>
                      <a:pt x="3065" y="980"/>
                    </a:lnTo>
                    <a:lnTo>
                      <a:pt x="3062" y="980"/>
                    </a:lnTo>
                    <a:lnTo>
                      <a:pt x="3060" y="980"/>
                    </a:lnTo>
                    <a:lnTo>
                      <a:pt x="3060" y="980"/>
                    </a:lnTo>
                    <a:lnTo>
                      <a:pt x="3057" y="980"/>
                    </a:lnTo>
                    <a:lnTo>
                      <a:pt x="3055" y="980"/>
                    </a:lnTo>
                    <a:lnTo>
                      <a:pt x="3053" y="980"/>
                    </a:lnTo>
                    <a:lnTo>
                      <a:pt x="3001" y="980"/>
                    </a:lnTo>
                    <a:lnTo>
                      <a:pt x="2925" y="1014"/>
                    </a:lnTo>
                    <a:lnTo>
                      <a:pt x="2925" y="1014"/>
                    </a:lnTo>
                    <a:lnTo>
                      <a:pt x="2925" y="1063"/>
                    </a:lnTo>
                    <a:lnTo>
                      <a:pt x="2923" y="1063"/>
                    </a:lnTo>
                    <a:lnTo>
                      <a:pt x="2920" y="1063"/>
                    </a:lnTo>
                    <a:lnTo>
                      <a:pt x="2920" y="1063"/>
                    </a:lnTo>
                    <a:lnTo>
                      <a:pt x="2918" y="1063"/>
                    </a:lnTo>
                    <a:lnTo>
                      <a:pt x="2916" y="1063"/>
                    </a:lnTo>
                    <a:lnTo>
                      <a:pt x="2913" y="1063"/>
                    </a:lnTo>
                    <a:lnTo>
                      <a:pt x="2911" y="1063"/>
                    </a:lnTo>
                    <a:lnTo>
                      <a:pt x="2911" y="1063"/>
                    </a:lnTo>
                    <a:lnTo>
                      <a:pt x="2909" y="1063"/>
                    </a:lnTo>
                    <a:lnTo>
                      <a:pt x="2909" y="1063"/>
                    </a:lnTo>
                    <a:lnTo>
                      <a:pt x="2909" y="1066"/>
                    </a:lnTo>
                    <a:lnTo>
                      <a:pt x="2909" y="1241"/>
                    </a:lnTo>
                    <a:lnTo>
                      <a:pt x="2906" y="1241"/>
                    </a:lnTo>
                    <a:lnTo>
                      <a:pt x="2904" y="1241"/>
                    </a:lnTo>
                    <a:lnTo>
                      <a:pt x="2901" y="1241"/>
                    </a:lnTo>
                    <a:lnTo>
                      <a:pt x="2901" y="1241"/>
                    </a:lnTo>
                    <a:lnTo>
                      <a:pt x="2899" y="1241"/>
                    </a:lnTo>
                    <a:lnTo>
                      <a:pt x="2897" y="1241"/>
                    </a:lnTo>
                    <a:lnTo>
                      <a:pt x="2894" y="1241"/>
                    </a:lnTo>
                    <a:lnTo>
                      <a:pt x="2892" y="1241"/>
                    </a:lnTo>
                    <a:lnTo>
                      <a:pt x="2892" y="1241"/>
                    </a:lnTo>
                    <a:lnTo>
                      <a:pt x="2890" y="1241"/>
                    </a:lnTo>
                    <a:lnTo>
                      <a:pt x="2887" y="1241"/>
                    </a:lnTo>
                    <a:lnTo>
                      <a:pt x="2885" y="1241"/>
                    </a:lnTo>
                    <a:lnTo>
                      <a:pt x="2883" y="1241"/>
                    </a:lnTo>
                    <a:lnTo>
                      <a:pt x="2883" y="1241"/>
                    </a:lnTo>
                    <a:lnTo>
                      <a:pt x="2880" y="1241"/>
                    </a:lnTo>
                    <a:lnTo>
                      <a:pt x="2878" y="1241"/>
                    </a:lnTo>
                    <a:lnTo>
                      <a:pt x="2875" y="1241"/>
                    </a:lnTo>
                    <a:lnTo>
                      <a:pt x="2875" y="1241"/>
                    </a:lnTo>
                    <a:lnTo>
                      <a:pt x="2873" y="1241"/>
                    </a:lnTo>
                    <a:lnTo>
                      <a:pt x="2871" y="1241"/>
                    </a:lnTo>
                    <a:lnTo>
                      <a:pt x="2868" y="1241"/>
                    </a:lnTo>
                    <a:lnTo>
                      <a:pt x="2866" y="1241"/>
                    </a:lnTo>
                    <a:lnTo>
                      <a:pt x="2866" y="1241"/>
                    </a:lnTo>
                    <a:lnTo>
                      <a:pt x="2864" y="1241"/>
                    </a:lnTo>
                    <a:lnTo>
                      <a:pt x="2861" y="1241"/>
                    </a:lnTo>
                    <a:lnTo>
                      <a:pt x="2859" y="1241"/>
                    </a:lnTo>
                    <a:lnTo>
                      <a:pt x="2857" y="1241"/>
                    </a:lnTo>
                    <a:lnTo>
                      <a:pt x="2857" y="1241"/>
                    </a:lnTo>
                    <a:lnTo>
                      <a:pt x="2854" y="1241"/>
                    </a:lnTo>
                    <a:lnTo>
                      <a:pt x="2852" y="1241"/>
                    </a:lnTo>
                    <a:lnTo>
                      <a:pt x="2849" y="1241"/>
                    </a:lnTo>
                    <a:lnTo>
                      <a:pt x="2849" y="1241"/>
                    </a:lnTo>
                    <a:lnTo>
                      <a:pt x="2847" y="1241"/>
                    </a:lnTo>
                    <a:lnTo>
                      <a:pt x="2845" y="1241"/>
                    </a:lnTo>
                    <a:lnTo>
                      <a:pt x="2842" y="1241"/>
                    </a:lnTo>
                    <a:lnTo>
                      <a:pt x="2840" y="1241"/>
                    </a:lnTo>
                    <a:lnTo>
                      <a:pt x="2840" y="1241"/>
                    </a:lnTo>
                    <a:lnTo>
                      <a:pt x="2838" y="1241"/>
                    </a:lnTo>
                    <a:lnTo>
                      <a:pt x="2835" y="1241"/>
                    </a:lnTo>
                    <a:lnTo>
                      <a:pt x="2833" y="1241"/>
                    </a:lnTo>
                    <a:lnTo>
                      <a:pt x="2831" y="1241"/>
                    </a:lnTo>
                    <a:lnTo>
                      <a:pt x="2831" y="1241"/>
                    </a:lnTo>
                    <a:lnTo>
                      <a:pt x="2828" y="1241"/>
                    </a:lnTo>
                    <a:lnTo>
                      <a:pt x="2826" y="1241"/>
                    </a:lnTo>
                    <a:lnTo>
                      <a:pt x="2823" y="1241"/>
                    </a:lnTo>
                    <a:lnTo>
                      <a:pt x="2823" y="1241"/>
                    </a:lnTo>
                    <a:lnTo>
                      <a:pt x="2821" y="1241"/>
                    </a:lnTo>
                    <a:lnTo>
                      <a:pt x="2819" y="1241"/>
                    </a:lnTo>
                    <a:lnTo>
                      <a:pt x="2816" y="1241"/>
                    </a:lnTo>
                    <a:lnTo>
                      <a:pt x="2814" y="1241"/>
                    </a:lnTo>
                    <a:lnTo>
                      <a:pt x="2814"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296"/>
                    </a:lnTo>
                    <a:lnTo>
                      <a:pt x="2076" y="334"/>
                    </a:lnTo>
                    <a:lnTo>
                      <a:pt x="2074" y="334"/>
                    </a:lnTo>
                    <a:lnTo>
                      <a:pt x="2071" y="334"/>
                    </a:lnTo>
                    <a:lnTo>
                      <a:pt x="2071" y="334"/>
                    </a:lnTo>
                    <a:lnTo>
                      <a:pt x="2069" y="334"/>
                    </a:lnTo>
                    <a:lnTo>
                      <a:pt x="2067" y="334"/>
                    </a:lnTo>
                    <a:lnTo>
                      <a:pt x="2064" y="334"/>
                    </a:lnTo>
                    <a:lnTo>
                      <a:pt x="2062" y="334"/>
                    </a:lnTo>
                    <a:lnTo>
                      <a:pt x="2062" y="334"/>
                    </a:lnTo>
                    <a:lnTo>
                      <a:pt x="2060" y="334"/>
                    </a:lnTo>
                    <a:lnTo>
                      <a:pt x="2057" y="334"/>
                    </a:lnTo>
                    <a:lnTo>
                      <a:pt x="2055" y="334"/>
                    </a:lnTo>
                    <a:lnTo>
                      <a:pt x="2055" y="334"/>
                    </a:lnTo>
                    <a:lnTo>
                      <a:pt x="2053" y="334"/>
                    </a:lnTo>
                    <a:lnTo>
                      <a:pt x="2050" y="334"/>
                    </a:lnTo>
                    <a:lnTo>
                      <a:pt x="2048" y="334"/>
                    </a:lnTo>
                    <a:lnTo>
                      <a:pt x="2045" y="334"/>
                    </a:lnTo>
                    <a:lnTo>
                      <a:pt x="2045" y="334"/>
                    </a:lnTo>
                    <a:lnTo>
                      <a:pt x="2043" y="334"/>
                    </a:lnTo>
                    <a:lnTo>
                      <a:pt x="2041" y="334"/>
                    </a:lnTo>
                    <a:lnTo>
                      <a:pt x="2038" y="334"/>
                    </a:lnTo>
                    <a:lnTo>
                      <a:pt x="2038" y="334"/>
                    </a:lnTo>
                    <a:lnTo>
                      <a:pt x="1986" y="334"/>
                    </a:lnTo>
                    <a:lnTo>
                      <a:pt x="1986" y="336"/>
                    </a:lnTo>
                    <a:lnTo>
                      <a:pt x="1986" y="370"/>
                    </a:lnTo>
                    <a:lnTo>
                      <a:pt x="1984" y="370"/>
                    </a:lnTo>
                    <a:lnTo>
                      <a:pt x="1982" y="370"/>
                    </a:lnTo>
                    <a:lnTo>
                      <a:pt x="1979" y="370"/>
                    </a:lnTo>
                    <a:lnTo>
                      <a:pt x="1979" y="370"/>
                    </a:lnTo>
                    <a:lnTo>
                      <a:pt x="1977" y="370"/>
                    </a:lnTo>
                    <a:lnTo>
                      <a:pt x="1975" y="370"/>
                    </a:lnTo>
                    <a:lnTo>
                      <a:pt x="1972" y="370"/>
                    </a:lnTo>
                    <a:lnTo>
                      <a:pt x="1972" y="370"/>
                    </a:lnTo>
                    <a:lnTo>
                      <a:pt x="1970" y="370"/>
                    </a:lnTo>
                    <a:lnTo>
                      <a:pt x="1967" y="370"/>
                    </a:lnTo>
                    <a:lnTo>
                      <a:pt x="1965" y="370"/>
                    </a:lnTo>
                    <a:lnTo>
                      <a:pt x="1963" y="370"/>
                    </a:lnTo>
                    <a:lnTo>
                      <a:pt x="1963" y="370"/>
                    </a:lnTo>
                    <a:lnTo>
                      <a:pt x="1960" y="370"/>
                    </a:lnTo>
                    <a:lnTo>
                      <a:pt x="1958" y="370"/>
                    </a:lnTo>
                    <a:lnTo>
                      <a:pt x="1956" y="370"/>
                    </a:lnTo>
                    <a:lnTo>
                      <a:pt x="1953" y="370"/>
                    </a:lnTo>
                    <a:lnTo>
                      <a:pt x="1953" y="370"/>
                    </a:lnTo>
                    <a:lnTo>
                      <a:pt x="1856" y="370"/>
                    </a:lnTo>
                    <a:lnTo>
                      <a:pt x="1856" y="372"/>
                    </a:lnTo>
                    <a:lnTo>
                      <a:pt x="1856" y="1132"/>
                    </a:lnTo>
                    <a:lnTo>
                      <a:pt x="1856" y="1132"/>
                    </a:lnTo>
                    <a:lnTo>
                      <a:pt x="1854" y="1132"/>
                    </a:lnTo>
                    <a:lnTo>
                      <a:pt x="1852" y="1132"/>
                    </a:lnTo>
                    <a:lnTo>
                      <a:pt x="1849" y="1132"/>
                    </a:lnTo>
                    <a:lnTo>
                      <a:pt x="1847" y="1132"/>
                    </a:lnTo>
                    <a:lnTo>
                      <a:pt x="1847" y="1132"/>
                    </a:lnTo>
                    <a:lnTo>
                      <a:pt x="1845" y="1132"/>
                    </a:lnTo>
                    <a:lnTo>
                      <a:pt x="1842" y="1132"/>
                    </a:lnTo>
                    <a:lnTo>
                      <a:pt x="1840" y="1132"/>
                    </a:lnTo>
                    <a:lnTo>
                      <a:pt x="1840" y="1132"/>
                    </a:lnTo>
                    <a:lnTo>
                      <a:pt x="1837" y="1132"/>
                    </a:lnTo>
                    <a:lnTo>
                      <a:pt x="1835" y="1132"/>
                    </a:lnTo>
                    <a:lnTo>
                      <a:pt x="1833" y="1132"/>
                    </a:lnTo>
                    <a:lnTo>
                      <a:pt x="1830" y="1132"/>
                    </a:lnTo>
                    <a:lnTo>
                      <a:pt x="1830" y="1132"/>
                    </a:lnTo>
                    <a:lnTo>
                      <a:pt x="1828" y="1132"/>
                    </a:lnTo>
                    <a:lnTo>
                      <a:pt x="1826" y="1132"/>
                    </a:lnTo>
                    <a:lnTo>
                      <a:pt x="1823" y="1132"/>
                    </a:lnTo>
                    <a:lnTo>
                      <a:pt x="1821" y="1132"/>
                    </a:lnTo>
                    <a:lnTo>
                      <a:pt x="1821" y="1132"/>
                    </a:lnTo>
                    <a:lnTo>
                      <a:pt x="1818" y="1132"/>
                    </a:lnTo>
                    <a:lnTo>
                      <a:pt x="1816" y="1132"/>
                    </a:lnTo>
                    <a:lnTo>
                      <a:pt x="1814" y="1132"/>
                    </a:lnTo>
                    <a:lnTo>
                      <a:pt x="1814" y="1132"/>
                    </a:lnTo>
                    <a:lnTo>
                      <a:pt x="1811" y="1132"/>
                    </a:lnTo>
                    <a:lnTo>
                      <a:pt x="1809" y="1132"/>
                    </a:lnTo>
                    <a:lnTo>
                      <a:pt x="1807" y="1132"/>
                    </a:lnTo>
                    <a:lnTo>
                      <a:pt x="1804" y="1132"/>
                    </a:lnTo>
                    <a:lnTo>
                      <a:pt x="1804" y="1132"/>
                    </a:lnTo>
                    <a:lnTo>
                      <a:pt x="1802" y="1132"/>
                    </a:lnTo>
                    <a:lnTo>
                      <a:pt x="1800" y="1132"/>
                    </a:lnTo>
                    <a:lnTo>
                      <a:pt x="1797" y="1132"/>
                    </a:lnTo>
                    <a:lnTo>
                      <a:pt x="1797" y="1132"/>
                    </a:lnTo>
                    <a:lnTo>
                      <a:pt x="1795" y="1132"/>
                    </a:lnTo>
                    <a:lnTo>
                      <a:pt x="1792" y="1132"/>
                    </a:lnTo>
                    <a:lnTo>
                      <a:pt x="1790" y="1132"/>
                    </a:lnTo>
                    <a:lnTo>
                      <a:pt x="1788" y="1132"/>
                    </a:lnTo>
                    <a:lnTo>
                      <a:pt x="1788" y="1132"/>
                    </a:lnTo>
                    <a:lnTo>
                      <a:pt x="1785" y="1132"/>
                    </a:lnTo>
                    <a:lnTo>
                      <a:pt x="1783" y="1132"/>
                    </a:lnTo>
                    <a:lnTo>
                      <a:pt x="1781" y="1132"/>
                    </a:lnTo>
                    <a:lnTo>
                      <a:pt x="1778" y="1132"/>
                    </a:lnTo>
                    <a:lnTo>
                      <a:pt x="1778" y="1132"/>
                    </a:lnTo>
                    <a:lnTo>
                      <a:pt x="1776" y="1132"/>
                    </a:lnTo>
                    <a:lnTo>
                      <a:pt x="1774" y="1132"/>
                    </a:lnTo>
                    <a:lnTo>
                      <a:pt x="1771" y="1132"/>
                    </a:lnTo>
                    <a:lnTo>
                      <a:pt x="1771" y="1132"/>
                    </a:lnTo>
                    <a:lnTo>
                      <a:pt x="1769" y="1132"/>
                    </a:lnTo>
                    <a:lnTo>
                      <a:pt x="1766" y="1132"/>
                    </a:lnTo>
                    <a:lnTo>
                      <a:pt x="1764" y="1132"/>
                    </a:lnTo>
                    <a:lnTo>
                      <a:pt x="1762" y="1132"/>
                    </a:lnTo>
                    <a:lnTo>
                      <a:pt x="1736" y="1132"/>
                    </a:lnTo>
                    <a:lnTo>
                      <a:pt x="1736" y="1134"/>
                    </a:lnTo>
                    <a:lnTo>
                      <a:pt x="1736" y="1158"/>
                    </a:lnTo>
                    <a:lnTo>
                      <a:pt x="1733" y="1158"/>
                    </a:lnTo>
                    <a:lnTo>
                      <a:pt x="1733" y="1158"/>
                    </a:lnTo>
                    <a:lnTo>
                      <a:pt x="1731" y="1158"/>
                    </a:lnTo>
                    <a:lnTo>
                      <a:pt x="1729" y="1158"/>
                    </a:lnTo>
                    <a:lnTo>
                      <a:pt x="1726" y="1158"/>
                    </a:lnTo>
                    <a:lnTo>
                      <a:pt x="1726" y="1158"/>
                    </a:lnTo>
                    <a:lnTo>
                      <a:pt x="1724" y="1158"/>
                    </a:lnTo>
                    <a:lnTo>
                      <a:pt x="1722" y="1158"/>
                    </a:lnTo>
                    <a:lnTo>
                      <a:pt x="1719" y="1158"/>
                    </a:lnTo>
                    <a:lnTo>
                      <a:pt x="1717" y="1158"/>
                    </a:lnTo>
                    <a:lnTo>
                      <a:pt x="1717" y="1158"/>
                    </a:lnTo>
                    <a:lnTo>
                      <a:pt x="1714" y="1158"/>
                    </a:lnTo>
                    <a:lnTo>
                      <a:pt x="1712" y="1158"/>
                    </a:lnTo>
                    <a:lnTo>
                      <a:pt x="1712" y="1160"/>
                    </a:lnTo>
                    <a:lnTo>
                      <a:pt x="1712" y="1201"/>
                    </a:lnTo>
                    <a:lnTo>
                      <a:pt x="1712" y="1201"/>
                    </a:lnTo>
                    <a:lnTo>
                      <a:pt x="1710" y="1201"/>
                    </a:lnTo>
                    <a:lnTo>
                      <a:pt x="1707" y="1201"/>
                    </a:lnTo>
                    <a:lnTo>
                      <a:pt x="1705" y="1201"/>
                    </a:lnTo>
                    <a:lnTo>
                      <a:pt x="1705" y="1201"/>
                    </a:lnTo>
                    <a:lnTo>
                      <a:pt x="1703" y="1201"/>
                    </a:lnTo>
                    <a:lnTo>
                      <a:pt x="1700" y="1201"/>
                    </a:lnTo>
                    <a:lnTo>
                      <a:pt x="1698" y="1201"/>
                    </a:lnTo>
                    <a:lnTo>
                      <a:pt x="1696" y="1201"/>
                    </a:lnTo>
                    <a:lnTo>
                      <a:pt x="1696" y="1201"/>
                    </a:lnTo>
                    <a:lnTo>
                      <a:pt x="1693" y="1201"/>
                    </a:lnTo>
                    <a:lnTo>
                      <a:pt x="1691" y="1201"/>
                    </a:lnTo>
                    <a:lnTo>
                      <a:pt x="1688" y="1201"/>
                    </a:lnTo>
                    <a:lnTo>
                      <a:pt x="1686" y="1201"/>
                    </a:lnTo>
                    <a:lnTo>
                      <a:pt x="1686" y="1201"/>
                    </a:lnTo>
                    <a:lnTo>
                      <a:pt x="1684" y="1201"/>
                    </a:lnTo>
                    <a:lnTo>
                      <a:pt x="1681" y="1201"/>
                    </a:lnTo>
                    <a:lnTo>
                      <a:pt x="1679" y="1201"/>
                    </a:lnTo>
                    <a:lnTo>
                      <a:pt x="1679" y="1201"/>
                    </a:lnTo>
                    <a:lnTo>
                      <a:pt x="1677" y="1201"/>
                    </a:lnTo>
                    <a:lnTo>
                      <a:pt x="1674" y="1201"/>
                    </a:lnTo>
                    <a:lnTo>
                      <a:pt x="1672" y="1201"/>
                    </a:lnTo>
                    <a:lnTo>
                      <a:pt x="1672" y="1201"/>
                    </a:lnTo>
                    <a:lnTo>
                      <a:pt x="1670" y="1201"/>
                    </a:lnTo>
                    <a:lnTo>
                      <a:pt x="1570" y="1201"/>
                    </a:lnTo>
                    <a:lnTo>
                      <a:pt x="1570" y="1127"/>
                    </a:lnTo>
                    <a:lnTo>
                      <a:pt x="1551" y="1127"/>
                    </a:lnTo>
                    <a:lnTo>
                      <a:pt x="1551" y="1085"/>
                    </a:lnTo>
                    <a:lnTo>
                      <a:pt x="1511" y="1085"/>
                    </a:lnTo>
                    <a:lnTo>
                      <a:pt x="1511" y="1087"/>
                    </a:lnTo>
                    <a:lnTo>
                      <a:pt x="1511" y="1127"/>
                    </a:lnTo>
                    <a:lnTo>
                      <a:pt x="1509" y="1127"/>
                    </a:lnTo>
                    <a:lnTo>
                      <a:pt x="1506" y="1127"/>
                    </a:lnTo>
                    <a:lnTo>
                      <a:pt x="1506" y="1127"/>
                    </a:lnTo>
                    <a:lnTo>
                      <a:pt x="1504" y="1127"/>
                    </a:lnTo>
                    <a:lnTo>
                      <a:pt x="1502" y="1127"/>
                    </a:lnTo>
                    <a:lnTo>
                      <a:pt x="1499" y="1127"/>
                    </a:lnTo>
                    <a:lnTo>
                      <a:pt x="1499" y="1127"/>
                    </a:lnTo>
                    <a:lnTo>
                      <a:pt x="1497" y="1127"/>
                    </a:lnTo>
                    <a:lnTo>
                      <a:pt x="1495" y="1127"/>
                    </a:lnTo>
                    <a:lnTo>
                      <a:pt x="1495" y="1127"/>
                    </a:lnTo>
                    <a:lnTo>
                      <a:pt x="1495" y="1127"/>
                    </a:lnTo>
                    <a:lnTo>
                      <a:pt x="1495" y="1201"/>
                    </a:lnTo>
                    <a:lnTo>
                      <a:pt x="1492" y="1201"/>
                    </a:lnTo>
                    <a:lnTo>
                      <a:pt x="1490" y="1201"/>
                    </a:lnTo>
                    <a:lnTo>
                      <a:pt x="1490" y="1201"/>
                    </a:lnTo>
                    <a:lnTo>
                      <a:pt x="1487" y="1201"/>
                    </a:lnTo>
                    <a:lnTo>
                      <a:pt x="1485" y="1201"/>
                    </a:lnTo>
                    <a:lnTo>
                      <a:pt x="1483" y="1201"/>
                    </a:lnTo>
                    <a:lnTo>
                      <a:pt x="1480" y="1201"/>
                    </a:lnTo>
                    <a:lnTo>
                      <a:pt x="1480" y="1201"/>
                    </a:lnTo>
                    <a:lnTo>
                      <a:pt x="1478" y="1201"/>
                    </a:lnTo>
                    <a:lnTo>
                      <a:pt x="1476" y="1201"/>
                    </a:lnTo>
                    <a:lnTo>
                      <a:pt x="1473" y="1201"/>
                    </a:lnTo>
                    <a:lnTo>
                      <a:pt x="1471" y="1201"/>
                    </a:lnTo>
                    <a:lnTo>
                      <a:pt x="1471" y="1201"/>
                    </a:lnTo>
                    <a:lnTo>
                      <a:pt x="1469" y="1201"/>
                    </a:lnTo>
                    <a:lnTo>
                      <a:pt x="1466" y="1201"/>
                    </a:lnTo>
                    <a:lnTo>
                      <a:pt x="1464" y="1201"/>
                    </a:lnTo>
                    <a:lnTo>
                      <a:pt x="1464" y="1201"/>
                    </a:lnTo>
                    <a:lnTo>
                      <a:pt x="1461" y="1201"/>
                    </a:lnTo>
                    <a:lnTo>
                      <a:pt x="1459" y="1201"/>
                    </a:lnTo>
                    <a:lnTo>
                      <a:pt x="1457" y="1201"/>
                    </a:lnTo>
                    <a:lnTo>
                      <a:pt x="1454" y="1201"/>
                    </a:lnTo>
                    <a:lnTo>
                      <a:pt x="1454" y="1201"/>
                    </a:lnTo>
                    <a:lnTo>
                      <a:pt x="1452" y="1201"/>
                    </a:lnTo>
                    <a:lnTo>
                      <a:pt x="1450" y="1201"/>
                    </a:lnTo>
                    <a:lnTo>
                      <a:pt x="1447" y="1201"/>
                    </a:lnTo>
                    <a:lnTo>
                      <a:pt x="1447" y="1201"/>
                    </a:lnTo>
                    <a:lnTo>
                      <a:pt x="1447" y="1175"/>
                    </a:lnTo>
                    <a:lnTo>
                      <a:pt x="1447" y="1151"/>
                    </a:lnTo>
                    <a:lnTo>
                      <a:pt x="1447" y="829"/>
                    </a:lnTo>
                    <a:lnTo>
                      <a:pt x="1251" y="829"/>
                    </a:lnTo>
                    <a:lnTo>
                      <a:pt x="1251" y="753"/>
                    </a:lnTo>
                    <a:lnTo>
                      <a:pt x="1057" y="753"/>
                    </a:lnTo>
                    <a:lnTo>
                      <a:pt x="1057" y="756"/>
                    </a:lnTo>
                    <a:lnTo>
                      <a:pt x="1057" y="829"/>
                    </a:lnTo>
                    <a:lnTo>
                      <a:pt x="1055" y="829"/>
                    </a:lnTo>
                    <a:lnTo>
                      <a:pt x="1052" y="829"/>
                    </a:lnTo>
                    <a:lnTo>
                      <a:pt x="1050" y="829"/>
                    </a:lnTo>
                    <a:lnTo>
                      <a:pt x="1050" y="829"/>
                    </a:lnTo>
                    <a:lnTo>
                      <a:pt x="1048" y="829"/>
                    </a:lnTo>
                    <a:lnTo>
                      <a:pt x="1045" y="829"/>
                    </a:lnTo>
                    <a:lnTo>
                      <a:pt x="1043" y="829"/>
                    </a:lnTo>
                    <a:lnTo>
                      <a:pt x="1041" y="829"/>
                    </a:lnTo>
                    <a:lnTo>
                      <a:pt x="1041" y="829"/>
                    </a:lnTo>
                    <a:lnTo>
                      <a:pt x="1038" y="829"/>
                    </a:lnTo>
                    <a:lnTo>
                      <a:pt x="1036" y="829"/>
                    </a:lnTo>
                    <a:lnTo>
                      <a:pt x="1033" y="829"/>
                    </a:lnTo>
                    <a:lnTo>
                      <a:pt x="1033" y="829"/>
                    </a:lnTo>
                    <a:lnTo>
                      <a:pt x="1031" y="829"/>
                    </a:lnTo>
                    <a:lnTo>
                      <a:pt x="1029" y="829"/>
                    </a:lnTo>
                    <a:lnTo>
                      <a:pt x="1026" y="829"/>
                    </a:lnTo>
                    <a:lnTo>
                      <a:pt x="1024" y="829"/>
                    </a:lnTo>
                    <a:lnTo>
                      <a:pt x="1024" y="829"/>
                    </a:lnTo>
                    <a:lnTo>
                      <a:pt x="1022" y="829"/>
                    </a:lnTo>
                    <a:lnTo>
                      <a:pt x="1019" y="829"/>
                    </a:lnTo>
                    <a:lnTo>
                      <a:pt x="1017" y="829"/>
                    </a:lnTo>
                    <a:lnTo>
                      <a:pt x="1015" y="829"/>
                    </a:lnTo>
                    <a:lnTo>
                      <a:pt x="1015" y="829"/>
                    </a:lnTo>
                    <a:lnTo>
                      <a:pt x="1012" y="829"/>
                    </a:lnTo>
                    <a:lnTo>
                      <a:pt x="1010" y="829"/>
                    </a:lnTo>
                    <a:lnTo>
                      <a:pt x="1007" y="829"/>
                    </a:lnTo>
                    <a:lnTo>
                      <a:pt x="1007" y="829"/>
                    </a:lnTo>
                    <a:lnTo>
                      <a:pt x="1005" y="829"/>
                    </a:lnTo>
                    <a:lnTo>
                      <a:pt x="1003" y="829"/>
                    </a:lnTo>
                    <a:lnTo>
                      <a:pt x="1000" y="829"/>
                    </a:lnTo>
                    <a:lnTo>
                      <a:pt x="998" y="829"/>
                    </a:lnTo>
                    <a:lnTo>
                      <a:pt x="998" y="829"/>
                    </a:lnTo>
                    <a:lnTo>
                      <a:pt x="996" y="829"/>
                    </a:lnTo>
                    <a:lnTo>
                      <a:pt x="993" y="829"/>
                    </a:lnTo>
                    <a:lnTo>
                      <a:pt x="991" y="829"/>
                    </a:lnTo>
                    <a:lnTo>
                      <a:pt x="989" y="829"/>
                    </a:lnTo>
                    <a:lnTo>
                      <a:pt x="989" y="829"/>
                    </a:lnTo>
                    <a:lnTo>
                      <a:pt x="986" y="829"/>
                    </a:lnTo>
                    <a:lnTo>
                      <a:pt x="984" y="829"/>
                    </a:lnTo>
                    <a:lnTo>
                      <a:pt x="854" y="829"/>
                    </a:lnTo>
                    <a:lnTo>
                      <a:pt x="854" y="829"/>
                    </a:lnTo>
                    <a:lnTo>
                      <a:pt x="854" y="1070"/>
                    </a:lnTo>
                    <a:lnTo>
                      <a:pt x="851" y="1070"/>
                    </a:lnTo>
                    <a:lnTo>
                      <a:pt x="849" y="1070"/>
                    </a:lnTo>
                    <a:lnTo>
                      <a:pt x="847" y="1070"/>
                    </a:lnTo>
                    <a:lnTo>
                      <a:pt x="844" y="1070"/>
                    </a:lnTo>
                    <a:lnTo>
                      <a:pt x="844" y="1070"/>
                    </a:lnTo>
                    <a:lnTo>
                      <a:pt x="842" y="1070"/>
                    </a:lnTo>
                    <a:lnTo>
                      <a:pt x="840" y="1070"/>
                    </a:lnTo>
                    <a:lnTo>
                      <a:pt x="837" y="1070"/>
                    </a:lnTo>
                    <a:lnTo>
                      <a:pt x="837" y="1070"/>
                    </a:lnTo>
                    <a:lnTo>
                      <a:pt x="835" y="1070"/>
                    </a:lnTo>
                    <a:lnTo>
                      <a:pt x="832" y="1070"/>
                    </a:lnTo>
                    <a:lnTo>
                      <a:pt x="830" y="1070"/>
                    </a:lnTo>
                    <a:lnTo>
                      <a:pt x="828" y="1070"/>
                    </a:lnTo>
                    <a:lnTo>
                      <a:pt x="828" y="1070"/>
                    </a:lnTo>
                    <a:lnTo>
                      <a:pt x="825" y="1070"/>
                    </a:lnTo>
                    <a:lnTo>
                      <a:pt x="823" y="1070"/>
                    </a:lnTo>
                    <a:lnTo>
                      <a:pt x="821" y="1070"/>
                    </a:lnTo>
                    <a:lnTo>
                      <a:pt x="818" y="1070"/>
                    </a:lnTo>
                    <a:lnTo>
                      <a:pt x="818" y="1070"/>
                    </a:lnTo>
                    <a:lnTo>
                      <a:pt x="818" y="864"/>
                    </a:lnTo>
                    <a:lnTo>
                      <a:pt x="818" y="618"/>
                    </a:lnTo>
                    <a:lnTo>
                      <a:pt x="601" y="618"/>
                    </a:lnTo>
                    <a:lnTo>
                      <a:pt x="601" y="547"/>
                    </a:lnTo>
                    <a:lnTo>
                      <a:pt x="350" y="547"/>
                    </a:lnTo>
                    <a:lnTo>
                      <a:pt x="350" y="550"/>
                    </a:lnTo>
                    <a:lnTo>
                      <a:pt x="350" y="618"/>
                    </a:lnTo>
                    <a:lnTo>
                      <a:pt x="348" y="618"/>
                    </a:lnTo>
                    <a:lnTo>
                      <a:pt x="345" y="618"/>
                    </a:lnTo>
                    <a:lnTo>
                      <a:pt x="343" y="618"/>
                    </a:lnTo>
                    <a:lnTo>
                      <a:pt x="343" y="618"/>
                    </a:lnTo>
                    <a:lnTo>
                      <a:pt x="341" y="618"/>
                    </a:lnTo>
                    <a:lnTo>
                      <a:pt x="338" y="618"/>
                    </a:lnTo>
                    <a:lnTo>
                      <a:pt x="336" y="618"/>
                    </a:lnTo>
                    <a:lnTo>
                      <a:pt x="336" y="618"/>
                    </a:lnTo>
                    <a:lnTo>
                      <a:pt x="334" y="618"/>
                    </a:lnTo>
                    <a:lnTo>
                      <a:pt x="331" y="618"/>
                    </a:lnTo>
                    <a:lnTo>
                      <a:pt x="329" y="618"/>
                    </a:lnTo>
                    <a:lnTo>
                      <a:pt x="326" y="618"/>
                    </a:lnTo>
                    <a:lnTo>
                      <a:pt x="326" y="618"/>
                    </a:lnTo>
                    <a:lnTo>
                      <a:pt x="324" y="618"/>
                    </a:lnTo>
                    <a:lnTo>
                      <a:pt x="322" y="618"/>
                    </a:lnTo>
                    <a:lnTo>
                      <a:pt x="319" y="618"/>
                    </a:lnTo>
                    <a:lnTo>
                      <a:pt x="317" y="618"/>
                    </a:lnTo>
                    <a:lnTo>
                      <a:pt x="317" y="618"/>
                    </a:lnTo>
                    <a:lnTo>
                      <a:pt x="315" y="618"/>
                    </a:lnTo>
                    <a:lnTo>
                      <a:pt x="312" y="618"/>
                    </a:lnTo>
                    <a:lnTo>
                      <a:pt x="310" y="618"/>
                    </a:lnTo>
                    <a:lnTo>
                      <a:pt x="310" y="618"/>
                    </a:lnTo>
                    <a:lnTo>
                      <a:pt x="308" y="618"/>
                    </a:lnTo>
                    <a:lnTo>
                      <a:pt x="305" y="618"/>
                    </a:lnTo>
                    <a:lnTo>
                      <a:pt x="303" y="618"/>
                    </a:lnTo>
                    <a:lnTo>
                      <a:pt x="300" y="618"/>
                    </a:lnTo>
                    <a:lnTo>
                      <a:pt x="300" y="618"/>
                    </a:lnTo>
                    <a:lnTo>
                      <a:pt x="298" y="618"/>
                    </a:lnTo>
                    <a:lnTo>
                      <a:pt x="296" y="618"/>
                    </a:lnTo>
                    <a:lnTo>
                      <a:pt x="293" y="618"/>
                    </a:lnTo>
                    <a:lnTo>
                      <a:pt x="293" y="618"/>
                    </a:lnTo>
                    <a:lnTo>
                      <a:pt x="291" y="618"/>
                    </a:lnTo>
                    <a:lnTo>
                      <a:pt x="289" y="618"/>
                    </a:lnTo>
                    <a:lnTo>
                      <a:pt x="286" y="618"/>
                    </a:lnTo>
                    <a:lnTo>
                      <a:pt x="284" y="618"/>
                    </a:lnTo>
                    <a:lnTo>
                      <a:pt x="284" y="618"/>
                    </a:lnTo>
                    <a:lnTo>
                      <a:pt x="282" y="618"/>
                    </a:lnTo>
                    <a:lnTo>
                      <a:pt x="144" y="618"/>
                    </a:lnTo>
                    <a:lnTo>
                      <a:pt x="144" y="618"/>
                    </a:lnTo>
                    <a:lnTo>
                      <a:pt x="144" y="1454"/>
                    </a:lnTo>
                    <a:lnTo>
                      <a:pt x="142" y="1454"/>
                    </a:lnTo>
                    <a:lnTo>
                      <a:pt x="140" y="1454"/>
                    </a:lnTo>
                    <a:lnTo>
                      <a:pt x="140" y="1454"/>
                    </a:lnTo>
                    <a:lnTo>
                      <a:pt x="137" y="1454"/>
                    </a:lnTo>
                    <a:lnTo>
                      <a:pt x="135" y="1454"/>
                    </a:lnTo>
                    <a:lnTo>
                      <a:pt x="133" y="1454"/>
                    </a:lnTo>
                    <a:lnTo>
                      <a:pt x="130" y="1454"/>
                    </a:lnTo>
                    <a:lnTo>
                      <a:pt x="130" y="1454"/>
                    </a:lnTo>
                    <a:lnTo>
                      <a:pt x="128" y="1454"/>
                    </a:lnTo>
                    <a:lnTo>
                      <a:pt x="126" y="1454"/>
                    </a:lnTo>
                    <a:lnTo>
                      <a:pt x="123" y="1454"/>
                    </a:lnTo>
                    <a:lnTo>
                      <a:pt x="123" y="1454"/>
                    </a:lnTo>
                    <a:lnTo>
                      <a:pt x="121" y="1454"/>
                    </a:lnTo>
                    <a:lnTo>
                      <a:pt x="118" y="1454"/>
                    </a:lnTo>
                    <a:lnTo>
                      <a:pt x="116" y="1454"/>
                    </a:lnTo>
                    <a:lnTo>
                      <a:pt x="114" y="1454"/>
                    </a:lnTo>
                    <a:lnTo>
                      <a:pt x="114" y="1454"/>
                    </a:lnTo>
                    <a:lnTo>
                      <a:pt x="111" y="1454"/>
                    </a:lnTo>
                    <a:lnTo>
                      <a:pt x="109" y="1454"/>
                    </a:lnTo>
                    <a:lnTo>
                      <a:pt x="107" y="1454"/>
                    </a:lnTo>
                    <a:lnTo>
                      <a:pt x="104" y="1454"/>
                    </a:lnTo>
                    <a:lnTo>
                      <a:pt x="104" y="1454"/>
                    </a:lnTo>
                    <a:lnTo>
                      <a:pt x="102" y="1454"/>
                    </a:lnTo>
                    <a:lnTo>
                      <a:pt x="99" y="1454"/>
                    </a:lnTo>
                    <a:lnTo>
                      <a:pt x="97" y="1454"/>
                    </a:lnTo>
                    <a:lnTo>
                      <a:pt x="97" y="1454"/>
                    </a:lnTo>
                    <a:lnTo>
                      <a:pt x="95" y="1454"/>
                    </a:lnTo>
                    <a:lnTo>
                      <a:pt x="92" y="1454"/>
                    </a:lnTo>
                    <a:lnTo>
                      <a:pt x="90" y="1454"/>
                    </a:lnTo>
                    <a:lnTo>
                      <a:pt x="88" y="1454"/>
                    </a:lnTo>
                    <a:lnTo>
                      <a:pt x="88" y="1454"/>
                    </a:lnTo>
                    <a:lnTo>
                      <a:pt x="85" y="1454"/>
                    </a:lnTo>
                    <a:lnTo>
                      <a:pt x="83" y="1454"/>
                    </a:lnTo>
                    <a:lnTo>
                      <a:pt x="81" y="1454"/>
                    </a:lnTo>
                    <a:lnTo>
                      <a:pt x="78" y="1454"/>
                    </a:lnTo>
                    <a:lnTo>
                      <a:pt x="78" y="1454"/>
                    </a:lnTo>
                    <a:lnTo>
                      <a:pt x="76" y="1454"/>
                    </a:lnTo>
                    <a:lnTo>
                      <a:pt x="73" y="1454"/>
                    </a:lnTo>
                    <a:lnTo>
                      <a:pt x="71" y="1454"/>
                    </a:lnTo>
                    <a:lnTo>
                      <a:pt x="71" y="1454"/>
                    </a:lnTo>
                    <a:lnTo>
                      <a:pt x="69" y="1454"/>
                    </a:lnTo>
                    <a:lnTo>
                      <a:pt x="66" y="1454"/>
                    </a:lnTo>
                    <a:lnTo>
                      <a:pt x="64" y="1454"/>
                    </a:lnTo>
                    <a:lnTo>
                      <a:pt x="62" y="1454"/>
                    </a:lnTo>
                    <a:lnTo>
                      <a:pt x="62" y="1454"/>
                    </a:lnTo>
                    <a:lnTo>
                      <a:pt x="59" y="1454"/>
                    </a:lnTo>
                    <a:lnTo>
                      <a:pt x="57" y="1454"/>
                    </a:lnTo>
                    <a:lnTo>
                      <a:pt x="55" y="1454"/>
                    </a:lnTo>
                    <a:lnTo>
                      <a:pt x="52" y="1454"/>
                    </a:lnTo>
                    <a:lnTo>
                      <a:pt x="52" y="1454"/>
                    </a:lnTo>
                    <a:lnTo>
                      <a:pt x="50" y="1454"/>
                    </a:lnTo>
                    <a:lnTo>
                      <a:pt x="50" y="1454"/>
                    </a:lnTo>
                    <a:lnTo>
                      <a:pt x="50" y="1456"/>
                    </a:lnTo>
                    <a:lnTo>
                      <a:pt x="50" y="1534"/>
                    </a:lnTo>
                    <a:lnTo>
                      <a:pt x="47" y="1534"/>
                    </a:lnTo>
                    <a:lnTo>
                      <a:pt x="45" y="1534"/>
                    </a:lnTo>
                    <a:lnTo>
                      <a:pt x="43" y="1534"/>
                    </a:lnTo>
                    <a:lnTo>
                      <a:pt x="43" y="1534"/>
                    </a:lnTo>
                    <a:lnTo>
                      <a:pt x="40" y="1534"/>
                    </a:lnTo>
                    <a:lnTo>
                      <a:pt x="38" y="1534"/>
                    </a:lnTo>
                    <a:lnTo>
                      <a:pt x="36" y="1534"/>
                    </a:lnTo>
                    <a:lnTo>
                      <a:pt x="33" y="1534"/>
                    </a:lnTo>
                    <a:lnTo>
                      <a:pt x="33" y="1534"/>
                    </a:lnTo>
                    <a:lnTo>
                      <a:pt x="31" y="1534"/>
                    </a:lnTo>
                    <a:lnTo>
                      <a:pt x="29" y="1534"/>
                    </a:lnTo>
                    <a:lnTo>
                      <a:pt x="26" y="1534"/>
                    </a:lnTo>
                    <a:lnTo>
                      <a:pt x="26" y="1534"/>
                    </a:lnTo>
                    <a:lnTo>
                      <a:pt x="24" y="1534"/>
                    </a:lnTo>
                    <a:lnTo>
                      <a:pt x="21" y="1534"/>
                    </a:lnTo>
                    <a:lnTo>
                      <a:pt x="19" y="1534"/>
                    </a:lnTo>
                    <a:lnTo>
                      <a:pt x="17" y="1534"/>
                    </a:lnTo>
                    <a:lnTo>
                      <a:pt x="17" y="1534"/>
                    </a:lnTo>
                    <a:lnTo>
                      <a:pt x="14" y="1534"/>
                    </a:lnTo>
                    <a:lnTo>
                      <a:pt x="12" y="1534"/>
                    </a:lnTo>
                    <a:lnTo>
                      <a:pt x="10" y="1534"/>
                    </a:lnTo>
                    <a:lnTo>
                      <a:pt x="7" y="1534"/>
                    </a:lnTo>
                    <a:lnTo>
                      <a:pt x="7" y="1534"/>
                    </a:lnTo>
                    <a:lnTo>
                      <a:pt x="5" y="1534"/>
                    </a:lnTo>
                    <a:lnTo>
                      <a:pt x="3" y="1534"/>
                    </a:lnTo>
                    <a:lnTo>
                      <a:pt x="0" y="1534"/>
                    </a:lnTo>
                    <a:lnTo>
                      <a:pt x="0" y="1534"/>
                    </a:lnTo>
                    <a:lnTo>
                      <a:pt x="0" y="1537"/>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512"/>
                    </a:lnTo>
                    <a:lnTo>
                      <a:pt x="7072" y="1693"/>
                    </a:lnTo>
                    <a:lnTo>
                      <a:pt x="7070" y="1693"/>
                    </a:lnTo>
                    <a:lnTo>
                      <a:pt x="7070" y="1693"/>
                    </a:lnTo>
                    <a:lnTo>
                      <a:pt x="7068" y="1693"/>
                    </a:lnTo>
                    <a:lnTo>
                      <a:pt x="7065" y="1693"/>
                    </a:lnTo>
                    <a:lnTo>
                      <a:pt x="7063" y="1693"/>
                    </a:lnTo>
                    <a:lnTo>
                      <a:pt x="7063" y="1693"/>
                    </a:lnTo>
                    <a:lnTo>
                      <a:pt x="7061" y="1693"/>
                    </a:lnTo>
                    <a:lnTo>
                      <a:pt x="7058" y="1693"/>
                    </a:lnTo>
                    <a:lnTo>
                      <a:pt x="7056" y="1693"/>
                    </a:lnTo>
                    <a:lnTo>
                      <a:pt x="7054" y="1693"/>
                    </a:lnTo>
                    <a:lnTo>
                      <a:pt x="7054" y="1693"/>
                    </a:lnTo>
                    <a:lnTo>
                      <a:pt x="7051" y="1693"/>
                    </a:lnTo>
                    <a:lnTo>
                      <a:pt x="7049" y="1693"/>
                    </a:lnTo>
                    <a:lnTo>
                      <a:pt x="7046" y="1693"/>
                    </a:lnTo>
                    <a:lnTo>
                      <a:pt x="7046" y="1693"/>
                    </a:lnTo>
                    <a:lnTo>
                      <a:pt x="7044" y="1693"/>
                    </a:lnTo>
                    <a:lnTo>
                      <a:pt x="7042" y="1693"/>
                    </a:lnTo>
                    <a:lnTo>
                      <a:pt x="7039" y="1693"/>
                    </a:lnTo>
                    <a:lnTo>
                      <a:pt x="7037" y="1693"/>
                    </a:lnTo>
                    <a:lnTo>
                      <a:pt x="7037" y="1693"/>
                    </a:lnTo>
                    <a:lnTo>
                      <a:pt x="7035" y="1693"/>
                    </a:lnTo>
                    <a:lnTo>
                      <a:pt x="7032" y="1693"/>
                    </a:lnTo>
                    <a:lnTo>
                      <a:pt x="7030" y="1693"/>
                    </a:lnTo>
                    <a:lnTo>
                      <a:pt x="7030" y="1693"/>
                    </a:lnTo>
                    <a:lnTo>
                      <a:pt x="7030" y="1094"/>
                    </a:lnTo>
                    <a:lnTo>
                      <a:pt x="7028" y="1094"/>
                    </a:lnTo>
                    <a:lnTo>
                      <a:pt x="7028" y="1094"/>
                    </a:lnTo>
                    <a:lnTo>
                      <a:pt x="7025" y="1094"/>
                    </a:lnTo>
                    <a:lnTo>
                      <a:pt x="7023" y="1094"/>
                    </a:lnTo>
                    <a:lnTo>
                      <a:pt x="7020" y="1094"/>
                    </a:lnTo>
                    <a:lnTo>
                      <a:pt x="7020" y="1094"/>
                    </a:lnTo>
                    <a:lnTo>
                      <a:pt x="7018" y="1094"/>
                    </a:lnTo>
                    <a:lnTo>
                      <a:pt x="7016" y="1094"/>
                    </a:lnTo>
                    <a:lnTo>
                      <a:pt x="7013" y="1094"/>
                    </a:lnTo>
                    <a:lnTo>
                      <a:pt x="7011" y="1094"/>
                    </a:lnTo>
                    <a:lnTo>
                      <a:pt x="7011" y="1094"/>
                    </a:lnTo>
                    <a:lnTo>
                      <a:pt x="7009" y="1094"/>
                    </a:lnTo>
                    <a:lnTo>
                      <a:pt x="7006" y="1094"/>
                    </a:lnTo>
                    <a:lnTo>
                      <a:pt x="7004" y="1094"/>
                    </a:lnTo>
                    <a:lnTo>
                      <a:pt x="7001" y="1094"/>
                    </a:lnTo>
                    <a:lnTo>
                      <a:pt x="7001" y="1094"/>
                    </a:lnTo>
                    <a:lnTo>
                      <a:pt x="6999" y="1094"/>
                    </a:lnTo>
                    <a:lnTo>
                      <a:pt x="6997" y="1094"/>
                    </a:lnTo>
                    <a:lnTo>
                      <a:pt x="6994" y="1094"/>
                    </a:lnTo>
                    <a:lnTo>
                      <a:pt x="6994" y="1094"/>
                    </a:lnTo>
                    <a:lnTo>
                      <a:pt x="6992" y="1094"/>
                    </a:lnTo>
                    <a:lnTo>
                      <a:pt x="6990" y="1094"/>
                    </a:lnTo>
                    <a:lnTo>
                      <a:pt x="6987" y="1094"/>
                    </a:lnTo>
                    <a:lnTo>
                      <a:pt x="6985" y="1094"/>
                    </a:lnTo>
                    <a:lnTo>
                      <a:pt x="6985" y="1094"/>
                    </a:lnTo>
                    <a:lnTo>
                      <a:pt x="6983" y="1094"/>
                    </a:lnTo>
                    <a:lnTo>
                      <a:pt x="6980" y="1094"/>
                    </a:lnTo>
                    <a:lnTo>
                      <a:pt x="6978" y="1094"/>
                    </a:lnTo>
                    <a:lnTo>
                      <a:pt x="6905" y="1094"/>
                    </a:lnTo>
                    <a:lnTo>
                      <a:pt x="6905" y="1059"/>
                    </a:lnTo>
                    <a:lnTo>
                      <a:pt x="6519" y="1059"/>
                    </a:lnTo>
                    <a:lnTo>
                      <a:pt x="6519" y="935"/>
                    </a:lnTo>
                    <a:lnTo>
                      <a:pt x="6486" y="935"/>
                    </a:lnTo>
                    <a:lnTo>
                      <a:pt x="6477" y="895"/>
                    </a:lnTo>
                    <a:lnTo>
                      <a:pt x="6472" y="895"/>
                    </a:lnTo>
                    <a:lnTo>
                      <a:pt x="6472" y="879"/>
                    </a:lnTo>
                    <a:lnTo>
                      <a:pt x="6465" y="879"/>
                    </a:lnTo>
                    <a:lnTo>
                      <a:pt x="6465" y="850"/>
                    </a:lnTo>
                    <a:lnTo>
                      <a:pt x="6446" y="850"/>
                    </a:lnTo>
                    <a:lnTo>
                      <a:pt x="6446" y="853"/>
                    </a:lnTo>
                    <a:lnTo>
                      <a:pt x="6446" y="879"/>
                    </a:lnTo>
                    <a:lnTo>
                      <a:pt x="6443" y="879"/>
                    </a:lnTo>
                    <a:lnTo>
                      <a:pt x="6441" y="879"/>
                    </a:lnTo>
                    <a:lnTo>
                      <a:pt x="6439" y="879"/>
                    </a:lnTo>
                    <a:lnTo>
                      <a:pt x="6439" y="879"/>
                    </a:lnTo>
                    <a:lnTo>
                      <a:pt x="6436" y="879"/>
                    </a:lnTo>
                    <a:lnTo>
                      <a:pt x="6436" y="881"/>
                    </a:lnTo>
                    <a:lnTo>
                      <a:pt x="6436" y="895"/>
                    </a:lnTo>
                    <a:lnTo>
                      <a:pt x="6436" y="895"/>
                    </a:lnTo>
                    <a:lnTo>
                      <a:pt x="6434" y="895"/>
                    </a:lnTo>
                    <a:lnTo>
                      <a:pt x="6432" y="895"/>
                    </a:lnTo>
                    <a:lnTo>
                      <a:pt x="6432" y="898"/>
                    </a:lnTo>
                    <a:lnTo>
                      <a:pt x="6425" y="935"/>
                    </a:lnTo>
                    <a:lnTo>
                      <a:pt x="6422" y="935"/>
                    </a:lnTo>
                    <a:lnTo>
                      <a:pt x="6420" y="935"/>
                    </a:lnTo>
                    <a:lnTo>
                      <a:pt x="6420" y="935"/>
                    </a:lnTo>
                    <a:lnTo>
                      <a:pt x="6417" y="935"/>
                    </a:lnTo>
                    <a:lnTo>
                      <a:pt x="6417" y="935"/>
                    </a:lnTo>
                    <a:lnTo>
                      <a:pt x="6415" y="935"/>
                    </a:lnTo>
                    <a:lnTo>
                      <a:pt x="6413" y="935"/>
                    </a:lnTo>
                    <a:lnTo>
                      <a:pt x="6413" y="935"/>
                    </a:lnTo>
                    <a:lnTo>
                      <a:pt x="6410" y="935"/>
                    </a:lnTo>
                    <a:lnTo>
                      <a:pt x="6408" y="935"/>
                    </a:lnTo>
                    <a:lnTo>
                      <a:pt x="6408" y="935"/>
                    </a:lnTo>
                    <a:lnTo>
                      <a:pt x="6406" y="935"/>
                    </a:lnTo>
                    <a:lnTo>
                      <a:pt x="6406" y="935"/>
                    </a:lnTo>
                    <a:lnTo>
                      <a:pt x="6403" y="935"/>
                    </a:lnTo>
                    <a:lnTo>
                      <a:pt x="6401" y="935"/>
                    </a:lnTo>
                    <a:lnTo>
                      <a:pt x="6401" y="935"/>
                    </a:lnTo>
                    <a:lnTo>
                      <a:pt x="6399" y="935"/>
                    </a:lnTo>
                    <a:lnTo>
                      <a:pt x="6399" y="935"/>
                    </a:lnTo>
                    <a:lnTo>
                      <a:pt x="6396" y="935"/>
                    </a:lnTo>
                    <a:lnTo>
                      <a:pt x="6394" y="935"/>
                    </a:lnTo>
                    <a:lnTo>
                      <a:pt x="6394" y="935"/>
                    </a:lnTo>
                    <a:lnTo>
                      <a:pt x="6391" y="935"/>
                    </a:lnTo>
                    <a:lnTo>
                      <a:pt x="6391" y="935"/>
                    </a:lnTo>
                    <a:lnTo>
                      <a:pt x="6389" y="935"/>
                    </a:lnTo>
                    <a:lnTo>
                      <a:pt x="6387" y="935"/>
                    </a:lnTo>
                    <a:lnTo>
                      <a:pt x="6387" y="938"/>
                    </a:lnTo>
                    <a:lnTo>
                      <a:pt x="6387" y="1130"/>
                    </a:lnTo>
                    <a:lnTo>
                      <a:pt x="6387" y="1130"/>
                    </a:lnTo>
                    <a:lnTo>
                      <a:pt x="6384" y="1130"/>
                    </a:lnTo>
                    <a:lnTo>
                      <a:pt x="6382" y="1130"/>
                    </a:lnTo>
                    <a:lnTo>
                      <a:pt x="6380" y="1130"/>
                    </a:lnTo>
                    <a:lnTo>
                      <a:pt x="6377" y="1130"/>
                    </a:lnTo>
                    <a:lnTo>
                      <a:pt x="6377" y="1130"/>
                    </a:lnTo>
                    <a:lnTo>
                      <a:pt x="6375" y="1130"/>
                    </a:lnTo>
                    <a:lnTo>
                      <a:pt x="6373" y="1130"/>
                    </a:lnTo>
                    <a:lnTo>
                      <a:pt x="6370" y="1130"/>
                    </a:lnTo>
                    <a:lnTo>
                      <a:pt x="6370" y="1130"/>
                    </a:lnTo>
                    <a:lnTo>
                      <a:pt x="6370" y="1132"/>
                    </a:lnTo>
                    <a:lnTo>
                      <a:pt x="6370" y="1364"/>
                    </a:lnTo>
                    <a:lnTo>
                      <a:pt x="6368" y="1364"/>
                    </a:lnTo>
                    <a:lnTo>
                      <a:pt x="6365" y="1364"/>
                    </a:lnTo>
                    <a:lnTo>
                      <a:pt x="6365" y="1364"/>
                    </a:lnTo>
                    <a:lnTo>
                      <a:pt x="6363" y="1364"/>
                    </a:lnTo>
                    <a:lnTo>
                      <a:pt x="6361" y="1364"/>
                    </a:lnTo>
                    <a:lnTo>
                      <a:pt x="6358" y="1364"/>
                    </a:lnTo>
                    <a:lnTo>
                      <a:pt x="6358" y="1364"/>
                    </a:lnTo>
                    <a:lnTo>
                      <a:pt x="6356" y="1364"/>
                    </a:lnTo>
                    <a:lnTo>
                      <a:pt x="6354" y="1364"/>
                    </a:lnTo>
                    <a:lnTo>
                      <a:pt x="6351" y="1364"/>
                    </a:lnTo>
                    <a:lnTo>
                      <a:pt x="6349" y="1364"/>
                    </a:lnTo>
                    <a:lnTo>
                      <a:pt x="6349" y="1364"/>
                    </a:lnTo>
                    <a:lnTo>
                      <a:pt x="6347" y="1364"/>
                    </a:lnTo>
                    <a:lnTo>
                      <a:pt x="6344" y="1364"/>
                    </a:lnTo>
                    <a:lnTo>
                      <a:pt x="6344" y="1364"/>
                    </a:lnTo>
                    <a:lnTo>
                      <a:pt x="6344" y="1210"/>
                    </a:lnTo>
                    <a:lnTo>
                      <a:pt x="6342" y="1210"/>
                    </a:lnTo>
                    <a:lnTo>
                      <a:pt x="6339" y="1210"/>
                    </a:lnTo>
                    <a:lnTo>
                      <a:pt x="6339" y="1210"/>
                    </a:lnTo>
                    <a:lnTo>
                      <a:pt x="6337" y="1210"/>
                    </a:lnTo>
                    <a:lnTo>
                      <a:pt x="6335" y="1210"/>
                    </a:lnTo>
                    <a:lnTo>
                      <a:pt x="6332" y="1210"/>
                    </a:lnTo>
                    <a:lnTo>
                      <a:pt x="6332" y="1210"/>
                    </a:lnTo>
                    <a:lnTo>
                      <a:pt x="6330" y="1210"/>
                    </a:lnTo>
                    <a:lnTo>
                      <a:pt x="6328" y="1210"/>
                    </a:lnTo>
                    <a:lnTo>
                      <a:pt x="6325" y="1210"/>
                    </a:lnTo>
                    <a:lnTo>
                      <a:pt x="6323" y="1210"/>
                    </a:lnTo>
                    <a:lnTo>
                      <a:pt x="6323" y="1210"/>
                    </a:lnTo>
                    <a:lnTo>
                      <a:pt x="6321" y="1210"/>
                    </a:lnTo>
                    <a:lnTo>
                      <a:pt x="6318" y="1210"/>
                    </a:lnTo>
                    <a:lnTo>
                      <a:pt x="6316" y="1210"/>
                    </a:lnTo>
                    <a:lnTo>
                      <a:pt x="6313" y="1210"/>
                    </a:lnTo>
                    <a:lnTo>
                      <a:pt x="6313" y="1210"/>
                    </a:lnTo>
                    <a:lnTo>
                      <a:pt x="6311" y="1210"/>
                    </a:lnTo>
                    <a:lnTo>
                      <a:pt x="6309" y="1210"/>
                    </a:lnTo>
                    <a:lnTo>
                      <a:pt x="6306" y="1210"/>
                    </a:lnTo>
                    <a:lnTo>
                      <a:pt x="6306" y="1210"/>
                    </a:lnTo>
                    <a:lnTo>
                      <a:pt x="6304" y="1210"/>
                    </a:lnTo>
                    <a:lnTo>
                      <a:pt x="6302" y="1210"/>
                    </a:lnTo>
                    <a:lnTo>
                      <a:pt x="6299" y="1210"/>
                    </a:lnTo>
                    <a:lnTo>
                      <a:pt x="6297" y="1210"/>
                    </a:lnTo>
                    <a:lnTo>
                      <a:pt x="6297" y="1210"/>
                    </a:lnTo>
                    <a:lnTo>
                      <a:pt x="6295" y="1210"/>
                    </a:lnTo>
                    <a:lnTo>
                      <a:pt x="6292" y="1210"/>
                    </a:lnTo>
                    <a:lnTo>
                      <a:pt x="6290" y="1210"/>
                    </a:lnTo>
                    <a:lnTo>
                      <a:pt x="6280" y="1210"/>
                    </a:lnTo>
                    <a:lnTo>
                      <a:pt x="6280" y="1130"/>
                    </a:lnTo>
                    <a:lnTo>
                      <a:pt x="6122" y="1130"/>
                    </a:lnTo>
                    <a:lnTo>
                      <a:pt x="6122" y="1042"/>
                    </a:lnTo>
                    <a:lnTo>
                      <a:pt x="6103" y="1042"/>
                    </a:lnTo>
                    <a:lnTo>
                      <a:pt x="6103" y="990"/>
                    </a:lnTo>
                    <a:lnTo>
                      <a:pt x="5997" y="990"/>
                    </a:lnTo>
                    <a:lnTo>
                      <a:pt x="5997" y="992"/>
                    </a:lnTo>
                    <a:lnTo>
                      <a:pt x="5997" y="1042"/>
                    </a:lnTo>
                    <a:lnTo>
                      <a:pt x="5994" y="1042"/>
                    </a:lnTo>
                    <a:lnTo>
                      <a:pt x="5992" y="1042"/>
                    </a:lnTo>
                    <a:lnTo>
                      <a:pt x="5992" y="1042"/>
                    </a:lnTo>
                    <a:lnTo>
                      <a:pt x="5989" y="1042"/>
                    </a:lnTo>
                    <a:lnTo>
                      <a:pt x="5987" y="1042"/>
                    </a:lnTo>
                    <a:lnTo>
                      <a:pt x="5985" y="1042"/>
                    </a:lnTo>
                    <a:lnTo>
                      <a:pt x="5985" y="1042"/>
                    </a:lnTo>
                    <a:lnTo>
                      <a:pt x="5982" y="1042"/>
                    </a:lnTo>
                    <a:lnTo>
                      <a:pt x="5980" y="1042"/>
                    </a:lnTo>
                    <a:lnTo>
                      <a:pt x="5978" y="1042"/>
                    </a:lnTo>
                    <a:lnTo>
                      <a:pt x="5978" y="1044"/>
                    </a:lnTo>
                    <a:lnTo>
                      <a:pt x="5978" y="1130"/>
                    </a:lnTo>
                    <a:lnTo>
                      <a:pt x="5978" y="1130"/>
                    </a:lnTo>
                    <a:lnTo>
                      <a:pt x="5975" y="1130"/>
                    </a:lnTo>
                    <a:lnTo>
                      <a:pt x="5973" y="1130"/>
                    </a:lnTo>
                    <a:lnTo>
                      <a:pt x="5971" y="1130"/>
                    </a:lnTo>
                    <a:lnTo>
                      <a:pt x="5968" y="1130"/>
                    </a:lnTo>
                    <a:lnTo>
                      <a:pt x="5968" y="1130"/>
                    </a:lnTo>
                    <a:lnTo>
                      <a:pt x="5966" y="1130"/>
                    </a:lnTo>
                    <a:lnTo>
                      <a:pt x="5963" y="1130"/>
                    </a:lnTo>
                    <a:lnTo>
                      <a:pt x="5961" y="1130"/>
                    </a:lnTo>
                    <a:lnTo>
                      <a:pt x="5959" y="1130"/>
                    </a:lnTo>
                    <a:lnTo>
                      <a:pt x="5959" y="1130"/>
                    </a:lnTo>
                    <a:lnTo>
                      <a:pt x="5956" y="1130"/>
                    </a:lnTo>
                    <a:lnTo>
                      <a:pt x="5954" y="1130"/>
                    </a:lnTo>
                    <a:lnTo>
                      <a:pt x="5952" y="1130"/>
                    </a:lnTo>
                    <a:lnTo>
                      <a:pt x="5952" y="1130"/>
                    </a:lnTo>
                    <a:lnTo>
                      <a:pt x="5949" y="1130"/>
                    </a:lnTo>
                    <a:lnTo>
                      <a:pt x="5947" y="1130"/>
                    </a:lnTo>
                    <a:lnTo>
                      <a:pt x="5945" y="1130"/>
                    </a:lnTo>
                    <a:lnTo>
                      <a:pt x="5942" y="1130"/>
                    </a:lnTo>
                    <a:lnTo>
                      <a:pt x="5942" y="1130"/>
                    </a:lnTo>
                    <a:lnTo>
                      <a:pt x="5940" y="1130"/>
                    </a:lnTo>
                    <a:lnTo>
                      <a:pt x="5937" y="1130"/>
                    </a:lnTo>
                    <a:lnTo>
                      <a:pt x="5935" y="1130"/>
                    </a:lnTo>
                    <a:lnTo>
                      <a:pt x="5935" y="1130"/>
                    </a:lnTo>
                    <a:lnTo>
                      <a:pt x="5933" y="1130"/>
                    </a:lnTo>
                    <a:lnTo>
                      <a:pt x="5930" y="1130"/>
                    </a:lnTo>
                    <a:lnTo>
                      <a:pt x="5928" y="1130"/>
                    </a:lnTo>
                    <a:lnTo>
                      <a:pt x="5926" y="1130"/>
                    </a:lnTo>
                    <a:lnTo>
                      <a:pt x="5926" y="1130"/>
                    </a:lnTo>
                    <a:lnTo>
                      <a:pt x="5923" y="1130"/>
                    </a:lnTo>
                    <a:lnTo>
                      <a:pt x="5921" y="1130"/>
                    </a:lnTo>
                    <a:lnTo>
                      <a:pt x="5919" y="1130"/>
                    </a:lnTo>
                    <a:lnTo>
                      <a:pt x="5916" y="1130"/>
                    </a:lnTo>
                    <a:lnTo>
                      <a:pt x="5916" y="1130"/>
                    </a:lnTo>
                    <a:lnTo>
                      <a:pt x="5914" y="1130"/>
                    </a:lnTo>
                    <a:lnTo>
                      <a:pt x="5911" y="1130"/>
                    </a:lnTo>
                    <a:lnTo>
                      <a:pt x="5909" y="1130"/>
                    </a:lnTo>
                    <a:lnTo>
                      <a:pt x="5909" y="1130"/>
                    </a:lnTo>
                    <a:lnTo>
                      <a:pt x="5907" y="1130"/>
                    </a:lnTo>
                    <a:lnTo>
                      <a:pt x="5904" y="1130"/>
                    </a:lnTo>
                    <a:lnTo>
                      <a:pt x="5904" y="1130"/>
                    </a:lnTo>
                    <a:lnTo>
                      <a:pt x="5904" y="1132"/>
                    </a:lnTo>
                    <a:lnTo>
                      <a:pt x="5904" y="1210"/>
                    </a:lnTo>
                    <a:lnTo>
                      <a:pt x="5902" y="1210"/>
                    </a:lnTo>
                    <a:lnTo>
                      <a:pt x="5900" y="1210"/>
                    </a:lnTo>
                    <a:lnTo>
                      <a:pt x="5897" y="1210"/>
                    </a:lnTo>
                    <a:lnTo>
                      <a:pt x="5897" y="1210"/>
                    </a:lnTo>
                    <a:lnTo>
                      <a:pt x="5895" y="1210"/>
                    </a:lnTo>
                    <a:lnTo>
                      <a:pt x="5893" y="1210"/>
                    </a:lnTo>
                    <a:lnTo>
                      <a:pt x="5890" y="1210"/>
                    </a:lnTo>
                    <a:lnTo>
                      <a:pt x="5888" y="1210"/>
                    </a:lnTo>
                    <a:lnTo>
                      <a:pt x="5888" y="1210"/>
                    </a:lnTo>
                    <a:lnTo>
                      <a:pt x="5885" y="1210"/>
                    </a:lnTo>
                    <a:lnTo>
                      <a:pt x="5883" y="1210"/>
                    </a:lnTo>
                    <a:lnTo>
                      <a:pt x="5881" y="1210"/>
                    </a:lnTo>
                    <a:lnTo>
                      <a:pt x="5878" y="1210"/>
                    </a:lnTo>
                    <a:lnTo>
                      <a:pt x="5878" y="1210"/>
                    </a:lnTo>
                    <a:lnTo>
                      <a:pt x="5878" y="1212"/>
                    </a:lnTo>
                    <a:lnTo>
                      <a:pt x="5878" y="1326"/>
                    </a:lnTo>
                    <a:lnTo>
                      <a:pt x="5876" y="1326"/>
                    </a:lnTo>
                    <a:lnTo>
                      <a:pt x="5876" y="1326"/>
                    </a:lnTo>
                    <a:lnTo>
                      <a:pt x="5874" y="1326"/>
                    </a:lnTo>
                    <a:lnTo>
                      <a:pt x="5871" y="1326"/>
                    </a:lnTo>
                    <a:lnTo>
                      <a:pt x="5869" y="1326"/>
                    </a:lnTo>
                    <a:lnTo>
                      <a:pt x="5867" y="1326"/>
                    </a:lnTo>
                    <a:lnTo>
                      <a:pt x="5867" y="1326"/>
                    </a:lnTo>
                    <a:lnTo>
                      <a:pt x="5864" y="1326"/>
                    </a:lnTo>
                    <a:lnTo>
                      <a:pt x="5862" y="1326"/>
                    </a:lnTo>
                    <a:lnTo>
                      <a:pt x="5859" y="1326"/>
                    </a:lnTo>
                    <a:lnTo>
                      <a:pt x="5857" y="1326"/>
                    </a:lnTo>
                    <a:lnTo>
                      <a:pt x="5857" y="1326"/>
                    </a:lnTo>
                    <a:lnTo>
                      <a:pt x="5855" y="1326"/>
                    </a:lnTo>
                    <a:lnTo>
                      <a:pt x="5852" y="1326"/>
                    </a:lnTo>
                    <a:lnTo>
                      <a:pt x="5850" y="1326"/>
                    </a:lnTo>
                    <a:lnTo>
                      <a:pt x="5850" y="1326"/>
                    </a:lnTo>
                    <a:lnTo>
                      <a:pt x="5848" y="1326"/>
                    </a:lnTo>
                    <a:lnTo>
                      <a:pt x="5845" y="1326"/>
                    </a:lnTo>
                    <a:lnTo>
                      <a:pt x="5843" y="1326"/>
                    </a:lnTo>
                    <a:lnTo>
                      <a:pt x="5841" y="1326"/>
                    </a:lnTo>
                    <a:lnTo>
                      <a:pt x="5841" y="1326"/>
                    </a:lnTo>
                    <a:lnTo>
                      <a:pt x="5838" y="1326"/>
                    </a:lnTo>
                    <a:lnTo>
                      <a:pt x="5836" y="1326"/>
                    </a:lnTo>
                    <a:lnTo>
                      <a:pt x="5833" y="1326"/>
                    </a:lnTo>
                    <a:lnTo>
                      <a:pt x="5831" y="1326"/>
                    </a:lnTo>
                    <a:lnTo>
                      <a:pt x="5831" y="1326"/>
                    </a:lnTo>
                    <a:lnTo>
                      <a:pt x="5829" y="1326"/>
                    </a:lnTo>
                    <a:lnTo>
                      <a:pt x="5826" y="1326"/>
                    </a:lnTo>
                    <a:lnTo>
                      <a:pt x="5824" y="1326"/>
                    </a:lnTo>
                    <a:lnTo>
                      <a:pt x="5824" y="1326"/>
                    </a:lnTo>
                    <a:lnTo>
                      <a:pt x="5822" y="1326"/>
                    </a:lnTo>
                    <a:lnTo>
                      <a:pt x="5819" y="1326"/>
                    </a:lnTo>
                    <a:lnTo>
                      <a:pt x="5817" y="1326"/>
                    </a:lnTo>
                    <a:lnTo>
                      <a:pt x="5815" y="1326"/>
                    </a:lnTo>
                    <a:lnTo>
                      <a:pt x="5815" y="1326"/>
                    </a:lnTo>
                    <a:lnTo>
                      <a:pt x="5812" y="1326"/>
                    </a:lnTo>
                    <a:lnTo>
                      <a:pt x="5810" y="1326"/>
                    </a:lnTo>
                    <a:lnTo>
                      <a:pt x="5807" y="1326"/>
                    </a:lnTo>
                    <a:lnTo>
                      <a:pt x="5807" y="1326"/>
                    </a:lnTo>
                    <a:lnTo>
                      <a:pt x="5805" y="1326"/>
                    </a:lnTo>
                    <a:lnTo>
                      <a:pt x="5803" y="1326"/>
                    </a:lnTo>
                    <a:lnTo>
                      <a:pt x="5800" y="1326"/>
                    </a:lnTo>
                    <a:lnTo>
                      <a:pt x="5798" y="1326"/>
                    </a:lnTo>
                    <a:lnTo>
                      <a:pt x="5798" y="1326"/>
                    </a:lnTo>
                    <a:lnTo>
                      <a:pt x="5796" y="1326"/>
                    </a:lnTo>
                    <a:lnTo>
                      <a:pt x="5793" y="1326"/>
                    </a:lnTo>
                    <a:lnTo>
                      <a:pt x="5791" y="1326"/>
                    </a:lnTo>
                    <a:lnTo>
                      <a:pt x="5788" y="1326"/>
                    </a:lnTo>
                    <a:lnTo>
                      <a:pt x="5788" y="1326"/>
                    </a:lnTo>
                    <a:lnTo>
                      <a:pt x="5786" y="1326"/>
                    </a:lnTo>
                    <a:lnTo>
                      <a:pt x="5784" y="1326"/>
                    </a:lnTo>
                    <a:lnTo>
                      <a:pt x="5713" y="1326"/>
                    </a:lnTo>
                    <a:lnTo>
                      <a:pt x="5713" y="1329"/>
                    </a:lnTo>
                    <a:lnTo>
                      <a:pt x="5713" y="1449"/>
                    </a:lnTo>
                    <a:lnTo>
                      <a:pt x="5710" y="1449"/>
                    </a:lnTo>
                    <a:lnTo>
                      <a:pt x="5710" y="1449"/>
                    </a:lnTo>
                    <a:lnTo>
                      <a:pt x="5708" y="1449"/>
                    </a:lnTo>
                    <a:lnTo>
                      <a:pt x="5706" y="1449"/>
                    </a:lnTo>
                    <a:lnTo>
                      <a:pt x="5703" y="1449"/>
                    </a:lnTo>
                    <a:lnTo>
                      <a:pt x="5703" y="1449"/>
                    </a:lnTo>
                    <a:lnTo>
                      <a:pt x="5701" y="1449"/>
                    </a:lnTo>
                    <a:lnTo>
                      <a:pt x="5699" y="1449"/>
                    </a:lnTo>
                    <a:lnTo>
                      <a:pt x="5696" y="1449"/>
                    </a:lnTo>
                    <a:lnTo>
                      <a:pt x="5694" y="1449"/>
                    </a:lnTo>
                    <a:lnTo>
                      <a:pt x="5694" y="1449"/>
                    </a:lnTo>
                    <a:lnTo>
                      <a:pt x="5692" y="1449"/>
                    </a:lnTo>
                    <a:lnTo>
                      <a:pt x="5689" y="1449"/>
                    </a:lnTo>
                    <a:lnTo>
                      <a:pt x="5687" y="1449"/>
                    </a:lnTo>
                    <a:lnTo>
                      <a:pt x="5684" y="1449"/>
                    </a:lnTo>
                    <a:lnTo>
                      <a:pt x="5684" y="1449"/>
                    </a:lnTo>
                    <a:lnTo>
                      <a:pt x="5682" y="1449"/>
                    </a:lnTo>
                    <a:lnTo>
                      <a:pt x="5680" y="1449"/>
                    </a:lnTo>
                    <a:lnTo>
                      <a:pt x="5677" y="1449"/>
                    </a:lnTo>
                    <a:lnTo>
                      <a:pt x="5677" y="1449"/>
                    </a:lnTo>
                    <a:lnTo>
                      <a:pt x="5675" y="1449"/>
                    </a:lnTo>
                    <a:lnTo>
                      <a:pt x="5673" y="1449"/>
                    </a:lnTo>
                    <a:lnTo>
                      <a:pt x="5670" y="1449"/>
                    </a:lnTo>
                    <a:lnTo>
                      <a:pt x="5668" y="1449"/>
                    </a:lnTo>
                    <a:lnTo>
                      <a:pt x="5668" y="1449"/>
                    </a:lnTo>
                    <a:lnTo>
                      <a:pt x="5666" y="1449"/>
                    </a:lnTo>
                    <a:lnTo>
                      <a:pt x="5666" y="1376"/>
                    </a:lnTo>
                    <a:lnTo>
                      <a:pt x="5666" y="732"/>
                    </a:lnTo>
                    <a:lnTo>
                      <a:pt x="5531" y="732"/>
                    </a:lnTo>
                    <a:lnTo>
                      <a:pt x="5531" y="611"/>
                    </a:lnTo>
                    <a:lnTo>
                      <a:pt x="5301" y="611"/>
                    </a:lnTo>
                    <a:lnTo>
                      <a:pt x="5301" y="611"/>
                    </a:lnTo>
                    <a:lnTo>
                      <a:pt x="5301" y="732"/>
                    </a:lnTo>
                    <a:lnTo>
                      <a:pt x="5299" y="732"/>
                    </a:lnTo>
                    <a:lnTo>
                      <a:pt x="5297" y="732"/>
                    </a:lnTo>
                    <a:lnTo>
                      <a:pt x="5294" y="732"/>
                    </a:lnTo>
                    <a:lnTo>
                      <a:pt x="5292" y="732"/>
                    </a:lnTo>
                    <a:lnTo>
                      <a:pt x="5292" y="732"/>
                    </a:lnTo>
                    <a:lnTo>
                      <a:pt x="5290" y="732"/>
                    </a:lnTo>
                    <a:lnTo>
                      <a:pt x="5287" y="732"/>
                    </a:lnTo>
                    <a:lnTo>
                      <a:pt x="5285" y="732"/>
                    </a:lnTo>
                    <a:lnTo>
                      <a:pt x="5285" y="732"/>
                    </a:lnTo>
                    <a:lnTo>
                      <a:pt x="5282" y="732"/>
                    </a:lnTo>
                    <a:lnTo>
                      <a:pt x="5280" y="732"/>
                    </a:lnTo>
                    <a:lnTo>
                      <a:pt x="5278" y="732"/>
                    </a:lnTo>
                    <a:lnTo>
                      <a:pt x="5275" y="732"/>
                    </a:lnTo>
                    <a:lnTo>
                      <a:pt x="5275" y="732"/>
                    </a:lnTo>
                    <a:lnTo>
                      <a:pt x="5273" y="732"/>
                    </a:lnTo>
                    <a:lnTo>
                      <a:pt x="5271" y="732"/>
                    </a:lnTo>
                    <a:lnTo>
                      <a:pt x="5268" y="732"/>
                    </a:lnTo>
                    <a:lnTo>
                      <a:pt x="5268" y="732"/>
                    </a:lnTo>
                    <a:lnTo>
                      <a:pt x="5266" y="732"/>
                    </a:lnTo>
                    <a:lnTo>
                      <a:pt x="5264" y="732"/>
                    </a:lnTo>
                    <a:lnTo>
                      <a:pt x="5261" y="732"/>
                    </a:lnTo>
                    <a:lnTo>
                      <a:pt x="5259" y="732"/>
                    </a:lnTo>
                    <a:lnTo>
                      <a:pt x="5259" y="732"/>
                    </a:lnTo>
                    <a:lnTo>
                      <a:pt x="5256" y="732"/>
                    </a:lnTo>
                    <a:lnTo>
                      <a:pt x="5254" y="732"/>
                    </a:lnTo>
                    <a:lnTo>
                      <a:pt x="5252" y="732"/>
                    </a:lnTo>
                    <a:lnTo>
                      <a:pt x="5249" y="732"/>
                    </a:lnTo>
                    <a:lnTo>
                      <a:pt x="5249" y="732"/>
                    </a:lnTo>
                    <a:lnTo>
                      <a:pt x="5247" y="732"/>
                    </a:lnTo>
                    <a:lnTo>
                      <a:pt x="5245" y="732"/>
                    </a:lnTo>
                    <a:lnTo>
                      <a:pt x="5242" y="732"/>
                    </a:lnTo>
                    <a:lnTo>
                      <a:pt x="5242" y="732"/>
                    </a:lnTo>
                    <a:lnTo>
                      <a:pt x="5240" y="732"/>
                    </a:lnTo>
                    <a:lnTo>
                      <a:pt x="5238" y="732"/>
                    </a:lnTo>
                    <a:lnTo>
                      <a:pt x="5235" y="732"/>
                    </a:lnTo>
                    <a:lnTo>
                      <a:pt x="5233" y="732"/>
                    </a:lnTo>
                    <a:lnTo>
                      <a:pt x="5233" y="732"/>
                    </a:lnTo>
                    <a:lnTo>
                      <a:pt x="5230" y="732"/>
                    </a:lnTo>
                    <a:lnTo>
                      <a:pt x="5228" y="732"/>
                    </a:lnTo>
                    <a:lnTo>
                      <a:pt x="5226" y="732"/>
                    </a:lnTo>
                    <a:lnTo>
                      <a:pt x="5223" y="732"/>
                    </a:lnTo>
                    <a:lnTo>
                      <a:pt x="5223" y="732"/>
                    </a:lnTo>
                    <a:lnTo>
                      <a:pt x="5221" y="732"/>
                    </a:lnTo>
                    <a:lnTo>
                      <a:pt x="5219" y="732"/>
                    </a:lnTo>
                    <a:lnTo>
                      <a:pt x="5216" y="732"/>
                    </a:lnTo>
                    <a:lnTo>
                      <a:pt x="5216" y="732"/>
                    </a:lnTo>
                    <a:lnTo>
                      <a:pt x="5214" y="732"/>
                    </a:lnTo>
                    <a:lnTo>
                      <a:pt x="5212" y="732"/>
                    </a:lnTo>
                    <a:lnTo>
                      <a:pt x="5209" y="732"/>
                    </a:lnTo>
                    <a:lnTo>
                      <a:pt x="5207" y="732"/>
                    </a:lnTo>
                    <a:lnTo>
                      <a:pt x="5207" y="732"/>
                    </a:lnTo>
                    <a:lnTo>
                      <a:pt x="5178" y="732"/>
                    </a:lnTo>
                    <a:lnTo>
                      <a:pt x="5178" y="734"/>
                    </a:lnTo>
                    <a:lnTo>
                      <a:pt x="5178" y="973"/>
                    </a:lnTo>
                    <a:lnTo>
                      <a:pt x="5178" y="973"/>
                    </a:lnTo>
                    <a:lnTo>
                      <a:pt x="5176" y="973"/>
                    </a:lnTo>
                    <a:lnTo>
                      <a:pt x="5174" y="973"/>
                    </a:lnTo>
                    <a:lnTo>
                      <a:pt x="5171" y="973"/>
                    </a:lnTo>
                    <a:lnTo>
                      <a:pt x="5171" y="973"/>
                    </a:lnTo>
                    <a:lnTo>
                      <a:pt x="5169" y="973"/>
                    </a:lnTo>
                    <a:lnTo>
                      <a:pt x="5167" y="973"/>
                    </a:lnTo>
                    <a:lnTo>
                      <a:pt x="5164" y="973"/>
                    </a:lnTo>
                    <a:lnTo>
                      <a:pt x="5162" y="973"/>
                    </a:lnTo>
                    <a:lnTo>
                      <a:pt x="5162" y="973"/>
                    </a:lnTo>
                    <a:lnTo>
                      <a:pt x="5160" y="973"/>
                    </a:lnTo>
                    <a:lnTo>
                      <a:pt x="5157" y="973"/>
                    </a:lnTo>
                    <a:lnTo>
                      <a:pt x="5155" y="973"/>
                    </a:lnTo>
                    <a:lnTo>
                      <a:pt x="5152" y="973"/>
                    </a:lnTo>
                    <a:lnTo>
                      <a:pt x="5152" y="973"/>
                    </a:lnTo>
                    <a:lnTo>
                      <a:pt x="5150" y="973"/>
                    </a:lnTo>
                    <a:lnTo>
                      <a:pt x="5148" y="973"/>
                    </a:lnTo>
                    <a:lnTo>
                      <a:pt x="5145" y="973"/>
                    </a:lnTo>
                    <a:lnTo>
                      <a:pt x="5145" y="973"/>
                    </a:lnTo>
                    <a:lnTo>
                      <a:pt x="5143" y="973"/>
                    </a:lnTo>
                    <a:lnTo>
                      <a:pt x="5141" y="973"/>
                    </a:lnTo>
                    <a:lnTo>
                      <a:pt x="5138" y="973"/>
                    </a:lnTo>
                    <a:lnTo>
                      <a:pt x="5136" y="973"/>
                    </a:lnTo>
                    <a:lnTo>
                      <a:pt x="5136" y="973"/>
                    </a:lnTo>
                    <a:lnTo>
                      <a:pt x="5134" y="973"/>
                    </a:lnTo>
                    <a:lnTo>
                      <a:pt x="5131" y="973"/>
                    </a:lnTo>
                    <a:lnTo>
                      <a:pt x="5129" y="973"/>
                    </a:lnTo>
                    <a:lnTo>
                      <a:pt x="5126" y="973"/>
                    </a:lnTo>
                    <a:lnTo>
                      <a:pt x="5126" y="973"/>
                    </a:lnTo>
                    <a:lnTo>
                      <a:pt x="5124" y="973"/>
                    </a:lnTo>
                    <a:lnTo>
                      <a:pt x="5122" y="973"/>
                    </a:lnTo>
                    <a:lnTo>
                      <a:pt x="5119" y="973"/>
                    </a:lnTo>
                    <a:lnTo>
                      <a:pt x="5119" y="973"/>
                    </a:lnTo>
                    <a:lnTo>
                      <a:pt x="5117" y="973"/>
                    </a:lnTo>
                    <a:lnTo>
                      <a:pt x="5115" y="973"/>
                    </a:lnTo>
                    <a:lnTo>
                      <a:pt x="5112" y="973"/>
                    </a:lnTo>
                    <a:lnTo>
                      <a:pt x="5110" y="973"/>
                    </a:lnTo>
                    <a:lnTo>
                      <a:pt x="5110" y="973"/>
                    </a:lnTo>
                    <a:lnTo>
                      <a:pt x="5108" y="973"/>
                    </a:lnTo>
                    <a:lnTo>
                      <a:pt x="5105" y="973"/>
                    </a:lnTo>
                    <a:lnTo>
                      <a:pt x="5103" y="973"/>
                    </a:lnTo>
                    <a:lnTo>
                      <a:pt x="5103" y="973"/>
                    </a:lnTo>
                    <a:lnTo>
                      <a:pt x="5100" y="973"/>
                    </a:lnTo>
                    <a:lnTo>
                      <a:pt x="5098" y="973"/>
                    </a:lnTo>
                    <a:lnTo>
                      <a:pt x="5096" y="973"/>
                    </a:lnTo>
                    <a:lnTo>
                      <a:pt x="5093" y="973"/>
                    </a:lnTo>
                    <a:lnTo>
                      <a:pt x="5093" y="973"/>
                    </a:lnTo>
                    <a:lnTo>
                      <a:pt x="5091" y="973"/>
                    </a:lnTo>
                    <a:lnTo>
                      <a:pt x="5089" y="973"/>
                    </a:lnTo>
                    <a:lnTo>
                      <a:pt x="5086" y="973"/>
                    </a:lnTo>
                    <a:lnTo>
                      <a:pt x="5084" y="973"/>
                    </a:lnTo>
                    <a:lnTo>
                      <a:pt x="4980" y="973"/>
                    </a:lnTo>
                    <a:lnTo>
                      <a:pt x="4980" y="232"/>
                    </a:lnTo>
                    <a:lnTo>
                      <a:pt x="4980" y="232"/>
                    </a:lnTo>
                    <a:lnTo>
                      <a:pt x="49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4" name="Freeform 147"/>
              <p:cNvSpPr>
                <a:spLocks noEditPoints="1"/>
              </p:cNvSpPr>
              <p:nvPr/>
            </p:nvSpPr>
            <p:spPr bwMode="auto">
              <a:xfrm>
                <a:off x="-3" y="1660"/>
                <a:ext cx="7567" cy="2676"/>
              </a:xfrm>
              <a:custGeom>
                <a:avLst/>
                <a:gdLst>
                  <a:gd name="T0" fmla="*/ 5188 w 7567"/>
                  <a:gd name="T1" fmla="*/ 983 h 2676"/>
                  <a:gd name="T2" fmla="*/ 5521 w 7567"/>
                  <a:gd name="T3" fmla="*/ 741 h 2676"/>
                  <a:gd name="T4" fmla="*/ 5722 w 7567"/>
                  <a:gd name="T5" fmla="*/ 1336 h 2676"/>
                  <a:gd name="T6" fmla="*/ 5978 w 7567"/>
                  <a:gd name="T7" fmla="*/ 1139 h 2676"/>
                  <a:gd name="T8" fmla="*/ 6094 w 7567"/>
                  <a:gd name="T9" fmla="*/ 1042 h 2676"/>
                  <a:gd name="T10" fmla="*/ 6271 w 7567"/>
                  <a:gd name="T11" fmla="*/ 1220 h 2676"/>
                  <a:gd name="T12" fmla="*/ 6380 w 7567"/>
                  <a:gd name="T13" fmla="*/ 1139 h 2676"/>
                  <a:gd name="T14" fmla="*/ 6446 w 7567"/>
                  <a:gd name="T15" fmla="*/ 905 h 2676"/>
                  <a:gd name="T16" fmla="*/ 6462 w 7567"/>
                  <a:gd name="T17" fmla="*/ 888 h 2676"/>
                  <a:gd name="T18" fmla="*/ 6510 w 7567"/>
                  <a:gd name="T19" fmla="*/ 1068 h 2676"/>
                  <a:gd name="T20" fmla="*/ 7030 w 7567"/>
                  <a:gd name="T21" fmla="*/ 1705 h 2676"/>
                  <a:gd name="T22" fmla="*/ 7359 w 7567"/>
                  <a:gd name="T23" fmla="*/ 1004 h 2676"/>
                  <a:gd name="T24" fmla="*/ 7489 w 7567"/>
                  <a:gd name="T25" fmla="*/ 1534 h 2676"/>
                  <a:gd name="T26" fmla="*/ 59 w 7567"/>
                  <a:gd name="T27" fmla="*/ 1534 h 2676"/>
                  <a:gd name="T28" fmla="*/ 360 w 7567"/>
                  <a:gd name="T29" fmla="*/ 557 h 2676"/>
                  <a:gd name="T30" fmla="*/ 854 w 7567"/>
                  <a:gd name="T31" fmla="*/ 1080 h 2676"/>
                  <a:gd name="T32" fmla="*/ 1242 w 7567"/>
                  <a:gd name="T33" fmla="*/ 829 h 2676"/>
                  <a:gd name="T34" fmla="*/ 1504 w 7567"/>
                  <a:gd name="T35" fmla="*/ 1201 h 2676"/>
                  <a:gd name="T36" fmla="*/ 1551 w 7567"/>
                  <a:gd name="T37" fmla="*/ 1137 h 2676"/>
                  <a:gd name="T38" fmla="*/ 1736 w 7567"/>
                  <a:gd name="T39" fmla="*/ 1168 h 2676"/>
                  <a:gd name="T40" fmla="*/ 1996 w 7567"/>
                  <a:gd name="T41" fmla="*/ 379 h 2676"/>
                  <a:gd name="T42" fmla="*/ 2138 w 7567"/>
                  <a:gd name="T43" fmla="*/ 344 h 2676"/>
                  <a:gd name="T44" fmla="*/ 2388 w 7567"/>
                  <a:gd name="T45" fmla="*/ 1099 h 2676"/>
                  <a:gd name="T46" fmla="*/ 2909 w 7567"/>
                  <a:gd name="T47" fmla="*/ 1250 h 2676"/>
                  <a:gd name="T48" fmla="*/ 3147 w 7567"/>
                  <a:gd name="T49" fmla="*/ 990 h 2676"/>
                  <a:gd name="T50" fmla="*/ 3339 w 7567"/>
                  <a:gd name="T51" fmla="*/ 668 h 2676"/>
                  <a:gd name="T52" fmla="*/ 3386 w 7567"/>
                  <a:gd name="T53" fmla="*/ 502 h 2676"/>
                  <a:gd name="T54" fmla="*/ 3523 w 7567"/>
                  <a:gd name="T55" fmla="*/ 592 h 2676"/>
                  <a:gd name="T56" fmla="*/ 3606 w 7567"/>
                  <a:gd name="T57" fmla="*/ 772 h 2676"/>
                  <a:gd name="T58" fmla="*/ 3715 w 7567"/>
                  <a:gd name="T59" fmla="*/ 1392 h 2676"/>
                  <a:gd name="T60" fmla="*/ 3828 w 7567"/>
                  <a:gd name="T61" fmla="*/ 1224 h 2676"/>
                  <a:gd name="T62" fmla="*/ 4013 w 7567"/>
                  <a:gd name="T63" fmla="*/ 647 h 2676"/>
                  <a:gd name="T64" fmla="*/ 4110 w 7567"/>
                  <a:gd name="T65" fmla="*/ 400 h 2676"/>
                  <a:gd name="T66" fmla="*/ 4176 w 7567"/>
                  <a:gd name="T67" fmla="*/ 609 h 2676"/>
                  <a:gd name="T68" fmla="*/ 4691 w 7567"/>
                  <a:gd name="T69" fmla="*/ 481 h 2676"/>
                  <a:gd name="T70" fmla="*/ 4909 w 7567"/>
                  <a:gd name="T71" fmla="*/ 183 h 2676"/>
                  <a:gd name="T72" fmla="*/ 4968 w 7567"/>
                  <a:gd name="T73" fmla="*/ 173 h 2676"/>
                  <a:gd name="T74" fmla="*/ 4899 w 7567"/>
                  <a:gd name="T75" fmla="*/ 173 h 2676"/>
                  <a:gd name="T76" fmla="*/ 4169 w 7567"/>
                  <a:gd name="T77" fmla="*/ 604 h 2676"/>
                  <a:gd name="T78" fmla="*/ 4091 w 7567"/>
                  <a:gd name="T79" fmla="*/ 391 h 2676"/>
                  <a:gd name="T80" fmla="*/ 3819 w 7567"/>
                  <a:gd name="T81" fmla="*/ 1224 h 2676"/>
                  <a:gd name="T82" fmla="*/ 3590 w 7567"/>
                  <a:gd name="T83" fmla="*/ 763 h 2676"/>
                  <a:gd name="T84" fmla="*/ 3377 w 7567"/>
                  <a:gd name="T85" fmla="*/ 502 h 2676"/>
                  <a:gd name="T86" fmla="*/ 3001 w 7567"/>
                  <a:gd name="T87" fmla="*/ 980 h 2676"/>
                  <a:gd name="T88" fmla="*/ 2388 w 7567"/>
                  <a:gd name="T89" fmla="*/ 1089 h 2676"/>
                  <a:gd name="T90" fmla="*/ 1986 w 7567"/>
                  <a:gd name="T91" fmla="*/ 370 h 2676"/>
                  <a:gd name="T92" fmla="*/ 1551 w 7567"/>
                  <a:gd name="T93" fmla="*/ 1127 h 2676"/>
                  <a:gd name="T94" fmla="*/ 1251 w 7567"/>
                  <a:gd name="T95" fmla="*/ 753 h 2676"/>
                  <a:gd name="T96" fmla="*/ 350 w 7567"/>
                  <a:gd name="T97" fmla="*/ 547 h 2676"/>
                  <a:gd name="T98" fmla="*/ 7567 w 7567"/>
                  <a:gd name="T99" fmla="*/ 1534 h 2676"/>
                  <a:gd name="T100" fmla="*/ 7072 w 7567"/>
                  <a:gd name="T101" fmla="*/ 509 h 2676"/>
                  <a:gd name="T102" fmla="*/ 6477 w 7567"/>
                  <a:gd name="T103" fmla="*/ 895 h 2676"/>
                  <a:gd name="T104" fmla="*/ 6432 w 7567"/>
                  <a:gd name="T105" fmla="*/ 895 h 2676"/>
                  <a:gd name="T106" fmla="*/ 6280 w 7567"/>
                  <a:gd name="T107" fmla="*/ 1130 h 2676"/>
                  <a:gd name="T108" fmla="*/ 5904 w 7567"/>
                  <a:gd name="T109" fmla="*/ 1130 h 2676"/>
                  <a:gd name="T110" fmla="*/ 5531 w 7567"/>
                  <a:gd name="T111" fmla="*/ 611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67" h="2676">
                    <a:moveTo>
                      <a:pt x="4970" y="10"/>
                    </a:moveTo>
                    <a:lnTo>
                      <a:pt x="4970" y="232"/>
                    </a:lnTo>
                    <a:lnTo>
                      <a:pt x="4970" y="242"/>
                    </a:lnTo>
                    <a:lnTo>
                      <a:pt x="4970" y="242"/>
                    </a:lnTo>
                    <a:lnTo>
                      <a:pt x="4970" y="973"/>
                    </a:lnTo>
                    <a:lnTo>
                      <a:pt x="4970" y="983"/>
                    </a:lnTo>
                    <a:lnTo>
                      <a:pt x="4980" y="983"/>
                    </a:lnTo>
                    <a:lnTo>
                      <a:pt x="5178" y="983"/>
                    </a:lnTo>
                    <a:lnTo>
                      <a:pt x="5188" y="983"/>
                    </a:lnTo>
                    <a:lnTo>
                      <a:pt x="5188" y="973"/>
                    </a:lnTo>
                    <a:lnTo>
                      <a:pt x="5188" y="741"/>
                    </a:lnTo>
                    <a:lnTo>
                      <a:pt x="5301" y="741"/>
                    </a:lnTo>
                    <a:lnTo>
                      <a:pt x="5311" y="741"/>
                    </a:lnTo>
                    <a:lnTo>
                      <a:pt x="5311" y="732"/>
                    </a:lnTo>
                    <a:lnTo>
                      <a:pt x="5311" y="621"/>
                    </a:lnTo>
                    <a:lnTo>
                      <a:pt x="5521" y="621"/>
                    </a:lnTo>
                    <a:lnTo>
                      <a:pt x="5521" y="732"/>
                    </a:lnTo>
                    <a:lnTo>
                      <a:pt x="5521" y="741"/>
                    </a:lnTo>
                    <a:lnTo>
                      <a:pt x="5531" y="741"/>
                    </a:lnTo>
                    <a:lnTo>
                      <a:pt x="5656" y="741"/>
                    </a:lnTo>
                    <a:lnTo>
                      <a:pt x="5656" y="1449"/>
                    </a:lnTo>
                    <a:lnTo>
                      <a:pt x="5656" y="1459"/>
                    </a:lnTo>
                    <a:lnTo>
                      <a:pt x="5666" y="1459"/>
                    </a:lnTo>
                    <a:lnTo>
                      <a:pt x="5713" y="1459"/>
                    </a:lnTo>
                    <a:lnTo>
                      <a:pt x="5722" y="1459"/>
                    </a:lnTo>
                    <a:lnTo>
                      <a:pt x="5722" y="1449"/>
                    </a:lnTo>
                    <a:lnTo>
                      <a:pt x="5722" y="1336"/>
                    </a:lnTo>
                    <a:lnTo>
                      <a:pt x="5878" y="1336"/>
                    </a:lnTo>
                    <a:lnTo>
                      <a:pt x="5888" y="1336"/>
                    </a:lnTo>
                    <a:lnTo>
                      <a:pt x="5888" y="1326"/>
                    </a:lnTo>
                    <a:lnTo>
                      <a:pt x="5888" y="1220"/>
                    </a:lnTo>
                    <a:lnTo>
                      <a:pt x="5904" y="1220"/>
                    </a:lnTo>
                    <a:lnTo>
                      <a:pt x="5914" y="1220"/>
                    </a:lnTo>
                    <a:lnTo>
                      <a:pt x="5914" y="1210"/>
                    </a:lnTo>
                    <a:lnTo>
                      <a:pt x="5914" y="1139"/>
                    </a:lnTo>
                    <a:lnTo>
                      <a:pt x="5978" y="1139"/>
                    </a:lnTo>
                    <a:lnTo>
                      <a:pt x="5987" y="1139"/>
                    </a:lnTo>
                    <a:lnTo>
                      <a:pt x="5987" y="1130"/>
                    </a:lnTo>
                    <a:lnTo>
                      <a:pt x="5987" y="1051"/>
                    </a:lnTo>
                    <a:lnTo>
                      <a:pt x="5997" y="1051"/>
                    </a:lnTo>
                    <a:lnTo>
                      <a:pt x="6006" y="1051"/>
                    </a:lnTo>
                    <a:lnTo>
                      <a:pt x="6006" y="1042"/>
                    </a:lnTo>
                    <a:lnTo>
                      <a:pt x="6006" y="999"/>
                    </a:lnTo>
                    <a:lnTo>
                      <a:pt x="6094" y="999"/>
                    </a:lnTo>
                    <a:lnTo>
                      <a:pt x="6094" y="1042"/>
                    </a:lnTo>
                    <a:lnTo>
                      <a:pt x="6094" y="1051"/>
                    </a:lnTo>
                    <a:lnTo>
                      <a:pt x="6103" y="1051"/>
                    </a:lnTo>
                    <a:lnTo>
                      <a:pt x="6112" y="1051"/>
                    </a:lnTo>
                    <a:lnTo>
                      <a:pt x="6112" y="1130"/>
                    </a:lnTo>
                    <a:lnTo>
                      <a:pt x="6112" y="1139"/>
                    </a:lnTo>
                    <a:lnTo>
                      <a:pt x="6122" y="1139"/>
                    </a:lnTo>
                    <a:lnTo>
                      <a:pt x="6271" y="1139"/>
                    </a:lnTo>
                    <a:lnTo>
                      <a:pt x="6271" y="1210"/>
                    </a:lnTo>
                    <a:lnTo>
                      <a:pt x="6271" y="1220"/>
                    </a:lnTo>
                    <a:lnTo>
                      <a:pt x="6280" y="1220"/>
                    </a:lnTo>
                    <a:lnTo>
                      <a:pt x="6335" y="1220"/>
                    </a:lnTo>
                    <a:lnTo>
                      <a:pt x="6335" y="1364"/>
                    </a:lnTo>
                    <a:lnTo>
                      <a:pt x="6335" y="1373"/>
                    </a:lnTo>
                    <a:lnTo>
                      <a:pt x="6344" y="1373"/>
                    </a:lnTo>
                    <a:lnTo>
                      <a:pt x="6370" y="1373"/>
                    </a:lnTo>
                    <a:lnTo>
                      <a:pt x="6380" y="1373"/>
                    </a:lnTo>
                    <a:lnTo>
                      <a:pt x="6380" y="1364"/>
                    </a:lnTo>
                    <a:lnTo>
                      <a:pt x="6380" y="1139"/>
                    </a:lnTo>
                    <a:lnTo>
                      <a:pt x="6387" y="1139"/>
                    </a:lnTo>
                    <a:lnTo>
                      <a:pt x="6396" y="1139"/>
                    </a:lnTo>
                    <a:lnTo>
                      <a:pt x="6396" y="1130"/>
                    </a:lnTo>
                    <a:lnTo>
                      <a:pt x="6396" y="947"/>
                    </a:lnTo>
                    <a:lnTo>
                      <a:pt x="6425" y="947"/>
                    </a:lnTo>
                    <a:lnTo>
                      <a:pt x="6432" y="947"/>
                    </a:lnTo>
                    <a:lnTo>
                      <a:pt x="6432" y="938"/>
                    </a:lnTo>
                    <a:lnTo>
                      <a:pt x="6441" y="905"/>
                    </a:lnTo>
                    <a:lnTo>
                      <a:pt x="6446" y="905"/>
                    </a:lnTo>
                    <a:lnTo>
                      <a:pt x="6446" y="895"/>
                    </a:lnTo>
                    <a:lnTo>
                      <a:pt x="6446" y="888"/>
                    </a:lnTo>
                    <a:lnTo>
                      <a:pt x="6455" y="888"/>
                    </a:lnTo>
                    <a:lnTo>
                      <a:pt x="6455" y="879"/>
                    </a:lnTo>
                    <a:lnTo>
                      <a:pt x="6455" y="860"/>
                    </a:lnTo>
                    <a:lnTo>
                      <a:pt x="6455" y="860"/>
                    </a:lnTo>
                    <a:lnTo>
                      <a:pt x="6455" y="879"/>
                    </a:lnTo>
                    <a:lnTo>
                      <a:pt x="6455" y="888"/>
                    </a:lnTo>
                    <a:lnTo>
                      <a:pt x="6462" y="888"/>
                    </a:lnTo>
                    <a:lnTo>
                      <a:pt x="6462" y="895"/>
                    </a:lnTo>
                    <a:lnTo>
                      <a:pt x="6462" y="905"/>
                    </a:lnTo>
                    <a:lnTo>
                      <a:pt x="6469" y="905"/>
                    </a:lnTo>
                    <a:lnTo>
                      <a:pt x="6477" y="938"/>
                    </a:lnTo>
                    <a:lnTo>
                      <a:pt x="6479" y="947"/>
                    </a:lnTo>
                    <a:lnTo>
                      <a:pt x="6486" y="947"/>
                    </a:lnTo>
                    <a:lnTo>
                      <a:pt x="6510" y="947"/>
                    </a:lnTo>
                    <a:lnTo>
                      <a:pt x="6510" y="1059"/>
                    </a:lnTo>
                    <a:lnTo>
                      <a:pt x="6510" y="1068"/>
                    </a:lnTo>
                    <a:lnTo>
                      <a:pt x="6519" y="1068"/>
                    </a:lnTo>
                    <a:lnTo>
                      <a:pt x="6895" y="1068"/>
                    </a:lnTo>
                    <a:lnTo>
                      <a:pt x="6895" y="1094"/>
                    </a:lnTo>
                    <a:lnTo>
                      <a:pt x="6895" y="1104"/>
                    </a:lnTo>
                    <a:lnTo>
                      <a:pt x="6905" y="1104"/>
                    </a:lnTo>
                    <a:lnTo>
                      <a:pt x="7020" y="1104"/>
                    </a:lnTo>
                    <a:lnTo>
                      <a:pt x="7020" y="1695"/>
                    </a:lnTo>
                    <a:lnTo>
                      <a:pt x="7020" y="1705"/>
                    </a:lnTo>
                    <a:lnTo>
                      <a:pt x="7030" y="1705"/>
                    </a:lnTo>
                    <a:lnTo>
                      <a:pt x="7072" y="1705"/>
                    </a:lnTo>
                    <a:lnTo>
                      <a:pt x="7082" y="1705"/>
                    </a:lnTo>
                    <a:lnTo>
                      <a:pt x="7082" y="1695"/>
                    </a:lnTo>
                    <a:lnTo>
                      <a:pt x="7082" y="519"/>
                    </a:lnTo>
                    <a:lnTo>
                      <a:pt x="7318" y="519"/>
                    </a:lnTo>
                    <a:lnTo>
                      <a:pt x="7318" y="995"/>
                    </a:lnTo>
                    <a:lnTo>
                      <a:pt x="7318" y="1004"/>
                    </a:lnTo>
                    <a:lnTo>
                      <a:pt x="7328" y="1004"/>
                    </a:lnTo>
                    <a:lnTo>
                      <a:pt x="7359" y="1004"/>
                    </a:lnTo>
                    <a:lnTo>
                      <a:pt x="7359" y="1215"/>
                    </a:lnTo>
                    <a:lnTo>
                      <a:pt x="7359" y="1224"/>
                    </a:lnTo>
                    <a:lnTo>
                      <a:pt x="7368" y="1224"/>
                    </a:lnTo>
                    <a:lnTo>
                      <a:pt x="7392" y="1224"/>
                    </a:lnTo>
                    <a:lnTo>
                      <a:pt x="7392" y="1499"/>
                    </a:lnTo>
                    <a:lnTo>
                      <a:pt x="7392" y="1508"/>
                    </a:lnTo>
                    <a:lnTo>
                      <a:pt x="7401" y="1508"/>
                    </a:lnTo>
                    <a:lnTo>
                      <a:pt x="7489" y="1508"/>
                    </a:lnTo>
                    <a:lnTo>
                      <a:pt x="7489" y="1534"/>
                    </a:lnTo>
                    <a:lnTo>
                      <a:pt x="7489" y="1544"/>
                    </a:lnTo>
                    <a:lnTo>
                      <a:pt x="7498" y="1544"/>
                    </a:lnTo>
                    <a:lnTo>
                      <a:pt x="7557" y="1544"/>
                    </a:lnTo>
                    <a:lnTo>
                      <a:pt x="7557" y="2666"/>
                    </a:lnTo>
                    <a:lnTo>
                      <a:pt x="10" y="2666"/>
                    </a:lnTo>
                    <a:lnTo>
                      <a:pt x="10" y="1544"/>
                    </a:lnTo>
                    <a:lnTo>
                      <a:pt x="50" y="1544"/>
                    </a:lnTo>
                    <a:lnTo>
                      <a:pt x="59" y="1544"/>
                    </a:lnTo>
                    <a:lnTo>
                      <a:pt x="59" y="1534"/>
                    </a:lnTo>
                    <a:lnTo>
                      <a:pt x="59" y="1463"/>
                    </a:lnTo>
                    <a:lnTo>
                      <a:pt x="144" y="1463"/>
                    </a:lnTo>
                    <a:lnTo>
                      <a:pt x="154" y="1463"/>
                    </a:lnTo>
                    <a:lnTo>
                      <a:pt x="154" y="1454"/>
                    </a:lnTo>
                    <a:lnTo>
                      <a:pt x="154" y="628"/>
                    </a:lnTo>
                    <a:lnTo>
                      <a:pt x="350" y="628"/>
                    </a:lnTo>
                    <a:lnTo>
                      <a:pt x="360" y="628"/>
                    </a:lnTo>
                    <a:lnTo>
                      <a:pt x="360" y="618"/>
                    </a:lnTo>
                    <a:lnTo>
                      <a:pt x="360" y="557"/>
                    </a:lnTo>
                    <a:lnTo>
                      <a:pt x="591" y="557"/>
                    </a:lnTo>
                    <a:lnTo>
                      <a:pt x="591" y="618"/>
                    </a:lnTo>
                    <a:lnTo>
                      <a:pt x="591" y="628"/>
                    </a:lnTo>
                    <a:lnTo>
                      <a:pt x="601" y="628"/>
                    </a:lnTo>
                    <a:lnTo>
                      <a:pt x="809" y="628"/>
                    </a:lnTo>
                    <a:lnTo>
                      <a:pt x="809" y="1070"/>
                    </a:lnTo>
                    <a:lnTo>
                      <a:pt x="809" y="1080"/>
                    </a:lnTo>
                    <a:lnTo>
                      <a:pt x="818" y="1080"/>
                    </a:lnTo>
                    <a:lnTo>
                      <a:pt x="854" y="1080"/>
                    </a:lnTo>
                    <a:lnTo>
                      <a:pt x="863" y="1080"/>
                    </a:lnTo>
                    <a:lnTo>
                      <a:pt x="863" y="1070"/>
                    </a:lnTo>
                    <a:lnTo>
                      <a:pt x="863" y="838"/>
                    </a:lnTo>
                    <a:lnTo>
                      <a:pt x="1057" y="838"/>
                    </a:lnTo>
                    <a:lnTo>
                      <a:pt x="1067" y="838"/>
                    </a:lnTo>
                    <a:lnTo>
                      <a:pt x="1067" y="829"/>
                    </a:lnTo>
                    <a:lnTo>
                      <a:pt x="1067" y="763"/>
                    </a:lnTo>
                    <a:lnTo>
                      <a:pt x="1242" y="763"/>
                    </a:lnTo>
                    <a:lnTo>
                      <a:pt x="1242" y="829"/>
                    </a:lnTo>
                    <a:lnTo>
                      <a:pt x="1242" y="838"/>
                    </a:lnTo>
                    <a:lnTo>
                      <a:pt x="1251" y="838"/>
                    </a:lnTo>
                    <a:lnTo>
                      <a:pt x="1438" y="838"/>
                    </a:lnTo>
                    <a:lnTo>
                      <a:pt x="1438" y="1201"/>
                    </a:lnTo>
                    <a:lnTo>
                      <a:pt x="1438" y="1210"/>
                    </a:lnTo>
                    <a:lnTo>
                      <a:pt x="1447" y="1210"/>
                    </a:lnTo>
                    <a:lnTo>
                      <a:pt x="1495" y="1210"/>
                    </a:lnTo>
                    <a:lnTo>
                      <a:pt x="1504" y="1210"/>
                    </a:lnTo>
                    <a:lnTo>
                      <a:pt x="1504" y="1201"/>
                    </a:lnTo>
                    <a:lnTo>
                      <a:pt x="1504" y="1137"/>
                    </a:lnTo>
                    <a:lnTo>
                      <a:pt x="1511" y="1137"/>
                    </a:lnTo>
                    <a:lnTo>
                      <a:pt x="1521" y="1137"/>
                    </a:lnTo>
                    <a:lnTo>
                      <a:pt x="1521" y="1127"/>
                    </a:lnTo>
                    <a:lnTo>
                      <a:pt x="1521" y="1094"/>
                    </a:lnTo>
                    <a:lnTo>
                      <a:pt x="1542" y="1094"/>
                    </a:lnTo>
                    <a:lnTo>
                      <a:pt x="1542" y="1127"/>
                    </a:lnTo>
                    <a:lnTo>
                      <a:pt x="1542" y="1137"/>
                    </a:lnTo>
                    <a:lnTo>
                      <a:pt x="1551" y="1137"/>
                    </a:lnTo>
                    <a:lnTo>
                      <a:pt x="1561" y="1137"/>
                    </a:lnTo>
                    <a:lnTo>
                      <a:pt x="1561" y="1201"/>
                    </a:lnTo>
                    <a:lnTo>
                      <a:pt x="1561" y="1210"/>
                    </a:lnTo>
                    <a:lnTo>
                      <a:pt x="1570" y="1210"/>
                    </a:lnTo>
                    <a:lnTo>
                      <a:pt x="1712" y="1210"/>
                    </a:lnTo>
                    <a:lnTo>
                      <a:pt x="1722" y="1210"/>
                    </a:lnTo>
                    <a:lnTo>
                      <a:pt x="1722" y="1201"/>
                    </a:lnTo>
                    <a:lnTo>
                      <a:pt x="1722" y="1168"/>
                    </a:lnTo>
                    <a:lnTo>
                      <a:pt x="1736" y="1168"/>
                    </a:lnTo>
                    <a:lnTo>
                      <a:pt x="1745" y="1168"/>
                    </a:lnTo>
                    <a:lnTo>
                      <a:pt x="1745" y="1158"/>
                    </a:lnTo>
                    <a:lnTo>
                      <a:pt x="1745" y="1141"/>
                    </a:lnTo>
                    <a:lnTo>
                      <a:pt x="1856" y="1141"/>
                    </a:lnTo>
                    <a:lnTo>
                      <a:pt x="1866" y="1141"/>
                    </a:lnTo>
                    <a:lnTo>
                      <a:pt x="1866" y="1132"/>
                    </a:lnTo>
                    <a:lnTo>
                      <a:pt x="1866" y="379"/>
                    </a:lnTo>
                    <a:lnTo>
                      <a:pt x="1986" y="379"/>
                    </a:lnTo>
                    <a:lnTo>
                      <a:pt x="1996" y="379"/>
                    </a:lnTo>
                    <a:lnTo>
                      <a:pt x="1996" y="370"/>
                    </a:lnTo>
                    <a:lnTo>
                      <a:pt x="1996" y="344"/>
                    </a:lnTo>
                    <a:lnTo>
                      <a:pt x="2076" y="344"/>
                    </a:lnTo>
                    <a:lnTo>
                      <a:pt x="2086" y="344"/>
                    </a:lnTo>
                    <a:lnTo>
                      <a:pt x="2086" y="334"/>
                    </a:lnTo>
                    <a:lnTo>
                      <a:pt x="2086" y="303"/>
                    </a:lnTo>
                    <a:lnTo>
                      <a:pt x="2138" y="303"/>
                    </a:lnTo>
                    <a:lnTo>
                      <a:pt x="2138" y="334"/>
                    </a:lnTo>
                    <a:lnTo>
                      <a:pt x="2138" y="344"/>
                    </a:lnTo>
                    <a:lnTo>
                      <a:pt x="2147" y="344"/>
                    </a:lnTo>
                    <a:lnTo>
                      <a:pt x="2228" y="344"/>
                    </a:lnTo>
                    <a:lnTo>
                      <a:pt x="2228" y="370"/>
                    </a:lnTo>
                    <a:lnTo>
                      <a:pt x="2228" y="379"/>
                    </a:lnTo>
                    <a:lnTo>
                      <a:pt x="2237" y="379"/>
                    </a:lnTo>
                    <a:lnTo>
                      <a:pt x="2379" y="379"/>
                    </a:lnTo>
                    <a:lnTo>
                      <a:pt x="2379" y="1089"/>
                    </a:lnTo>
                    <a:lnTo>
                      <a:pt x="2379" y="1099"/>
                    </a:lnTo>
                    <a:lnTo>
                      <a:pt x="2388" y="1099"/>
                    </a:lnTo>
                    <a:lnTo>
                      <a:pt x="2646" y="1099"/>
                    </a:lnTo>
                    <a:lnTo>
                      <a:pt x="2646" y="1184"/>
                    </a:lnTo>
                    <a:lnTo>
                      <a:pt x="2646" y="1194"/>
                    </a:lnTo>
                    <a:lnTo>
                      <a:pt x="2656" y="1194"/>
                    </a:lnTo>
                    <a:lnTo>
                      <a:pt x="2710" y="1194"/>
                    </a:lnTo>
                    <a:lnTo>
                      <a:pt x="2710" y="1241"/>
                    </a:lnTo>
                    <a:lnTo>
                      <a:pt x="2710" y="1250"/>
                    </a:lnTo>
                    <a:lnTo>
                      <a:pt x="2719" y="1250"/>
                    </a:lnTo>
                    <a:lnTo>
                      <a:pt x="2909" y="1250"/>
                    </a:lnTo>
                    <a:lnTo>
                      <a:pt x="2918" y="1250"/>
                    </a:lnTo>
                    <a:lnTo>
                      <a:pt x="2918" y="1241"/>
                    </a:lnTo>
                    <a:lnTo>
                      <a:pt x="2918" y="1073"/>
                    </a:lnTo>
                    <a:lnTo>
                      <a:pt x="2925" y="1073"/>
                    </a:lnTo>
                    <a:lnTo>
                      <a:pt x="2935" y="1073"/>
                    </a:lnTo>
                    <a:lnTo>
                      <a:pt x="2935" y="1063"/>
                    </a:lnTo>
                    <a:lnTo>
                      <a:pt x="2935" y="1021"/>
                    </a:lnTo>
                    <a:lnTo>
                      <a:pt x="3001" y="990"/>
                    </a:lnTo>
                    <a:lnTo>
                      <a:pt x="3147" y="990"/>
                    </a:lnTo>
                    <a:lnTo>
                      <a:pt x="3157" y="990"/>
                    </a:lnTo>
                    <a:lnTo>
                      <a:pt x="3157" y="980"/>
                    </a:lnTo>
                    <a:lnTo>
                      <a:pt x="3157" y="772"/>
                    </a:lnTo>
                    <a:lnTo>
                      <a:pt x="3185" y="772"/>
                    </a:lnTo>
                    <a:lnTo>
                      <a:pt x="3195" y="772"/>
                    </a:lnTo>
                    <a:lnTo>
                      <a:pt x="3195" y="763"/>
                    </a:lnTo>
                    <a:lnTo>
                      <a:pt x="3195" y="668"/>
                    </a:lnTo>
                    <a:lnTo>
                      <a:pt x="3329" y="668"/>
                    </a:lnTo>
                    <a:lnTo>
                      <a:pt x="3339" y="668"/>
                    </a:lnTo>
                    <a:lnTo>
                      <a:pt x="3339" y="658"/>
                    </a:lnTo>
                    <a:lnTo>
                      <a:pt x="3339" y="592"/>
                    </a:lnTo>
                    <a:lnTo>
                      <a:pt x="3348" y="592"/>
                    </a:lnTo>
                    <a:lnTo>
                      <a:pt x="3358" y="592"/>
                    </a:lnTo>
                    <a:lnTo>
                      <a:pt x="3358" y="583"/>
                    </a:lnTo>
                    <a:lnTo>
                      <a:pt x="3358" y="512"/>
                    </a:lnTo>
                    <a:lnTo>
                      <a:pt x="3377" y="512"/>
                    </a:lnTo>
                    <a:lnTo>
                      <a:pt x="3386" y="512"/>
                    </a:lnTo>
                    <a:lnTo>
                      <a:pt x="3386" y="502"/>
                    </a:lnTo>
                    <a:lnTo>
                      <a:pt x="3386" y="445"/>
                    </a:lnTo>
                    <a:lnTo>
                      <a:pt x="3483" y="445"/>
                    </a:lnTo>
                    <a:lnTo>
                      <a:pt x="3483" y="502"/>
                    </a:lnTo>
                    <a:lnTo>
                      <a:pt x="3483" y="512"/>
                    </a:lnTo>
                    <a:lnTo>
                      <a:pt x="3493" y="512"/>
                    </a:lnTo>
                    <a:lnTo>
                      <a:pt x="3514" y="512"/>
                    </a:lnTo>
                    <a:lnTo>
                      <a:pt x="3514" y="583"/>
                    </a:lnTo>
                    <a:lnTo>
                      <a:pt x="3514" y="592"/>
                    </a:lnTo>
                    <a:lnTo>
                      <a:pt x="3523" y="592"/>
                    </a:lnTo>
                    <a:lnTo>
                      <a:pt x="3530" y="592"/>
                    </a:lnTo>
                    <a:lnTo>
                      <a:pt x="3530" y="658"/>
                    </a:lnTo>
                    <a:lnTo>
                      <a:pt x="3530" y="668"/>
                    </a:lnTo>
                    <a:lnTo>
                      <a:pt x="3540" y="668"/>
                    </a:lnTo>
                    <a:lnTo>
                      <a:pt x="3580" y="668"/>
                    </a:lnTo>
                    <a:lnTo>
                      <a:pt x="3580" y="763"/>
                    </a:lnTo>
                    <a:lnTo>
                      <a:pt x="3580" y="772"/>
                    </a:lnTo>
                    <a:lnTo>
                      <a:pt x="3590" y="772"/>
                    </a:lnTo>
                    <a:lnTo>
                      <a:pt x="3606" y="772"/>
                    </a:lnTo>
                    <a:lnTo>
                      <a:pt x="3606" y="1222"/>
                    </a:lnTo>
                    <a:lnTo>
                      <a:pt x="3606" y="1231"/>
                    </a:lnTo>
                    <a:lnTo>
                      <a:pt x="3616" y="1231"/>
                    </a:lnTo>
                    <a:lnTo>
                      <a:pt x="3639" y="1231"/>
                    </a:lnTo>
                    <a:lnTo>
                      <a:pt x="3639" y="1317"/>
                    </a:lnTo>
                    <a:lnTo>
                      <a:pt x="3639" y="1326"/>
                    </a:lnTo>
                    <a:lnTo>
                      <a:pt x="3649" y="1326"/>
                    </a:lnTo>
                    <a:lnTo>
                      <a:pt x="3715" y="1326"/>
                    </a:lnTo>
                    <a:lnTo>
                      <a:pt x="3715" y="1392"/>
                    </a:lnTo>
                    <a:lnTo>
                      <a:pt x="3715" y="1402"/>
                    </a:lnTo>
                    <a:lnTo>
                      <a:pt x="3724" y="1402"/>
                    </a:lnTo>
                    <a:lnTo>
                      <a:pt x="3757" y="1402"/>
                    </a:lnTo>
                    <a:lnTo>
                      <a:pt x="3767" y="1402"/>
                    </a:lnTo>
                    <a:lnTo>
                      <a:pt x="3767" y="1392"/>
                    </a:lnTo>
                    <a:lnTo>
                      <a:pt x="3767" y="1234"/>
                    </a:lnTo>
                    <a:lnTo>
                      <a:pt x="3819" y="1234"/>
                    </a:lnTo>
                    <a:lnTo>
                      <a:pt x="3828" y="1234"/>
                    </a:lnTo>
                    <a:lnTo>
                      <a:pt x="3828" y="1224"/>
                    </a:lnTo>
                    <a:lnTo>
                      <a:pt x="3828" y="1004"/>
                    </a:lnTo>
                    <a:lnTo>
                      <a:pt x="3892" y="1004"/>
                    </a:lnTo>
                    <a:lnTo>
                      <a:pt x="3902" y="1004"/>
                    </a:lnTo>
                    <a:lnTo>
                      <a:pt x="3902" y="995"/>
                    </a:lnTo>
                    <a:lnTo>
                      <a:pt x="3902" y="938"/>
                    </a:lnTo>
                    <a:lnTo>
                      <a:pt x="4003" y="938"/>
                    </a:lnTo>
                    <a:lnTo>
                      <a:pt x="4013" y="938"/>
                    </a:lnTo>
                    <a:lnTo>
                      <a:pt x="4013" y="928"/>
                    </a:lnTo>
                    <a:lnTo>
                      <a:pt x="4013" y="647"/>
                    </a:lnTo>
                    <a:lnTo>
                      <a:pt x="4093" y="497"/>
                    </a:lnTo>
                    <a:lnTo>
                      <a:pt x="4093" y="495"/>
                    </a:lnTo>
                    <a:lnTo>
                      <a:pt x="4093" y="493"/>
                    </a:lnTo>
                    <a:lnTo>
                      <a:pt x="4093" y="464"/>
                    </a:lnTo>
                    <a:lnTo>
                      <a:pt x="4100" y="464"/>
                    </a:lnTo>
                    <a:lnTo>
                      <a:pt x="4100" y="455"/>
                    </a:lnTo>
                    <a:lnTo>
                      <a:pt x="4100" y="400"/>
                    </a:lnTo>
                    <a:lnTo>
                      <a:pt x="4100" y="400"/>
                    </a:lnTo>
                    <a:lnTo>
                      <a:pt x="4110" y="400"/>
                    </a:lnTo>
                    <a:lnTo>
                      <a:pt x="4110" y="455"/>
                    </a:lnTo>
                    <a:lnTo>
                      <a:pt x="4110" y="464"/>
                    </a:lnTo>
                    <a:lnTo>
                      <a:pt x="4114" y="464"/>
                    </a:lnTo>
                    <a:lnTo>
                      <a:pt x="4114" y="495"/>
                    </a:lnTo>
                    <a:lnTo>
                      <a:pt x="4114" y="497"/>
                    </a:lnTo>
                    <a:lnTo>
                      <a:pt x="4114" y="500"/>
                    </a:lnTo>
                    <a:lnTo>
                      <a:pt x="4162" y="609"/>
                    </a:lnTo>
                    <a:lnTo>
                      <a:pt x="4166" y="623"/>
                    </a:lnTo>
                    <a:lnTo>
                      <a:pt x="4176" y="609"/>
                    </a:lnTo>
                    <a:lnTo>
                      <a:pt x="4247" y="514"/>
                    </a:lnTo>
                    <a:lnTo>
                      <a:pt x="4401" y="514"/>
                    </a:lnTo>
                    <a:lnTo>
                      <a:pt x="4427" y="547"/>
                    </a:lnTo>
                    <a:lnTo>
                      <a:pt x="4429" y="550"/>
                    </a:lnTo>
                    <a:lnTo>
                      <a:pt x="4434" y="550"/>
                    </a:lnTo>
                    <a:lnTo>
                      <a:pt x="4583" y="550"/>
                    </a:lnTo>
                    <a:lnTo>
                      <a:pt x="4585" y="550"/>
                    </a:lnTo>
                    <a:lnTo>
                      <a:pt x="4587" y="550"/>
                    </a:lnTo>
                    <a:lnTo>
                      <a:pt x="4691" y="481"/>
                    </a:lnTo>
                    <a:lnTo>
                      <a:pt x="4694" y="479"/>
                    </a:lnTo>
                    <a:lnTo>
                      <a:pt x="4696" y="476"/>
                    </a:lnTo>
                    <a:lnTo>
                      <a:pt x="4758" y="242"/>
                    </a:lnTo>
                    <a:lnTo>
                      <a:pt x="4852" y="242"/>
                    </a:lnTo>
                    <a:lnTo>
                      <a:pt x="4862" y="242"/>
                    </a:lnTo>
                    <a:lnTo>
                      <a:pt x="4862" y="232"/>
                    </a:lnTo>
                    <a:lnTo>
                      <a:pt x="4862" y="183"/>
                    </a:lnTo>
                    <a:lnTo>
                      <a:pt x="4899" y="183"/>
                    </a:lnTo>
                    <a:lnTo>
                      <a:pt x="4909" y="183"/>
                    </a:lnTo>
                    <a:lnTo>
                      <a:pt x="4909" y="173"/>
                    </a:lnTo>
                    <a:lnTo>
                      <a:pt x="4909" y="10"/>
                    </a:lnTo>
                    <a:lnTo>
                      <a:pt x="4911" y="10"/>
                    </a:lnTo>
                    <a:lnTo>
                      <a:pt x="4911" y="173"/>
                    </a:lnTo>
                    <a:lnTo>
                      <a:pt x="4911" y="183"/>
                    </a:lnTo>
                    <a:lnTo>
                      <a:pt x="4921" y="183"/>
                    </a:lnTo>
                    <a:lnTo>
                      <a:pt x="4959" y="183"/>
                    </a:lnTo>
                    <a:lnTo>
                      <a:pt x="4968" y="183"/>
                    </a:lnTo>
                    <a:lnTo>
                      <a:pt x="4968" y="173"/>
                    </a:lnTo>
                    <a:lnTo>
                      <a:pt x="4968" y="10"/>
                    </a:lnTo>
                    <a:lnTo>
                      <a:pt x="4970" y="10"/>
                    </a:lnTo>
                    <a:close/>
                    <a:moveTo>
                      <a:pt x="4980" y="0"/>
                    </a:moveTo>
                    <a:lnTo>
                      <a:pt x="4959" y="0"/>
                    </a:lnTo>
                    <a:lnTo>
                      <a:pt x="4959" y="173"/>
                    </a:lnTo>
                    <a:lnTo>
                      <a:pt x="4921" y="173"/>
                    </a:lnTo>
                    <a:lnTo>
                      <a:pt x="4921" y="0"/>
                    </a:lnTo>
                    <a:lnTo>
                      <a:pt x="4899" y="0"/>
                    </a:lnTo>
                    <a:lnTo>
                      <a:pt x="4899" y="173"/>
                    </a:lnTo>
                    <a:lnTo>
                      <a:pt x="4852" y="173"/>
                    </a:lnTo>
                    <a:lnTo>
                      <a:pt x="4852" y="232"/>
                    </a:lnTo>
                    <a:lnTo>
                      <a:pt x="4750" y="232"/>
                    </a:lnTo>
                    <a:lnTo>
                      <a:pt x="4687" y="474"/>
                    </a:lnTo>
                    <a:lnTo>
                      <a:pt x="4583" y="540"/>
                    </a:lnTo>
                    <a:lnTo>
                      <a:pt x="4434" y="540"/>
                    </a:lnTo>
                    <a:lnTo>
                      <a:pt x="4405" y="505"/>
                    </a:lnTo>
                    <a:lnTo>
                      <a:pt x="4242" y="505"/>
                    </a:lnTo>
                    <a:lnTo>
                      <a:pt x="4169" y="604"/>
                    </a:lnTo>
                    <a:lnTo>
                      <a:pt x="4124" y="495"/>
                    </a:lnTo>
                    <a:lnTo>
                      <a:pt x="4124" y="455"/>
                    </a:lnTo>
                    <a:lnTo>
                      <a:pt x="4119" y="455"/>
                    </a:lnTo>
                    <a:lnTo>
                      <a:pt x="4119" y="391"/>
                    </a:lnTo>
                    <a:lnTo>
                      <a:pt x="4110" y="391"/>
                    </a:lnTo>
                    <a:lnTo>
                      <a:pt x="4110" y="329"/>
                    </a:lnTo>
                    <a:lnTo>
                      <a:pt x="4098" y="329"/>
                    </a:lnTo>
                    <a:lnTo>
                      <a:pt x="4098" y="391"/>
                    </a:lnTo>
                    <a:lnTo>
                      <a:pt x="4091" y="391"/>
                    </a:lnTo>
                    <a:lnTo>
                      <a:pt x="4091" y="455"/>
                    </a:lnTo>
                    <a:lnTo>
                      <a:pt x="4084" y="455"/>
                    </a:lnTo>
                    <a:lnTo>
                      <a:pt x="4084" y="493"/>
                    </a:lnTo>
                    <a:lnTo>
                      <a:pt x="4003" y="644"/>
                    </a:lnTo>
                    <a:lnTo>
                      <a:pt x="4003" y="928"/>
                    </a:lnTo>
                    <a:lnTo>
                      <a:pt x="3892" y="928"/>
                    </a:lnTo>
                    <a:lnTo>
                      <a:pt x="3892" y="995"/>
                    </a:lnTo>
                    <a:lnTo>
                      <a:pt x="3819" y="995"/>
                    </a:lnTo>
                    <a:lnTo>
                      <a:pt x="3819" y="1224"/>
                    </a:lnTo>
                    <a:lnTo>
                      <a:pt x="3757" y="1224"/>
                    </a:lnTo>
                    <a:lnTo>
                      <a:pt x="3757" y="1392"/>
                    </a:lnTo>
                    <a:lnTo>
                      <a:pt x="3724" y="1392"/>
                    </a:lnTo>
                    <a:lnTo>
                      <a:pt x="3724"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502"/>
                    </a:lnTo>
                    <a:lnTo>
                      <a:pt x="3348" y="502"/>
                    </a:lnTo>
                    <a:lnTo>
                      <a:pt x="3348" y="583"/>
                    </a:lnTo>
                    <a:lnTo>
                      <a:pt x="3329" y="583"/>
                    </a:lnTo>
                    <a:lnTo>
                      <a:pt x="3329" y="658"/>
                    </a:lnTo>
                    <a:lnTo>
                      <a:pt x="3185" y="658"/>
                    </a:lnTo>
                    <a:lnTo>
                      <a:pt x="3185" y="763"/>
                    </a:lnTo>
                    <a:lnTo>
                      <a:pt x="3147" y="763"/>
                    </a:lnTo>
                    <a:lnTo>
                      <a:pt x="3147" y="980"/>
                    </a:lnTo>
                    <a:lnTo>
                      <a:pt x="3001" y="980"/>
                    </a:lnTo>
                    <a:lnTo>
                      <a:pt x="2925" y="1014"/>
                    </a:lnTo>
                    <a:lnTo>
                      <a:pt x="2925" y="1063"/>
                    </a:lnTo>
                    <a:lnTo>
                      <a:pt x="2909" y="1063"/>
                    </a:lnTo>
                    <a:lnTo>
                      <a:pt x="2909"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334"/>
                    </a:lnTo>
                    <a:lnTo>
                      <a:pt x="1986" y="334"/>
                    </a:lnTo>
                    <a:lnTo>
                      <a:pt x="1986" y="370"/>
                    </a:lnTo>
                    <a:lnTo>
                      <a:pt x="1856" y="370"/>
                    </a:lnTo>
                    <a:lnTo>
                      <a:pt x="1856" y="1132"/>
                    </a:lnTo>
                    <a:lnTo>
                      <a:pt x="1736" y="1132"/>
                    </a:lnTo>
                    <a:lnTo>
                      <a:pt x="1736" y="1158"/>
                    </a:lnTo>
                    <a:lnTo>
                      <a:pt x="1712" y="1158"/>
                    </a:lnTo>
                    <a:lnTo>
                      <a:pt x="1712" y="1201"/>
                    </a:lnTo>
                    <a:lnTo>
                      <a:pt x="1570" y="1201"/>
                    </a:lnTo>
                    <a:lnTo>
                      <a:pt x="1570" y="1127"/>
                    </a:lnTo>
                    <a:lnTo>
                      <a:pt x="1551" y="1127"/>
                    </a:lnTo>
                    <a:lnTo>
                      <a:pt x="1551" y="1085"/>
                    </a:lnTo>
                    <a:lnTo>
                      <a:pt x="1511" y="1085"/>
                    </a:lnTo>
                    <a:lnTo>
                      <a:pt x="1511" y="1127"/>
                    </a:lnTo>
                    <a:lnTo>
                      <a:pt x="1495" y="1127"/>
                    </a:lnTo>
                    <a:lnTo>
                      <a:pt x="1495" y="1201"/>
                    </a:lnTo>
                    <a:lnTo>
                      <a:pt x="1447" y="1201"/>
                    </a:lnTo>
                    <a:lnTo>
                      <a:pt x="1447" y="829"/>
                    </a:lnTo>
                    <a:lnTo>
                      <a:pt x="1251" y="829"/>
                    </a:lnTo>
                    <a:lnTo>
                      <a:pt x="1251" y="753"/>
                    </a:lnTo>
                    <a:lnTo>
                      <a:pt x="1057" y="753"/>
                    </a:lnTo>
                    <a:lnTo>
                      <a:pt x="1057" y="829"/>
                    </a:lnTo>
                    <a:lnTo>
                      <a:pt x="854" y="829"/>
                    </a:lnTo>
                    <a:lnTo>
                      <a:pt x="854" y="1070"/>
                    </a:lnTo>
                    <a:lnTo>
                      <a:pt x="818" y="1070"/>
                    </a:lnTo>
                    <a:lnTo>
                      <a:pt x="818" y="618"/>
                    </a:lnTo>
                    <a:lnTo>
                      <a:pt x="601" y="618"/>
                    </a:lnTo>
                    <a:lnTo>
                      <a:pt x="601" y="547"/>
                    </a:lnTo>
                    <a:lnTo>
                      <a:pt x="350" y="547"/>
                    </a:lnTo>
                    <a:lnTo>
                      <a:pt x="350" y="618"/>
                    </a:lnTo>
                    <a:lnTo>
                      <a:pt x="144" y="618"/>
                    </a:lnTo>
                    <a:lnTo>
                      <a:pt x="144" y="1454"/>
                    </a:lnTo>
                    <a:lnTo>
                      <a:pt x="50" y="1454"/>
                    </a:lnTo>
                    <a:lnTo>
                      <a:pt x="50" y="1534"/>
                    </a:lnTo>
                    <a:lnTo>
                      <a:pt x="0" y="1534"/>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1695"/>
                    </a:lnTo>
                    <a:lnTo>
                      <a:pt x="7030" y="1695"/>
                    </a:lnTo>
                    <a:lnTo>
                      <a:pt x="7030" y="1094"/>
                    </a:lnTo>
                    <a:lnTo>
                      <a:pt x="6905" y="1094"/>
                    </a:lnTo>
                    <a:lnTo>
                      <a:pt x="6905" y="1059"/>
                    </a:lnTo>
                    <a:lnTo>
                      <a:pt x="6519" y="1059"/>
                    </a:lnTo>
                    <a:lnTo>
                      <a:pt x="6519" y="938"/>
                    </a:lnTo>
                    <a:lnTo>
                      <a:pt x="6486" y="938"/>
                    </a:lnTo>
                    <a:lnTo>
                      <a:pt x="6477" y="895"/>
                    </a:lnTo>
                    <a:lnTo>
                      <a:pt x="6472" y="895"/>
                    </a:lnTo>
                    <a:lnTo>
                      <a:pt x="6472" y="879"/>
                    </a:lnTo>
                    <a:lnTo>
                      <a:pt x="6465" y="879"/>
                    </a:lnTo>
                    <a:lnTo>
                      <a:pt x="6465" y="850"/>
                    </a:lnTo>
                    <a:lnTo>
                      <a:pt x="6446" y="850"/>
                    </a:lnTo>
                    <a:lnTo>
                      <a:pt x="6446" y="879"/>
                    </a:lnTo>
                    <a:lnTo>
                      <a:pt x="6436" y="879"/>
                    </a:lnTo>
                    <a:lnTo>
                      <a:pt x="6436" y="895"/>
                    </a:lnTo>
                    <a:lnTo>
                      <a:pt x="6432" y="895"/>
                    </a:lnTo>
                    <a:lnTo>
                      <a:pt x="6425" y="938"/>
                    </a:lnTo>
                    <a:lnTo>
                      <a:pt x="6387" y="938"/>
                    </a:lnTo>
                    <a:lnTo>
                      <a:pt x="6387" y="1130"/>
                    </a:lnTo>
                    <a:lnTo>
                      <a:pt x="6370" y="1130"/>
                    </a:lnTo>
                    <a:lnTo>
                      <a:pt x="6370" y="1364"/>
                    </a:lnTo>
                    <a:lnTo>
                      <a:pt x="6344" y="1364"/>
                    </a:lnTo>
                    <a:lnTo>
                      <a:pt x="6344" y="1210"/>
                    </a:lnTo>
                    <a:lnTo>
                      <a:pt x="6280" y="1210"/>
                    </a:lnTo>
                    <a:lnTo>
                      <a:pt x="6280" y="1130"/>
                    </a:lnTo>
                    <a:lnTo>
                      <a:pt x="6122" y="1130"/>
                    </a:lnTo>
                    <a:lnTo>
                      <a:pt x="6122" y="1042"/>
                    </a:lnTo>
                    <a:lnTo>
                      <a:pt x="6103" y="1042"/>
                    </a:lnTo>
                    <a:lnTo>
                      <a:pt x="6103" y="990"/>
                    </a:lnTo>
                    <a:lnTo>
                      <a:pt x="5997" y="990"/>
                    </a:lnTo>
                    <a:lnTo>
                      <a:pt x="5997" y="1042"/>
                    </a:lnTo>
                    <a:lnTo>
                      <a:pt x="5978" y="1042"/>
                    </a:lnTo>
                    <a:lnTo>
                      <a:pt x="5978" y="1130"/>
                    </a:lnTo>
                    <a:lnTo>
                      <a:pt x="5904" y="1130"/>
                    </a:lnTo>
                    <a:lnTo>
                      <a:pt x="5904" y="1210"/>
                    </a:lnTo>
                    <a:lnTo>
                      <a:pt x="5878" y="1210"/>
                    </a:lnTo>
                    <a:lnTo>
                      <a:pt x="5878" y="1326"/>
                    </a:lnTo>
                    <a:lnTo>
                      <a:pt x="5713" y="1326"/>
                    </a:lnTo>
                    <a:lnTo>
                      <a:pt x="5713" y="1449"/>
                    </a:lnTo>
                    <a:lnTo>
                      <a:pt x="5666" y="1449"/>
                    </a:lnTo>
                    <a:lnTo>
                      <a:pt x="5666" y="732"/>
                    </a:lnTo>
                    <a:lnTo>
                      <a:pt x="5531" y="732"/>
                    </a:lnTo>
                    <a:lnTo>
                      <a:pt x="5531" y="611"/>
                    </a:lnTo>
                    <a:lnTo>
                      <a:pt x="5301" y="611"/>
                    </a:lnTo>
                    <a:lnTo>
                      <a:pt x="5301" y="732"/>
                    </a:lnTo>
                    <a:lnTo>
                      <a:pt x="5178" y="732"/>
                    </a:lnTo>
                    <a:lnTo>
                      <a:pt x="5178" y="973"/>
                    </a:lnTo>
                    <a:lnTo>
                      <a:pt x="4980" y="973"/>
                    </a:lnTo>
                    <a:lnTo>
                      <a:pt x="4980" y="232"/>
                    </a:lnTo>
                    <a:lnTo>
                      <a:pt x="4980" y="232"/>
                    </a:lnTo>
                    <a:lnTo>
                      <a:pt x="49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sp>
            <p:nvSpPr>
              <p:cNvPr id="125" name="Freeform 148"/>
              <p:cNvSpPr>
                <a:spLocks noEditPoints="1"/>
              </p:cNvSpPr>
              <p:nvPr/>
            </p:nvSpPr>
            <p:spPr bwMode="auto">
              <a:xfrm>
                <a:off x="-3" y="1660"/>
                <a:ext cx="7567" cy="2676"/>
              </a:xfrm>
              <a:custGeom>
                <a:avLst/>
                <a:gdLst>
                  <a:gd name="T0" fmla="*/ 5188 w 7567"/>
                  <a:gd name="T1" fmla="*/ 983 h 2676"/>
                  <a:gd name="T2" fmla="*/ 5521 w 7567"/>
                  <a:gd name="T3" fmla="*/ 741 h 2676"/>
                  <a:gd name="T4" fmla="*/ 5722 w 7567"/>
                  <a:gd name="T5" fmla="*/ 1336 h 2676"/>
                  <a:gd name="T6" fmla="*/ 5978 w 7567"/>
                  <a:gd name="T7" fmla="*/ 1139 h 2676"/>
                  <a:gd name="T8" fmla="*/ 6094 w 7567"/>
                  <a:gd name="T9" fmla="*/ 1042 h 2676"/>
                  <a:gd name="T10" fmla="*/ 6271 w 7567"/>
                  <a:gd name="T11" fmla="*/ 1220 h 2676"/>
                  <a:gd name="T12" fmla="*/ 6380 w 7567"/>
                  <a:gd name="T13" fmla="*/ 1139 h 2676"/>
                  <a:gd name="T14" fmla="*/ 6446 w 7567"/>
                  <a:gd name="T15" fmla="*/ 905 h 2676"/>
                  <a:gd name="T16" fmla="*/ 6462 w 7567"/>
                  <a:gd name="T17" fmla="*/ 888 h 2676"/>
                  <a:gd name="T18" fmla="*/ 6510 w 7567"/>
                  <a:gd name="T19" fmla="*/ 1068 h 2676"/>
                  <a:gd name="T20" fmla="*/ 7030 w 7567"/>
                  <a:gd name="T21" fmla="*/ 1705 h 2676"/>
                  <a:gd name="T22" fmla="*/ 7359 w 7567"/>
                  <a:gd name="T23" fmla="*/ 1004 h 2676"/>
                  <a:gd name="T24" fmla="*/ 7489 w 7567"/>
                  <a:gd name="T25" fmla="*/ 1534 h 2676"/>
                  <a:gd name="T26" fmla="*/ 59 w 7567"/>
                  <a:gd name="T27" fmla="*/ 1534 h 2676"/>
                  <a:gd name="T28" fmla="*/ 360 w 7567"/>
                  <a:gd name="T29" fmla="*/ 557 h 2676"/>
                  <a:gd name="T30" fmla="*/ 854 w 7567"/>
                  <a:gd name="T31" fmla="*/ 1080 h 2676"/>
                  <a:gd name="T32" fmla="*/ 1242 w 7567"/>
                  <a:gd name="T33" fmla="*/ 829 h 2676"/>
                  <a:gd name="T34" fmla="*/ 1504 w 7567"/>
                  <a:gd name="T35" fmla="*/ 1201 h 2676"/>
                  <a:gd name="T36" fmla="*/ 1551 w 7567"/>
                  <a:gd name="T37" fmla="*/ 1137 h 2676"/>
                  <a:gd name="T38" fmla="*/ 1736 w 7567"/>
                  <a:gd name="T39" fmla="*/ 1168 h 2676"/>
                  <a:gd name="T40" fmla="*/ 1996 w 7567"/>
                  <a:gd name="T41" fmla="*/ 379 h 2676"/>
                  <a:gd name="T42" fmla="*/ 2138 w 7567"/>
                  <a:gd name="T43" fmla="*/ 344 h 2676"/>
                  <a:gd name="T44" fmla="*/ 2388 w 7567"/>
                  <a:gd name="T45" fmla="*/ 1099 h 2676"/>
                  <a:gd name="T46" fmla="*/ 2909 w 7567"/>
                  <a:gd name="T47" fmla="*/ 1250 h 2676"/>
                  <a:gd name="T48" fmla="*/ 3147 w 7567"/>
                  <a:gd name="T49" fmla="*/ 990 h 2676"/>
                  <a:gd name="T50" fmla="*/ 3339 w 7567"/>
                  <a:gd name="T51" fmla="*/ 668 h 2676"/>
                  <a:gd name="T52" fmla="*/ 3386 w 7567"/>
                  <a:gd name="T53" fmla="*/ 502 h 2676"/>
                  <a:gd name="T54" fmla="*/ 3523 w 7567"/>
                  <a:gd name="T55" fmla="*/ 592 h 2676"/>
                  <a:gd name="T56" fmla="*/ 3606 w 7567"/>
                  <a:gd name="T57" fmla="*/ 772 h 2676"/>
                  <a:gd name="T58" fmla="*/ 3715 w 7567"/>
                  <a:gd name="T59" fmla="*/ 1392 h 2676"/>
                  <a:gd name="T60" fmla="*/ 3828 w 7567"/>
                  <a:gd name="T61" fmla="*/ 1224 h 2676"/>
                  <a:gd name="T62" fmla="*/ 4013 w 7567"/>
                  <a:gd name="T63" fmla="*/ 647 h 2676"/>
                  <a:gd name="T64" fmla="*/ 4110 w 7567"/>
                  <a:gd name="T65" fmla="*/ 400 h 2676"/>
                  <a:gd name="T66" fmla="*/ 4176 w 7567"/>
                  <a:gd name="T67" fmla="*/ 609 h 2676"/>
                  <a:gd name="T68" fmla="*/ 4691 w 7567"/>
                  <a:gd name="T69" fmla="*/ 481 h 2676"/>
                  <a:gd name="T70" fmla="*/ 4909 w 7567"/>
                  <a:gd name="T71" fmla="*/ 183 h 2676"/>
                  <a:gd name="T72" fmla="*/ 4968 w 7567"/>
                  <a:gd name="T73" fmla="*/ 173 h 2676"/>
                  <a:gd name="T74" fmla="*/ 4899 w 7567"/>
                  <a:gd name="T75" fmla="*/ 173 h 2676"/>
                  <a:gd name="T76" fmla="*/ 4169 w 7567"/>
                  <a:gd name="T77" fmla="*/ 604 h 2676"/>
                  <a:gd name="T78" fmla="*/ 4091 w 7567"/>
                  <a:gd name="T79" fmla="*/ 391 h 2676"/>
                  <a:gd name="T80" fmla="*/ 3819 w 7567"/>
                  <a:gd name="T81" fmla="*/ 1224 h 2676"/>
                  <a:gd name="T82" fmla="*/ 3590 w 7567"/>
                  <a:gd name="T83" fmla="*/ 763 h 2676"/>
                  <a:gd name="T84" fmla="*/ 3377 w 7567"/>
                  <a:gd name="T85" fmla="*/ 502 h 2676"/>
                  <a:gd name="T86" fmla="*/ 3001 w 7567"/>
                  <a:gd name="T87" fmla="*/ 980 h 2676"/>
                  <a:gd name="T88" fmla="*/ 2388 w 7567"/>
                  <a:gd name="T89" fmla="*/ 1089 h 2676"/>
                  <a:gd name="T90" fmla="*/ 1986 w 7567"/>
                  <a:gd name="T91" fmla="*/ 370 h 2676"/>
                  <a:gd name="T92" fmla="*/ 1551 w 7567"/>
                  <a:gd name="T93" fmla="*/ 1127 h 2676"/>
                  <a:gd name="T94" fmla="*/ 1251 w 7567"/>
                  <a:gd name="T95" fmla="*/ 753 h 2676"/>
                  <a:gd name="T96" fmla="*/ 350 w 7567"/>
                  <a:gd name="T97" fmla="*/ 547 h 2676"/>
                  <a:gd name="T98" fmla="*/ 7567 w 7567"/>
                  <a:gd name="T99" fmla="*/ 1534 h 2676"/>
                  <a:gd name="T100" fmla="*/ 7072 w 7567"/>
                  <a:gd name="T101" fmla="*/ 509 h 2676"/>
                  <a:gd name="T102" fmla="*/ 6477 w 7567"/>
                  <a:gd name="T103" fmla="*/ 895 h 2676"/>
                  <a:gd name="T104" fmla="*/ 6432 w 7567"/>
                  <a:gd name="T105" fmla="*/ 895 h 2676"/>
                  <a:gd name="T106" fmla="*/ 6280 w 7567"/>
                  <a:gd name="T107" fmla="*/ 1130 h 2676"/>
                  <a:gd name="T108" fmla="*/ 5904 w 7567"/>
                  <a:gd name="T109" fmla="*/ 1130 h 2676"/>
                  <a:gd name="T110" fmla="*/ 5531 w 7567"/>
                  <a:gd name="T111" fmla="*/ 611 h 2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567" h="2676">
                    <a:moveTo>
                      <a:pt x="4970" y="10"/>
                    </a:moveTo>
                    <a:lnTo>
                      <a:pt x="4970" y="232"/>
                    </a:lnTo>
                    <a:lnTo>
                      <a:pt x="4970" y="242"/>
                    </a:lnTo>
                    <a:lnTo>
                      <a:pt x="4970" y="242"/>
                    </a:lnTo>
                    <a:lnTo>
                      <a:pt x="4970" y="973"/>
                    </a:lnTo>
                    <a:lnTo>
                      <a:pt x="4970" y="983"/>
                    </a:lnTo>
                    <a:lnTo>
                      <a:pt x="4980" y="983"/>
                    </a:lnTo>
                    <a:lnTo>
                      <a:pt x="5178" y="983"/>
                    </a:lnTo>
                    <a:lnTo>
                      <a:pt x="5188" y="983"/>
                    </a:lnTo>
                    <a:lnTo>
                      <a:pt x="5188" y="973"/>
                    </a:lnTo>
                    <a:lnTo>
                      <a:pt x="5188" y="741"/>
                    </a:lnTo>
                    <a:lnTo>
                      <a:pt x="5301" y="741"/>
                    </a:lnTo>
                    <a:lnTo>
                      <a:pt x="5311" y="741"/>
                    </a:lnTo>
                    <a:lnTo>
                      <a:pt x="5311" y="732"/>
                    </a:lnTo>
                    <a:lnTo>
                      <a:pt x="5311" y="621"/>
                    </a:lnTo>
                    <a:lnTo>
                      <a:pt x="5521" y="621"/>
                    </a:lnTo>
                    <a:lnTo>
                      <a:pt x="5521" y="732"/>
                    </a:lnTo>
                    <a:lnTo>
                      <a:pt x="5521" y="741"/>
                    </a:lnTo>
                    <a:lnTo>
                      <a:pt x="5531" y="741"/>
                    </a:lnTo>
                    <a:lnTo>
                      <a:pt x="5656" y="741"/>
                    </a:lnTo>
                    <a:lnTo>
                      <a:pt x="5656" y="1449"/>
                    </a:lnTo>
                    <a:lnTo>
                      <a:pt x="5656" y="1459"/>
                    </a:lnTo>
                    <a:lnTo>
                      <a:pt x="5666" y="1459"/>
                    </a:lnTo>
                    <a:lnTo>
                      <a:pt x="5713" y="1459"/>
                    </a:lnTo>
                    <a:lnTo>
                      <a:pt x="5722" y="1459"/>
                    </a:lnTo>
                    <a:lnTo>
                      <a:pt x="5722" y="1449"/>
                    </a:lnTo>
                    <a:lnTo>
                      <a:pt x="5722" y="1336"/>
                    </a:lnTo>
                    <a:lnTo>
                      <a:pt x="5878" y="1336"/>
                    </a:lnTo>
                    <a:lnTo>
                      <a:pt x="5888" y="1336"/>
                    </a:lnTo>
                    <a:lnTo>
                      <a:pt x="5888" y="1326"/>
                    </a:lnTo>
                    <a:lnTo>
                      <a:pt x="5888" y="1220"/>
                    </a:lnTo>
                    <a:lnTo>
                      <a:pt x="5904" y="1220"/>
                    </a:lnTo>
                    <a:lnTo>
                      <a:pt x="5914" y="1220"/>
                    </a:lnTo>
                    <a:lnTo>
                      <a:pt x="5914" y="1210"/>
                    </a:lnTo>
                    <a:lnTo>
                      <a:pt x="5914" y="1139"/>
                    </a:lnTo>
                    <a:lnTo>
                      <a:pt x="5978" y="1139"/>
                    </a:lnTo>
                    <a:lnTo>
                      <a:pt x="5987" y="1139"/>
                    </a:lnTo>
                    <a:lnTo>
                      <a:pt x="5987" y="1130"/>
                    </a:lnTo>
                    <a:lnTo>
                      <a:pt x="5987" y="1051"/>
                    </a:lnTo>
                    <a:lnTo>
                      <a:pt x="5997" y="1051"/>
                    </a:lnTo>
                    <a:lnTo>
                      <a:pt x="6006" y="1051"/>
                    </a:lnTo>
                    <a:lnTo>
                      <a:pt x="6006" y="1042"/>
                    </a:lnTo>
                    <a:lnTo>
                      <a:pt x="6006" y="999"/>
                    </a:lnTo>
                    <a:lnTo>
                      <a:pt x="6094" y="999"/>
                    </a:lnTo>
                    <a:lnTo>
                      <a:pt x="6094" y="1042"/>
                    </a:lnTo>
                    <a:lnTo>
                      <a:pt x="6094" y="1051"/>
                    </a:lnTo>
                    <a:lnTo>
                      <a:pt x="6103" y="1051"/>
                    </a:lnTo>
                    <a:lnTo>
                      <a:pt x="6112" y="1051"/>
                    </a:lnTo>
                    <a:lnTo>
                      <a:pt x="6112" y="1130"/>
                    </a:lnTo>
                    <a:lnTo>
                      <a:pt x="6112" y="1139"/>
                    </a:lnTo>
                    <a:lnTo>
                      <a:pt x="6122" y="1139"/>
                    </a:lnTo>
                    <a:lnTo>
                      <a:pt x="6271" y="1139"/>
                    </a:lnTo>
                    <a:lnTo>
                      <a:pt x="6271" y="1210"/>
                    </a:lnTo>
                    <a:lnTo>
                      <a:pt x="6271" y="1220"/>
                    </a:lnTo>
                    <a:lnTo>
                      <a:pt x="6280" y="1220"/>
                    </a:lnTo>
                    <a:lnTo>
                      <a:pt x="6335" y="1220"/>
                    </a:lnTo>
                    <a:lnTo>
                      <a:pt x="6335" y="1364"/>
                    </a:lnTo>
                    <a:lnTo>
                      <a:pt x="6335" y="1373"/>
                    </a:lnTo>
                    <a:lnTo>
                      <a:pt x="6344" y="1373"/>
                    </a:lnTo>
                    <a:lnTo>
                      <a:pt x="6370" y="1373"/>
                    </a:lnTo>
                    <a:lnTo>
                      <a:pt x="6380" y="1373"/>
                    </a:lnTo>
                    <a:lnTo>
                      <a:pt x="6380" y="1364"/>
                    </a:lnTo>
                    <a:lnTo>
                      <a:pt x="6380" y="1139"/>
                    </a:lnTo>
                    <a:lnTo>
                      <a:pt x="6387" y="1139"/>
                    </a:lnTo>
                    <a:lnTo>
                      <a:pt x="6396" y="1139"/>
                    </a:lnTo>
                    <a:lnTo>
                      <a:pt x="6396" y="1130"/>
                    </a:lnTo>
                    <a:lnTo>
                      <a:pt x="6396" y="947"/>
                    </a:lnTo>
                    <a:lnTo>
                      <a:pt x="6425" y="947"/>
                    </a:lnTo>
                    <a:lnTo>
                      <a:pt x="6432" y="947"/>
                    </a:lnTo>
                    <a:lnTo>
                      <a:pt x="6432" y="938"/>
                    </a:lnTo>
                    <a:lnTo>
                      <a:pt x="6441" y="905"/>
                    </a:lnTo>
                    <a:lnTo>
                      <a:pt x="6446" y="905"/>
                    </a:lnTo>
                    <a:lnTo>
                      <a:pt x="6446" y="895"/>
                    </a:lnTo>
                    <a:lnTo>
                      <a:pt x="6446" y="888"/>
                    </a:lnTo>
                    <a:lnTo>
                      <a:pt x="6455" y="888"/>
                    </a:lnTo>
                    <a:lnTo>
                      <a:pt x="6455" y="879"/>
                    </a:lnTo>
                    <a:lnTo>
                      <a:pt x="6455" y="860"/>
                    </a:lnTo>
                    <a:lnTo>
                      <a:pt x="6455" y="860"/>
                    </a:lnTo>
                    <a:lnTo>
                      <a:pt x="6455" y="879"/>
                    </a:lnTo>
                    <a:lnTo>
                      <a:pt x="6455" y="888"/>
                    </a:lnTo>
                    <a:lnTo>
                      <a:pt x="6462" y="888"/>
                    </a:lnTo>
                    <a:lnTo>
                      <a:pt x="6462" y="895"/>
                    </a:lnTo>
                    <a:lnTo>
                      <a:pt x="6462" y="905"/>
                    </a:lnTo>
                    <a:lnTo>
                      <a:pt x="6469" y="905"/>
                    </a:lnTo>
                    <a:lnTo>
                      <a:pt x="6477" y="938"/>
                    </a:lnTo>
                    <a:lnTo>
                      <a:pt x="6479" y="947"/>
                    </a:lnTo>
                    <a:lnTo>
                      <a:pt x="6486" y="947"/>
                    </a:lnTo>
                    <a:lnTo>
                      <a:pt x="6510" y="947"/>
                    </a:lnTo>
                    <a:lnTo>
                      <a:pt x="6510" y="1059"/>
                    </a:lnTo>
                    <a:lnTo>
                      <a:pt x="6510" y="1068"/>
                    </a:lnTo>
                    <a:lnTo>
                      <a:pt x="6519" y="1068"/>
                    </a:lnTo>
                    <a:lnTo>
                      <a:pt x="6895" y="1068"/>
                    </a:lnTo>
                    <a:lnTo>
                      <a:pt x="6895" y="1094"/>
                    </a:lnTo>
                    <a:lnTo>
                      <a:pt x="6895" y="1104"/>
                    </a:lnTo>
                    <a:lnTo>
                      <a:pt x="6905" y="1104"/>
                    </a:lnTo>
                    <a:lnTo>
                      <a:pt x="7020" y="1104"/>
                    </a:lnTo>
                    <a:lnTo>
                      <a:pt x="7020" y="1695"/>
                    </a:lnTo>
                    <a:lnTo>
                      <a:pt x="7020" y="1705"/>
                    </a:lnTo>
                    <a:lnTo>
                      <a:pt x="7030" y="1705"/>
                    </a:lnTo>
                    <a:lnTo>
                      <a:pt x="7072" y="1705"/>
                    </a:lnTo>
                    <a:lnTo>
                      <a:pt x="7082" y="1705"/>
                    </a:lnTo>
                    <a:lnTo>
                      <a:pt x="7082" y="1695"/>
                    </a:lnTo>
                    <a:lnTo>
                      <a:pt x="7082" y="519"/>
                    </a:lnTo>
                    <a:lnTo>
                      <a:pt x="7318" y="519"/>
                    </a:lnTo>
                    <a:lnTo>
                      <a:pt x="7318" y="995"/>
                    </a:lnTo>
                    <a:lnTo>
                      <a:pt x="7318" y="1004"/>
                    </a:lnTo>
                    <a:lnTo>
                      <a:pt x="7328" y="1004"/>
                    </a:lnTo>
                    <a:lnTo>
                      <a:pt x="7359" y="1004"/>
                    </a:lnTo>
                    <a:lnTo>
                      <a:pt x="7359" y="1215"/>
                    </a:lnTo>
                    <a:lnTo>
                      <a:pt x="7359" y="1224"/>
                    </a:lnTo>
                    <a:lnTo>
                      <a:pt x="7368" y="1224"/>
                    </a:lnTo>
                    <a:lnTo>
                      <a:pt x="7392" y="1224"/>
                    </a:lnTo>
                    <a:lnTo>
                      <a:pt x="7392" y="1499"/>
                    </a:lnTo>
                    <a:lnTo>
                      <a:pt x="7392" y="1508"/>
                    </a:lnTo>
                    <a:lnTo>
                      <a:pt x="7401" y="1508"/>
                    </a:lnTo>
                    <a:lnTo>
                      <a:pt x="7489" y="1508"/>
                    </a:lnTo>
                    <a:lnTo>
                      <a:pt x="7489" y="1534"/>
                    </a:lnTo>
                    <a:lnTo>
                      <a:pt x="7489" y="1544"/>
                    </a:lnTo>
                    <a:lnTo>
                      <a:pt x="7498" y="1544"/>
                    </a:lnTo>
                    <a:lnTo>
                      <a:pt x="7557" y="1544"/>
                    </a:lnTo>
                    <a:lnTo>
                      <a:pt x="7557" y="2666"/>
                    </a:lnTo>
                    <a:lnTo>
                      <a:pt x="10" y="2666"/>
                    </a:lnTo>
                    <a:lnTo>
                      <a:pt x="10" y="1544"/>
                    </a:lnTo>
                    <a:lnTo>
                      <a:pt x="50" y="1544"/>
                    </a:lnTo>
                    <a:lnTo>
                      <a:pt x="59" y="1544"/>
                    </a:lnTo>
                    <a:lnTo>
                      <a:pt x="59" y="1534"/>
                    </a:lnTo>
                    <a:lnTo>
                      <a:pt x="59" y="1463"/>
                    </a:lnTo>
                    <a:lnTo>
                      <a:pt x="144" y="1463"/>
                    </a:lnTo>
                    <a:lnTo>
                      <a:pt x="154" y="1463"/>
                    </a:lnTo>
                    <a:lnTo>
                      <a:pt x="154" y="1454"/>
                    </a:lnTo>
                    <a:lnTo>
                      <a:pt x="154" y="628"/>
                    </a:lnTo>
                    <a:lnTo>
                      <a:pt x="350" y="628"/>
                    </a:lnTo>
                    <a:lnTo>
                      <a:pt x="360" y="628"/>
                    </a:lnTo>
                    <a:lnTo>
                      <a:pt x="360" y="618"/>
                    </a:lnTo>
                    <a:lnTo>
                      <a:pt x="360" y="557"/>
                    </a:lnTo>
                    <a:lnTo>
                      <a:pt x="591" y="557"/>
                    </a:lnTo>
                    <a:lnTo>
                      <a:pt x="591" y="618"/>
                    </a:lnTo>
                    <a:lnTo>
                      <a:pt x="591" y="628"/>
                    </a:lnTo>
                    <a:lnTo>
                      <a:pt x="601" y="628"/>
                    </a:lnTo>
                    <a:lnTo>
                      <a:pt x="809" y="628"/>
                    </a:lnTo>
                    <a:lnTo>
                      <a:pt x="809" y="1070"/>
                    </a:lnTo>
                    <a:lnTo>
                      <a:pt x="809" y="1080"/>
                    </a:lnTo>
                    <a:lnTo>
                      <a:pt x="818" y="1080"/>
                    </a:lnTo>
                    <a:lnTo>
                      <a:pt x="854" y="1080"/>
                    </a:lnTo>
                    <a:lnTo>
                      <a:pt x="863" y="1080"/>
                    </a:lnTo>
                    <a:lnTo>
                      <a:pt x="863" y="1070"/>
                    </a:lnTo>
                    <a:lnTo>
                      <a:pt x="863" y="838"/>
                    </a:lnTo>
                    <a:lnTo>
                      <a:pt x="1057" y="838"/>
                    </a:lnTo>
                    <a:lnTo>
                      <a:pt x="1067" y="838"/>
                    </a:lnTo>
                    <a:lnTo>
                      <a:pt x="1067" y="829"/>
                    </a:lnTo>
                    <a:lnTo>
                      <a:pt x="1067" y="763"/>
                    </a:lnTo>
                    <a:lnTo>
                      <a:pt x="1242" y="763"/>
                    </a:lnTo>
                    <a:lnTo>
                      <a:pt x="1242" y="829"/>
                    </a:lnTo>
                    <a:lnTo>
                      <a:pt x="1242" y="838"/>
                    </a:lnTo>
                    <a:lnTo>
                      <a:pt x="1251" y="838"/>
                    </a:lnTo>
                    <a:lnTo>
                      <a:pt x="1438" y="838"/>
                    </a:lnTo>
                    <a:lnTo>
                      <a:pt x="1438" y="1201"/>
                    </a:lnTo>
                    <a:lnTo>
                      <a:pt x="1438" y="1210"/>
                    </a:lnTo>
                    <a:lnTo>
                      <a:pt x="1447" y="1210"/>
                    </a:lnTo>
                    <a:lnTo>
                      <a:pt x="1495" y="1210"/>
                    </a:lnTo>
                    <a:lnTo>
                      <a:pt x="1504" y="1210"/>
                    </a:lnTo>
                    <a:lnTo>
                      <a:pt x="1504" y="1201"/>
                    </a:lnTo>
                    <a:lnTo>
                      <a:pt x="1504" y="1137"/>
                    </a:lnTo>
                    <a:lnTo>
                      <a:pt x="1511" y="1137"/>
                    </a:lnTo>
                    <a:lnTo>
                      <a:pt x="1521" y="1137"/>
                    </a:lnTo>
                    <a:lnTo>
                      <a:pt x="1521" y="1127"/>
                    </a:lnTo>
                    <a:lnTo>
                      <a:pt x="1521" y="1094"/>
                    </a:lnTo>
                    <a:lnTo>
                      <a:pt x="1542" y="1094"/>
                    </a:lnTo>
                    <a:lnTo>
                      <a:pt x="1542" y="1127"/>
                    </a:lnTo>
                    <a:lnTo>
                      <a:pt x="1542" y="1137"/>
                    </a:lnTo>
                    <a:lnTo>
                      <a:pt x="1551" y="1137"/>
                    </a:lnTo>
                    <a:lnTo>
                      <a:pt x="1561" y="1137"/>
                    </a:lnTo>
                    <a:lnTo>
                      <a:pt x="1561" y="1201"/>
                    </a:lnTo>
                    <a:lnTo>
                      <a:pt x="1561" y="1210"/>
                    </a:lnTo>
                    <a:lnTo>
                      <a:pt x="1570" y="1210"/>
                    </a:lnTo>
                    <a:lnTo>
                      <a:pt x="1712" y="1210"/>
                    </a:lnTo>
                    <a:lnTo>
                      <a:pt x="1722" y="1210"/>
                    </a:lnTo>
                    <a:lnTo>
                      <a:pt x="1722" y="1201"/>
                    </a:lnTo>
                    <a:lnTo>
                      <a:pt x="1722" y="1168"/>
                    </a:lnTo>
                    <a:lnTo>
                      <a:pt x="1736" y="1168"/>
                    </a:lnTo>
                    <a:lnTo>
                      <a:pt x="1745" y="1168"/>
                    </a:lnTo>
                    <a:lnTo>
                      <a:pt x="1745" y="1158"/>
                    </a:lnTo>
                    <a:lnTo>
                      <a:pt x="1745" y="1141"/>
                    </a:lnTo>
                    <a:lnTo>
                      <a:pt x="1856" y="1141"/>
                    </a:lnTo>
                    <a:lnTo>
                      <a:pt x="1866" y="1141"/>
                    </a:lnTo>
                    <a:lnTo>
                      <a:pt x="1866" y="1132"/>
                    </a:lnTo>
                    <a:lnTo>
                      <a:pt x="1866" y="379"/>
                    </a:lnTo>
                    <a:lnTo>
                      <a:pt x="1986" y="379"/>
                    </a:lnTo>
                    <a:lnTo>
                      <a:pt x="1996" y="379"/>
                    </a:lnTo>
                    <a:lnTo>
                      <a:pt x="1996" y="370"/>
                    </a:lnTo>
                    <a:lnTo>
                      <a:pt x="1996" y="344"/>
                    </a:lnTo>
                    <a:lnTo>
                      <a:pt x="2076" y="344"/>
                    </a:lnTo>
                    <a:lnTo>
                      <a:pt x="2086" y="344"/>
                    </a:lnTo>
                    <a:lnTo>
                      <a:pt x="2086" y="334"/>
                    </a:lnTo>
                    <a:lnTo>
                      <a:pt x="2086" y="303"/>
                    </a:lnTo>
                    <a:lnTo>
                      <a:pt x="2138" y="303"/>
                    </a:lnTo>
                    <a:lnTo>
                      <a:pt x="2138" y="334"/>
                    </a:lnTo>
                    <a:lnTo>
                      <a:pt x="2138" y="344"/>
                    </a:lnTo>
                    <a:lnTo>
                      <a:pt x="2147" y="344"/>
                    </a:lnTo>
                    <a:lnTo>
                      <a:pt x="2228" y="344"/>
                    </a:lnTo>
                    <a:lnTo>
                      <a:pt x="2228" y="370"/>
                    </a:lnTo>
                    <a:lnTo>
                      <a:pt x="2228" y="379"/>
                    </a:lnTo>
                    <a:lnTo>
                      <a:pt x="2237" y="379"/>
                    </a:lnTo>
                    <a:lnTo>
                      <a:pt x="2379" y="379"/>
                    </a:lnTo>
                    <a:lnTo>
                      <a:pt x="2379" y="1089"/>
                    </a:lnTo>
                    <a:lnTo>
                      <a:pt x="2379" y="1099"/>
                    </a:lnTo>
                    <a:lnTo>
                      <a:pt x="2388" y="1099"/>
                    </a:lnTo>
                    <a:lnTo>
                      <a:pt x="2646" y="1099"/>
                    </a:lnTo>
                    <a:lnTo>
                      <a:pt x="2646" y="1184"/>
                    </a:lnTo>
                    <a:lnTo>
                      <a:pt x="2646" y="1194"/>
                    </a:lnTo>
                    <a:lnTo>
                      <a:pt x="2656" y="1194"/>
                    </a:lnTo>
                    <a:lnTo>
                      <a:pt x="2710" y="1194"/>
                    </a:lnTo>
                    <a:lnTo>
                      <a:pt x="2710" y="1241"/>
                    </a:lnTo>
                    <a:lnTo>
                      <a:pt x="2710" y="1250"/>
                    </a:lnTo>
                    <a:lnTo>
                      <a:pt x="2719" y="1250"/>
                    </a:lnTo>
                    <a:lnTo>
                      <a:pt x="2909" y="1250"/>
                    </a:lnTo>
                    <a:lnTo>
                      <a:pt x="2918" y="1250"/>
                    </a:lnTo>
                    <a:lnTo>
                      <a:pt x="2918" y="1241"/>
                    </a:lnTo>
                    <a:lnTo>
                      <a:pt x="2918" y="1073"/>
                    </a:lnTo>
                    <a:lnTo>
                      <a:pt x="2925" y="1073"/>
                    </a:lnTo>
                    <a:lnTo>
                      <a:pt x="2935" y="1073"/>
                    </a:lnTo>
                    <a:lnTo>
                      <a:pt x="2935" y="1063"/>
                    </a:lnTo>
                    <a:lnTo>
                      <a:pt x="2935" y="1021"/>
                    </a:lnTo>
                    <a:lnTo>
                      <a:pt x="3001" y="990"/>
                    </a:lnTo>
                    <a:lnTo>
                      <a:pt x="3147" y="990"/>
                    </a:lnTo>
                    <a:lnTo>
                      <a:pt x="3157" y="990"/>
                    </a:lnTo>
                    <a:lnTo>
                      <a:pt x="3157" y="980"/>
                    </a:lnTo>
                    <a:lnTo>
                      <a:pt x="3157" y="772"/>
                    </a:lnTo>
                    <a:lnTo>
                      <a:pt x="3185" y="772"/>
                    </a:lnTo>
                    <a:lnTo>
                      <a:pt x="3195" y="772"/>
                    </a:lnTo>
                    <a:lnTo>
                      <a:pt x="3195" y="763"/>
                    </a:lnTo>
                    <a:lnTo>
                      <a:pt x="3195" y="668"/>
                    </a:lnTo>
                    <a:lnTo>
                      <a:pt x="3329" y="668"/>
                    </a:lnTo>
                    <a:lnTo>
                      <a:pt x="3339" y="668"/>
                    </a:lnTo>
                    <a:lnTo>
                      <a:pt x="3339" y="658"/>
                    </a:lnTo>
                    <a:lnTo>
                      <a:pt x="3339" y="592"/>
                    </a:lnTo>
                    <a:lnTo>
                      <a:pt x="3348" y="592"/>
                    </a:lnTo>
                    <a:lnTo>
                      <a:pt x="3358" y="592"/>
                    </a:lnTo>
                    <a:lnTo>
                      <a:pt x="3358" y="583"/>
                    </a:lnTo>
                    <a:lnTo>
                      <a:pt x="3358" y="512"/>
                    </a:lnTo>
                    <a:lnTo>
                      <a:pt x="3377" y="512"/>
                    </a:lnTo>
                    <a:lnTo>
                      <a:pt x="3386" y="512"/>
                    </a:lnTo>
                    <a:lnTo>
                      <a:pt x="3386" y="502"/>
                    </a:lnTo>
                    <a:lnTo>
                      <a:pt x="3386" y="445"/>
                    </a:lnTo>
                    <a:lnTo>
                      <a:pt x="3483" y="445"/>
                    </a:lnTo>
                    <a:lnTo>
                      <a:pt x="3483" y="502"/>
                    </a:lnTo>
                    <a:lnTo>
                      <a:pt x="3483" y="512"/>
                    </a:lnTo>
                    <a:lnTo>
                      <a:pt x="3493" y="512"/>
                    </a:lnTo>
                    <a:lnTo>
                      <a:pt x="3514" y="512"/>
                    </a:lnTo>
                    <a:lnTo>
                      <a:pt x="3514" y="583"/>
                    </a:lnTo>
                    <a:lnTo>
                      <a:pt x="3514" y="592"/>
                    </a:lnTo>
                    <a:lnTo>
                      <a:pt x="3523" y="592"/>
                    </a:lnTo>
                    <a:lnTo>
                      <a:pt x="3530" y="592"/>
                    </a:lnTo>
                    <a:lnTo>
                      <a:pt x="3530" y="658"/>
                    </a:lnTo>
                    <a:lnTo>
                      <a:pt x="3530" y="668"/>
                    </a:lnTo>
                    <a:lnTo>
                      <a:pt x="3540" y="668"/>
                    </a:lnTo>
                    <a:lnTo>
                      <a:pt x="3580" y="668"/>
                    </a:lnTo>
                    <a:lnTo>
                      <a:pt x="3580" y="763"/>
                    </a:lnTo>
                    <a:lnTo>
                      <a:pt x="3580" y="772"/>
                    </a:lnTo>
                    <a:lnTo>
                      <a:pt x="3590" y="772"/>
                    </a:lnTo>
                    <a:lnTo>
                      <a:pt x="3606" y="772"/>
                    </a:lnTo>
                    <a:lnTo>
                      <a:pt x="3606" y="1222"/>
                    </a:lnTo>
                    <a:lnTo>
                      <a:pt x="3606" y="1231"/>
                    </a:lnTo>
                    <a:lnTo>
                      <a:pt x="3616" y="1231"/>
                    </a:lnTo>
                    <a:lnTo>
                      <a:pt x="3639" y="1231"/>
                    </a:lnTo>
                    <a:lnTo>
                      <a:pt x="3639" y="1317"/>
                    </a:lnTo>
                    <a:lnTo>
                      <a:pt x="3639" y="1326"/>
                    </a:lnTo>
                    <a:lnTo>
                      <a:pt x="3649" y="1326"/>
                    </a:lnTo>
                    <a:lnTo>
                      <a:pt x="3715" y="1326"/>
                    </a:lnTo>
                    <a:lnTo>
                      <a:pt x="3715" y="1392"/>
                    </a:lnTo>
                    <a:lnTo>
                      <a:pt x="3715" y="1402"/>
                    </a:lnTo>
                    <a:lnTo>
                      <a:pt x="3724" y="1402"/>
                    </a:lnTo>
                    <a:lnTo>
                      <a:pt x="3757" y="1402"/>
                    </a:lnTo>
                    <a:lnTo>
                      <a:pt x="3767" y="1402"/>
                    </a:lnTo>
                    <a:lnTo>
                      <a:pt x="3767" y="1392"/>
                    </a:lnTo>
                    <a:lnTo>
                      <a:pt x="3767" y="1234"/>
                    </a:lnTo>
                    <a:lnTo>
                      <a:pt x="3819" y="1234"/>
                    </a:lnTo>
                    <a:lnTo>
                      <a:pt x="3828" y="1234"/>
                    </a:lnTo>
                    <a:lnTo>
                      <a:pt x="3828" y="1224"/>
                    </a:lnTo>
                    <a:lnTo>
                      <a:pt x="3828" y="1004"/>
                    </a:lnTo>
                    <a:lnTo>
                      <a:pt x="3892" y="1004"/>
                    </a:lnTo>
                    <a:lnTo>
                      <a:pt x="3902" y="1004"/>
                    </a:lnTo>
                    <a:lnTo>
                      <a:pt x="3902" y="995"/>
                    </a:lnTo>
                    <a:lnTo>
                      <a:pt x="3902" y="938"/>
                    </a:lnTo>
                    <a:lnTo>
                      <a:pt x="4003" y="938"/>
                    </a:lnTo>
                    <a:lnTo>
                      <a:pt x="4013" y="938"/>
                    </a:lnTo>
                    <a:lnTo>
                      <a:pt x="4013" y="928"/>
                    </a:lnTo>
                    <a:lnTo>
                      <a:pt x="4013" y="647"/>
                    </a:lnTo>
                    <a:lnTo>
                      <a:pt x="4093" y="497"/>
                    </a:lnTo>
                    <a:lnTo>
                      <a:pt x="4093" y="495"/>
                    </a:lnTo>
                    <a:lnTo>
                      <a:pt x="4093" y="493"/>
                    </a:lnTo>
                    <a:lnTo>
                      <a:pt x="4093" y="464"/>
                    </a:lnTo>
                    <a:lnTo>
                      <a:pt x="4100" y="464"/>
                    </a:lnTo>
                    <a:lnTo>
                      <a:pt x="4100" y="455"/>
                    </a:lnTo>
                    <a:lnTo>
                      <a:pt x="4100" y="400"/>
                    </a:lnTo>
                    <a:lnTo>
                      <a:pt x="4100" y="400"/>
                    </a:lnTo>
                    <a:lnTo>
                      <a:pt x="4110" y="400"/>
                    </a:lnTo>
                    <a:lnTo>
                      <a:pt x="4110" y="455"/>
                    </a:lnTo>
                    <a:lnTo>
                      <a:pt x="4110" y="464"/>
                    </a:lnTo>
                    <a:lnTo>
                      <a:pt x="4114" y="464"/>
                    </a:lnTo>
                    <a:lnTo>
                      <a:pt x="4114" y="495"/>
                    </a:lnTo>
                    <a:lnTo>
                      <a:pt x="4114" y="497"/>
                    </a:lnTo>
                    <a:lnTo>
                      <a:pt x="4114" y="500"/>
                    </a:lnTo>
                    <a:lnTo>
                      <a:pt x="4162" y="609"/>
                    </a:lnTo>
                    <a:lnTo>
                      <a:pt x="4166" y="623"/>
                    </a:lnTo>
                    <a:lnTo>
                      <a:pt x="4176" y="609"/>
                    </a:lnTo>
                    <a:lnTo>
                      <a:pt x="4247" y="514"/>
                    </a:lnTo>
                    <a:lnTo>
                      <a:pt x="4401" y="514"/>
                    </a:lnTo>
                    <a:lnTo>
                      <a:pt x="4427" y="547"/>
                    </a:lnTo>
                    <a:lnTo>
                      <a:pt x="4429" y="550"/>
                    </a:lnTo>
                    <a:lnTo>
                      <a:pt x="4434" y="550"/>
                    </a:lnTo>
                    <a:lnTo>
                      <a:pt x="4583" y="550"/>
                    </a:lnTo>
                    <a:lnTo>
                      <a:pt x="4585" y="550"/>
                    </a:lnTo>
                    <a:lnTo>
                      <a:pt x="4587" y="550"/>
                    </a:lnTo>
                    <a:lnTo>
                      <a:pt x="4691" y="481"/>
                    </a:lnTo>
                    <a:lnTo>
                      <a:pt x="4694" y="479"/>
                    </a:lnTo>
                    <a:lnTo>
                      <a:pt x="4696" y="476"/>
                    </a:lnTo>
                    <a:lnTo>
                      <a:pt x="4758" y="242"/>
                    </a:lnTo>
                    <a:lnTo>
                      <a:pt x="4852" y="242"/>
                    </a:lnTo>
                    <a:lnTo>
                      <a:pt x="4862" y="242"/>
                    </a:lnTo>
                    <a:lnTo>
                      <a:pt x="4862" y="232"/>
                    </a:lnTo>
                    <a:lnTo>
                      <a:pt x="4862" y="183"/>
                    </a:lnTo>
                    <a:lnTo>
                      <a:pt x="4899" y="183"/>
                    </a:lnTo>
                    <a:lnTo>
                      <a:pt x="4909" y="183"/>
                    </a:lnTo>
                    <a:lnTo>
                      <a:pt x="4909" y="173"/>
                    </a:lnTo>
                    <a:lnTo>
                      <a:pt x="4909" y="10"/>
                    </a:lnTo>
                    <a:lnTo>
                      <a:pt x="4911" y="10"/>
                    </a:lnTo>
                    <a:lnTo>
                      <a:pt x="4911" y="173"/>
                    </a:lnTo>
                    <a:lnTo>
                      <a:pt x="4911" y="183"/>
                    </a:lnTo>
                    <a:lnTo>
                      <a:pt x="4921" y="183"/>
                    </a:lnTo>
                    <a:lnTo>
                      <a:pt x="4959" y="183"/>
                    </a:lnTo>
                    <a:lnTo>
                      <a:pt x="4968" y="183"/>
                    </a:lnTo>
                    <a:lnTo>
                      <a:pt x="4968" y="173"/>
                    </a:lnTo>
                    <a:lnTo>
                      <a:pt x="4968" y="10"/>
                    </a:lnTo>
                    <a:lnTo>
                      <a:pt x="4970" y="10"/>
                    </a:lnTo>
                    <a:moveTo>
                      <a:pt x="4980" y="0"/>
                    </a:moveTo>
                    <a:lnTo>
                      <a:pt x="4959" y="0"/>
                    </a:lnTo>
                    <a:lnTo>
                      <a:pt x="4959" y="173"/>
                    </a:lnTo>
                    <a:lnTo>
                      <a:pt x="4921" y="173"/>
                    </a:lnTo>
                    <a:lnTo>
                      <a:pt x="4921" y="0"/>
                    </a:lnTo>
                    <a:lnTo>
                      <a:pt x="4899" y="0"/>
                    </a:lnTo>
                    <a:lnTo>
                      <a:pt x="4899" y="173"/>
                    </a:lnTo>
                    <a:lnTo>
                      <a:pt x="4852" y="173"/>
                    </a:lnTo>
                    <a:lnTo>
                      <a:pt x="4852" y="232"/>
                    </a:lnTo>
                    <a:lnTo>
                      <a:pt x="4750" y="232"/>
                    </a:lnTo>
                    <a:lnTo>
                      <a:pt x="4687" y="474"/>
                    </a:lnTo>
                    <a:lnTo>
                      <a:pt x="4583" y="540"/>
                    </a:lnTo>
                    <a:lnTo>
                      <a:pt x="4434" y="540"/>
                    </a:lnTo>
                    <a:lnTo>
                      <a:pt x="4405" y="505"/>
                    </a:lnTo>
                    <a:lnTo>
                      <a:pt x="4242" y="505"/>
                    </a:lnTo>
                    <a:lnTo>
                      <a:pt x="4169" y="604"/>
                    </a:lnTo>
                    <a:lnTo>
                      <a:pt x="4124" y="495"/>
                    </a:lnTo>
                    <a:lnTo>
                      <a:pt x="4124" y="455"/>
                    </a:lnTo>
                    <a:lnTo>
                      <a:pt x="4119" y="455"/>
                    </a:lnTo>
                    <a:lnTo>
                      <a:pt x="4119" y="391"/>
                    </a:lnTo>
                    <a:lnTo>
                      <a:pt x="4110" y="391"/>
                    </a:lnTo>
                    <a:lnTo>
                      <a:pt x="4110" y="329"/>
                    </a:lnTo>
                    <a:lnTo>
                      <a:pt x="4098" y="329"/>
                    </a:lnTo>
                    <a:lnTo>
                      <a:pt x="4098" y="391"/>
                    </a:lnTo>
                    <a:lnTo>
                      <a:pt x="4091" y="391"/>
                    </a:lnTo>
                    <a:lnTo>
                      <a:pt x="4091" y="455"/>
                    </a:lnTo>
                    <a:lnTo>
                      <a:pt x="4084" y="455"/>
                    </a:lnTo>
                    <a:lnTo>
                      <a:pt x="4084" y="493"/>
                    </a:lnTo>
                    <a:lnTo>
                      <a:pt x="4003" y="644"/>
                    </a:lnTo>
                    <a:lnTo>
                      <a:pt x="4003" y="928"/>
                    </a:lnTo>
                    <a:lnTo>
                      <a:pt x="3892" y="928"/>
                    </a:lnTo>
                    <a:lnTo>
                      <a:pt x="3892" y="995"/>
                    </a:lnTo>
                    <a:lnTo>
                      <a:pt x="3819" y="995"/>
                    </a:lnTo>
                    <a:lnTo>
                      <a:pt x="3819" y="1224"/>
                    </a:lnTo>
                    <a:lnTo>
                      <a:pt x="3757" y="1224"/>
                    </a:lnTo>
                    <a:lnTo>
                      <a:pt x="3757" y="1392"/>
                    </a:lnTo>
                    <a:lnTo>
                      <a:pt x="3724" y="1392"/>
                    </a:lnTo>
                    <a:lnTo>
                      <a:pt x="3724" y="1317"/>
                    </a:lnTo>
                    <a:lnTo>
                      <a:pt x="3649" y="1317"/>
                    </a:lnTo>
                    <a:lnTo>
                      <a:pt x="3649" y="1222"/>
                    </a:lnTo>
                    <a:lnTo>
                      <a:pt x="3616" y="1222"/>
                    </a:lnTo>
                    <a:lnTo>
                      <a:pt x="3616" y="763"/>
                    </a:lnTo>
                    <a:lnTo>
                      <a:pt x="3590" y="763"/>
                    </a:lnTo>
                    <a:lnTo>
                      <a:pt x="3590" y="658"/>
                    </a:lnTo>
                    <a:lnTo>
                      <a:pt x="3540" y="658"/>
                    </a:lnTo>
                    <a:lnTo>
                      <a:pt x="3540" y="583"/>
                    </a:lnTo>
                    <a:lnTo>
                      <a:pt x="3523" y="583"/>
                    </a:lnTo>
                    <a:lnTo>
                      <a:pt x="3523" y="502"/>
                    </a:lnTo>
                    <a:lnTo>
                      <a:pt x="3493" y="502"/>
                    </a:lnTo>
                    <a:lnTo>
                      <a:pt x="3493" y="436"/>
                    </a:lnTo>
                    <a:lnTo>
                      <a:pt x="3377" y="436"/>
                    </a:lnTo>
                    <a:lnTo>
                      <a:pt x="3377" y="502"/>
                    </a:lnTo>
                    <a:lnTo>
                      <a:pt x="3348" y="502"/>
                    </a:lnTo>
                    <a:lnTo>
                      <a:pt x="3348" y="583"/>
                    </a:lnTo>
                    <a:lnTo>
                      <a:pt x="3329" y="583"/>
                    </a:lnTo>
                    <a:lnTo>
                      <a:pt x="3329" y="658"/>
                    </a:lnTo>
                    <a:lnTo>
                      <a:pt x="3185" y="658"/>
                    </a:lnTo>
                    <a:lnTo>
                      <a:pt x="3185" y="763"/>
                    </a:lnTo>
                    <a:lnTo>
                      <a:pt x="3147" y="763"/>
                    </a:lnTo>
                    <a:lnTo>
                      <a:pt x="3147" y="980"/>
                    </a:lnTo>
                    <a:lnTo>
                      <a:pt x="3001" y="980"/>
                    </a:lnTo>
                    <a:lnTo>
                      <a:pt x="2925" y="1014"/>
                    </a:lnTo>
                    <a:lnTo>
                      <a:pt x="2925" y="1063"/>
                    </a:lnTo>
                    <a:lnTo>
                      <a:pt x="2909" y="1063"/>
                    </a:lnTo>
                    <a:lnTo>
                      <a:pt x="2909" y="1241"/>
                    </a:lnTo>
                    <a:lnTo>
                      <a:pt x="2719" y="1241"/>
                    </a:lnTo>
                    <a:lnTo>
                      <a:pt x="2719" y="1184"/>
                    </a:lnTo>
                    <a:lnTo>
                      <a:pt x="2656" y="1184"/>
                    </a:lnTo>
                    <a:lnTo>
                      <a:pt x="2656" y="1089"/>
                    </a:lnTo>
                    <a:lnTo>
                      <a:pt x="2388" y="1089"/>
                    </a:lnTo>
                    <a:lnTo>
                      <a:pt x="2388" y="370"/>
                    </a:lnTo>
                    <a:lnTo>
                      <a:pt x="2237" y="370"/>
                    </a:lnTo>
                    <a:lnTo>
                      <a:pt x="2237" y="334"/>
                    </a:lnTo>
                    <a:lnTo>
                      <a:pt x="2147" y="334"/>
                    </a:lnTo>
                    <a:lnTo>
                      <a:pt x="2147" y="294"/>
                    </a:lnTo>
                    <a:lnTo>
                      <a:pt x="2076" y="294"/>
                    </a:lnTo>
                    <a:lnTo>
                      <a:pt x="2076" y="334"/>
                    </a:lnTo>
                    <a:lnTo>
                      <a:pt x="1986" y="334"/>
                    </a:lnTo>
                    <a:lnTo>
                      <a:pt x="1986" y="370"/>
                    </a:lnTo>
                    <a:lnTo>
                      <a:pt x="1856" y="370"/>
                    </a:lnTo>
                    <a:lnTo>
                      <a:pt x="1856" y="1132"/>
                    </a:lnTo>
                    <a:lnTo>
                      <a:pt x="1736" y="1132"/>
                    </a:lnTo>
                    <a:lnTo>
                      <a:pt x="1736" y="1158"/>
                    </a:lnTo>
                    <a:lnTo>
                      <a:pt x="1712" y="1158"/>
                    </a:lnTo>
                    <a:lnTo>
                      <a:pt x="1712" y="1201"/>
                    </a:lnTo>
                    <a:lnTo>
                      <a:pt x="1570" y="1201"/>
                    </a:lnTo>
                    <a:lnTo>
                      <a:pt x="1570" y="1127"/>
                    </a:lnTo>
                    <a:lnTo>
                      <a:pt x="1551" y="1127"/>
                    </a:lnTo>
                    <a:lnTo>
                      <a:pt x="1551" y="1085"/>
                    </a:lnTo>
                    <a:lnTo>
                      <a:pt x="1511" y="1085"/>
                    </a:lnTo>
                    <a:lnTo>
                      <a:pt x="1511" y="1127"/>
                    </a:lnTo>
                    <a:lnTo>
                      <a:pt x="1495" y="1127"/>
                    </a:lnTo>
                    <a:lnTo>
                      <a:pt x="1495" y="1201"/>
                    </a:lnTo>
                    <a:lnTo>
                      <a:pt x="1447" y="1201"/>
                    </a:lnTo>
                    <a:lnTo>
                      <a:pt x="1447" y="829"/>
                    </a:lnTo>
                    <a:lnTo>
                      <a:pt x="1251" y="829"/>
                    </a:lnTo>
                    <a:lnTo>
                      <a:pt x="1251" y="753"/>
                    </a:lnTo>
                    <a:lnTo>
                      <a:pt x="1057" y="753"/>
                    </a:lnTo>
                    <a:lnTo>
                      <a:pt x="1057" y="829"/>
                    </a:lnTo>
                    <a:lnTo>
                      <a:pt x="854" y="829"/>
                    </a:lnTo>
                    <a:lnTo>
                      <a:pt x="854" y="1070"/>
                    </a:lnTo>
                    <a:lnTo>
                      <a:pt x="818" y="1070"/>
                    </a:lnTo>
                    <a:lnTo>
                      <a:pt x="818" y="618"/>
                    </a:lnTo>
                    <a:lnTo>
                      <a:pt x="601" y="618"/>
                    </a:lnTo>
                    <a:lnTo>
                      <a:pt x="601" y="547"/>
                    </a:lnTo>
                    <a:lnTo>
                      <a:pt x="350" y="547"/>
                    </a:lnTo>
                    <a:lnTo>
                      <a:pt x="350" y="618"/>
                    </a:lnTo>
                    <a:lnTo>
                      <a:pt x="144" y="618"/>
                    </a:lnTo>
                    <a:lnTo>
                      <a:pt x="144" y="1454"/>
                    </a:lnTo>
                    <a:lnTo>
                      <a:pt x="50" y="1454"/>
                    </a:lnTo>
                    <a:lnTo>
                      <a:pt x="50" y="1534"/>
                    </a:lnTo>
                    <a:lnTo>
                      <a:pt x="0" y="1534"/>
                    </a:lnTo>
                    <a:lnTo>
                      <a:pt x="0" y="2676"/>
                    </a:lnTo>
                    <a:lnTo>
                      <a:pt x="7567" y="2676"/>
                    </a:lnTo>
                    <a:lnTo>
                      <a:pt x="7567" y="1534"/>
                    </a:lnTo>
                    <a:lnTo>
                      <a:pt x="7498" y="1534"/>
                    </a:lnTo>
                    <a:lnTo>
                      <a:pt x="7498" y="1499"/>
                    </a:lnTo>
                    <a:lnTo>
                      <a:pt x="7401" y="1499"/>
                    </a:lnTo>
                    <a:lnTo>
                      <a:pt x="7401" y="1215"/>
                    </a:lnTo>
                    <a:lnTo>
                      <a:pt x="7368" y="1215"/>
                    </a:lnTo>
                    <a:lnTo>
                      <a:pt x="7368" y="995"/>
                    </a:lnTo>
                    <a:lnTo>
                      <a:pt x="7328" y="995"/>
                    </a:lnTo>
                    <a:lnTo>
                      <a:pt x="7328" y="509"/>
                    </a:lnTo>
                    <a:lnTo>
                      <a:pt x="7072" y="509"/>
                    </a:lnTo>
                    <a:lnTo>
                      <a:pt x="7072" y="1695"/>
                    </a:lnTo>
                    <a:lnTo>
                      <a:pt x="7030" y="1695"/>
                    </a:lnTo>
                    <a:lnTo>
                      <a:pt x="7030" y="1094"/>
                    </a:lnTo>
                    <a:lnTo>
                      <a:pt x="6905" y="1094"/>
                    </a:lnTo>
                    <a:lnTo>
                      <a:pt x="6905" y="1059"/>
                    </a:lnTo>
                    <a:lnTo>
                      <a:pt x="6519" y="1059"/>
                    </a:lnTo>
                    <a:lnTo>
                      <a:pt x="6519" y="938"/>
                    </a:lnTo>
                    <a:lnTo>
                      <a:pt x="6486" y="938"/>
                    </a:lnTo>
                    <a:lnTo>
                      <a:pt x="6477" y="895"/>
                    </a:lnTo>
                    <a:lnTo>
                      <a:pt x="6472" y="895"/>
                    </a:lnTo>
                    <a:lnTo>
                      <a:pt x="6472" y="879"/>
                    </a:lnTo>
                    <a:lnTo>
                      <a:pt x="6465" y="879"/>
                    </a:lnTo>
                    <a:lnTo>
                      <a:pt x="6465" y="850"/>
                    </a:lnTo>
                    <a:lnTo>
                      <a:pt x="6446" y="850"/>
                    </a:lnTo>
                    <a:lnTo>
                      <a:pt x="6446" y="879"/>
                    </a:lnTo>
                    <a:lnTo>
                      <a:pt x="6436" y="879"/>
                    </a:lnTo>
                    <a:lnTo>
                      <a:pt x="6436" y="895"/>
                    </a:lnTo>
                    <a:lnTo>
                      <a:pt x="6432" y="895"/>
                    </a:lnTo>
                    <a:lnTo>
                      <a:pt x="6425" y="938"/>
                    </a:lnTo>
                    <a:lnTo>
                      <a:pt x="6387" y="938"/>
                    </a:lnTo>
                    <a:lnTo>
                      <a:pt x="6387" y="1130"/>
                    </a:lnTo>
                    <a:lnTo>
                      <a:pt x="6370" y="1130"/>
                    </a:lnTo>
                    <a:lnTo>
                      <a:pt x="6370" y="1364"/>
                    </a:lnTo>
                    <a:lnTo>
                      <a:pt x="6344" y="1364"/>
                    </a:lnTo>
                    <a:lnTo>
                      <a:pt x="6344" y="1210"/>
                    </a:lnTo>
                    <a:lnTo>
                      <a:pt x="6280" y="1210"/>
                    </a:lnTo>
                    <a:lnTo>
                      <a:pt x="6280" y="1130"/>
                    </a:lnTo>
                    <a:lnTo>
                      <a:pt x="6122" y="1130"/>
                    </a:lnTo>
                    <a:lnTo>
                      <a:pt x="6122" y="1042"/>
                    </a:lnTo>
                    <a:lnTo>
                      <a:pt x="6103" y="1042"/>
                    </a:lnTo>
                    <a:lnTo>
                      <a:pt x="6103" y="990"/>
                    </a:lnTo>
                    <a:lnTo>
                      <a:pt x="5997" y="990"/>
                    </a:lnTo>
                    <a:lnTo>
                      <a:pt x="5997" y="1042"/>
                    </a:lnTo>
                    <a:lnTo>
                      <a:pt x="5978" y="1042"/>
                    </a:lnTo>
                    <a:lnTo>
                      <a:pt x="5978" y="1130"/>
                    </a:lnTo>
                    <a:lnTo>
                      <a:pt x="5904" y="1130"/>
                    </a:lnTo>
                    <a:lnTo>
                      <a:pt x="5904" y="1210"/>
                    </a:lnTo>
                    <a:lnTo>
                      <a:pt x="5878" y="1210"/>
                    </a:lnTo>
                    <a:lnTo>
                      <a:pt x="5878" y="1326"/>
                    </a:lnTo>
                    <a:lnTo>
                      <a:pt x="5713" y="1326"/>
                    </a:lnTo>
                    <a:lnTo>
                      <a:pt x="5713" y="1449"/>
                    </a:lnTo>
                    <a:lnTo>
                      <a:pt x="5666" y="1449"/>
                    </a:lnTo>
                    <a:lnTo>
                      <a:pt x="5666" y="732"/>
                    </a:lnTo>
                    <a:lnTo>
                      <a:pt x="5531" y="732"/>
                    </a:lnTo>
                    <a:lnTo>
                      <a:pt x="5531" y="611"/>
                    </a:lnTo>
                    <a:lnTo>
                      <a:pt x="5301" y="611"/>
                    </a:lnTo>
                    <a:lnTo>
                      <a:pt x="5301" y="732"/>
                    </a:lnTo>
                    <a:lnTo>
                      <a:pt x="5178" y="732"/>
                    </a:lnTo>
                    <a:lnTo>
                      <a:pt x="5178" y="973"/>
                    </a:lnTo>
                    <a:lnTo>
                      <a:pt x="4980" y="973"/>
                    </a:lnTo>
                    <a:lnTo>
                      <a:pt x="4980" y="232"/>
                    </a:lnTo>
                    <a:lnTo>
                      <a:pt x="4980" y="232"/>
                    </a:lnTo>
                    <a:lnTo>
                      <a:pt x="49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solidFill>
                    <a:schemeClr val="bg1"/>
                  </a:solidFill>
                </a:endParaRPr>
              </a:p>
            </p:txBody>
          </p:sp>
        </p:grpSp>
        <p:sp>
          <p:nvSpPr>
            <p:cNvPr id="18" name="Rectangle 17"/>
            <p:cNvSpPr/>
            <p:nvPr/>
          </p:nvSpPr>
          <p:spPr>
            <a:xfrm>
              <a:off x="5895474" y="5339727"/>
              <a:ext cx="320842" cy="892631"/>
            </a:xfrm>
            <a:prstGeom prst="rect">
              <a:avLst/>
            </a:prstGeom>
            <a:solidFill>
              <a:srgbClr val="1130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200">
                <a:solidFill>
                  <a:schemeClr val="bg1"/>
                </a:solidFill>
              </a:endParaRPr>
            </a:p>
          </p:txBody>
        </p:sp>
      </p:grpSp>
    </p:spTree>
    <p:extLst>
      <p:ext uri="{BB962C8B-B14F-4D97-AF65-F5344CB8AC3E}">
        <p14:creationId xmlns:p14="http://schemas.microsoft.com/office/powerpoint/2010/main" val="3830326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down)">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bg/>
                                          </p:spTgt>
                                        </p:tgtEl>
                                        <p:attrNameLst>
                                          <p:attrName>style.visibility</p:attrName>
                                        </p:attrNameLst>
                                      </p:cBhvr>
                                      <p:to>
                                        <p:strVal val="visible"/>
                                      </p:to>
                                    </p:set>
                                    <p:animEffect transition="in" filter="fade">
                                      <p:cBhvr>
                                        <p:cTn id="10" dur="500"/>
                                        <p:tgtEl>
                                          <p:spTgt spid="13">
                                            <p:bg/>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
                                            <p:txEl>
                                              <p:pRg st="0" end="0"/>
                                            </p:txEl>
                                          </p:spTgt>
                                        </p:tgtEl>
                                        <p:attrNameLst>
                                          <p:attrName>style.visibility</p:attrName>
                                        </p:attrNameLst>
                                      </p:cBhvr>
                                      <p:to>
                                        <p:strVal val="visible"/>
                                      </p:to>
                                    </p:set>
                                    <p:animEffect transition="in" filter="fade">
                                      <p:cBhvr>
                                        <p:cTn id="13" dur="500"/>
                                        <p:tgtEl>
                                          <p:spTgt spid="13">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22" presetClass="entr" presetSubtype="4" fill="hold" nodeType="withEffect">
                                  <p:stCondLst>
                                    <p:cond delay="0"/>
                                  </p:stCondLst>
                                  <p:childTnLst>
                                    <p:set>
                                      <p:cBhvr>
                                        <p:cTn id="18" dur="1" fill="hold">
                                          <p:stCondLst>
                                            <p:cond delay="0"/>
                                          </p:stCondLst>
                                        </p:cTn>
                                        <p:tgtEl>
                                          <p:spTgt spid="436"/>
                                        </p:tgtEl>
                                        <p:attrNameLst>
                                          <p:attrName>style.visibility</p:attrName>
                                        </p:attrNameLst>
                                      </p:cBhvr>
                                      <p:to>
                                        <p:strVal val="visible"/>
                                      </p:to>
                                    </p:set>
                                    <p:animEffect transition="in" filter="wipe(down)">
                                      <p:cBhvr>
                                        <p:cTn id="19" dur="500"/>
                                        <p:tgtEl>
                                          <p:spTgt spid="4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bldP spid="1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A5FE7C-EEEF-EF4B-8D4B-D52EB244D908}"/>
              </a:ext>
            </a:extLst>
          </p:cNvPr>
          <p:cNvSpPr txBox="1"/>
          <p:nvPr/>
        </p:nvSpPr>
        <p:spPr>
          <a:xfrm>
            <a:off x="1727200" y="1295400"/>
            <a:ext cx="13716000" cy="7086600"/>
          </a:xfrm>
          <a:prstGeom prst="rect">
            <a:avLst/>
          </a:prstGeom>
          <a:solidFill>
            <a:srgbClr val="D0EDF6"/>
          </a:solidFill>
        </p:spPr>
        <p:txBody>
          <a:bodyPr wrap="square" rtlCol="0">
            <a:spAutoFit/>
          </a:bodyPr>
          <a:lstStyle/>
          <a:p>
            <a:endParaRPr lang="en-US" dirty="0"/>
          </a:p>
        </p:txBody>
      </p:sp>
      <p:sp>
        <p:nvSpPr>
          <p:cNvPr id="2" name="TextBox 1"/>
          <p:cNvSpPr txBox="1"/>
          <p:nvPr/>
        </p:nvSpPr>
        <p:spPr>
          <a:xfrm>
            <a:off x="2451464" y="301932"/>
            <a:ext cx="9257936" cy="769441"/>
          </a:xfrm>
          <a:prstGeom prst="rect">
            <a:avLst/>
          </a:prstGeom>
          <a:noFill/>
        </p:spPr>
        <p:txBody>
          <a:bodyPr wrap="square" rtlCol="0">
            <a:spAutoFit/>
          </a:bodyPr>
          <a:lstStyle/>
          <a:p>
            <a:r>
              <a:rPr lang="en-US" sz="4400" b="1" dirty="0">
                <a:solidFill>
                  <a:srgbClr val="90F502"/>
                </a:solidFill>
                <a:latin typeface="Century Gothic"/>
                <a:cs typeface="Century Gothic"/>
              </a:rPr>
              <a:t>Data Layer Architecture</a:t>
            </a:r>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108200" y="1550781"/>
            <a:ext cx="12806624" cy="6575837"/>
          </a:xfrm>
          <a:prstGeom prst="rect">
            <a:avLst/>
          </a:prstGeom>
        </p:spPr>
      </p:pic>
    </p:spTree>
    <p:extLst>
      <p:ext uri="{BB962C8B-B14F-4D97-AF65-F5344CB8AC3E}">
        <p14:creationId xmlns:p14="http://schemas.microsoft.com/office/powerpoint/2010/main" val="2261410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à coins arrondis 5"/>
          <p:cNvSpPr/>
          <p:nvPr/>
        </p:nvSpPr>
        <p:spPr>
          <a:xfrm>
            <a:off x="2655392" y="2075723"/>
            <a:ext cx="2775987"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Registration</a:t>
            </a:r>
          </a:p>
        </p:txBody>
      </p:sp>
      <p:sp>
        <p:nvSpPr>
          <p:cNvPr id="7" name="Rectangle à coins arrondis 6"/>
          <p:cNvSpPr/>
          <p:nvPr/>
        </p:nvSpPr>
        <p:spPr>
          <a:xfrm>
            <a:off x="10812562" y="2075723"/>
            <a:ext cx="2884057"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Group Management</a:t>
            </a:r>
          </a:p>
        </p:txBody>
      </p:sp>
      <p:sp>
        <p:nvSpPr>
          <p:cNvPr id="8" name="Rectangle à coins arrondis 7"/>
          <p:cNvSpPr/>
          <p:nvPr/>
        </p:nvSpPr>
        <p:spPr>
          <a:xfrm>
            <a:off x="8028254" y="2075723"/>
            <a:ext cx="2784309"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Security</a:t>
            </a:r>
          </a:p>
        </p:txBody>
      </p:sp>
      <p:sp>
        <p:nvSpPr>
          <p:cNvPr id="9" name="Rectangle à coins arrondis 8"/>
          <p:cNvSpPr/>
          <p:nvPr/>
        </p:nvSpPr>
        <p:spPr>
          <a:xfrm>
            <a:off x="5431378" y="2075723"/>
            <a:ext cx="2628121"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Discovery</a:t>
            </a:r>
          </a:p>
        </p:txBody>
      </p:sp>
      <p:sp>
        <p:nvSpPr>
          <p:cNvPr id="10" name="Rectangle à coins arrondis 9"/>
          <p:cNvSpPr/>
          <p:nvPr/>
        </p:nvSpPr>
        <p:spPr>
          <a:xfrm>
            <a:off x="2655392" y="3995723"/>
            <a:ext cx="2775987"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Data Management &amp; Repository </a:t>
            </a:r>
          </a:p>
        </p:txBody>
      </p:sp>
      <p:sp>
        <p:nvSpPr>
          <p:cNvPr id="11" name="Rectangle à coins arrondis 10"/>
          <p:cNvSpPr/>
          <p:nvPr/>
        </p:nvSpPr>
        <p:spPr>
          <a:xfrm>
            <a:off x="10812562" y="3995723"/>
            <a:ext cx="2884057"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Application &amp; Service Management</a:t>
            </a:r>
          </a:p>
        </p:txBody>
      </p:sp>
      <p:sp>
        <p:nvSpPr>
          <p:cNvPr id="12" name="Rectangle à coins arrondis 11"/>
          <p:cNvSpPr/>
          <p:nvPr/>
        </p:nvSpPr>
        <p:spPr>
          <a:xfrm>
            <a:off x="8028254" y="3995723"/>
            <a:ext cx="2784309"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Device Management</a:t>
            </a:r>
          </a:p>
        </p:txBody>
      </p:sp>
      <p:sp>
        <p:nvSpPr>
          <p:cNvPr id="13" name="Rectangle à coins arrondis 12"/>
          <p:cNvSpPr/>
          <p:nvPr/>
        </p:nvSpPr>
        <p:spPr>
          <a:xfrm>
            <a:off x="5431378" y="3995723"/>
            <a:ext cx="2628121"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Subscription &amp; Notification</a:t>
            </a:r>
          </a:p>
        </p:txBody>
      </p:sp>
      <p:sp>
        <p:nvSpPr>
          <p:cNvPr id="14" name="Rectangle à coins arrondis 13"/>
          <p:cNvSpPr/>
          <p:nvPr/>
        </p:nvSpPr>
        <p:spPr>
          <a:xfrm>
            <a:off x="2655392" y="5915723"/>
            <a:ext cx="2775987"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a:r>
              <a:rPr lang="en-IN" sz="2667" b="1" dirty="0">
                <a:solidFill>
                  <a:schemeClr val="bg1"/>
                </a:solidFill>
              </a:rPr>
              <a:t>Communication Management and Delivery Handling</a:t>
            </a:r>
            <a:endParaRPr lang="en-US" sz="2667" b="1" dirty="0">
              <a:solidFill>
                <a:schemeClr val="bg1"/>
              </a:solidFill>
            </a:endParaRPr>
          </a:p>
        </p:txBody>
      </p:sp>
      <p:sp>
        <p:nvSpPr>
          <p:cNvPr id="15" name="Rectangle à coins arrondis 14"/>
          <p:cNvSpPr/>
          <p:nvPr/>
        </p:nvSpPr>
        <p:spPr>
          <a:xfrm>
            <a:off x="10812562" y="5915723"/>
            <a:ext cx="2884057"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Service Charging &amp; Accounting</a:t>
            </a:r>
          </a:p>
        </p:txBody>
      </p:sp>
      <p:sp>
        <p:nvSpPr>
          <p:cNvPr id="16" name="Rectangle à coins arrondis 15"/>
          <p:cNvSpPr/>
          <p:nvPr/>
        </p:nvSpPr>
        <p:spPr>
          <a:xfrm>
            <a:off x="8028254" y="5915723"/>
            <a:ext cx="2784309"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Location</a:t>
            </a:r>
          </a:p>
        </p:txBody>
      </p:sp>
      <p:sp>
        <p:nvSpPr>
          <p:cNvPr id="17" name="Rectangle à coins arrondis 16"/>
          <p:cNvSpPr/>
          <p:nvPr/>
        </p:nvSpPr>
        <p:spPr>
          <a:xfrm>
            <a:off x="5431378" y="5915723"/>
            <a:ext cx="2628121" cy="1824629"/>
          </a:xfrm>
          <a:prstGeom prst="round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lIns="0" rIns="0" anchor="ctr"/>
          <a:lstStyle/>
          <a:p>
            <a:pPr algn="ctr" eaLnBrk="1" hangingPunct="1">
              <a:defRPr/>
            </a:pPr>
            <a:r>
              <a:rPr lang="en-US" sz="2667" b="1" dirty="0">
                <a:solidFill>
                  <a:schemeClr val="bg1"/>
                </a:solidFill>
              </a:rPr>
              <a:t>Network Service Exposure</a:t>
            </a:r>
          </a:p>
        </p:txBody>
      </p:sp>
      <p:sp>
        <p:nvSpPr>
          <p:cNvPr id="2" name="TextBox 1"/>
          <p:cNvSpPr txBox="1"/>
          <p:nvPr/>
        </p:nvSpPr>
        <p:spPr>
          <a:xfrm>
            <a:off x="2451464" y="301932"/>
            <a:ext cx="9393918" cy="769441"/>
          </a:xfrm>
          <a:prstGeom prst="rect">
            <a:avLst/>
          </a:prstGeom>
          <a:noFill/>
        </p:spPr>
        <p:txBody>
          <a:bodyPr wrap="none" rtlCol="0">
            <a:spAutoFit/>
          </a:bodyPr>
          <a:lstStyle/>
          <a:p>
            <a:r>
              <a:rPr lang="en-US" sz="4400" b="1" dirty="0">
                <a:solidFill>
                  <a:srgbClr val="90F502"/>
                </a:solidFill>
                <a:latin typeface="Century Gothic"/>
                <a:cs typeface="Century Gothic"/>
              </a:rPr>
              <a:t>Device Management – One M2M</a:t>
            </a:r>
          </a:p>
        </p:txBody>
      </p:sp>
    </p:spTree>
    <p:extLst>
      <p:ext uri="{BB962C8B-B14F-4D97-AF65-F5344CB8AC3E}">
        <p14:creationId xmlns:p14="http://schemas.microsoft.com/office/powerpoint/2010/main" val="5326776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B887F-4604-3B4E-A24B-1FCAC54593D4}"/>
              </a:ext>
            </a:extLst>
          </p:cNvPr>
          <p:cNvSpPr>
            <a:spLocks noGrp="1"/>
          </p:cNvSpPr>
          <p:nvPr>
            <p:ph type="title"/>
          </p:nvPr>
        </p:nvSpPr>
        <p:spPr/>
        <p:txBody>
          <a:bodyPr/>
          <a:lstStyle/>
          <a:p>
            <a:r>
              <a:rPr lang="en-US" dirty="0"/>
              <a:t>Last Mile Communication </a:t>
            </a:r>
          </a:p>
        </p:txBody>
      </p:sp>
      <p:grpSp>
        <p:nvGrpSpPr>
          <p:cNvPr id="4" name="Group 3">
            <a:extLst>
              <a:ext uri="{FF2B5EF4-FFF2-40B4-BE49-F238E27FC236}">
                <a16:creationId xmlns:a16="http://schemas.microsoft.com/office/drawing/2014/main" id="{7A5DFCF4-3F43-F74F-A978-87AD12FC9FB1}"/>
              </a:ext>
            </a:extLst>
          </p:cNvPr>
          <p:cNvGrpSpPr/>
          <p:nvPr/>
        </p:nvGrpSpPr>
        <p:grpSpPr>
          <a:xfrm>
            <a:off x="4840177" y="1295400"/>
            <a:ext cx="7859823" cy="6971371"/>
            <a:chOff x="0" y="0"/>
            <a:chExt cx="3641698" cy="3745064"/>
          </a:xfrm>
        </p:grpSpPr>
        <p:sp>
          <p:nvSpPr>
            <p:cNvPr id="5" name="L-Shape 4">
              <a:extLst>
                <a:ext uri="{FF2B5EF4-FFF2-40B4-BE49-F238E27FC236}">
                  <a16:creationId xmlns:a16="http://schemas.microsoft.com/office/drawing/2014/main" id="{69806B99-D452-0841-8A76-719E101AAC21}"/>
                </a:ext>
              </a:extLst>
            </p:cNvPr>
            <p:cNvSpPr/>
            <p:nvPr/>
          </p:nvSpPr>
          <p:spPr>
            <a:xfrm>
              <a:off x="46545" y="755374"/>
              <a:ext cx="2830195" cy="2193152"/>
            </a:xfrm>
            <a:prstGeom prst="corner">
              <a:avLst>
                <a:gd name="adj1" fmla="val 28880"/>
                <a:gd name="adj2" fmla="val 20956"/>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dirty="0">
                  <a:ea typeface="Malgun Gothic" panose="020B0503020000020004" pitchFamily="34" charset="-127"/>
                  <a:cs typeface="Times New Roman" panose="02020603050405020304" pitchFamily="18" charset="0"/>
                </a:rPr>
                <a:t>Unified Stack Interweaving Layer</a:t>
              </a:r>
            </a:p>
            <a:p>
              <a:pPr algn="ctr">
                <a:lnSpc>
                  <a:spcPct val="107000"/>
                </a:lnSpc>
                <a:spcAft>
                  <a:spcPts val="1067"/>
                </a:spcAft>
              </a:pPr>
              <a:r>
                <a:rPr lang="en-IN" sz="3200" b="1" i="1" u="sng" dirty="0">
                  <a:ea typeface="Malgun Gothic" panose="020B0503020000020004" pitchFamily="34" charset="-127"/>
                  <a:cs typeface="Times New Roman" panose="02020603050405020304" pitchFamily="18" charset="0"/>
                </a:rPr>
                <a:t>…..</a:t>
              </a:r>
              <a:endParaRPr lang="en-IN" sz="3200" dirty="0">
                <a:ea typeface="Malgun Gothic" panose="020B0503020000020004" pitchFamily="34" charset="-127"/>
                <a:cs typeface="Times New Roman" panose="02020603050405020304" pitchFamily="18" charset="0"/>
              </a:endParaRPr>
            </a:p>
          </p:txBody>
        </p:sp>
        <p:sp>
          <p:nvSpPr>
            <p:cNvPr id="6" name="Rectangle 5">
              <a:extLst>
                <a:ext uri="{FF2B5EF4-FFF2-40B4-BE49-F238E27FC236}">
                  <a16:creationId xmlns:a16="http://schemas.microsoft.com/office/drawing/2014/main" id="{2A4A2A10-B17A-EE43-AA47-88EDA529AB0D}"/>
                </a:ext>
              </a:extLst>
            </p:cNvPr>
            <p:cNvSpPr/>
            <p:nvPr/>
          </p:nvSpPr>
          <p:spPr>
            <a:xfrm>
              <a:off x="0" y="3077155"/>
              <a:ext cx="3641698"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dirty="0">
                  <a:ea typeface="Malgun Gothic" panose="020B0503020000020004" pitchFamily="34" charset="-127"/>
                  <a:cs typeface="Times New Roman" panose="02020603050405020304" pitchFamily="18" charset="0"/>
                </a:rPr>
                <a:t>Network Access Layer</a:t>
              </a:r>
              <a:endParaRPr lang="en-IN" sz="3200" dirty="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dirty="0">
                  <a:ea typeface="Malgun Gothic" panose="020B0503020000020004" pitchFamily="34" charset="-127"/>
                  <a:cs typeface="Times New Roman" panose="02020603050405020304" pitchFamily="18" charset="0"/>
                </a:rPr>
                <a:t>…..</a:t>
              </a:r>
            </a:p>
          </p:txBody>
        </p:sp>
        <p:sp>
          <p:nvSpPr>
            <p:cNvPr id="7" name="Rectangle 6">
              <a:extLst>
                <a:ext uri="{FF2B5EF4-FFF2-40B4-BE49-F238E27FC236}">
                  <a16:creationId xmlns:a16="http://schemas.microsoft.com/office/drawing/2014/main" id="{12BE1B1E-4022-E64F-9385-8120177123AE}"/>
                </a:ext>
              </a:extLst>
            </p:cNvPr>
            <p:cNvSpPr/>
            <p:nvPr/>
          </p:nvSpPr>
          <p:spPr>
            <a:xfrm>
              <a:off x="548640" y="1534602"/>
              <a:ext cx="2281555"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Network Layer</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IPv6, ICMPv6, …</a:t>
              </a:r>
            </a:p>
          </p:txBody>
        </p:sp>
        <p:sp>
          <p:nvSpPr>
            <p:cNvPr id="8" name="Rectangle 7">
              <a:extLst>
                <a:ext uri="{FF2B5EF4-FFF2-40B4-BE49-F238E27FC236}">
                  <a16:creationId xmlns:a16="http://schemas.microsoft.com/office/drawing/2014/main" id="{D29EA514-17D9-7442-B202-5EFDD6EB4C6B}"/>
                </a:ext>
              </a:extLst>
            </p:cNvPr>
            <p:cNvSpPr/>
            <p:nvPr/>
          </p:nvSpPr>
          <p:spPr>
            <a:xfrm>
              <a:off x="548640" y="755374"/>
              <a:ext cx="2281555"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dirty="0">
                  <a:ea typeface="Malgun Gothic" panose="020B0503020000020004" pitchFamily="34" charset="-127"/>
                  <a:cs typeface="Times New Roman" panose="02020603050405020304" pitchFamily="18" charset="0"/>
                </a:rPr>
                <a:t>Transport Layer</a:t>
              </a:r>
              <a:endParaRPr lang="en-IN" sz="3200" dirty="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dirty="0">
                  <a:ea typeface="Malgun Gothic" panose="020B0503020000020004" pitchFamily="34" charset="-127"/>
                  <a:cs typeface="Times New Roman" panose="02020603050405020304" pitchFamily="18" charset="0"/>
                </a:rPr>
                <a:t>UDP, TCP, DHCPv6, …</a:t>
              </a:r>
            </a:p>
          </p:txBody>
        </p:sp>
        <p:sp>
          <p:nvSpPr>
            <p:cNvPr id="9" name="Rectangle 8">
              <a:extLst>
                <a:ext uri="{FF2B5EF4-FFF2-40B4-BE49-F238E27FC236}">
                  <a16:creationId xmlns:a16="http://schemas.microsoft.com/office/drawing/2014/main" id="{44A0B01D-1ED0-8940-9B68-C89C2DC59183}"/>
                </a:ext>
              </a:extLst>
            </p:cNvPr>
            <p:cNvSpPr/>
            <p:nvPr/>
          </p:nvSpPr>
          <p:spPr>
            <a:xfrm>
              <a:off x="0" y="0"/>
              <a:ext cx="2830195"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dirty="0">
                  <a:ea typeface="Malgun Gothic" panose="020B0503020000020004" pitchFamily="34" charset="-127"/>
                  <a:cs typeface="Times New Roman" panose="02020603050405020304" pitchFamily="18" charset="0"/>
                </a:rPr>
                <a:t>Application</a:t>
              </a:r>
              <a:endParaRPr lang="en-IN" sz="3200" dirty="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dirty="0" err="1">
                  <a:ea typeface="Malgun Gothic" panose="020B0503020000020004" pitchFamily="34" charset="-127"/>
                  <a:cs typeface="Times New Roman" panose="02020603050405020304" pitchFamily="18" charset="0"/>
                </a:rPr>
                <a:t>CoAP</a:t>
              </a:r>
              <a:r>
                <a:rPr lang="en-IN" sz="3200" dirty="0">
                  <a:ea typeface="Malgun Gothic" panose="020B0503020000020004" pitchFamily="34" charset="-127"/>
                  <a:cs typeface="Times New Roman" panose="02020603050405020304" pitchFamily="18" charset="0"/>
                </a:rPr>
                <a:t>, LWM2M,….., …</a:t>
              </a:r>
            </a:p>
          </p:txBody>
        </p:sp>
        <p:sp>
          <p:nvSpPr>
            <p:cNvPr id="10" name="Rectangle 9">
              <a:extLst>
                <a:ext uri="{FF2B5EF4-FFF2-40B4-BE49-F238E27FC236}">
                  <a16:creationId xmlns:a16="http://schemas.microsoft.com/office/drawing/2014/main" id="{D1F19108-0C4A-6047-AAE5-66BEC0DA6975}"/>
                </a:ext>
              </a:extLst>
            </p:cNvPr>
            <p:cNvSpPr/>
            <p:nvPr/>
          </p:nvSpPr>
          <p:spPr>
            <a:xfrm rot="5400000">
              <a:off x="1781409" y="1145306"/>
              <a:ext cx="2951660"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Security</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EAP-TLS, 802.1x, 802.11i, …</a:t>
              </a:r>
            </a:p>
          </p:txBody>
        </p:sp>
      </p:grpSp>
    </p:spTree>
    <p:extLst>
      <p:ext uri="{BB962C8B-B14F-4D97-AF65-F5344CB8AC3E}">
        <p14:creationId xmlns:p14="http://schemas.microsoft.com/office/powerpoint/2010/main" val="14819858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B887F-4604-3B4E-A24B-1FCAC54593D4}"/>
              </a:ext>
            </a:extLst>
          </p:cNvPr>
          <p:cNvSpPr>
            <a:spLocks noGrp="1"/>
          </p:cNvSpPr>
          <p:nvPr>
            <p:ph type="title"/>
          </p:nvPr>
        </p:nvSpPr>
        <p:spPr/>
        <p:txBody>
          <a:bodyPr/>
          <a:lstStyle/>
          <a:p>
            <a:r>
              <a:rPr lang="en-US" dirty="0"/>
              <a:t>Last Mile Communication </a:t>
            </a:r>
          </a:p>
        </p:txBody>
      </p:sp>
      <p:grpSp>
        <p:nvGrpSpPr>
          <p:cNvPr id="4" name="Group 3">
            <a:extLst>
              <a:ext uri="{FF2B5EF4-FFF2-40B4-BE49-F238E27FC236}">
                <a16:creationId xmlns:a16="http://schemas.microsoft.com/office/drawing/2014/main" id="{7A5DFCF4-3F43-F74F-A978-87AD12FC9FB1}"/>
              </a:ext>
            </a:extLst>
          </p:cNvPr>
          <p:cNvGrpSpPr/>
          <p:nvPr/>
        </p:nvGrpSpPr>
        <p:grpSpPr>
          <a:xfrm>
            <a:off x="4840177" y="1066800"/>
            <a:ext cx="8192151" cy="7199971"/>
            <a:chOff x="0" y="0"/>
            <a:chExt cx="3641698" cy="3745064"/>
          </a:xfrm>
        </p:grpSpPr>
        <p:sp>
          <p:nvSpPr>
            <p:cNvPr id="5" name="L-Shape 4">
              <a:extLst>
                <a:ext uri="{FF2B5EF4-FFF2-40B4-BE49-F238E27FC236}">
                  <a16:creationId xmlns:a16="http://schemas.microsoft.com/office/drawing/2014/main" id="{69806B99-D452-0841-8A76-719E101AAC21}"/>
                </a:ext>
              </a:extLst>
            </p:cNvPr>
            <p:cNvSpPr/>
            <p:nvPr/>
          </p:nvSpPr>
          <p:spPr>
            <a:xfrm>
              <a:off x="0" y="755374"/>
              <a:ext cx="2830195" cy="2193152"/>
            </a:xfrm>
            <a:prstGeom prst="corner">
              <a:avLst>
                <a:gd name="adj1" fmla="val 28880"/>
                <a:gd name="adj2" fmla="val 20956"/>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Network Access Interface layer</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6LoWPAN, RPL, IEEE 802.15.9, …</a:t>
              </a:r>
            </a:p>
          </p:txBody>
        </p:sp>
        <p:sp>
          <p:nvSpPr>
            <p:cNvPr id="6" name="Rectangle 5">
              <a:extLst>
                <a:ext uri="{FF2B5EF4-FFF2-40B4-BE49-F238E27FC236}">
                  <a16:creationId xmlns:a16="http://schemas.microsoft.com/office/drawing/2014/main" id="{2A4A2A10-B17A-EE43-AA47-88EDA529AB0D}"/>
                </a:ext>
              </a:extLst>
            </p:cNvPr>
            <p:cNvSpPr/>
            <p:nvPr/>
          </p:nvSpPr>
          <p:spPr>
            <a:xfrm>
              <a:off x="0" y="3077155"/>
              <a:ext cx="3641698"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Network Access Layer</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IEEE 802.15.4-2015, 15.4u, 15.4v [MAC, PHY]</a:t>
              </a:r>
            </a:p>
          </p:txBody>
        </p:sp>
        <p:sp>
          <p:nvSpPr>
            <p:cNvPr id="7" name="Rectangle 6">
              <a:extLst>
                <a:ext uri="{FF2B5EF4-FFF2-40B4-BE49-F238E27FC236}">
                  <a16:creationId xmlns:a16="http://schemas.microsoft.com/office/drawing/2014/main" id="{12BE1B1E-4022-E64F-9385-8120177123AE}"/>
                </a:ext>
              </a:extLst>
            </p:cNvPr>
            <p:cNvSpPr/>
            <p:nvPr/>
          </p:nvSpPr>
          <p:spPr>
            <a:xfrm>
              <a:off x="548640" y="1534602"/>
              <a:ext cx="2281555"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Network Layer</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IPv6, ICMPv6, …</a:t>
              </a:r>
            </a:p>
          </p:txBody>
        </p:sp>
        <p:sp>
          <p:nvSpPr>
            <p:cNvPr id="8" name="Rectangle 7">
              <a:extLst>
                <a:ext uri="{FF2B5EF4-FFF2-40B4-BE49-F238E27FC236}">
                  <a16:creationId xmlns:a16="http://schemas.microsoft.com/office/drawing/2014/main" id="{D29EA514-17D9-7442-B202-5EFDD6EB4C6B}"/>
                </a:ext>
              </a:extLst>
            </p:cNvPr>
            <p:cNvSpPr/>
            <p:nvPr/>
          </p:nvSpPr>
          <p:spPr>
            <a:xfrm>
              <a:off x="548640" y="755374"/>
              <a:ext cx="2281555"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Transport Layer</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UDP, TCP, DHCPv6, …</a:t>
              </a:r>
            </a:p>
          </p:txBody>
        </p:sp>
        <p:sp>
          <p:nvSpPr>
            <p:cNvPr id="9" name="Rectangle 8">
              <a:extLst>
                <a:ext uri="{FF2B5EF4-FFF2-40B4-BE49-F238E27FC236}">
                  <a16:creationId xmlns:a16="http://schemas.microsoft.com/office/drawing/2014/main" id="{44A0B01D-1ED0-8940-9B68-C89C2DC59183}"/>
                </a:ext>
              </a:extLst>
            </p:cNvPr>
            <p:cNvSpPr/>
            <p:nvPr/>
          </p:nvSpPr>
          <p:spPr>
            <a:xfrm>
              <a:off x="0" y="0"/>
              <a:ext cx="2830195"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Application</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CoAP, LWM2M, DLMS, …</a:t>
              </a:r>
            </a:p>
          </p:txBody>
        </p:sp>
        <p:sp>
          <p:nvSpPr>
            <p:cNvPr id="10" name="Rectangle 9">
              <a:extLst>
                <a:ext uri="{FF2B5EF4-FFF2-40B4-BE49-F238E27FC236}">
                  <a16:creationId xmlns:a16="http://schemas.microsoft.com/office/drawing/2014/main" id="{D1F19108-0C4A-6047-AAE5-66BEC0DA6975}"/>
                </a:ext>
              </a:extLst>
            </p:cNvPr>
            <p:cNvSpPr/>
            <p:nvPr/>
          </p:nvSpPr>
          <p:spPr>
            <a:xfrm rot="5400000">
              <a:off x="1781409" y="1145306"/>
              <a:ext cx="2951660" cy="667909"/>
            </a:xfrm>
            <a:prstGeom prst="rect">
              <a:avLst/>
            </a:prstGeom>
          </p:spPr>
          <p:style>
            <a:lnRef idx="2">
              <a:schemeClr val="accent6"/>
            </a:lnRef>
            <a:fillRef idx="1">
              <a:schemeClr val="lt1"/>
            </a:fillRef>
            <a:effectRef idx="0">
              <a:schemeClr val="accent6"/>
            </a:effectRef>
            <a:fontRef idx="minor">
              <a:schemeClr val="dk1"/>
            </a:fontRef>
          </p:style>
          <p:txBody>
            <a:bodyPr rot="0" spcFirstLastPara="0" vert="horz" wrap="square" lIns="121920" tIns="60960" rIns="121920" bIns="60960" numCol="1" spcCol="0" rtlCol="0" fromWordArt="0" anchor="ctr" anchorCtr="0" forceAA="0" compatLnSpc="1">
              <a:prstTxWarp prst="textNoShape">
                <a:avLst/>
              </a:prstTxWarp>
              <a:noAutofit/>
            </a:bodyPr>
            <a:lstStyle/>
            <a:p>
              <a:pPr algn="ctr">
                <a:lnSpc>
                  <a:spcPct val="107000"/>
                </a:lnSpc>
                <a:spcAft>
                  <a:spcPts val="1067"/>
                </a:spcAft>
              </a:pPr>
              <a:r>
                <a:rPr lang="en-IN" sz="3200" b="1" i="1" u="sng">
                  <a:ea typeface="Malgun Gothic" panose="020B0503020000020004" pitchFamily="34" charset="-127"/>
                  <a:cs typeface="Times New Roman" panose="02020603050405020304" pitchFamily="18" charset="0"/>
                </a:rPr>
                <a:t>Security</a:t>
              </a:r>
              <a:endParaRPr lang="en-IN" sz="3200">
                <a:ea typeface="Malgun Gothic" panose="020B0503020000020004" pitchFamily="34" charset="-127"/>
                <a:cs typeface="Times New Roman" panose="02020603050405020304" pitchFamily="18" charset="0"/>
              </a:endParaRPr>
            </a:p>
            <a:p>
              <a:pPr algn="ctr">
                <a:lnSpc>
                  <a:spcPct val="107000"/>
                </a:lnSpc>
                <a:spcAft>
                  <a:spcPts val="1067"/>
                </a:spcAft>
              </a:pPr>
              <a:r>
                <a:rPr lang="en-IN" sz="3200">
                  <a:ea typeface="Malgun Gothic" panose="020B0503020000020004" pitchFamily="34" charset="-127"/>
                  <a:cs typeface="Times New Roman" panose="02020603050405020304" pitchFamily="18" charset="0"/>
                </a:rPr>
                <a:t>EAP-TLS, 802.1x, 802.11i, …</a:t>
              </a:r>
            </a:p>
          </p:txBody>
        </p:sp>
      </p:grpSp>
    </p:spTree>
    <p:extLst>
      <p:ext uri="{BB962C8B-B14F-4D97-AF65-F5344CB8AC3E}">
        <p14:creationId xmlns:p14="http://schemas.microsoft.com/office/powerpoint/2010/main" val="36498044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926" y="2478"/>
            <a:ext cx="12355674" cy="970268"/>
          </a:xfrm>
        </p:spPr>
        <p:txBody>
          <a:bodyPr>
            <a:normAutofit/>
          </a:bodyPr>
          <a:lstStyle/>
          <a:p>
            <a:r>
              <a:rPr lang="en-US" sz="4000" dirty="0">
                <a:latin typeface="Century Gothic" panose="020B0502020202020204" pitchFamily="34" charset="0"/>
              </a:rPr>
              <a:t>Unified ICT Architecture Abstraction: </a:t>
            </a:r>
          </a:p>
        </p:txBody>
      </p:sp>
      <p:pic>
        <p:nvPicPr>
          <p:cNvPr id="4" name="Picture 3" descr="Macintosh HD:Users:kishor_narnix:Desktop:smart infrastructure:6th meeting:Internet+Hourglass+Architecture.jpg"/>
          <p:cNvPicPr/>
          <p:nvPr/>
        </p:nvPicPr>
        <p:blipFill rotWithShape="1">
          <a:blip r:embed="rId2">
            <a:extLst>
              <a:ext uri="{28A0092B-C50C-407E-A947-70E740481C1C}">
                <a14:useLocalDpi xmlns:a14="http://schemas.microsoft.com/office/drawing/2010/main" val="0"/>
              </a:ext>
            </a:extLst>
          </a:blip>
          <a:srcRect l="1329" t="4829" r="7587" b="14330"/>
          <a:stretch/>
        </p:blipFill>
        <p:spPr bwMode="auto">
          <a:xfrm>
            <a:off x="1338928" y="1585308"/>
            <a:ext cx="7029969" cy="6006041"/>
          </a:xfrm>
          <a:prstGeom prst="rect">
            <a:avLst/>
          </a:prstGeom>
          <a:ln w="38100" cap="sq">
            <a:solidFill>
              <a:srgbClr val="94C600"/>
            </a:solidFill>
            <a:prstDash val="solid"/>
            <a:miter lim="800000"/>
          </a:ln>
          <a:effectLst>
            <a:outerShdw blurRad="50800" dist="38100" dir="2700000" algn="tl" rotWithShape="0">
              <a:srgbClr val="000000">
                <a:alpha val="43000"/>
              </a:srgbClr>
            </a:outerShdw>
          </a:effectLst>
          <a:extLst>
            <a:ext uri="{53640926-AAD7-44d8-BBD7-CCE9431645EC}">
              <a14:shadowObscured xmlns:a14="http://schemas.microsoft.com/office/drawing/2010/main" xmlns=""/>
            </a:ext>
          </a:extLst>
        </p:spPr>
      </p:pic>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8514204" y="1585308"/>
            <a:ext cx="7614796" cy="6006041"/>
          </a:xfrm>
          <a:prstGeom prst="rect">
            <a:avLst/>
          </a:prstGeom>
          <a:ln w="38100" cap="sq">
            <a:solidFill>
              <a:srgbClr val="94C600"/>
            </a:solidFill>
            <a:prstDash val="solid"/>
            <a:miter lim="800000"/>
          </a:ln>
          <a:effectLst>
            <a:outerShdw blurRad="50800" dist="38100" dir="2700000" algn="tl" rotWithShape="0">
              <a:srgbClr val="000000">
                <a:alpha val="43000"/>
              </a:srgbClr>
            </a:outerShdw>
          </a:effectLst>
        </p:spPr>
      </p:pic>
      <p:sp>
        <p:nvSpPr>
          <p:cNvPr id="6" name="Rectangle 5"/>
          <p:cNvSpPr/>
          <p:nvPr/>
        </p:nvSpPr>
        <p:spPr>
          <a:xfrm>
            <a:off x="3427524" y="7591349"/>
            <a:ext cx="10308079" cy="666786"/>
          </a:xfrm>
          <a:prstGeom prst="rect">
            <a:avLst/>
          </a:prstGeom>
        </p:spPr>
        <p:txBody>
          <a:bodyPr wrap="square">
            <a:spAutoFit/>
          </a:bodyPr>
          <a:lstStyle/>
          <a:p>
            <a:r>
              <a:rPr lang="en-US" sz="3733" b="1" dirty="0">
                <a:solidFill>
                  <a:srgbClr val="90F502"/>
                </a:solidFill>
                <a:latin typeface="Century Gothic"/>
                <a:cs typeface="Century Gothic"/>
              </a:rPr>
              <a:t>Moving from Hour Glass Architecture to…</a:t>
            </a:r>
            <a:endParaRPr lang="en-IN" sz="3733" b="1" dirty="0">
              <a:solidFill>
                <a:srgbClr val="90F502"/>
              </a:solidFill>
              <a:latin typeface="Century Gothic"/>
              <a:cs typeface="Century Gothic"/>
            </a:endParaRPr>
          </a:p>
        </p:txBody>
      </p:sp>
    </p:spTree>
    <p:extLst>
      <p:ext uri="{BB962C8B-B14F-4D97-AF65-F5344CB8AC3E}">
        <p14:creationId xmlns:p14="http://schemas.microsoft.com/office/powerpoint/2010/main" val="404209932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9718" y="35943"/>
            <a:ext cx="12752282" cy="970268"/>
          </a:xfrm>
        </p:spPr>
        <p:txBody>
          <a:bodyPr>
            <a:noAutofit/>
          </a:bodyPr>
          <a:lstStyle/>
          <a:p>
            <a:r>
              <a:rPr lang="en-US" sz="3600" dirty="0">
                <a:latin typeface="Century Gothic" panose="020B0502020202020204" pitchFamily="34" charset="0"/>
              </a:rPr>
              <a:t>Classic Saucer Champagne Glass Architecture Model:</a:t>
            </a:r>
          </a:p>
        </p:txBody>
      </p:sp>
      <p:pic>
        <p:nvPicPr>
          <p:cNvPr id="5" name="Picture 4">
            <a:extLst>
              <a:ext uri="{FF2B5EF4-FFF2-40B4-BE49-F238E27FC236}">
                <a16:creationId xmlns:a16="http://schemas.microsoft.com/office/drawing/2014/main" id="{CDC66FAF-DCAC-7C44-8263-14A6F61612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32000" y="1219199"/>
            <a:ext cx="11963400" cy="7750935"/>
          </a:xfrm>
          <a:prstGeom prst="rect">
            <a:avLst/>
          </a:prstGeom>
        </p:spPr>
      </p:pic>
    </p:spTree>
    <p:extLst>
      <p:ext uri="{BB962C8B-B14F-4D97-AF65-F5344CB8AC3E}">
        <p14:creationId xmlns:p14="http://schemas.microsoft.com/office/powerpoint/2010/main" val="36577224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8613" y="228600"/>
            <a:ext cx="12714787" cy="914400"/>
          </a:xfrm>
        </p:spPr>
        <p:txBody>
          <a:bodyPr>
            <a:normAutofit/>
          </a:bodyPr>
          <a:lstStyle/>
          <a:p>
            <a:r>
              <a:rPr lang="en-US" sz="4000" dirty="0">
                <a:latin typeface="Century Gothic" panose="020B0502020202020204" pitchFamily="34" charset="0"/>
              </a:rPr>
              <a:t>…Classic Saucer Champagne Glass Architecture:</a:t>
            </a:r>
          </a:p>
        </p:txBody>
      </p:sp>
      <p:sp>
        <p:nvSpPr>
          <p:cNvPr id="3" name="Content Placeholder 2"/>
          <p:cNvSpPr>
            <a:spLocks noGrp="1"/>
          </p:cNvSpPr>
          <p:nvPr>
            <p:ph idx="1"/>
          </p:nvPr>
        </p:nvSpPr>
        <p:spPr>
          <a:xfrm>
            <a:off x="1803400" y="1219200"/>
            <a:ext cx="14020799" cy="7279956"/>
          </a:xfrm>
        </p:spPr>
        <p:txBody>
          <a:bodyPr>
            <a:normAutofit fontScale="92500" lnSpcReduction="10000"/>
          </a:bodyPr>
          <a:lstStyle/>
          <a:p>
            <a:pPr marL="0" indent="0" algn="just">
              <a:buNone/>
            </a:pPr>
            <a:r>
              <a:rPr lang="en-US" sz="3200" dirty="0"/>
              <a:t>The evolved Comprehensively Unified ICT Architecture can be modelled as a </a:t>
            </a:r>
            <a:r>
              <a:rPr lang="en-US" sz="3200" b="1" dirty="0"/>
              <a:t>“Classic Saucer Champagne Glass”</a:t>
            </a:r>
            <a:r>
              <a:rPr lang="en-US" sz="3200" dirty="0"/>
              <a:t> with a </a:t>
            </a:r>
            <a:r>
              <a:rPr lang="en-US" sz="3200" b="1" dirty="0"/>
              <a:t>wide Flat Bottom Base</a:t>
            </a:r>
            <a:r>
              <a:rPr lang="en-US" sz="3200" dirty="0"/>
              <a:t> depicting the multitude of Field Devices &amp; sensors etc. The </a:t>
            </a:r>
            <a:r>
              <a:rPr lang="en-US" sz="3200" b="1" dirty="0"/>
              <a:t>Saucer Shaped Bowl</a:t>
            </a:r>
            <a:r>
              <a:rPr lang="en-US" sz="3200" dirty="0"/>
              <a:t> on the Top depicting being filled with an ever-increasing spectrum of City Applications and Citizens’ Services. The </a:t>
            </a:r>
            <a:r>
              <a:rPr lang="en-US" sz="3200" b="1" dirty="0"/>
              <a:t>Long Stem</a:t>
            </a:r>
            <a:r>
              <a:rPr lang="en-US" sz="3200" dirty="0"/>
              <a:t> depicts all the </a:t>
            </a:r>
            <a:r>
              <a:rPr lang="en-US" sz="3200" b="1" dirty="0"/>
              <a:t>Common Layers</a:t>
            </a:r>
            <a:r>
              <a:rPr lang="en-US" sz="3200" dirty="0"/>
              <a:t> viz.: the </a:t>
            </a:r>
            <a:r>
              <a:rPr lang="en-US" sz="3200" dirty="0">
                <a:solidFill>
                  <a:srgbClr val="FFFF00"/>
                </a:solidFill>
              </a:rPr>
              <a:t>Unified Last Mile Communication, Common Standardized Gateways</a:t>
            </a:r>
            <a:r>
              <a:rPr lang="en-US" sz="3200" dirty="0">
                <a:solidFill>
                  <a:srgbClr val="90F502"/>
                </a:solidFill>
              </a:rPr>
              <a:t> </a:t>
            </a:r>
            <a:r>
              <a:rPr lang="en-US" sz="3200" dirty="0"/>
              <a:t>(application or Vertical Agnostic), </a:t>
            </a:r>
            <a:r>
              <a:rPr lang="en-US" sz="3200" dirty="0">
                <a:solidFill>
                  <a:srgbClr val="FFFF00"/>
                </a:solidFill>
              </a:rPr>
              <a:t>Common Service layer</a:t>
            </a:r>
            <a:r>
              <a:rPr lang="en-US" sz="3200" dirty="0">
                <a:solidFill>
                  <a:srgbClr val="90F502"/>
                </a:solidFill>
              </a:rPr>
              <a:t> </a:t>
            </a:r>
            <a:r>
              <a:rPr lang="en-US" sz="3200" dirty="0"/>
              <a:t>representing the </a:t>
            </a:r>
            <a:r>
              <a:rPr lang="en-US" sz="3200" dirty="0">
                <a:solidFill>
                  <a:srgbClr val="FFFF00"/>
                </a:solidFill>
              </a:rPr>
              <a:t>Common Service Functions</a:t>
            </a:r>
            <a:r>
              <a:rPr lang="en-US" sz="3200" dirty="0">
                <a:solidFill>
                  <a:srgbClr val="90F502"/>
                </a:solidFill>
              </a:rPr>
              <a:t> </a:t>
            </a:r>
            <a:r>
              <a:rPr lang="en-US" sz="3200" dirty="0"/>
              <a:t>in the </a:t>
            </a:r>
            <a:r>
              <a:rPr lang="en-US" sz="3200" b="1" dirty="0">
                <a:solidFill>
                  <a:srgbClr val="FFFF00"/>
                </a:solidFill>
              </a:rPr>
              <a:t>Gateways</a:t>
            </a:r>
            <a:r>
              <a:rPr lang="en-US" sz="3200" dirty="0"/>
              <a:t>, as well as, in the </a:t>
            </a:r>
            <a:r>
              <a:rPr lang="en-US" sz="3200" b="1" dirty="0">
                <a:solidFill>
                  <a:srgbClr val="FFFF00"/>
                </a:solidFill>
              </a:rPr>
              <a:t>Cloud</a:t>
            </a:r>
            <a:r>
              <a:rPr lang="en-US" sz="3200" dirty="0"/>
              <a:t>… and</a:t>
            </a:r>
            <a:r>
              <a:rPr lang="en-US" sz="3200" dirty="0">
                <a:solidFill>
                  <a:srgbClr val="FFFF00"/>
                </a:solidFill>
              </a:rPr>
              <a:t> the Smart City Middleware</a:t>
            </a:r>
            <a:r>
              <a:rPr lang="en-US" sz="3200" dirty="0">
                <a:solidFill>
                  <a:srgbClr val="90F502"/>
                </a:solidFill>
              </a:rPr>
              <a:t> </a:t>
            </a:r>
            <a:r>
              <a:rPr lang="en-US" sz="3200" dirty="0"/>
              <a:t>&amp; </a:t>
            </a:r>
            <a:r>
              <a:rPr lang="en-US" sz="3200" dirty="0">
                <a:solidFill>
                  <a:srgbClr val="FFFF00"/>
                </a:solidFill>
              </a:rPr>
              <a:t>City Data Reservoir </a:t>
            </a:r>
            <a:r>
              <a:rPr lang="en-US" sz="3200" dirty="0"/>
              <a:t>in the </a:t>
            </a:r>
            <a:r>
              <a:rPr lang="en-US" sz="3200" dirty="0">
                <a:solidFill>
                  <a:srgbClr val="FFFF00"/>
                </a:solidFill>
              </a:rPr>
              <a:t>Cloud</a:t>
            </a:r>
            <a:r>
              <a:rPr lang="en-US" sz="3200" dirty="0"/>
              <a:t>.</a:t>
            </a:r>
            <a:endParaRPr lang="en-IN" sz="3200" dirty="0"/>
          </a:p>
          <a:p>
            <a:pPr marL="0" indent="0" algn="just">
              <a:buNone/>
            </a:pPr>
            <a:endParaRPr lang="en-IN" sz="3200" dirty="0"/>
          </a:p>
          <a:p>
            <a:pPr marL="0" indent="0" algn="just">
              <a:buNone/>
            </a:pPr>
            <a:r>
              <a:rPr lang="en-US" sz="3200" dirty="0"/>
              <a:t>It is the </a:t>
            </a:r>
            <a:r>
              <a:rPr lang="en-US" sz="3200" b="1" dirty="0">
                <a:solidFill>
                  <a:srgbClr val="90F502"/>
                </a:solidFill>
              </a:rPr>
              <a:t>“Long Stem” </a:t>
            </a:r>
            <a:r>
              <a:rPr lang="en-US" sz="3200" dirty="0"/>
              <a:t>of the </a:t>
            </a:r>
            <a:r>
              <a:rPr lang="en-US" sz="3200" b="1" dirty="0">
                <a:solidFill>
                  <a:srgbClr val="FFFF00"/>
                </a:solidFill>
              </a:rPr>
              <a:t>“Champagne Glass Model”</a:t>
            </a:r>
            <a:r>
              <a:rPr lang="en-US" sz="3200" dirty="0">
                <a:solidFill>
                  <a:srgbClr val="00B0F0"/>
                </a:solidFill>
              </a:rPr>
              <a:t> </a:t>
            </a:r>
            <a:r>
              <a:rPr lang="en-US" sz="3200" dirty="0"/>
              <a:t>instead of the </a:t>
            </a:r>
            <a:r>
              <a:rPr lang="en-US" sz="3200" dirty="0">
                <a:solidFill>
                  <a:srgbClr val="90F502"/>
                </a:solidFill>
              </a:rPr>
              <a:t>Short &amp; Narrow Neck </a:t>
            </a:r>
            <a:r>
              <a:rPr lang="en-US" sz="3200" dirty="0"/>
              <a:t>in the </a:t>
            </a:r>
            <a:r>
              <a:rPr lang="en-US" sz="3200" dirty="0">
                <a:solidFill>
                  <a:srgbClr val="FFFF00"/>
                </a:solidFill>
              </a:rPr>
              <a:t>“Hourglass Model”</a:t>
            </a:r>
            <a:r>
              <a:rPr lang="en-US" sz="3200" dirty="0">
                <a:solidFill>
                  <a:srgbClr val="90F502"/>
                </a:solidFill>
              </a:rPr>
              <a:t> </a:t>
            </a:r>
            <a:r>
              <a:rPr lang="en-US" sz="3200" dirty="0"/>
              <a:t>that brings the comprehensive harmonization, standardization &amp; interoperability in the Architecture leading to optimization in operational efficiency &amp; Life Cycle Cost of the ICT Infrastructure in any Smart City.</a:t>
            </a:r>
            <a:r>
              <a:rPr lang="en-IN" sz="3200" dirty="0"/>
              <a:t> </a:t>
            </a:r>
            <a:endParaRPr lang="en-US" sz="3200" dirty="0"/>
          </a:p>
        </p:txBody>
      </p:sp>
    </p:spTree>
    <p:extLst>
      <p:ext uri="{BB962C8B-B14F-4D97-AF65-F5344CB8AC3E}">
        <p14:creationId xmlns:p14="http://schemas.microsoft.com/office/powerpoint/2010/main" val="24433842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6BBF1-3188-9C4D-8BC0-67C49F56BD62}"/>
              </a:ext>
            </a:extLst>
          </p:cNvPr>
          <p:cNvSpPr>
            <a:spLocks noGrp="1"/>
          </p:cNvSpPr>
          <p:nvPr>
            <p:ph type="title"/>
          </p:nvPr>
        </p:nvSpPr>
        <p:spPr/>
        <p:txBody>
          <a:bodyPr>
            <a:normAutofit fontScale="90000"/>
          </a:bodyPr>
          <a:lstStyle/>
          <a:p>
            <a:endParaRPr lang="en-US" dirty="0"/>
          </a:p>
        </p:txBody>
      </p:sp>
      <p:pic>
        <p:nvPicPr>
          <p:cNvPr id="5" name="Content Placeholder 4" descr="A picture containing screenshot&#10;&#10;Description automatically generated">
            <a:extLst>
              <a:ext uri="{FF2B5EF4-FFF2-40B4-BE49-F238E27FC236}">
                <a16:creationId xmlns:a16="http://schemas.microsoft.com/office/drawing/2014/main" id="{57638757-9146-1943-B259-84EF42B84D2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95897" y="1142999"/>
            <a:ext cx="13518703" cy="7354369"/>
          </a:xfrm>
        </p:spPr>
      </p:pic>
    </p:spTree>
    <p:extLst>
      <p:ext uri="{BB962C8B-B14F-4D97-AF65-F5344CB8AC3E}">
        <p14:creationId xmlns:p14="http://schemas.microsoft.com/office/powerpoint/2010/main" val="363517491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E64690-5ED9-A645-AFB0-0C9BB0305E74}"/>
              </a:ext>
            </a:extLst>
          </p:cNvPr>
          <p:cNvSpPr>
            <a:spLocks noGrp="1"/>
          </p:cNvSpPr>
          <p:nvPr>
            <p:ph type="title"/>
          </p:nvPr>
        </p:nvSpPr>
        <p:spPr/>
        <p:txBody>
          <a:bodyPr>
            <a:normAutofit fontScale="90000"/>
          </a:bodyPr>
          <a:lstStyle/>
          <a:p>
            <a:endParaRPr lang="en-US"/>
          </a:p>
        </p:txBody>
      </p:sp>
      <p:pic>
        <p:nvPicPr>
          <p:cNvPr id="5" name="Content Placeholder 4" descr="A screenshot of a cell phone&#10;&#10;Description automatically generated">
            <a:extLst>
              <a:ext uri="{FF2B5EF4-FFF2-40B4-BE49-F238E27FC236}">
                <a16:creationId xmlns:a16="http://schemas.microsoft.com/office/drawing/2014/main" id="{3C69C6F4-8B4F-4348-8EC0-63E20052D4F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58950" y="1066800"/>
            <a:ext cx="13450850" cy="7467600"/>
          </a:xfrm>
        </p:spPr>
      </p:pic>
    </p:spTree>
    <p:extLst>
      <p:ext uri="{BB962C8B-B14F-4D97-AF65-F5344CB8AC3E}">
        <p14:creationId xmlns:p14="http://schemas.microsoft.com/office/powerpoint/2010/main" val="3534390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60FFA547-E2BB-4583-B9BC-E4819BF6BD97}"/>
              </a:ext>
            </a:extLst>
          </p:cNvPr>
          <p:cNvSpPr>
            <a:spLocks noGrp="1"/>
          </p:cNvSpPr>
          <p:nvPr>
            <p:ph idx="1"/>
          </p:nvPr>
        </p:nvSpPr>
        <p:spPr>
          <a:xfrm>
            <a:off x="1117600" y="1143000"/>
            <a:ext cx="15087600" cy="7163262"/>
          </a:xfrm>
        </p:spPr>
        <p:txBody>
          <a:bodyPr>
            <a:normAutofit fontScale="85000" lnSpcReduction="20000"/>
          </a:bodyPr>
          <a:lstStyle/>
          <a:p>
            <a:pPr>
              <a:buFont typeface="Wingdings" pitchFamily="2" charset="2"/>
              <a:buChar char="q"/>
            </a:pPr>
            <a:r>
              <a:rPr lang="en-GB" sz="3500" b="1" dirty="0"/>
              <a:t>Step-by-step absorbing by the digital platform Smart Cities capabilities</a:t>
            </a:r>
            <a:r>
              <a:rPr lang="en-GB" sz="3500" dirty="0"/>
              <a:t> </a:t>
            </a:r>
          </a:p>
          <a:p>
            <a:pPr lvl="1"/>
            <a:endParaRPr lang="en-GB" sz="3600" dirty="0"/>
          </a:p>
          <a:p>
            <a:pPr lvl="1">
              <a:buFont typeface="Wingdings" pitchFamily="2" charset="2"/>
              <a:buChar char="v"/>
            </a:pPr>
            <a:r>
              <a:rPr lang="en-GB" sz="4300" dirty="0">
                <a:solidFill>
                  <a:srgbClr val="FCB859"/>
                </a:solidFill>
              </a:rPr>
              <a:t>Supporting</a:t>
            </a:r>
          </a:p>
          <a:p>
            <a:pPr lvl="1">
              <a:buFont typeface="Wingdings" pitchFamily="2" charset="2"/>
              <a:buChar char="v"/>
            </a:pPr>
            <a:r>
              <a:rPr lang="en-GB" sz="4300" dirty="0">
                <a:solidFill>
                  <a:srgbClr val="FCB859"/>
                </a:solidFill>
              </a:rPr>
              <a:t>Enabling</a:t>
            </a:r>
          </a:p>
          <a:p>
            <a:pPr lvl="1">
              <a:buFont typeface="Wingdings" pitchFamily="2" charset="2"/>
              <a:buChar char="v"/>
            </a:pPr>
            <a:r>
              <a:rPr lang="en-GB" sz="4300" dirty="0">
                <a:solidFill>
                  <a:srgbClr val="FCB859"/>
                </a:solidFill>
              </a:rPr>
              <a:t>Leading</a:t>
            </a:r>
          </a:p>
          <a:p>
            <a:pPr lvl="1">
              <a:buFont typeface="Wingdings" pitchFamily="2" charset="2"/>
              <a:buChar char="v"/>
            </a:pPr>
            <a:r>
              <a:rPr lang="en-GB" sz="4300" dirty="0">
                <a:solidFill>
                  <a:srgbClr val="FCB859"/>
                </a:solidFill>
              </a:rPr>
              <a:t>Core</a:t>
            </a:r>
          </a:p>
          <a:p>
            <a:pPr lvl="1"/>
            <a:endParaRPr lang="en-GB" sz="2400" dirty="0"/>
          </a:p>
          <a:p>
            <a:pPr lvl="1"/>
            <a:endParaRPr lang="en-GB" sz="2400" dirty="0"/>
          </a:p>
          <a:p>
            <a:pPr marL="0" indent="0">
              <a:buNone/>
            </a:pPr>
            <a:endParaRPr lang="en-GB" sz="3200" dirty="0"/>
          </a:p>
          <a:p>
            <a:endParaRPr lang="en-GB" sz="3200" dirty="0"/>
          </a:p>
          <a:p>
            <a:endParaRPr lang="en-GB" sz="3200" dirty="0"/>
          </a:p>
          <a:p>
            <a:pPr marL="0" indent="0" algn="ctr">
              <a:buNone/>
            </a:pPr>
            <a:r>
              <a:rPr lang="en-GB" sz="4700" b="1" dirty="0">
                <a:solidFill>
                  <a:srgbClr val="FFFF00"/>
                </a:solidFill>
              </a:rPr>
              <a:t>Initial implementations can be a digital solution which is later transferred into the digital platform </a:t>
            </a:r>
          </a:p>
        </p:txBody>
      </p:sp>
      <p:sp>
        <p:nvSpPr>
          <p:cNvPr id="6" name="Title 5">
            <a:extLst>
              <a:ext uri="{FF2B5EF4-FFF2-40B4-BE49-F238E27FC236}">
                <a16:creationId xmlns:a16="http://schemas.microsoft.com/office/drawing/2014/main" id="{B4C5FC57-396E-40ED-978B-22469F691E1F}"/>
              </a:ext>
            </a:extLst>
          </p:cNvPr>
          <p:cNvSpPr>
            <a:spLocks noGrp="1"/>
          </p:cNvSpPr>
          <p:nvPr>
            <p:ph type="title"/>
          </p:nvPr>
        </p:nvSpPr>
        <p:spPr>
          <a:xfrm>
            <a:off x="508000" y="76200"/>
            <a:ext cx="12725400" cy="1258995"/>
          </a:xfrm>
        </p:spPr>
        <p:txBody>
          <a:bodyPr>
            <a:noAutofit/>
          </a:bodyPr>
          <a:lstStyle/>
          <a:p>
            <a:r>
              <a:rPr lang="en-GB" dirty="0"/>
              <a:t>Common digital platform and digital solutions</a:t>
            </a:r>
          </a:p>
        </p:txBody>
      </p:sp>
      <p:pic>
        <p:nvPicPr>
          <p:cNvPr id="8" name="Picture 7">
            <a:extLst>
              <a:ext uri="{FF2B5EF4-FFF2-40B4-BE49-F238E27FC236}">
                <a16:creationId xmlns:a16="http://schemas.microsoft.com/office/drawing/2014/main" id="{D7886AFD-D11B-4D68-95A9-34721C6F3104}"/>
              </a:ext>
            </a:extLst>
          </p:cNvPr>
          <p:cNvPicPr/>
          <p:nvPr/>
        </p:nvPicPr>
        <p:blipFill>
          <a:blip r:embed="rId2"/>
          <a:stretch>
            <a:fillRect/>
          </a:stretch>
        </p:blipFill>
        <p:spPr>
          <a:xfrm>
            <a:off x="5232400" y="1905000"/>
            <a:ext cx="10287000" cy="5181600"/>
          </a:xfrm>
          <a:prstGeom prst="rect">
            <a:avLst/>
          </a:prstGeom>
        </p:spPr>
      </p:pic>
    </p:spTree>
    <p:extLst>
      <p:ext uri="{BB962C8B-B14F-4D97-AF65-F5344CB8AC3E}">
        <p14:creationId xmlns:p14="http://schemas.microsoft.com/office/powerpoint/2010/main" val="1090798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913376149"/>
              </p:ext>
            </p:extLst>
          </p:nvPr>
        </p:nvGraphicFramePr>
        <p:xfrm>
          <a:off x="9075977" y="1141550"/>
          <a:ext cx="6534083" cy="66167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2427733" y="7758330"/>
            <a:ext cx="5641841" cy="701964"/>
          </a:xfrm>
          <a:prstGeom prst="rect">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2667" b="1" dirty="0">
                <a:solidFill>
                  <a:schemeClr val="bg1"/>
                </a:solidFill>
                <a:latin typeface="Georgia" panose="02040502050405020303" pitchFamily="18" charset="0"/>
                <a:ea typeface="Verdana" panose="020B0604030504040204" pitchFamily="34" charset="0"/>
                <a:cs typeface="Verdana" panose="020B0604030504040204" pitchFamily="34" charset="0"/>
              </a:rPr>
              <a:t>PLATFORMS</a:t>
            </a:r>
            <a:endParaRPr lang="en-IN" sz="2667" b="1" dirty="0">
              <a:solidFill>
                <a:schemeClr val="bg1"/>
              </a:solidFill>
              <a:latin typeface="Georgia" panose="02040502050405020303" pitchFamily="18" charset="0"/>
              <a:ea typeface="Verdana" panose="020B0604030504040204" pitchFamily="34" charset="0"/>
              <a:cs typeface="Verdana" panose="020B0604030504040204" pitchFamily="34" charset="0"/>
            </a:endParaRPr>
          </a:p>
        </p:txBody>
      </p:sp>
      <p:sp>
        <p:nvSpPr>
          <p:cNvPr id="6" name="Rectangle 5"/>
          <p:cNvSpPr/>
          <p:nvPr/>
        </p:nvSpPr>
        <p:spPr>
          <a:xfrm>
            <a:off x="648033" y="292100"/>
            <a:ext cx="8046464" cy="78728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200"/>
          </a:p>
        </p:txBody>
      </p:sp>
      <p:grpSp>
        <p:nvGrpSpPr>
          <p:cNvPr id="7" name="Group 6"/>
          <p:cNvGrpSpPr/>
          <p:nvPr/>
        </p:nvGrpSpPr>
        <p:grpSpPr>
          <a:xfrm>
            <a:off x="11071123" y="7463170"/>
            <a:ext cx="5184877" cy="1680831"/>
            <a:chOff x="8303342" y="5597377"/>
            <a:chExt cx="3888658" cy="1260623"/>
          </a:xfrm>
        </p:grpSpPr>
        <p:sp>
          <p:nvSpPr>
            <p:cNvPr id="8" name="Rectangle 252"/>
            <p:cNvSpPr>
              <a:spLocks noChangeArrowheads="1"/>
            </p:cNvSpPr>
            <p:nvPr/>
          </p:nvSpPr>
          <p:spPr bwMode="auto">
            <a:xfrm>
              <a:off x="9366016" y="6008903"/>
              <a:ext cx="171903" cy="685008"/>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 name="Rectangle 253"/>
            <p:cNvSpPr>
              <a:spLocks noChangeArrowheads="1"/>
            </p:cNvSpPr>
            <p:nvPr/>
          </p:nvSpPr>
          <p:spPr bwMode="auto">
            <a:xfrm>
              <a:off x="9366016" y="6008903"/>
              <a:ext cx="171903" cy="685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 name="Rectangle 254"/>
            <p:cNvSpPr>
              <a:spLocks noChangeArrowheads="1"/>
            </p:cNvSpPr>
            <p:nvPr/>
          </p:nvSpPr>
          <p:spPr bwMode="auto">
            <a:xfrm>
              <a:off x="9394666" y="5959415"/>
              <a:ext cx="114602" cy="28911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 name="Rectangle 255"/>
            <p:cNvSpPr>
              <a:spLocks noChangeArrowheads="1"/>
            </p:cNvSpPr>
            <p:nvPr/>
          </p:nvSpPr>
          <p:spPr bwMode="auto">
            <a:xfrm>
              <a:off x="9394666" y="5959415"/>
              <a:ext cx="114602" cy="289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 name="Rectangle 256"/>
            <p:cNvSpPr>
              <a:spLocks noChangeArrowheads="1"/>
            </p:cNvSpPr>
            <p:nvPr/>
          </p:nvSpPr>
          <p:spPr bwMode="auto">
            <a:xfrm>
              <a:off x="9420712" y="5930765"/>
              <a:ext cx="62510" cy="15888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 name="Rectangle 257"/>
            <p:cNvSpPr>
              <a:spLocks noChangeArrowheads="1"/>
            </p:cNvSpPr>
            <p:nvPr/>
          </p:nvSpPr>
          <p:spPr bwMode="auto">
            <a:xfrm>
              <a:off x="9420712" y="5930765"/>
              <a:ext cx="62510" cy="158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 name="Freeform 258"/>
            <p:cNvSpPr>
              <a:spLocks/>
            </p:cNvSpPr>
            <p:nvPr/>
          </p:nvSpPr>
          <p:spPr bwMode="auto">
            <a:xfrm>
              <a:off x="9428526" y="5902114"/>
              <a:ext cx="44278" cy="109393"/>
            </a:xfrm>
            <a:custGeom>
              <a:avLst/>
              <a:gdLst>
                <a:gd name="T0" fmla="*/ 17 w 17"/>
                <a:gd name="T1" fmla="*/ 42 h 42"/>
                <a:gd name="T2" fmla="*/ 0 w 17"/>
                <a:gd name="T3" fmla="*/ 42 h 42"/>
                <a:gd name="T4" fmla="*/ 0 w 17"/>
                <a:gd name="T5" fmla="*/ 0 h 42"/>
                <a:gd name="T6" fmla="*/ 7 w 17"/>
                <a:gd name="T7" fmla="*/ 0 h 42"/>
                <a:gd name="T8" fmla="*/ 13 w 17"/>
                <a:gd name="T9" fmla="*/ 0 h 42"/>
                <a:gd name="T10" fmla="*/ 17 w 17"/>
                <a:gd name="T11" fmla="*/ 0 h 42"/>
                <a:gd name="T12" fmla="*/ 17 w 17"/>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7" h="42">
                  <a:moveTo>
                    <a:pt x="17" y="42"/>
                  </a:moveTo>
                  <a:lnTo>
                    <a:pt x="0" y="42"/>
                  </a:lnTo>
                  <a:lnTo>
                    <a:pt x="0" y="0"/>
                  </a:lnTo>
                  <a:lnTo>
                    <a:pt x="7" y="0"/>
                  </a:lnTo>
                  <a:lnTo>
                    <a:pt x="13" y="0"/>
                  </a:lnTo>
                  <a:lnTo>
                    <a:pt x="17" y="0"/>
                  </a:lnTo>
                  <a:lnTo>
                    <a:pt x="17" y="42"/>
                  </a:lnTo>
                  <a:close/>
                </a:path>
              </a:pathLst>
            </a:cu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 name="Freeform 259"/>
            <p:cNvSpPr>
              <a:spLocks/>
            </p:cNvSpPr>
            <p:nvPr/>
          </p:nvSpPr>
          <p:spPr bwMode="auto">
            <a:xfrm>
              <a:off x="9428526" y="5902114"/>
              <a:ext cx="44278" cy="109393"/>
            </a:xfrm>
            <a:custGeom>
              <a:avLst/>
              <a:gdLst>
                <a:gd name="T0" fmla="*/ 17 w 17"/>
                <a:gd name="T1" fmla="*/ 42 h 42"/>
                <a:gd name="T2" fmla="*/ 0 w 17"/>
                <a:gd name="T3" fmla="*/ 42 h 42"/>
                <a:gd name="T4" fmla="*/ 0 w 17"/>
                <a:gd name="T5" fmla="*/ 0 h 42"/>
                <a:gd name="T6" fmla="*/ 7 w 17"/>
                <a:gd name="T7" fmla="*/ 0 h 42"/>
                <a:gd name="T8" fmla="*/ 13 w 17"/>
                <a:gd name="T9" fmla="*/ 0 h 42"/>
                <a:gd name="T10" fmla="*/ 17 w 17"/>
                <a:gd name="T11" fmla="*/ 0 h 42"/>
                <a:gd name="T12" fmla="*/ 17 w 17"/>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7" h="42">
                  <a:moveTo>
                    <a:pt x="17" y="42"/>
                  </a:moveTo>
                  <a:lnTo>
                    <a:pt x="0" y="42"/>
                  </a:lnTo>
                  <a:lnTo>
                    <a:pt x="0" y="0"/>
                  </a:lnTo>
                  <a:lnTo>
                    <a:pt x="7" y="0"/>
                  </a:lnTo>
                  <a:lnTo>
                    <a:pt x="13" y="0"/>
                  </a:lnTo>
                  <a:lnTo>
                    <a:pt x="17" y="0"/>
                  </a:lnTo>
                  <a:lnTo>
                    <a:pt x="17" y="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 name="Freeform 260"/>
            <p:cNvSpPr>
              <a:spLocks/>
            </p:cNvSpPr>
            <p:nvPr/>
          </p:nvSpPr>
          <p:spPr bwMode="auto">
            <a:xfrm>
              <a:off x="9444154" y="5855232"/>
              <a:ext cx="5209" cy="109393"/>
            </a:xfrm>
            <a:custGeom>
              <a:avLst/>
              <a:gdLst>
                <a:gd name="T0" fmla="*/ 2 w 2"/>
                <a:gd name="T1" fmla="*/ 42 h 42"/>
                <a:gd name="T2" fmla="*/ 0 w 2"/>
                <a:gd name="T3" fmla="*/ 42 h 42"/>
                <a:gd name="T4" fmla="*/ 0 w 2"/>
                <a:gd name="T5" fmla="*/ 0 h 42"/>
                <a:gd name="T6" fmla="*/ 1 w 2"/>
                <a:gd name="T7" fmla="*/ 0 h 42"/>
                <a:gd name="T8" fmla="*/ 1 w 2"/>
                <a:gd name="T9" fmla="*/ 0 h 42"/>
                <a:gd name="T10" fmla="*/ 2 w 2"/>
                <a:gd name="T11" fmla="*/ 0 h 42"/>
                <a:gd name="T12" fmla="*/ 2 w 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2" h="42">
                  <a:moveTo>
                    <a:pt x="2" y="42"/>
                  </a:moveTo>
                  <a:lnTo>
                    <a:pt x="0" y="42"/>
                  </a:lnTo>
                  <a:lnTo>
                    <a:pt x="0" y="0"/>
                  </a:lnTo>
                  <a:lnTo>
                    <a:pt x="1" y="0"/>
                  </a:lnTo>
                  <a:lnTo>
                    <a:pt x="1" y="0"/>
                  </a:lnTo>
                  <a:lnTo>
                    <a:pt x="2" y="0"/>
                  </a:lnTo>
                  <a:lnTo>
                    <a:pt x="2" y="42"/>
                  </a:lnTo>
                  <a:close/>
                </a:path>
              </a:pathLst>
            </a:cu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 name="Freeform 261"/>
            <p:cNvSpPr>
              <a:spLocks/>
            </p:cNvSpPr>
            <p:nvPr/>
          </p:nvSpPr>
          <p:spPr bwMode="auto">
            <a:xfrm>
              <a:off x="9454572" y="5818767"/>
              <a:ext cx="5209" cy="106788"/>
            </a:xfrm>
            <a:custGeom>
              <a:avLst/>
              <a:gdLst>
                <a:gd name="T0" fmla="*/ 2 w 2"/>
                <a:gd name="T1" fmla="*/ 41 h 41"/>
                <a:gd name="T2" fmla="*/ 0 w 2"/>
                <a:gd name="T3" fmla="*/ 41 h 41"/>
                <a:gd name="T4" fmla="*/ 0 w 2"/>
                <a:gd name="T5" fmla="*/ 0 h 41"/>
                <a:gd name="T6" fmla="*/ 1 w 2"/>
                <a:gd name="T7" fmla="*/ 0 h 41"/>
                <a:gd name="T8" fmla="*/ 1 w 2"/>
                <a:gd name="T9" fmla="*/ 0 h 41"/>
                <a:gd name="T10" fmla="*/ 2 w 2"/>
                <a:gd name="T11" fmla="*/ 0 h 41"/>
                <a:gd name="T12" fmla="*/ 2 w 2"/>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2" h="41">
                  <a:moveTo>
                    <a:pt x="2" y="41"/>
                  </a:moveTo>
                  <a:lnTo>
                    <a:pt x="0" y="41"/>
                  </a:lnTo>
                  <a:lnTo>
                    <a:pt x="0" y="0"/>
                  </a:lnTo>
                  <a:lnTo>
                    <a:pt x="1" y="0"/>
                  </a:lnTo>
                  <a:lnTo>
                    <a:pt x="1" y="0"/>
                  </a:lnTo>
                  <a:lnTo>
                    <a:pt x="2" y="0"/>
                  </a:lnTo>
                  <a:lnTo>
                    <a:pt x="2" y="41"/>
                  </a:lnTo>
                  <a:close/>
                </a:path>
              </a:pathLst>
            </a:cu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 name="Rectangle 262"/>
            <p:cNvSpPr>
              <a:spLocks noChangeArrowheads="1"/>
            </p:cNvSpPr>
            <p:nvPr/>
          </p:nvSpPr>
          <p:spPr bwMode="auto">
            <a:xfrm>
              <a:off x="9360807" y="6008903"/>
              <a:ext cx="182322" cy="5209"/>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 name="Rectangle 263"/>
            <p:cNvSpPr>
              <a:spLocks noChangeArrowheads="1"/>
            </p:cNvSpPr>
            <p:nvPr/>
          </p:nvSpPr>
          <p:spPr bwMode="auto">
            <a:xfrm>
              <a:off x="9389457" y="5956811"/>
              <a:ext cx="125020" cy="781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 name="Rectangle 264"/>
            <p:cNvSpPr>
              <a:spLocks noChangeArrowheads="1"/>
            </p:cNvSpPr>
            <p:nvPr/>
          </p:nvSpPr>
          <p:spPr bwMode="auto">
            <a:xfrm>
              <a:off x="9415503" y="5925556"/>
              <a:ext cx="72929" cy="5209"/>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 name="Rectangle 265"/>
            <p:cNvSpPr>
              <a:spLocks noChangeArrowheads="1"/>
            </p:cNvSpPr>
            <p:nvPr/>
          </p:nvSpPr>
          <p:spPr bwMode="auto">
            <a:xfrm>
              <a:off x="9405085" y="5972438"/>
              <a:ext cx="5209"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 name="Rectangle 266"/>
            <p:cNvSpPr>
              <a:spLocks noChangeArrowheads="1"/>
            </p:cNvSpPr>
            <p:nvPr/>
          </p:nvSpPr>
          <p:spPr bwMode="auto">
            <a:xfrm>
              <a:off x="9405085" y="5972438"/>
              <a:ext cx="5209"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 name="Rectangle 267"/>
            <p:cNvSpPr>
              <a:spLocks noChangeArrowheads="1"/>
            </p:cNvSpPr>
            <p:nvPr/>
          </p:nvSpPr>
          <p:spPr bwMode="auto">
            <a:xfrm>
              <a:off x="9418108" y="5972438"/>
              <a:ext cx="2605"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 name="Rectangle 268"/>
            <p:cNvSpPr>
              <a:spLocks noChangeArrowheads="1"/>
            </p:cNvSpPr>
            <p:nvPr/>
          </p:nvSpPr>
          <p:spPr bwMode="auto">
            <a:xfrm>
              <a:off x="9418108" y="5972438"/>
              <a:ext cx="2605"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 name="Rectangle 269"/>
            <p:cNvSpPr>
              <a:spLocks noChangeArrowheads="1"/>
            </p:cNvSpPr>
            <p:nvPr/>
          </p:nvSpPr>
          <p:spPr bwMode="auto">
            <a:xfrm>
              <a:off x="9420712" y="5972438"/>
              <a:ext cx="5209"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 name="Rectangle 270"/>
            <p:cNvSpPr>
              <a:spLocks noChangeArrowheads="1"/>
            </p:cNvSpPr>
            <p:nvPr/>
          </p:nvSpPr>
          <p:spPr bwMode="auto">
            <a:xfrm>
              <a:off x="9420712" y="5972438"/>
              <a:ext cx="5209"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 name="Rectangle 271"/>
            <p:cNvSpPr>
              <a:spLocks noChangeArrowheads="1"/>
            </p:cNvSpPr>
            <p:nvPr/>
          </p:nvSpPr>
          <p:spPr bwMode="auto">
            <a:xfrm>
              <a:off x="9433735" y="5972438"/>
              <a:ext cx="7814"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 name="Rectangle 272"/>
            <p:cNvSpPr>
              <a:spLocks noChangeArrowheads="1"/>
            </p:cNvSpPr>
            <p:nvPr/>
          </p:nvSpPr>
          <p:spPr bwMode="auto">
            <a:xfrm>
              <a:off x="9433735" y="5972438"/>
              <a:ext cx="7814"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 name="Rectangle 273"/>
            <p:cNvSpPr>
              <a:spLocks noChangeArrowheads="1"/>
            </p:cNvSpPr>
            <p:nvPr/>
          </p:nvSpPr>
          <p:spPr bwMode="auto">
            <a:xfrm>
              <a:off x="9449363" y="5972438"/>
              <a:ext cx="5209"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0" name="Rectangle 274"/>
            <p:cNvSpPr>
              <a:spLocks noChangeArrowheads="1"/>
            </p:cNvSpPr>
            <p:nvPr/>
          </p:nvSpPr>
          <p:spPr bwMode="auto">
            <a:xfrm>
              <a:off x="9449363" y="5972438"/>
              <a:ext cx="5209"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1" name="Rectangle 275"/>
            <p:cNvSpPr>
              <a:spLocks noChangeArrowheads="1"/>
            </p:cNvSpPr>
            <p:nvPr/>
          </p:nvSpPr>
          <p:spPr bwMode="auto">
            <a:xfrm>
              <a:off x="9464990" y="5972438"/>
              <a:ext cx="5209"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2" name="Rectangle 276"/>
            <p:cNvSpPr>
              <a:spLocks noChangeArrowheads="1"/>
            </p:cNvSpPr>
            <p:nvPr/>
          </p:nvSpPr>
          <p:spPr bwMode="auto">
            <a:xfrm>
              <a:off x="9464990" y="5972438"/>
              <a:ext cx="5209"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3" name="Rectangle 277"/>
            <p:cNvSpPr>
              <a:spLocks noChangeArrowheads="1"/>
            </p:cNvSpPr>
            <p:nvPr/>
          </p:nvSpPr>
          <p:spPr bwMode="auto">
            <a:xfrm>
              <a:off x="9483223" y="5972438"/>
              <a:ext cx="2605"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4" name="Rectangle 278"/>
            <p:cNvSpPr>
              <a:spLocks noChangeArrowheads="1"/>
            </p:cNvSpPr>
            <p:nvPr/>
          </p:nvSpPr>
          <p:spPr bwMode="auto">
            <a:xfrm>
              <a:off x="9483223" y="5972438"/>
              <a:ext cx="2605"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5" name="Rectangle 279"/>
            <p:cNvSpPr>
              <a:spLocks noChangeArrowheads="1"/>
            </p:cNvSpPr>
            <p:nvPr/>
          </p:nvSpPr>
          <p:spPr bwMode="auto">
            <a:xfrm>
              <a:off x="9478013" y="5972438"/>
              <a:ext cx="5209"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6" name="Rectangle 280"/>
            <p:cNvSpPr>
              <a:spLocks noChangeArrowheads="1"/>
            </p:cNvSpPr>
            <p:nvPr/>
          </p:nvSpPr>
          <p:spPr bwMode="auto">
            <a:xfrm>
              <a:off x="9478013" y="5972438"/>
              <a:ext cx="5209"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7" name="Rectangle 281"/>
            <p:cNvSpPr>
              <a:spLocks noChangeArrowheads="1"/>
            </p:cNvSpPr>
            <p:nvPr/>
          </p:nvSpPr>
          <p:spPr bwMode="auto">
            <a:xfrm>
              <a:off x="9493641" y="5972438"/>
              <a:ext cx="5209" cy="28651"/>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8" name="Rectangle 282"/>
            <p:cNvSpPr>
              <a:spLocks noChangeArrowheads="1"/>
            </p:cNvSpPr>
            <p:nvPr/>
          </p:nvSpPr>
          <p:spPr bwMode="auto">
            <a:xfrm>
              <a:off x="9493641" y="5972438"/>
              <a:ext cx="5209" cy="2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39" name="Rectangle 283"/>
            <p:cNvSpPr>
              <a:spLocks noChangeArrowheads="1"/>
            </p:cNvSpPr>
            <p:nvPr/>
          </p:nvSpPr>
          <p:spPr bwMode="auto">
            <a:xfrm>
              <a:off x="9381643" y="6037553"/>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0" name="Rectangle 284"/>
            <p:cNvSpPr>
              <a:spLocks noChangeArrowheads="1"/>
            </p:cNvSpPr>
            <p:nvPr/>
          </p:nvSpPr>
          <p:spPr bwMode="auto">
            <a:xfrm>
              <a:off x="9407689" y="6037553"/>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1" name="Rectangle 285"/>
            <p:cNvSpPr>
              <a:spLocks noChangeArrowheads="1"/>
            </p:cNvSpPr>
            <p:nvPr/>
          </p:nvSpPr>
          <p:spPr bwMode="auto">
            <a:xfrm>
              <a:off x="9407689" y="6037553"/>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2" name="Rectangle 286"/>
            <p:cNvSpPr>
              <a:spLocks noChangeArrowheads="1"/>
            </p:cNvSpPr>
            <p:nvPr/>
          </p:nvSpPr>
          <p:spPr bwMode="auto">
            <a:xfrm>
              <a:off x="9433735" y="6037553"/>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3" name="Rectangle 287"/>
            <p:cNvSpPr>
              <a:spLocks noChangeArrowheads="1"/>
            </p:cNvSpPr>
            <p:nvPr/>
          </p:nvSpPr>
          <p:spPr bwMode="auto">
            <a:xfrm>
              <a:off x="9457177" y="6037553"/>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4" name="Rectangle 288"/>
            <p:cNvSpPr>
              <a:spLocks noChangeArrowheads="1"/>
            </p:cNvSpPr>
            <p:nvPr/>
          </p:nvSpPr>
          <p:spPr bwMode="auto">
            <a:xfrm>
              <a:off x="9483223" y="6037553"/>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5" name="Rectangle 289"/>
            <p:cNvSpPr>
              <a:spLocks noChangeArrowheads="1"/>
            </p:cNvSpPr>
            <p:nvPr/>
          </p:nvSpPr>
          <p:spPr bwMode="auto">
            <a:xfrm>
              <a:off x="9509269" y="6037553"/>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6" name="Rectangle 290"/>
            <p:cNvSpPr>
              <a:spLocks noChangeArrowheads="1"/>
            </p:cNvSpPr>
            <p:nvPr/>
          </p:nvSpPr>
          <p:spPr bwMode="auto">
            <a:xfrm>
              <a:off x="9381643" y="6092250"/>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7" name="Rectangle 291"/>
            <p:cNvSpPr>
              <a:spLocks noChangeArrowheads="1"/>
            </p:cNvSpPr>
            <p:nvPr/>
          </p:nvSpPr>
          <p:spPr bwMode="auto">
            <a:xfrm>
              <a:off x="9407689" y="6092250"/>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8" name="Rectangle 292"/>
            <p:cNvSpPr>
              <a:spLocks noChangeArrowheads="1"/>
            </p:cNvSpPr>
            <p:nvPr/>
          </p:nvSpPr>
          <p:spPr bwMode="auto">
            <a:xfrm>
              <a:off x="9433735" y="6092250"/>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49" name="Rectangle 293"/>
            <p:cNvSpPr>
              <a:spLocks noChangeArrowheads="1"/>
            </p:cNvSpPr>
            <p:nvPr/>
          </p:nvSpPr>
          <p:spPr bwMode="auto">
            <a:xfrm>
              <a:off x="9457177" y="6092250"/>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0" name="Rectangle 294"/>
            <p:cNvSpPr>
              <a:spLocks noChangeArrowheads="1"/>
            </p:cNvSpPr>
            <p:nvPr/>
          </p:nvSpPr>
          <p:spPr bwMode="auto">
            <a:xfrm>
              <a:off x="9457177" y="6092250"/>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1" name="Rectangle 295"/>
            <p:cNvSpPr>
              <a:spLocks noChangeArrowheads="1"/>
            </p:cNvSpPr>
            <p:nvPr/>
          </p:nvSpPr>
          <p:spPr bwMode="auto">
            <a:xfrm>
              <a:off x="9483223" y="6092250"/>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2" name="Rectangle 296"/>
            <p:cNvSpPr>
              <a:spLocks noChangeArrowheads="1"/>
            </p:cNvSpPr>
            <p:nvPr/>
          </p:nvSpPr>
          <p:spPr bwMode="auto">
            <a:xfrm>
              <a:off x="9509269" y="6092250"/>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3" name="Rectangle 297"/>
            <p:cNvSpPr>
              <a:spLocks noChangeArrowheads="1"/>
            </p:cNvSpPr>
            <p:nvPr/>
          </p:nvSpPr>
          <p:spPr bwMode="auto">
            <a:xfrm>
              <a:off x="9381643" y="6149551"/>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4" name="Rectangle 298"/>
            <p:cNvSpPr>
              <a:spLocks noChangeArrowheads="1"/>
            </p:cNvSpPr>
            <p:nvPr/>
          </p:nvSpPr>
          <p:spPr bwMode="auto">
            <a:xfrm>
              <a:off x="9407689" y="6149551"/>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5" name="Rectangle 299"/>
            <p:cNvSpPr>
              <a:spLocks noChangeArrowheads="1"/>
            </p:cNvSpPr>
            <p:nvPr/>
          </p:nvSpPr>
          <p:spPr bwMode="auto">
            <a:xfrm>
              <a:off x="9433735" y="6149551"/>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6" name="Rectangle 300"/>
            <p:cNvSpPr>
              <a:spLocks noChangeArrowheads="1"/>
            </p:cNvSpPr>
            <p:nvPr/>
          </p:nvSpPr>
          <p:spPr bwMode="auto">
            <a:xfrm>
              <a:off x="9457177" y="6149551"/>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7" name="Rectangle 301"/>
            <p:cNvSpPr>
              <a:spLocks noChangeArrowheads="1"/>
            </p:cNvSpPr>
            <p:nvPr/>
          </p:nvSpPr>
          <p:spPr bwMode="auto">
            <a:xfrm>
              <a:off x="9483223" y="6149551"/>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8" name="Rectangle 302"/>
            <p:cNvSpPr>
              <a:spLocks noChangeArrowheads="1"/>
            </p:cNvSpPr>
            <p:nvPr/>
          </p:nvSpPr>
          <p:spPr bwMode="auto">
            <a:xfrm>
              <a:off x="9483223" y="6149551"/>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59" name="Rectangle 303"/>
            <p:cNvSpPr>
              <a:spLocks noChangeArrowheads="1"/>
            </p:cNvSpPr>
            <p:nvPr/>
          </p:nvSpPr>
          <p:spPr bwMode="auto">
            <a:xfrm>
              <a:off x="9509269" y="6149551"/>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0" name="Rectangle 304"/>
            <p:cNvSpPr>
              <a:spLocks noChangeArrowheads="1"/>
            </p:cNvSpPr>
            <p:nvPr/>
          </p:nvSpPr>
          <p:spPr bwMode="auto">
            <a:xfrm>
              <a:off x="9509269" y="6149551"/>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1" name="Rectangle 305"/>
            <p:cNvSpPr>
              <a:spLocks noChangeArrowheads="1"/>
            </p:cNvSpPr>
            <p:nvPr/>
          </p:nvSpPr>
          <p:spPr bwMode="auto">
            <a:xfrm>
              <a:off x="9381643" y="6204247"/>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2" name="Rectangle 306"/>
            <p:cNvSpPr>
              <a:spLocks noChangeArrowheads="1"/>
            </p:cNvSpPr>
            <p:nvPr/>
          </p:nvSpPr>
          <p:spPr bwMode="auto">
            <a:xfrm>
              <a:off x="9381643" y="6204247"/>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3" name="Rectangle 307"/>
            <p:cNvSpPr>
              <a:spLocks noChangeArrowheads="1"/>
            </p:cNvSpPr>
            <p:nvPr/>
          </p:nvSpPr>
          <p:spPr bwMode="auto">
            <a:xfrm>
              <a:off x="9407689" y="6204247"/>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4" name="Rectangle 308"/>
            <p:cNvSpPr>
              <a:spLocks noChangeArrowheads="1"/>
            </p:cNvSpPr>
            <p:nvPr/>
          </p:nvSpPr>
          <p:spPr bwMode="auto">
            <a:xfrm>
              <a:off x="9433735" y="6204247"/>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5" name="Rectangle 309"/>
            <p:cNvSpPr>
              <a:spLocks noChangeArrowheads="1"/>
            </p:cNvSpPr>
            <p:nvPr/>
          </p:nvSpPr>
          <p:spPr bwMode="auto">
            <a:xfrm>
              <a:off x="9457177" y="6204247"/>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6" name="Rectangle 310"/>
            <p:cNvSpPr>
              <a:spLocks noChangeArrowheads="1"/>
            </p:cNvSpPr>
            <p:nvPr/>
          </p:nvSpPr>
          <p:spPr bwMode="auto">
            <a:xfrm>
              <a:off x="9483223" y="6204247"/>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7" name="Rectangle 311"/>
            <p:cNvSpPr>
              <a:spLocks noChangeArrowheads="1"/>
            </p:cNvSpPr>
            <p:nvPr/>
          </p:nvSpPr>
          <p:spPr bwMode="auto">
            <a:xfrm>
              <a:off x="9509269" y="6204247"/>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8" name="Rectangle 312"/>
            <p:cNvSpPr>
              <a:spLocks noChangeArrowheads="1"/>
            </p:cNvSpPr>
            <p:nvPr/>
          </p:nvSpPr>
          <p:spPr bwMode="auto">
            <a:xfrm>
              <a:off x="9381643" y="6258944"/>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69" name="Rectangle 313"/>
            <p:cNvSpPr>
              <a:spLocks noChangeArrowheads="1"/>
            </p:cNvSpPr>
            <p:nvPr/>
          </p:nvSpPr>
          <p:spPr bwMode="auto">
            <a:xfrm>
              <a:off x="9407689" y="6258944"/>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0" name="Rectangle 314"/>
            <p:cNvSpPr>
              <a:spLocks noChangeArrowheads="1"/>
            </p:cNvSpPr>
            <p:nvPr/>
          </p:nvSpPr>
          <p:spPr bwMode="auto">
            <a:xfrm>
              <a:off x="9407689" y="6258944"/>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1" name="Rectangle 315"/>
            <p:cNvSpPr>
              <a:spLocks noChangeArrowheads="1"/>
            </p:cNvSpPr>
            <p:nvPr/>
          </p:nvSpPr>
          <p:spPr bwMode="auto">
            <a:xfrm>
              <a:off x="9433735" y="6258944"/>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2" name="Rectangle 316"/>
            <p:cNvSpPr>
              <a:spLocks noChangeArrowheads="1"/>
            </p:cNvSpPr>
            <p:nvPr/>
          </p:nvSpPr>
          <p:spPr bwMode="auto">
            <a:xfrm>
              <a:off x="9457177" y="6258944"/>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3" name="Rectangle 317"/>
            <p:cNvSpPr>
              <a:spLocks noChangeArrowheads="1"/>
            </p:cNvSpPr>
            <p:nvPr/>
          </p:nvSpPr>
          <p:spPr bwMode="auto">
            <a:xfrm>
              <a:off x="9457177" y="6258944"/>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4" name="Rectangle 318"/>
            <p:cNvSpPr>
              <a:spLocks noChangeArrowheads="1"/>
            </p:cNvSpPr>
            <p:nvPr/>
          </p:nvSpPr>
          <p:spPr bwMode="auto">
            <a:xfrm>
              <a:off x="9483223" y="6258944"/>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5" name="Rectangle 319"/>
            <p:cNvSpPr>
              <a:spLocks noChangeArrowheads="1"/>
            </p:cNvSpPr>
            <p:nvPr/>
          </p:nvSpPr>
          <p:spPr bwMode="auto">
            <a:xfrm>
              <a:off x="9509269" y="6258944"/>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6" name="Rectangle 320"/>
            <p:cNvSpPr>
              <a:spLocks noChangeArrowheads="1"/>
            </p:cNvSpPr>
            <p:nvPr/>
          </p:nvSpPr>
          <p:spPr bwMode="auto">
            <a:xfrm>
              <a:off x="9381643" y="6316245"/>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7" name="Rectangle 321"/>
            <p:cNvSpPr>
              <a:spLocks noChangeArrowheads="1"/>
            </p:cNvSpPr>
            <p:nvPr/>
          </p:nvSpPr>
          <p:spPr bwMode="auto">
            <a:xfrm>
              <a:off x="9407689" y="6316245"/>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8" name="Rectangle 322"/>
            <p:cNvSpPr>
              <a:spLocks noChangeArrowheads="1"/>
            </p:cNvSpPr>
            <p:nvPr/>
          </p:nvSpPr>
          <p:spPr bwMode="auto">
            <a:xfrm>
              <a:off x="9433735" y="6316245"/>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79" name="Rectangle 323"/>
            <p:cNvSpPr>
              <a:spLocks noChangeArrowheads="1"/>
            </p:cNvSpPr>
            <p:nvPr/>
          </p:nvSpPr>
          <p:spPr bwMode="auto">
            <a:xfrm>
              <a:off x="9457177" y="6316245"/>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0" name="Rectangle 324"/>
            <p:cNvSpPr>
              <a:spLocks noChangeArrowheads="1"/>
            </p:cNvSpPr>
            <p:nvPr/>
          </p:nvSpPr>
          <p:spPr bwMode="auto">
            <a:xfrm>
              <a:off x="9483223" y="6316245"/>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1" name="Rectangle 325"/>
            <p:cNvSpPr>
              <a:spLocks noChangeArrowheads="1"/>
            </p:cNvSpPr>
            <p:nvPr/>
          </p:nvSpPr>
          <p:spPr bwMode="auto">
            <a:xfrm>
              <a:off x="9509269" y="6316245"/>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2" name="Rectangle 326"/>
            <p:cNvSpPr>
              <a:spLocks noChangeArrowheads="1"/>
            </p:cNvSpPr>
            <p:nvPr/>
          </p:nvSpPr>
          <p:spPr bwMode="auto">
            <a:xfrm>
              <a:off x="9509269" y="6316245"/>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3" name="Rectangle 327"/>
            <p:cNvSpPr>
              <a:spLocks noChangeArrowheads="1"/>
            </p:cNvSpPr>
            <p:nvPr/>
          </p:nvSpPr>
          <p:spPr bwMode="auto">
            <a:xfrm>
              <a:off x="9381643" y="6370941"/>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4" name="Rectangle 328"/>
            <p:cNvSpPr>
              <a:spLocks noChangeArrowheads="1"/>
            </p:cNvSpPr>
            <p:nvPr/>
          </p:nvSpPr>
          <p:spPr bwMode="auto">
            <a:xfrm>
              <a:off x="9407689" y="6370941"/>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5" name="Rectangle 329"/>
            <p:cNvSpPr>
              <a:spLocks noChangeArrowheads="1"/>
            </p:cNvSpPr>
            <p:nvPr/>
          </p:nvSpPr>
          <p:spPr bwMode="auto">
            <a:xfrm>
              <a:off x="9407689" y="6370941"/>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6" name="Rectangle 330"/>
            <p:cNvSpPr>
              <a:spLocks noChangeArrowheads="1"/>
            </p:cNvSpPr>
            <p:nvPr/>
          </p:nvSpPr>
          <p:spPr bwMode="auto">
            <a:xfrm>
              <a:off x="9433735" y="6370941"/>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7" name="Rectangle 331"/>
            <p:cNvSpPr>
              <a:spLocks noChangeArrowheads="1"/>
            </p:cNvSpPr>
            <p:nvPr/>
          </p:nvSpPr>
          <p:spPr bwMode="auto">
            <a:xfrm>
              <a:off x="9433735" y="6370941"/>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8" name="Rectangle 332"/>
            <p:cNvSpPr>
              <a:spLocks noChangeArrowheads="1"/>
            </p:cNvSpPr>
            <p:nvPr/>
          </p:nvSpPr>
          <p:spPr bwMode="auto">
            <a:xfrm>
              <a:off x="9457177" y="6370941"/>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89" name="Rectangle 333"/>
            <p:cNvSpPr>
              <a:spLocks noChangeArrowheads="1"/>
            </p:cNvSpPr>
            <p:nvPr/>
          </p:nvSpPr>
          <p:spPr bwMode="auto">
            <a:xfrm>
              <a:off x="9483223" y="6370941"/>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0" name="Rectangle 334"/>
            <p:cNvSpPr>
              <a:spLocks noChangeArrowheads="1"/>
            </p:cNvSpPr>
            <p:nvPr/>
          </p:nvSpPr>
          <p:spPr bwMode="auto">
            <a:xfrm>
              <a:off x="9509269" y="6370941"/>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1" name="Rectangle 335"/>
            <p:cNvSpPr>
              <a:spLocks noChangeArrowheads="1"/>
            </p:cNvSpPr>
            <p:nvPr/>
          </p:nvSpPr>
          <p:spPr bwMode="auto">
            <a:xfrm>
              <a:off x="9381643" y="6425638"/>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2" name="Rectangle 336"/>
            <p:cNvSpPr>
              <a:spLocks noChangeArrowheads="1"/>
            </p:cNvSpPr>
            <p:nvPr/>
          </p:nvSpPr>
          <p:spPr bwMode="auto">
            <a:xfrm>
              <a:off x="9407689" y="6425638"/>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3" name="Rectangle 337"/>
            <p:cNvSpPr>
              <a:spLocks noChangeArrowheads="1"/>
            </p:cNvSpPr>
            <p:nvPr/>
          </p:nvSpPr>
          <p:spPr bwMode="auto">
            <a:xfrm>
              <a:off x="9433735" y="6425638"/>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4" name="Rectangle 338"/>
            <p:cNvSpPr>
              <a:spLocks noChangeArrowheads="1"/>
            </p:cNvSpPr>
            <p:nvPr/>
          </p:nvSpPr>
          <p:spPr bwMode="auto">
            <a:xfrm>
              <a:off x="9457177" y="6425638"/>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5" name="Rectangle 339"/>
            <p:cNvSpPr>
              <a:spLocks noChangeArrowheads="1"/>
            </p:cNvSpPr>
            <p:nvPr/>
          </p:nvSpPr>
          <p:spPr bwMode="auto">
            <a:xfrm>
              <a:off x="9483223" y="6425638"/>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6" name="Rectangle 340"/>
            <p:cNvSpPr>
              <a:spLocks noChangeArrowheads="1"/>
            </p:cNvSpPr>
            <p:nvPr/>
          </p:nvSpPr>
          <p:spPr bwMode="auto">
            <a:xfrm>
              <a:off x="9483223" y="6425638"/>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7" name="Rectangle 341"/>
            <p:cNvSpPr>
              <a:spLocks noChangeArrowheads="1"/>
            </p:cNvSpPr>
            <p:nvPr/>
          </p:nvSpPr>
          <p:spPr bwMode="auto">
            <a:xfrm>
              <a:off x="9509269" y="6425638"/>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8" name="Rectangle 342"/>
            <p:cNvSpPr>
              <a:spLocks noChangeArrowheads="1"/>
            </p:cNvSpPr>
            <p:nvPr/>
          </p:nvSpPr>
          <p:spPr bwMode="auto">
            <a:xfrm>
              <a:off x="9381643" y="6482939"/>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99" name="Rectangle 343"/>
            <p:cNvSpPr>
              <a:spLocks noChangeArrowheads="1"/>
            </p:cNvSpPr>
            <p:nvPr/>
          </p:nvSpPr>
          <p:spPr bwMode="auto">
            <a:xfrm>
              <a:off x="9407689" y="6482939"/>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0" name="Rectangle 344"/>
            <p:cNvSpPr>
              <a:spLocks noChangeArrowheads="1"/>
            </p:cNvSpPr>
            <p:nvPr/>
          </p:nvSpPr>
          <p:spPr bwMode="auto">
            <a:xfrm>
              <a:off x="9407689" y="6482939"/>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1" name="Rectangle 345"/>
            <p:cNvSpPr>
              <a:spLocks noChangeArrowheads="1"/>
            </p:cNvSpPr>
            <p:nvPr/>
          </p:nvSpPr>
          <p:spPr bwMode="auto">
            <a:xfrm>
              <a:off x="9433735" y="6482939"/>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2" name="Rectangle 346"/>
            <p:cNvSpPr>
              <a:spLocks noChangeArrowheads="1"/>
            </p:cNvSpPr>
            <p:nvPr/>
          </p:nvSpPr>
          <p:spPr bwMode="auto">
            <a:xfrm>
              <a:off x="9457177" y="6482939"/>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3" name="Rectangle 347"/>
            <p:cNvSpPr>
              <a:spLocks noChangeArrowheads="1"/>
            </p:cNvSpPr>
            <p:nvPr/>
          </p:nvSpPr>
          <p:spPr bwMode="auto">
            <a:xfrm>
              <a:off x="9483223" y="6482939"/>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4" name="Rectangle 348"/>
            <p:cNvSpPr>
              <a:spLocks noChangeArrowheads="1"/>
            </p:cNvSpPr>
            <p:nvPr/>
          </p:nvSpPr>
          <p:spPr bwMode="auto">
            <a:xfrm>
              <a:off x="9509269" y="6482939"/>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5" name="Rectangle 349"/>
            <p:cNvSpPr>
              <a:spLocks noChangeArrowheads="1"/>
            </p:cNvSpPr>
            <p:nvPr/>
          </p:nvSpPr>
          <p:spPr bwMode="auto">
            <a:xfrm>
              <a:off x="9381643" y="6537635"/>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6" name="Rectangle 350"/>
            <p:cNvSpPr>
              <a:spLocks noChangeArrowheads="1"/>
            </p:cNvSpPr>
            <p:nvPr/>
          </p:nvSpPr>
          <p:spPr bwMode="auto">
            <a:xfrm>
              <a:off x="9407689" y="6537635"/>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7" name="Rectangle 351"/>
            <p:cNvSpPr>
              <a:spLocks noChangeArrowheads="1"/>
            </p:cNvSpPr>
            <p:nvPr/>
          </p:nvSpPr>
          <p:spPr bwMode="auto">
            <a:xfrm>
              <a:off x="9433735" y="6537635"/>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8" name="Rectangle 352"/>
            <p:cNvSpPr>
              <a:spLocks noChangeArrowheads="1"/>
            </p:cNvSpPr>
            <p:nvPr/>
          </p:nvSpPr>
          <p:spPr bwMode="auto">
            <a:xfrm>
              <a:off x="9457177" y="6537635"/>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09" name="Rectangle 353"/>
            <p:cNvSpPr>
              <a:spLocks noChangeArrowheads="1"/>
            </p:cNvSpPr>
            <p:nvPr/>
          </p:nvSpPr>
          <p:spPr bwMode="auto">
            <a:xfrm>
              <a:off x="9457177" y="6537635"/>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0" name="Rectangle 354"/>
            <p:cNvSpPr>
              <a:spLocks noChangeArrowheads="1"/>
            </p:cNvSpPr>
            <p:nvPr/>
          </p:nvSpPr>
          <p:spPr bwMode="auto">
            <a:xfrm>
              <a:off x="9483223" y="6537635"/>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1" name="Rectangle 355"/>
            <p:cNvSpPr>
              <a:spLocks noChangeArrowheads="1"/>
            </p:cNvSpPr>
            <p:nvPr/>
          </p:nvSpPr>
          <p:spPr bwMode="auto">
            <a:xfrm>
              <a:off x="9509269" y="6537635"/>
              <a:ext cx="13023" cy="36464"/>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2" name="Rectangle 356"/>
            <p:cNvSpPr>
              <a:spLocks noChangeArrowheads="1"/>
            </p:cNvSpPr>
            <p:nvPr/>
          </p:nvSpPr>
          <p:spPr bwMode="auto">
            <a:xfrm>
              <a:off x="9509269" y="6537635"/>
              <a:ext cx="13023" cy="36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3" name="Rectangle 357"/>
            <p:cNvSpPr>
              <a:spLocks noChangeArrowheads="1"/>
            </p:cNvSpPr>
            <p:nvPr/>
          </p:nvSpPr>
          <p:spPr bwMode="auto">
            <a:xfrm>
              <a:off x="9381643" y="6594936"/>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4" name="Rectangle 358"/>
            <p:cNvSpPr>
              <a:spLocks noChangeArrowheads="1"/>
            </p:cNvSpPr>
            <p:nvPr/>
          </p:nvSpPr>
          <p:spPr bwMode="auto">
            <a:xfrm>
              <a:off x="9381643" y="6594936"/>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5" name="Rectangle 359"/>
            <p:cNvSpPr>
              <a:spLocks noChangeArrowheads="1"/>
            </p:cNvSpPr>
            <p:nvPr/>
          </p:nvSpPr>
          <p:spPr bwMode="auto">
            <a:xfrm>
              <a:off x="9407689" y="6594936"/>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6" name="Rectangle 360"/>
            <p:cNvSpPr>
              <a:spLocks noChangeArrowheads="1"/>
            </p:cNvSpPr>
            <p:nvPr/>
          </p:nvSpPr>
          <p:spPr bwMode="auto">
            <a:xfrm>
              <a:off x="9433735" y="6594936"/>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7" name="Rectangle 361"/>
            <p:cNvSpPr>
              <a:spLocks noChangeArrowheads="1"/>
            </p:cNvSpPr>
            <p:nvPr/>
          </p:nvSpPr>
          <p:spPr bwMode="auto">
            <a:xfrm>
              <a:off x="9433735" y="6594936"/>
              <a:ext cx="13023" cy="3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8" name="Rectangle 362"/>
            <p:cNvSpPr>
              <a:spLocks noChangeArrowheads="1"/>
            </p:cNvSpPr>
            <p:nvPr/>
          </p:nvSpPr>
          <p:spPr bwMode="auto">
            <a:xfrm>
              <a:off x="9457177" y="6594936"/>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19" name="Rectangle 363"/>
            <p:cNvSpPr>
              <a:spLocks noChangeArrowheads="1"/>
            </p:cNvSpPr>
            <p:nvPr/>
          </p:nvSpPr>
          <p:spPr bwMode="auto">
            <a:xfrm>
              <a:off x="9483223" y="6594936"/>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0" name="Rectangle 364"/>
            <p:cNvSpPr>
              <a:spLocks noChangeArrowheads="1"/>
            </p:cNvSpPr>
            <p:nvPr/>
          </p:nvSpPr>
          <p:spPr bwMode="auto">
            <a:xfrm>
              <a:off x="9509269" y="6594936"/>
              <a:ext cx="13023" cy="3386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1" name="Rectangle 365"/>
            <p:cNvSpPr>
              <a:spLocks noChangeArrowheads="1"/>
            </p:cNvSpPr>
            <p:nvPr/>
          </p:nvSpPr>
          <p:spPr bwMode="auto">
            <a:xfrm>
              <a:off x="8868539" y="6034949"/>
              <a:ext cx="276087" cy="578220"/>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2" name="Rectangle 366"/>
            <p:cNvSpPr>
              <a:spLocks noChangeArrowheads="1"/>
            </p:cNvSpPr>
            <p:nvPr/>
          </p:nvSpPr>
          <p:spPr bwMode="auto">
            <a:xfrm>
              <a:off x="8860725" y="6024530"/>
              <a:ext cx="291714" cy="18232"/>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3" name="Rectangle 367"/>
            <p:cNvSpPr>
              <a:spLocks noChangeArrowheads="1"/>
            </p:cNvSpPr>
            <p:nvPr/>
          </p:nvSpPr>
          <p:spPr bwMode="auto">
            <a:xfrm>
              <a:off x="8876352" y="6006298"/>
              <a:ext cx="257855" cy="75533"/>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4" name="Rectangle 368"/>
            <p:cNvSpPr>
              <a:spLocks noChangeArrowheads="1"/>
            </p:cNvSpPr>
            <p:nvPr/>
          </p:nvSpPr>
          <p:spPr bwMode="auto">
            <a:xfrm>
              <a:off x="8897189" y="5972438"/>
              <a:ext cx="101579" cy="85952"/>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5" name="Freeform 369"/>
            <p:cNvSpPr>
              <a:spLocks/>
            </p:cNvSpPr>
            <p:nvPr/>
          </p:nvSpPr>
          <p:spPr bwMode="auto">
            <a:xfrm>
              <a:off x="8897189" y="5951602"/>
              <a:ext cx="59906" cy="44278"/>
            </a:xfrm>
            <a:custGeom>
              <a:avLst/>
              <a:gdLst>
                <a:gd name="T0" fmla="*/ 23 w 23"/>
                <a:gd name="T1" fmla="*/ 17 h 17"/>
                <a:gd name="T2" fmla="*/ 0 w 23"/>
                <a:gd name="T3" fmla="*/ 17 h 17"/>
                <a:gd name="T4" fmla="*/ 0 w 23"/>
                <a:gd name="T5" fmla="*/ 0 h 17"/>
                <a:gd name="T6" fmla="*/ 16 w 23"/>
                <a:gd name="T7" fmla="*/ 0 h 17"/>
                <a:gd name="T8" fmla="*/ 23 w 23"/>
                <a:gd name="T9" fmla="*/ 17 h 17"/>
              </a:gdLst>
              <a:ahLst/>
              <a:cxnLst>
                <a:cxn ang="0">
                  <a:pos x="T0" y="T1"/>
                </a:cxn>
                <a:cxn ang="0">
                  <a:pos x="T2" y="T3"/>
                </a:cxn>
                <a:cxn ang="0">
                  <a:pos x="T4" y="T5"/>
                </a:cxn>
                <a:cxn ang="0">
                  <a:pos x="T6" y="T7"/>
                </a:cxn>
                <a:cxn ang="0">
                  <a:pos x="T8" y="T9"/>
                </a:cxn>
              </a:cxnLst>
              <a:rect l="0" t="0" r="r" b="b"/>
              <a:pathLst>
                <a:path w="23" h="17">
                  <a:moveTo>
                    <a:pt x="23" y="17"/>
                  </a:moveTo>
                  <a:lnTo>
                    <a:pt x="0" y="17"/>
                  </a:lnTo>
                  <a:lnTo>
                    <a:pt x="0" y="0"/>
                  </a:lnTo>
                  <a:lnTo>
                    <a:pt x="16" y="0"/>
                  </a:lnTo>
                  <a:lnTo>
                    <a:pt x="23" y="17"/>
                  </a:lnTo>
                  <a:close/>
                </a:path>
              </a:pathLst>
            </a:cu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6" name="Rectangle 370"/>
            <p:cNvSpPr>
              <a:spLocks noChangeArrowheads="1"/>
            </p:cNvSpPr>
            <p:nvPr/>
          </p:nvSpPr>
          <p:spPr bwMode="auto">
            <a:xfrm>
              <a:off x="8920630" y="5915137"/>
              <a:ext cx="5209" cy="98975"/>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7" name="Oval 371"/>
            <p:cNvSpPr>
              <a:spLocks noChangeArrowheads="1"/>
            </p:cNvSpPr>
            <p:nvPr/>
          </p:nvSpPr>
          <p:spPr bwMode="auto">
            <a:xfrm>
              <a:off x="8918026" y="5904719"/>
              <a:ext cx="10418" cy="10418"/>
            </a:xfrm>
            <a:prstGeom prst="ellipse">
              <a:avLst/>
            </a:pr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8" name="Freeform 372"/>
            <p:cNvSpPr>
              <a:spLocks/>
            </p:cNvSpPr>
            <p:nvPr/>
          </p:nvSpPr>
          <p:spPr bwMode="auto">
            <a:xfrm>
              <a:off x="11087652" y="5808349"/>
              <a:ext cx="341202" cy="846493"/>
            </a:xfrm>
            <a:custGeom>
              <a:avLst/>
              <a:gdLst>
                <a:gd name="T0" fmla="*/ 131 w 131"/>
                <a:gd name="T1" fmla="*/ 325 h 325"/>
                <a:gd name="T2" fmla="*/ 14 w 131"/>
                <a:gd name="T3" fmla="*/ 325 h 325"/>
                <a:gd name="T4" fmla="*/ 0 w 131"/>
                <a:gd name="T5" fmla="*/ 0 h 325"/>
                <a:gd name="T6" fmla="*/ 131 w 131"/>
                <a:gd name="T7" fmla="*/ 27 h 325"/>
                <a:gd name="T8" fmla="*/ 131 w 131"/>
                <a:gd name="T9" fmla="*/ 325 h 325"/>
              </a:gdLst>
              <a:ahLst/>
              <a:cxnLst>
                <a:cxn ang="0">
                  <a:pos x="T0" y="T1"/>
                </a:cxn>
                <a:cxn ang="0">
                  <a:pos x="T2" y="T3"/>
                </a:cxn>
                <a:cxn ang="0">
                  <a:pos x="T4" y="T5"/>
                </a:cxn>
                <a:cxn ang="0">
                  <a:pos x="T6" y="T7"/>
                </a:cxn>
                <a:cxn ang="0">
                  <a:pos x="T8" y="T9"/>
                </a:cxn>
              </a:cxnLst>
              <a:rect l="0" t="0" r="r" b="b"/>
              <a:pathLst>
                <a:path w="131" h="325">
                  <a:moveTo>
                    <a:pt x="131" y="325"/>
                  </a:moveTo>
                  <a:lnTo>
                    <a:pt x="14" y="325"/>
                  </a:lnTo>
                  <a:lnTo>
                    <a:pt x="0" y="0"/>
                  </a:lnTo>
                  <a:lnTo>
                    <a:pt x="131" y="27"/>
                  </a:lnTo>
                  <a:lnTo>
                    <a:pt x="131" y="325"/>
                  </a:lnTo>
                  <a:close/>
                </a:path>
              </a:pathLst>
            </a:cu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29" name="Freeform 373"/>
            <p:cNvSpPr>
              <a:spLocks/>
            </p:cNvSpPr>
            <p:nvPr/>
          </p:nvSpPr>
          <p:spPr bwMode="auto">
            <a:xfrm>
              <a:off x="9803588" y="5597377"/>
              <a:ext cx="325574" cy="1091324"/>
            </a:xfrm>
            <a:custGeom>
              <a:avLst/>
              <a:gdLst>
                <a:gd name="T0" fmla="*/ 118 w 125"/>
                <a:gd name="T1" fmla="*/ 221 h 419"/>
                <a:gd name="T2" fmla="*/ 118 w 125"/>
                <a:gd name="T3" fmla="*/ 112 h 419"/>
                <a:gd name="T4" fmla="*/ 99 w 125"/>
                <a:gd name="T5" fmla="*/ 112 h 419"/>
                <a:gd name="T6" fmla="*/ 99 w 125"/>
                <a:gd name="T7" fmla="*/ 83 h 419"/>
                <a:gd name="T8" fmla="*/ 93 w 125"/>
                <a:gd name="T9" fmla="*/ 83 h 419"/>
                <a:gd name="T10" fmla="*/ 93 w 125"/>
                <a:gd name="T11" fmla="*/ 40 h 419"/>
                <a:gd name="T12" fmla="*/ 57 w 125"/>
                <a:gd name="T13" fmla="*/ 40 h 419"/>
                <a:gd name="T14" fmla="*/ 57 w 125"/>
                <a:gd name="T15" fmla="*/ 9 h 419"/>
                <a:gd name="T16" fmla="*/ 54 w 125"/>
                <a:gd name="T17" fmla="*/ 9 h 419"/>
                <a:gd name="T18" fmla="*/ 54 w 125"/>
                <a:gd name="T19" fmla="*/ 40 h 419"/>
                <a:gd name="T20" fmla="*/ 47 w 125"/>
                <a:gd name="T21" fmla="*/ 40 h 419"/>
                <a:gd name="T22" fmla="*/ 47 w 125"/>
                <a:gd name="T23" fmla="*/ 0 h 419"/>
                <a:gd name="T24" fmla="*/ 44 w 125"/>
                <a:gd name="T25" fmla="*/ 0 h 419"/>
                <a:gd name="T26" fmla="*/ 44 w 125"/>
                <a:gd name="T27" fmla="*/ 40 h 419"/>
                <a:gd name="T28" fmla="*/ 21 w 125"/>
                <a:gd name="T29" fmla="*/ 40 h 419"/>
                <a:gd name="T30" fmla="*/ 21 w 125"/>
                <a:gd name="T31" fmla="*/ 112 h 419"/>
                <a:gd name="T32" fmla="*/ 10 w 125"/>
                <a:gd name="T33" fmla="*/ 112 h 419"/>
                <a:gd name="T34" fmla="*/ 10 w 125"/>
                <a:gd name="T35" fmla="*/ 221 h 419"/>
                <a:gd name="T36" fmla="*/ 0 w 125"/>
                <a:gd name="T37" fmla="*/ 221 h 419"/>
                <a:gd name="T38" fmla="*/ 0 w 125"/>
                <a:gd name="T39" fmla="*/ 419 h 419"/>
                <a:gd name="T40" fmla="*/ 125 w 125"/>
                <a:gd name="T41" fmla="*/ 419 h 419"/>
                <a:gd name="T42" fmla="*/ 125 w 125"/>
                <a:gd name="T43" fmla="*/ 221 h 419"/>
                <a:gd name="T44" fmla="*/ 118 w 125"/>
                <a:gd name="T45" fmla="*/ 22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419">
                  <a:moveTo>
                    <a:pt x="118" y="221"/>
                  </a:moveTo>
                  <a:lnTo>
                    <a:pt x="118" y="112"/>
                  </a:lnTo>
                  <a:lnTo>
                    <a:pt x="99" y="112"/>
                  </a:lnTo>
                  <a:lnTo>
                    <a:pt x="99" y="83"/>
                  </a:lnTo>
                  <a:lnTo>
                    <a:pt x="93" y="83"/>
                  </a:lnTo>
                  <a:lnTo>
                    <a:pt x="93" y="40"/>
                  </a:lnTo>
                  <a:lnTo>
                    <a:pt x="57" y="40"/>
                  </a:lnTo>
                  <a:lnTo>
                    <a:pt x="57" y="9"/>
                  </a:lnTo>
                  <a:lnTo>
                    <a:pt x="54" y="9"/>
                  </a:lnTo>
                  <a:lnTo>
                    <a:pt x="54" y="40"/>
                  </a:lnTo>
                  <a:lnTo>
                    <a:pt x="47" y="40"/>
                  </a:lnTo>
                  <a:lnTo>
                    <a:pt x="47" y="0"/>
                  </a:lnTo>
                  <a:lnTo>
                    <a:pt x="44" y="0"/>
                  </a:lnTo>
                  <a:lnTo>
                    <a:pt x="44" y="40"/>
                  </a:lnTo>
                  <a:lnTo>
                    <a:pt x="21" y="40"/>
                  </a:lnTo>
                  <a:lnTo>
                    <a:pt x="21" y="112"/>
                  </a:lnTo>
                  <a:lnTo>
                    <a:pt x="10" y="112"/>
                  </a:lnTo>
                  <a:lnTo>
                    <a:pt x="10" y="221"/>
                  </a:lnTo>
                  <a:lnTo>
                    <a:pt x="0" y="221"/>
                  </a:lnTo>
                  <a:lnTo>
                    <a:pt x="0" y="419"/>
                  </a:lnTo>
                  <a:lnTo>
                    <a:pt x="125" y="419"/>
                  </a:lnTo>
                  <a:lnTo>
                    <a:pt x="125" y="221"/>
                  </a:lnTo>
                  <a:lnTo>
                    <a:pt x="118" y="221"/>
                  </a:lnTo>
                  <a:close/>
                </a:path>
              </a:pathLst>
            </a:custGeom>
            <a:solidFill>
              <a:srgbClr val="B5C3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0" name="Freeform 374"/>
            <p:cNvSpPr>
              <a:spLocks/>
            </p:cNvSpPr>
            <p:nvPr/>
          </p:nvSpPr>
          <p:spPr bwMode="auto">
            <a:xfrm>
              <a:off x="9803588" y="5597377"/>
              <a:ext cx="325574" cy="1091324"/>
            </a:xfrm>
            <a:custGeom>
              <a:avLst/>
              <a:gdLst>
                <a:gd name="T0" fmla="*/ 118 w 125"/>
                <a:gd name="T1" fmla="*/ 221 h 419"/>
                <a:gd name="T2" fmla="*/ 118 w 125"/>
                <a:gd name="T3" fmla="*/ 112 h 419"/>
                <a:gd name="T4" fmla="*/ 99 w 125"/>
                <a:gd name="T5" fmla="*/ 112 h 419"/>
                <a:gd name="T6" fmla="*/ 99 w 125"/>
                <a:gd name="T7" fmla="*/ 83 h 419"/>
                <a:gd name="T8" fmla="*/ 93 w 125"/>
                <a:gd name="T9" fmla="*/ 83 h 419"/>
                <a:gd name="T10" fmla="*/ 93 w 125"/>
                <a:gd name="T11" fmla="*/ 40 h 419"/>
                <a:gd name="T12" fmla="*/ 57 w 125"/>
                <a:gd name="T13" fmla="*/ 40 h 419"/>
                <a:gd name="T14" fmla="*/ 57 w 125"/>
                <a:gd name="T15" fmla="*/ 9 h 419"/>
                <a:gd name="T16" fmla="*/ 54 w 125"/>
                <a:gd name="T17" fmla="*/ 9 h 419"/>
                <a:gd name="T18" fmla="*/ 54 w 125"/>
                <a:gd name="T19" fmla="*/ 40 h 419"/>
                <a:gd name="T20" fmla="*/ 47 w 125"/>
                <a:gd name="T21" fmla="*/ 40 h 419"/>
                <a:gd name="T22" fmla="*/ 47 w 125"/>
                <a:gd name="T23" fmla="*/ 0 h 419"/>
                <a:gd name="T24" fmla="*/ 44 w 125"/>
                <a:gd name="T25" fmla="*/ 0 h 419"/>
                <a:gd name="T26" fmla="*/ 44 w 125"/>
                <a:gd name="T27" fmla="*/ 40 h 419"/>
                <a:gd name="T28" fmla="*/ 21 w 125"/>
                <a:gd name="T29" fmla="*/ 40 h 419"/>
                <a:gd name="T30" fmla="*/ 21 w 125"/>
                <a:gd name="T31" fmla="*/ 112 h 419"/>
                <a:gd name="T32" fmla="*/ 10 w 125"/>
                <a:gd name="T33" fmla="*/ 112 h 419"/>
                <a:gd name="T34" fmla="*/ 10 w 125"/>
                <a:gd name="T35" fmla="*/ 221 h 419"/>
                <a:gd name="T36" fmla="*/ 0 w 125"/>
                <a:gd name="T37" fmla="*/ 221 h 419"/>
                <a:gd name="T38" fmla="*/ 0 w 125"/>
                <a:gd name="T39" fmla="*/ 419 h 419"/>
                <a:gd name="T40" fmla="*/ 125 w 125"/>
                <a:gd name="T41" fmla="*/ 419 h 419"/>
                <a:gd name="T42" fmla="*/ 125 w 125"/>
                <a:gd name="T43" fmla="*/ 221 h 419"/>
                <a:gd name="T44" fmla="*/ 118 w 125"/>
                <a:gd name="T45" fmla="*/ 22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419">
                  <a:moveTo>
                    <a:pt x="118" y="221"/>
                  </a:moveTo>
                  <a:lnTo>
                    <a:pt x="118" y="112"/>
                  </a:lnTo>
                  <a:lnTo>
                    <a:pt x="99" y="112"/>
                  </a:lnTo>
                  <a:lnTo>
                    <a:pt x="99" y="83"/>
                  </a:lnTo>
                  <a:lnTo>
                    <a:pt x="93" y="83"/>
                  </a:lnTo>
                  <a:lnTo>
                    <a:pt x="93" y="40"/>
                  </a:lnTo>
                  <a:lnTo>
                    <a:pt x="57" y="40"/>
                  </a:lnTo>
                  <a:lnTo>
                    <a:pt x="57" y="9"/>
                  </a:lnTo>
                  <a:lnTo>
                    <a:pt x="54" y="9"/>
                  </a:lnTo>
                  <a:lnTo>
                    <a:pt x="54" y="40"/>
                  </a:lnTo>
                  <a:lnTo>
                    <a:pt x="47" y="40"/>
                  </a:lnTo>
                  <a:lnTo>
                    <a:pt x="47" y="0"/>
                  </a:lnTo>
                  <a:lnTo>
                    <a:pt x="44" y="0"/>
                  </a:lnTo>
                  <a:lnTo>
                    <a:pt x="44" y="40"/>
                  </a:lnTo>
                  <a:lnTo>
                    <a:pt x="21" y="40"/>
                  </a:lnTo>
                  <a:lnTo>
                    <a:pt x="21" y="112"/>
                  </a:lnTo>
                  <a:lnTo>
                    <a:pt x="10" y="112"/>
                  </a:lnTo>
                  <a:lnTo>
                    <a:pt x="10" y="221"/>
                  </a:lnTo>
                  <a:lnTo>
                    <a:pt x="0" y="221"/>
                  </a:lnTo>
                  <a:lnTo>
                    <a:pt x="0" y="419"/>
                  </a:lnTo>
                  <a:lnTo>
                    <a:pt x="125" y="419"/>
                  </a:lnTo>
                  <a:lnTo>
                    <a:pt x="125" y="221"/>
                  </a:lnTo>
                  <a:lnTo>
                    <a:pt x="118" y="2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1" name="Freeform 377"/>
            <p:cNvSpPr>
              <a:spLocks/>
            </p:cNvSpPr>
            <p:nvPr/>
          </p:nvSpPr>
          <p:spPr bwMode="auto">
            <a:xfrm>
              <a:off x="10446922" y="6389173"/>
              <a:ext cx="158880" cy="320365"/>
            </a:xfrm>
            <a:custGeom>
              <a:avLst/>
              <a:gdLst>
                <a:gd name="T0" fmla="*/ 61 w 61"/>
                <a:gd name="T1" fmla="*/ 123 h 123"/>
                <a:gd name="T2" fmla="*/ 0 w 61"/>
                <a:gd name="T3" fmla="*/ 123 h 123"/>
                <a:gd name="T4" fmla="*/ 24 w 61"/>
                <a:gd name="T5" fmla="*/ 0 h 123"/>
                <a:gd name="T6" fmla="*/ 61 w 61"/>
                <a:gd name="T7" fmla="*/ 0 h 123"/>
                <a:gd name="T8" fmla="*/ 61 w 61"/>
                <a:gd name="T9" fmla="*/ 123 h 123"/>
              </a:gdLst>
              <a:ahLst/>
              <a:cxnLst>
                <a:cxn ang="0">
                  <a:pos x="T0" y="T1"/>
                </a:cxn>
                <a:cxn ang="0">
                  <a:pos x="T2" y="T3"/>
                </a:cxn>
                <a:cxn ang="0">
                  <a:pos x="T4" y="T5"/>
                </a:cxn>
                <a:cxn ang="0">
                  <a:pos x="T6" y="T7"/>
                </a:cxn>
                <a:cxn ang="0">
                  <a:pos x="T8" y="T9"/>
                </a:cxn>
              </a:cxnLst>
              <a:rect l="0" t="0" r="r" b="b"/>
              <a:pathLst>
                <a:path w="61" h="123">
                  <a:moveTo>
                    <a:pt x="61" y="123"/>
                  </a:moveTo>
                  <a:lnTo>
                    <a:pt x="0" y="123"/>
                  </a:lnTo>
                  <a:lnTo>
                    <a:pt x="24" y="0"/>
                  </a:lnTo>
                  <a:lnTo>
                    <a:pt x="61" y="0"/>
                  </a:lnTo>
                  <a:lnTo>
                    <a:pt x="61" y="123"/>
                  </a:lnTo>
                  <a:close/>
                </a:path>
              </a:pathLst>
            </a:custGeom>
            <a:solidFill>
              <a:srgbClr val="95A9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2" name="Freeform 380"/>
            <p:cNvSpPr>
              <a:spLocks/>
            </p:cNvSpPr>
            <p:nvPr/>
          </p:nvSpPr>
          <p:spPr bwMode="auto">
            <a:xfrm>
              <a:off x="10207300" y="5797931"/>
              <a:ext cx="278692" cy="869934"/>
            </a:xfrm>
            <a:custGeom>
              <a:avLst/>
              <a:gdLst>
                <a:gd name="T0" fmla="*/ 103 w 107"/>
                <a:gd name="T1" fmla="*/ 122 h 334"/>
                <a:gd name="T2" fmla="*/ 103 w 107"/>
                <a:gd name="T3" fmla="*/ 68 h 334"/>
                <a:gd name="T4" fmla="*/ 83 w 107"/>
                <a:gd name="T5" fmla="*/ 68 h 334"/>
                <a:gd name="T6" fmla="*/ 83 w 107"/>
                <a:gd name="T7" fmla="*/ 47 h 334"/>
                <a:gd name="T8" fmla="*/ 72 w 107"/>
                <a:gd name="T9" fmla="*/ 47 h 334"/>
                <a:gd name="T10" fmla="*/ 72 w 107"/>
                <a:gd name="T11" fmla="*/ 30 h 334"/>
                <a:gd name="T12" fmla="*/ 69 w 107"/>
                <a:gd name="T13" fmla="*/ 30 h 334"/>
                <a:gd name="T14" fmla="*/ 69 w 107"/>
                <a:gd name="T15" fmla="*/ 0 h 334"/>
                <a:gd name="T16" fmla="*/ 68 w 107"/>
                <a:gd name="T17" fmla="*/ 0 h 334"/>
                <a:gd name="T18" fmla="*/ 68 w 107"/>
                <a:gd name="T19" fmla="*/ 30 h 334"/>
                <a:gd name="T20" fmla="*/ 64 w 107"/>
                <a:gd name="T21" fmla="*/ 30 h 334"/>
                <a:gd name="T22" fmla="*/ 64 w 107"/>
                <a:gd name="T23" fmla="*/ 47 h 334"/>
                <a:gd name="T24" fmla="*/ 54 w 107"/>
                <a:gd name="T25" fmla="*/ 47 h 334"/>
                <a:gd name="T26" fmla="*/ 54 w 107"/>
                <a:gd name="T27" fmla="*/ 68 h 334"/>
                <a:gd name="T28" fmla="*/ 34 w 107"/>
                <a:gd name="T29" fmla="*/ 68 h 334"/>
                <a:gd name="T30" fmla="*/ 34 w 107"/>
                <a:gd name="T31" fmla="*/ 122 h 334"/>
                <a:gd name="T32" fmla="*/ 30 w 107"/>
                <a:gd name="T33" fmla="*/ 122 h 334"/>
                <a:gd name="T34" fmla="*/ 30 w 107"/>
                <a:gd name="T35" fmla="*/ 222 h 334"/>
                <a:gd name="T36" fmla="*/ 0 w 107"/>
                <a:gd name="T37" fmla="*/ 222 h 334"/>
                <a:gd name="T38" fmla="*/ 0 w 107"/>
                <a:gd name="T39" fmla="*/ 334 h 334"/>
                <a:gd name="T40" fmla="*/ 30 w 107"/>
                <a:gd name="T41" fmla="*/ 334 h 334"/>
                <a:gd name="T42" fmla="*/ 60 w 107"/>
                <a:gd name="T43" fmla="*/ 334 h 334"/>
                <a:gd name="T44" fmla="*/ 107 w 107"/>
                <a:gd name="T45" fmla="*/ 334 h 334"/>
                <a:gd name="T46" fmla="*/ 107 w 107"/>
                <a:gd name="T47" fmla="*/ 122 h 334"/>
                <a:gd name="T48" fmla="*/ 103 w 107"/>
                <a:gd name="T49" fmla="*/ 12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334">
                  <a:moveTo>
                    <a:pt x="103" y="122"/>
                  </a:moveTo>
                  <a:lnTo>
                    <a:pt x="103" y="68"/>
                  </a:lnTo>
                  <a:lnTo>
                    <a:pt x="83" y="68"/>
                  </a:lnTo>
                  <a:lnTo>
                    <a:pt x="83" y="47"/>
                  </a:lnTo>
                  <a:lnTo>
                    <a:pt x="72" y="47"/>
                  </a:lnTo>
                  <a:lnTo>
                    <a:pt x="72" y="30"/>
                  </a:lnTo>
                  <a:lnTo>
                    <a:pt x="69" y="30"/>
                  </a:lnTo>
                  <a:lnTo>
                    <a:pt x="69" y="0"/>
                  </a:lnTo>
                  <a:lnTo>
                    <a:pt x="68" y="0"/>
                  </a:lnTo>
                  <a:lnTo>
                    <a:pt x="68" y="30"/>
                  </a:lnTo>
                  <a:lnTo>
                    <a:pt x="64" y="30"/>
                  </a:lnTo>
                  <a:lnTo>
                    <a:pt x="64" y="47"/>
                  </a:lnTo>
                  <a:lnTo>
                    <a:pt x="54" y="47"/>
                  </a:lnTo>
                  <a:lnTo>
                    <a:pt x="54" y="68"/>
                  </a:lnTo>
                  <a:lnTo>
                    <a:pt x="34" y="68"/>
                  </a:lnTo>
                  <a:lnTo>
                    <a:pt x="34" y="122"/>
                  </a:lnTo>
                  <a:lnTo>
                    <a:pt x="30" y="122"/>
                  </a:lnTo>
                  <a:lnTo>
                    <a:pt x="30" y="222"/>
                  </a:lnTo>
                  <a:lnTo>
                    <a:pt x="0" y="222"/>
                  </a:lnTo>
                  <a:lnTo>
                    <a:pt x="0" y="334"/>
                  </a:lnTo>
                  <a:lnTo>
                    <a:pt x="30" y="334"/>
                  </a:lnTo>
                  <a:lnTo>
                    <a:pt x="60" y="334"/>
                  </a:lnTo>
                  <a:lnTo>
                    <a:pt x="107" y="334"/>
                  </a:lnTo>
                  <a:lnTo>
                    <a:pt x="107" y="122"/>
                  </a:lnTo>
                  <a:lnTo>
                    <a:pt x="103" y="122"/>
                  </a:lnTo>
                  <a:close/>
                </a:path>
              </a:pathLst>
            </a:custGeom>
            <a:solidFill>
              <a:srgbClr val="95A9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3" name="Freeform 381"/>
            <p:cNvSpPr>
              <a:spLocks/>
            </p:cNvSpPr>
            <p:nvPr/>
          </p:nvSpPr>
          <p:spPr bwMode="auto">
            <a:xfrm>
              <a:off x="10207300" y="5797931"/>
              <a:ext cx="278692" cy="869934"/>
            </a:xfrm>
            <a:custGeom>
              <a:avLst/>
              <a:gdLst>
                <a:gd name="T0" fmla="*/ 103 w 107"/>
                <a:gd name="T1" fmla="*/ 122 h 334"/>
                <a:gd name="T2" fmla="*/ 103 w 107"/>
                <a:gd name="T3" fmla="*/ 68 h 334"/>
                <a:gd name="T4" fmla="*/ 83 w 107"/>
                <a:gd name="T5" fmla="*/ 68 h 334"/>
                <a:gd name="T6" fmla="*/ 83 w 107"/>
                <a:gd name="T7" fmla="*/ 47 h 334"/>
                <a:gd name="T8" fmla="*/ 72 w 107"/>
                <a:gd name="T9" fmla="*/ 47 h 334"/>
                <a:gd name="T10" fmla="*/ 72 w 107"/>
                <a:gd name="T11" fmla="*/ 30 h 334"/>
                <a:gd name="T12" fmla="*/ 69 w 107"/>
                <a:gd name="T13" fmla="*/ 30 h 334"/>
                <a:gd name="T14" fmla="*/ 69 w 107"/>
                <a:gd name="T15" fmla="*/ 0 h 334"/>
                <a:gd name="T16" fmla="*/ 68 w 107"/>
                <a:gd name="T17" fmla="*/ 0 h 334"/>
                <a:gd name="T18" fmla="*/ 68 w 107"/>
                <a:gd name="T19" fmla="*/ 30 h 334"/>
                <a:gd name="T20" fmla="*/ 64 w 107"/>
                <a:gd name="T21" fmla="*/ 30 h 334"/>
                <a:gd name="T22" fmla="*/ 64 w 107"/>
                <a:gd name="T23" fmla="*/ 47 h 334"/>
                <a:gd name="T24" fmla="*/ 54 w 107"/>
                <a:gd name="T25" fmla="*/ 47 h 334"/>
                <a:gd name="T26" fmla="*/ 54 w 107"/>
                <a:gd name="T27" fmla="*/ 68 h 334"/>
                <a:gd name="T28" fmla="*/ 34 w 107"/>
                <a:gd name="T29" fmla="*/ 68 h 334"/>
                <a:gd name="T30" fmla="*/ 34 w 107"/>
                <a:gd name="T31" fmla="*/ 122 h 334"/>
                <a:gd name="T32" fmla="*/ 30 w 107"/>
                <a:gd name="T33" fmla="*/ 122 h 334"/>
                <a:gd name="T34" fmla="*/ 30 w 107"/>
                <a:gd name="T35" fmla="*/ 222 h 334"/>
                <a:gd name="T36" fmla="*/ 0 w 107"/>
                <a:gd name="T37" fmla="*/ 222 h 334"/>
                <a:gd name="T38" fmla="*/ 0 w 107"/>
                <a:gd name="T39" fmla="*/ 334 h 334"/>
                <a:gd name="T40" fmla="*/ 30 w 107"/>
                <a:gd name="T41" fmla="*/ 334 h 334"/>
                <a:gd name="T42" fmla="*/ 60 w 107"/>
                <a:gd name="T43" fmla="*/ 334 h 334"/>
                <a:gd name="T44" fmla="*/ 107 w 107"/>
                <a:gd name="T45" fmla="*/ 334 h 334"/>
                <a:gd name="T46" fmla="*/ 107 w 107"/>
                <a:gd name="T47" fmla="*/ 122 h 334"/>
                <a:gd name="T48" fmla="*/ 103 w 107"/>
                <a:gd name="T49" fmla="*/ 12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334">
                  <a:moveTo>
                    <a:pt x="103" y="122"/>
                  </a:moveTo>
                  <a:lnTo>
                    <a:pt x="103" y="68"/>
                  </a:lnTo>
                  <a:lnTo>
                    <a:pt x="83" y="68"/>
                  </a:lnTo>
                  <a:lnTo>
                    <a:pt x="83" y="47"/>
                  </a:lnTo>
                  <a:lnTo>
                    <a:pt x="72" y="47"/>
                  </a:lnTo>
                  <a:lnTo>
                    <a:pt x="72" y="30"/>
                  </a:lnTo>
                  <a:lnTo>
                    <a:pt x="69" y="30"/>
                  </a:lnTo>
                  <a:lnTo>
                    <a:pt x="69" y="0"/>
                  </a:lnTo>
                  <a:lnTo>
                    <a:pt x="68" y="0"/>
                  </a:lnTo>
                  <a:lnTo>
                    <a:pt x="68" y="30"/>
                  </a:lnTo>
                  <a:lnTo>
                    <a:pt x="64" y="30"/>
                  </a:lnTo>
                  <a:lnTo>
                    <a:pt x="64" y="47"/>
                  </a:lnTo>
                  <a:lnTo>
                    <a:pt x="54" y="47"/>
                  </a:lnTo>
                  <a:lnTo>
                    <a:pt x="54" y="68"/>
                  </a:lnTo>
                  <a:lnTo>
                    <a:pt x="34" y="68"/>
                  </a:lnTo>
                  <a:lnTo>
                    <a:pt x="34" y="122"/>
                  </a:lnTo>
                  <a:lnTo>
                    <a:pt x="30" y="122"/>
                  </a:lnTo>
                  <a:lnTo>
                    <a:pt x="30" y="222"/>
                  </a:lnTo>
                  <a:lnTo>
                    <a:pt x="0" y="222"/>
                  </a:lnTo>
                  <a:lnTo>
                    <a:pt x="0" y="334"/>
                  </a:lnTo>
                  <a:lnTo>
                    <a:pt x="30" y="334"/>
                  </a:lnTo>
                  <a:lnTo>
                    <a:pt x="60" y="334"/>
                  </a:lnTo>
                  <a:lnTo>
                    <a:pt x="107" y="334"/>
                  </a:lnTo>
                  <a:lnTo>
                    <a:pt x="107" y="122"/>
                  </a:lnTo>
                  <a:lnTo>
                    <a:pt x="103" y="1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4" name="Freeform 382"/>
            <p:cNvSpPr>
              <a:spLocks/>
            </p:cNvSpPr>
            <p:nvPr/>
          </p:nvSpPr>
          <p:spPr bwMode="auto">
            <a:xfrm>
              <a:off x="10519851" y="6279780"/>
              <a:ext cx="250041" cy="424549"/>
            </a:xfrm>
            <a:custGeom>
              <a:avLst/>
              <a:gdLst>
                <a:gd name="T0" fmla="*/ 96 w 96"/>
                <a:gd name="T1" fmla="*/ 0 h 163"/>
                <a:gd name="T2" fmla="*/ 0 w 96"/>
                <a:gd name="T3" fmla="*/ 0 h 163"/>
                <a:gd name="T4" fmla="*/ 0 w 96"/>
                <a:gd name="T5" fmla="*/ 2 h 163"/>
                <a:gd name="T6" fmla="*/ 5 w 96"/>
                <a:gd name="T7" fmla="*/ 2 h 163"/>
                <a:gd name="T8" fmla="*/ 5 w 96"/>
                <a:gd name="T9" fmla="*/ 163 h 163"/>
                <a:gd name="T10" fmla="*/ 91 w 96"/>
                <a:gd name="T11" fmla="*/ 163 h 163"/>
                <a:gd name="T12" fmla="*/ 91 w 96"/>
                <a:gd name="T13" fmla="*/ 2 h 163"/>
                <a:gd name="T14" fmla="*/ 96 w 96"/>
                <a:gd name="T15" fmla="*/ 2 h 163"/>
                <a:gd name="T16" fmla="*/ 96 w 96"/>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63">
                  <a:moveTo>
                    <a:pt x="96" y="0"/>
                  </a:moveTo>
                  <a:lnTo>
                    <a:pt x="0" y="0"/>
                  </a:lnTo>
                  <a:lnTo>
                    <a:pt x="0" y="2"/>
                  </a:lnTo>
                  <a:lnTo>
                    <a:pt x="5" y="2"/>
                  </a:lnTo>
                  <a:lnTo>
                    <a:pt x="5" y="163"/>
                  </a:lnTo>
                  <a:lnTo>
                    <a:pt x="91" y="163"/>
                  </a:lnTo>
                  <a:lnTo>
                    <a:pt x="91" y="2"/>
                  </a:lnTo>
                  <a:lnTo>
                    <a:pt x="96" y="2"/>
                  </a:lnTo>
                  <a:lnTo>
                    <a:pt x="96" y="0"/>
                  </a:lnTo>
                  <a:close/>
                </a:path>
              </a:pathLst>
            </a:custGeom>
            <a:solidFill>
              <a:srgbClr val="95A9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5" name="Freeform 383"/>
            <p:cNvSpPr>
              <a:spLocks/>
            </p:cNvSpPr>
            <p:nvPr/>
          </p:nvSpPr>
          <p:spPr bwMode="auto">
            <a:xfrm>
              <a:off x="10519851" y="6279780"/>
              <a:ext cx="250041" cy="424549"/>
            </a:xfrm>
            <a:custGeom>
              <a:avLst/>
              <a:gdLst>
                <a:gd name="T0" fmla="*/ 96 w 96"/>
                <a:gd name="T1" fmla="*/ 0 h 163"/>
                <a:gd name="T2" fmla="*/ 0 w 96"/>
                <a:gd name="T3" fmla="*/ 0 h 163"/>
                <a:gd name="T4" fmla="*/ 0 w 96"/>
                <a:gd name="T5" fmla="*/ 2 h 163"/>
                <a:gd name="T6" fmla="*/ 5 w 96"/>
                <a:gd name="T7" fmla="*/ 2 h 163"/>
                <a:gd name="T8" fmla="*/ 5 w 96"/>
                <a:gd name="T9" fmla="*/ 163 h 163"/>
                <a:gd name="T10" fmla="*/ 91 w 96"/>
                <a:gd name="T11" fmla="*/ 163 h 163"/>
                <a:gd name="T12" fmla="*/ 91 w 96"/>
                <a:gd name="T13" fmla="*/ 2 h 163"/>
                <a:gd name="T14" fmla="*/ 96 w 96"/>
                <a:gd name="T15" fmla="*/ 2 h 163"/>
                <a:gd name="T16" fmla="*/ 96 w 96"/>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63">
                  <a:moveTo>
                    <a:pt x="96" y="0"/>
                  </a:moveTo>
                  <a:lnTo>
                    <a:pt x="0" y="0"/>
                  </a:lnTo>
                  <a:lnTo>
                    <a:pt x="0" y="2"/>
                  </a:lnTo>
                  <a:lnTo>
                    <a:pt x="5" y="2"/>
                  </a:lnTo>
                  <a:lnTo>
                    <a:pt x="5" y="163"/>
                  </a:lnTo>
                  <a:lnTo>
                    <a:pt x="91" y="163"/>
                  </a:lnTo>
                  <a:lnTo>
                    <a:pt x="91" y="2"/>
                  </a:lnTo>
                  <a:lnTo>
                    <a:pt x="96" y="2"/>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6" name="Rectangle 384"/>
            <p:cNvSpPr>
              <a:spLocks noChangeArrowheads="1"/>
            </p:cNvSpPr>
            <p:nvPr/>
          </p:nvSpPr>
          <p:spPr bwMode="auto">
            <a:xfrm>
              <a:off x="9418108" y="6383964"/>
              <a:ext cx="218786" cy="351620"/>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7" name="Rectangle 385"/>
            <p:cNvSpPr>
              <a:spLocks noChangeArrowheads="1"/>
            </p:cNvSpPr>
            <p:nvPr/>
          </p:nvSpPr>
          <p:spPr bwMode="auto">
            <a:xfrm>
              <a:off x="9006582" y="6563681"/>
              <a:ext cx="377666" cy="171903"/>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8" name="Rectangle 386"/>
            <p:cNvSpPr>
              <a:spLocks noChangeArrowheads="1"/>
            </p:cNvSpPr>
            <p:nvPr/>
          </p:nvSpPr>
          <p:spPr bwMode="auto">
            <a:xfrm>
              <a:off x="9209740" y="6183410"/>
              <a:ext cx="83347" cy="419339"/>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39" name="Rectangle 387"/>
            <p:cNvSpPr>
              <a:spLocks noChangeArrowheads="1"/>
            </p:cNvSpPr>
            <p:nvPr/>
          </p:nvSpPr>
          <p:spPr bwMode="auto">
            <a:xfrm>
              <a:off x="9227972" y="6071413"/>
              <a:ext cx="2605" cy="226600"/>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0" name="Rectangle 388"/>
            <p:cNvSpPr>
              <a:spLocks noChangeArrowheads="1"/>
            </p:cNvSpPr>
            <p:nvPr/>
          </p:nvSpPr>
          <p:spPr bwMode="auto">
            <a:xfrm>
              <a:off x="9240995" y="6087040"/>
              <a:ext cx="5209" cy="229204"/>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1" name="Rectangle 389"/>
            <p:cNvSpPr>
              <a:spLocks noChangeArrowheads="1"/>
            </p:cNvSpPr>
            <p:nvPr/>
          </p:nvSpPr>
          <p:spPr bwMode="auto">
            <a:xfrm>
              <a:off x="9214949" y="6157364"/>
              <a:ext cx="52092" cy="57301"/>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2" name="Rectangle 390"/>
            <p:cNvSpPr>
              <a:spLocks noChangeArrowheads="1"/>
            </p:cNvSpPr>
            <p:nvPr/>
          </p:nvSpPr>
          <p:spPr bwMode="auto">
            <a:xfrm>
              <a:off x="9368620" y="6446474"/>
              <a:ext cx="145857" cy="289110"/>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3" name="Rectangle 391"/>
            <p:cNvSpPr>
              <a:spLocks noChangeArrowheads="1"/>
            </p:cNvSpPr>
            <p:nvPr/>
          </p:nvSpPr>
          <p:spPr bwMode="auto">
            <a:xfrm>
              <a:off x="9673358" y="6144342"/>
              <a:ext cx="270878" cy="591243"/>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4" name="Rectangle 392"/>
            <p:cNvSpPr>
              <a:spLocks noChangeArrowheads="1"/>
            </p:cNvSpPr>
            <p:nvPr/>
          </p:nvSpPr>
          <p:spPr bwMode="auto">
            <a:xfrm>
              <a:off x="9699404" y="6123505"/>
              <a:ext cx="218786" cy="98975"/>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5" name="Rectangle 393"/>
            <p:cNvSpPr>
              <a:spLocks noChangeArrowheads="1"/>
            </p:cNvSpPr>
            <p:nvPr/>
          </p:nvSpPr>
          <p:spPr bwMode="auto">
            <a:xfrm>
              <a:off x="9652521" y="6157364"/>
              <a:ext cx="312551" cy="5209"/>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6" name="Rectangle 394"/>
            <p:cNvSpPr>
              <a:spLocks noChangeArrowheads="1"/>
            </p:cNvSpPr>
            <p:nvPr/>
          </p:nvSpPr>
          <p:spPr bwMode="auto">
            <a:xfrm>
              <a:off x="9623871" y="6436056"/>
              <a:ext cx="127625" cy="299528"/>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7" name="Rectangle 395"/>
            <p:cNvSpPr>
              <a:spLocks noChangeArrowheads="1"/>
            </p:cNvSpPr>
            <p:nvPr/>
          </p:nvSpPr>
          <p:spPr bwMode="auto">
            <a:xfrm>
              <a:off x="8707054" y="6425638"/>
              <a:ext cx="148462" cy="309947"/>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8" name="Rectangle 396"/>
            <p:cNvSpPr>
              <a:spLocks noChangeArrowheads="1"/>
            </p:cNvSpPr>
            <p:nvPr/>
          </p:nvSpPr>
          <p:spPr bwMode="auto">
            <a:xfrm>
              <a:off x="8756541" y="6342291"/>
              <a:ext cx="291714" cy="393294"/>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49" name="Rectangle 397"/>
            <p:cNvSpPr>
              <a:spLocks noChangeArrowheads="1"/>
            </p:cNvSpPr>
            <p:nvPr/>
          </p:nvSpPr>
          <p:spPr bwMode="auto">
            <a:xfrm>
              <a:off x="8738309" y="6324058"/>
              <a:ext cx="317760" cy="18232"/>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0" name="Rectangle 398"/>
            <p:cNvSpPr>
              <a:spLocks noChangeArrowheads="1"/>
            </p:cNvSpPr>
            <p:nvPr/>
          </p:nvSpPr>
          <p:spPr bwMode="auto">
            <a:xfrm>
              <a:off x="8769564" y="6284990"/>
              <a:ext cx="127625" cy="80742"/>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1" name="Rectangle 399"/>
            <p:cNvSpPr>
              <a:spLocks noChangeArrowheads="1"/>
            </p:cNvSpPr>
            <p:nvPr/>
          </p:nvSpPr>
          <p:spPr bwMode="auto">
            <a:xfrm>
              <a:off x="8938863" y="6284990"/>
              <a:ext cx="20837" cy="46883"/>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2" name="Rectangle 400"/>
            <p:cNvSpPr>
              <a:spLocks noChangeArrowheads="1"/>
            </p:cNvSpPr>
            <p:nvPr/>
          </p:nvSpPr>
          <p:spPr bwMode="auto">
            <a:xfrm>
              <a:off x="8980536" y="6284990"/>
              <a:ext cx="26046" cy="46883"/>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3" name="Rectangle 402"/>
            <p:cNvSpPr>
              <a:spLocks noChangeArrowheads="1"/>
            </p:cNvSpPr>
            <p:nvPr/>
          </p:nvSpPr>
          <p:spPr bwMode="auto">
            <a:xfrm>
              <a:off x="8569010" y="6563681"/>
              <a:ext cx="72929" cy="171903"/>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4" name="Freeform 406"/>
            <p:cNvSpPr>
              <a:spLocks noEditPoints="1"/>
            </p:cNvSpPr>
            <p:nvPr/>
          </p:nvSpPr>
          <p:spPr bwMode="auto">
            <a:xfrm>
              <a:off x="10775101" y="5954206"/>
              <a:ext cx="567801" cy="708449"/>
            </a:xfrm>
            <a:custGeom>
              <a:avLst/>
              <a:gdLst>
                <a:gd name="T0" fmla="*/ 485 w 536"/>
                <a:gd name="T1" fmla="*/ 193 h 665"/>
                <a:gd name="T2" fmla="*/ 468 w 536"/>
                <a:gd name="T3" fmla="*/ 197 h 665"/>
                <a:gd name="T4" fmla="*/ 432 w 536"/>
                <a:gd name="T5" fmla="*/ 102 h 665"/>
                <a:gd name="T6" fmla="*/ 362 w 536"/>
                <a:gd name="T7" fmla="*/ 58 h 665"/>
                <a:gd name="T8" fmla="*/ 276 w 536"/>
                <a:gd name="T9" fmla="*/ 59 h 665"/>
                <a:gd name="T10" fmla="*/ 275 w 536"/>
                <a:gd name="T11" fmla="*/ 34 h 665"/>
                <a:gd name="T12" fmla="*/ 184 w 536"/>
                <a:gd name="T13" fmla="*/ 17 h 665"/>
                <a:gd name="T14" fmla="*/ 110 w 536"/>
                <a:gd name="T15" fmla="*/ 102 h 665"/>
                <a:gd name="T16" fmla="*/ 121 w 536"/>
                <a:gd name="T17" fmla="*/ 117 h 665"/>
                <a:gd name="T18" fmla="*/ 25 w 536"/>
                <a:gd name="T19" fmla="*/ 168 h 665"/>
                <a:gd name="T20" fmla="*/ 17 w 536"/>
                <a:gd name="T21" fmla="*/ 246 h 665"/>
                <a:gd name="T22" fmla="*/ 67 w 536"/>
                <a:gd name="T23" fmla="*/ 344 h 665"/>
                <a:gd name="T24" fmla="*/ 51 w 536"/>
                <a:gd name="T25" fmla="*/ 352 h 665"/>
                <a:gd name="T26" fmla="*/ 86 w 536"/>
                <a:gd name="T27" fmla="*/ 459 h 665"/>
                <a:gd name="T28" fmla="*/ 57 w 536"/>
                <a:gd name="T29" fmla="*/ 649 h 665"/>
                <a:gd name="T30" fmla="*/ 506 w 536"/>
                <a:gd name="T31" fmla="*/ 654 h 665"/>
                <a:gd name="T32" fmla="*/ 430 w 536"/>
                <a:gd name="T33" fmla="*/ 446 h 665"/>
                <a:gd name="T34" fmla="*/ 414 w 536"/>
                <a:gd name="T35" fmla="*/ 427 h 665"/>
                <a:gd name="T36" fmla="*/ 514 w 536"/>
                <a:gd name="T37" fmla="*/ 375 h 665"/>
                <a:gd name="T38" fmla="*/ 518 w 536"/>
                <a:gd name="T39" fmla="*/ 297 h 665"/>
                <a:gd name="T40" fmla="*/ 415 w 536"/>
                <a:gd name="T41" fmla="*/ 272 h 665"/>
                <a:gd name="T42" fmla="*/ 279 w 536"/>
                <a:gd name="T43" fmla="*/ 269 h 665"/>
                <a:gd name="T44" fmla="*/ 257 w 536"/>
                <a:gd name="T45" fmla="*/ 275 h 665"/>
                <a:gd name="T46" fmla="*/ 403 w 536"/>
                <a:gd name="T47" fmla="*/ 221 h 665"/>
                <a:gd name="T48" fmla="*/ 373 w 536"/>
                <a:gd name="T49" fmla="*/ 172 h 665"/>
                <a:gd name="T50" fmla="*/ 271 w 536"/>
                <a:gd name="T51" fmla="*/ 261 h 665"/>
                <a:gd name="T52" fmla="*/ 267 w 536"/>
                <a:gd name="T53" fmla="*/ 260 h 665"/>
                <a:gd name="T54" fmla="*/ 259 w 536"/>
                <a:gd name="T55" fmla="*/ 264 h 665"/>
                <a:gd name="T56" fmla="*/ 256 w 536"/>
                <a:gd name="T57" fmla="*/ 270 h 665"/>
                <a:gd name="T58" fmla="*/ 258 w 536"/>
                <a:gd name="T59" fmla="*/ 280 h 665"/>
                <a:gd name="T60" fmla="*/ 163 w 536"/>
                <a:gd name="T61" fmla="*/ 371 h 665"/>
                <a:gd name="T62" fmla="*/ 261 w 536"/>
                <a:gd name="T63" fmla="*/ 281 h 665"/>
                <a:gd name="T64" fmla="*/ 268 w 536"/>
                <a:gd name="T65" fmla="*/ 416 h 665"/>
                <a:gd name="T66" fmla="*/ 273 w 536"/>
                <a:gd name="T67" fmla="*/ 282 h 665"/>
                <a:gd name="T68" fmla="*/ 366 w 536"/>
                <a:gd name="T69" fmla="*/ 378 h 665"/>
                <a:gd name="T70" fmla="*/ 399 w 536"/>
                <a:gd name="T71" fmla="*/ 333 h 665"/>
                <a:gd name="T72" fmla="*/ 400 w 536"/>
                <a:gd name="T73" fmla="*/ 331 h 665"/>
                <a:gd name="T74" fmla="*/ 211 w 536"/>
                <a:gd name="T75" fmla="*/ 408 h 665"/>
                <a:gd name="T76" fmla="*/ 264 w 536"/>
                <a:gd name="T77" fmla="*/ 419 h 665"/>
                <a:gd name="T78" fmla="*/ 264 w 536"/>
                <a:gd name="T79" fmla="*/ 419 h 665"/>
                <a:gd name="T80" fmla="*/ 462 w 536"/>
                <a:gd name="T81" fmla="*/ 199 h 665"/>
                <a:gd name="T82" fmla="*/ 418 w 536"/>
                <a:gd name="T83" fmla="*/ 129 h 665"/>
                <a:gd name="T84" fmla="*/ 323 w 536"/>
                <a:gd name="T85" fmla="*/ 135 h 665"/>
                <a:gd name="T86" fmla="*/ 272 w 536"/>
                <a:gd name="T87" fmla="*/ 124 h 665"/>
                <a:gd name="T88" fmla="*/ 218 w 536"/>
                <a:gd name="T89" fmla="*/ 133 h 665"/>
                <a:gd name="T90" fmla="*/ 166 w 536"/>
                <a:gd name="T91" fmla="*/ 165 h 665"/>
                <a:gd name="T92" fmla="*/ 120 w 536"/>
                <a:gd name="T93" fmla="*/ 266 h 665"/>
                <a:gd name="T94" fmla="*/ 120 w 536"/>
                <a:gd name="T95" fmla="*/ 272 h 665"/>
                <a:gd name="T96" fmla="*/ 159 w 536"/>
                <a:gd name="T97" fmla="*/ 372 h 665"/>
                <a:gd name="T98" fmla="*/ 193 w 536"/>
                <a:gd name="T99" fmla="*/ 399 h 665"/>
                <a:gd name="T100" fmla="*/ 186 w 536"/>
                <a:gd name="T101" fmla="*/ 469 h 665"/>
                <a:gd name="T102" fmla="*/ 180 w 536"/>
                <a:gd name="T103" fmla="*/ 487 h 665"/>
                <a:gd name="T104" fmla="*/ 277 w 536"/>
                <a:gd name="T105" fmla="*/ 520 h 665"/>
                <a:gd name="T106" fmla="*/ 334 w 536"/>
                <a:gd name="T107" fmla="*/ 506 h 665"/>
                <a:gd name="T108" fmla="*/ 371 w 536"/>
                <a:gd name="T109" fmla="*/ 459 h 665"/>
                <a:gd name="T110" fmla="*/ 371 w 536"/>
                <a:gd name="T111" fmla="*/ 452 h 665"/>
                <a:gd name="T112" fmla="*/ 414 w 536"/>
                <a:gd name="T113" fmla="*/ 418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6" h="665">
                  <a:moveTo>
                    <a:pt x="518" y="262"/>
                  </a:moveTo>
                  <a:cubicBezTo>
                    <a:pt x="509" y="262"/>
                    <a:pt x="502" y="269"/>
                    <a:pt x="501" y="278"/>
                  </a:cubicBezTo>
                  <a:cubicBezTo>
                    <a:pt x="481" y="278"/>
                    <a:pt x="481" y="278"/>
                    <a:pt x="481" y="278"/>
                  </a:cubicBezTo>
                  <a:cubicBezTo>
                    <a:pt x="481" y="276"/>
                    <a:pt x="481" y="274"/>
                    <a:pt x="481" y="272"/>
                  </a:cubicBezTo>
                  <a:cubicBezTo>
                    <a:pt x="481" y="246"/>
                    <a:pt x="477" y="222"/>
                    <a:pt x="468" y="199"/>
                  </a:cubicBezTo>
                  <a:cubicBezTo>
                    <a:pt x="485" y="193"/>
                    <a:pt x="485" y="193"/>
                    <a:pt x="485" y="193"/>
                  </a:cubicBezTo>
                  <a:cubicBezTo>
                    <a:pt x="488" y="199"/>
                    <a:pt x="494" y="203"/>
                    <a:pt x="501" y="203"/>
                  </a:cubicBezTo>
                  <a:cubicBezTo>
                    <a:pt x="511" y="203"/>
                    <a:pt x="518" y="195"/>
                    <a:pt x="518" y="186"/>
                  </a:cubicBezTo>
                  <a:cubicBezTo>
                    <a:pt x="518" y="176"/>
                    <a:pt x="511" y="168"/>
                    <a:pt x="501" y="168"/>
                  </a:cubicBezTo>
                  <a:cubicBezTo>
                    <a:pt x="491" y="168"/>
                    <a:pt x="484" y="176"/>
                    <a:pt x="484" y="186"/>
                  </a:cubicBezTo>
                  <a:cubicBezTo>
                    <a:pt x="484" y="188"/>
                    <a:pt x="484" y="189"/>
                    <a:pt x="484" y="191"/>
                  </a:cubicBezTo>
                  <a:cubicBezTo>
                    <a:pt x="468" y="197"/>
                    <a:pt x="468" y="197"/>
                    <a:pt x="468" y="197"/>
                  </a:cubicBezTo>
                  <a:cubicBezTo>
                    <a:pt x="458" y="171"/>
                    <a:pt x="443" y="147"/>
                    <a:pt x="424" y="127"/>
                  </a:cubicBezTo>
                  <a:cubicBezTo>
                    <a:pt x="437" y="114"/>
                    <a:pt x="437" y="114"/>
                    <a:pt x="437" y="114"/>
                  </a:cubicBezTo>
                  <a:cubicBezTo>
                    <a:pt x="440" y="117"/>
                    <a:pt x="445" y="119"/>
                    <a:pt x="449" y="119"/>
                  </a:cubicBezTo>
                  <a:cubicBezTo>
                    <a:pt x="459" y="119"/>
                    <a:pt x="466" y="111"/>
                    <a:pt x="466" y="102"/>
                  </a:cubicBezTo>
                  <a:cubicBezTo>
                    <a:pt x="466" y="92"/>
                    <a:pt x="459" y="84"/>
                    <a:pt x="449" y="84"/>
                  </a:cubicBezTo>
                  <a:cubicBezTo>
                    <a:pt x="440" y="84"/>
                    <a:pt x="432" y="92"/>
                    <a:pt x="432" y="102"/>
                  </a:cubicBezTo>
                  <a:cubicBezTo>
                    <a:pt x="432" y="106"/>
                    <a:pt x="433" y="110"/>
                    <a:pt x="436" y="113"/>
                  </a:cubicBezTo>
                  <a:cubicBezTo>
                    <a:pt x="423" y="125"/>
                    <a:pt x="423" y="125"/>
                    <a:pt x="423" y="125"/>
                  </a:cubicBezTo>
                  <a:cubicBezTo>
                    <a:pt x="421" y="124"/>
                    <a:pt x="420" y="122"/>
                    <a:pt x="418" y="121"/>
                  </a:cubicBezTo>
                  <a:cubicBezTo>
                    <a:pt x="398" y="101"/>
                    <a:pt x="375" y="85"/>
                    <a:pt x="350" y="75"/>
                  </a:cubicBezTo>
                  <a:cubicBezTo>
                    <a:pt x="357" y="57"/>
                    <a:pt x="357" y="57"/>
                    <a:pt x="357" y="57"/>
                  </a:cubicBezTo>
                  <a:cubicBezTo>
                    <a:pt x="359" y="58"/>
                    <a:pt x="360" y="58"/>
                    <a:pt x="362" y="58"/>
                  </a:cubicBezTo>
                  <a:cubicBezTo>
                    <a:pt x="372" y="58"/>
                    <a:pt x="379" y="50"/>
                    <a:pt x="379" y="41"/>
                  </a:cubicBezTo>
                  <a:cubicBezTo>
                    <a:pt x="379" y="31"/>
                    <a:pt x="372" y="23"/>
                    <a:pt x="362" y="23"/>
                  </a:cubicBezTo>
                  <a:cubicBezTo>
                    <a:pt x="353" y="23"/>
                    <a:pt x="345" y="31"/>
                    <a:pt x="345" y="41"/>
                  </a:cubicBezTo>
                  <a:cubicBezTo>
                    <a:pt x="345" y="48"/>
                    <a:pt x="349" y="54"/>
                    <a:pt x="355" y="56"/>
                  </a:cubicBezTo>
                  <a:cubicBezTo>
                    <a:pt x="348" y="74"/>
                    <a:pt x="348" y="74"/>
                    <a:pt x="348" y="74"/>
                  </a:cubicBezTo>
                  <a:cubicBezTo>
                    <a:pt x="325" y="65"/>
                    <a:pt x="301" y="60"/>
                    <a:pt x="276" y="59"/>
                  </a:cubicBezTo>
                  <a:cubicBezTo>
                    <a:pt x="276" y="34"/>
                    <a:pt x="276" y="34"/>
                    <a:pt x="276" y="34"/>
                  </a:cubicBezTo>
                  <a:cubicBezTo>
                    <a:pt x="277" y="34"/>
                    <a:pt x="277" y="34"/>
                    <a:pt x="277" y="34"/>
                  </a:cubicBezTo>
                  <a:cubicBezTo>
                    <a:pt x="287" y="34"/>
                    <a:pt x="294" y="27"/>
                    <a:pt x="294" y="17"/>
                  </a:cubicBezTo>
                  <a:cubicBezTo>
                    <a:pt x="294" y="8"/>
                    <a:pt x="287" y="0"/>
                    <a:pt x="277" y="0"/>
                  </a:cubicBezTo>
                  <a:cubicBezTo>
                    <a:pt x="267" y="0"/>
                    <a:pt x="260" y="8"/>
                    <a:pt x="260" y="17"/>
                  </a:cubicBezTo>
                  <a:cubicBezTo>
                    <a:pt x="260" y="26"/>
                    <a:pt x="266" y="33"/>
                    <a:pt x="275" y="34"/>
                  </a:cubicBezTo>
                  <a:cubicBezTo>
                    <a:pt x="274" y="59"/>
                    <a:pt x="274" y="59"/>
                    <a:pt x="274" y="59"/>
                  </a:cubicBezTo>
                  <a:cubicBezTo>
                    <a:pt x="272" y="59"/>
                    <a:pt x="270" y="59"/>
                    <a:pt x="268" y="59"/>
                  </a:cubicBezTo>
                  <a:cubicBezTo>
                    <a:pt x="244" y="59"/>
                    <a:pt x="220" y="63"/>
                    <a:pt x="198" y="70"/>
                  </a:cubicBezTo>
                  <a:cubicBezTo>
                    <a:pt x="191" y="50"/>
                    <a:pt x="191" y="50"/>
                    <a:pt x="191" y="50"/>
                  </a:cubicBezTo>
                  <a:cubicBezTo>
                    <a:pt x="197" y="48"/>
                    <a:pt x="202" y="42"/>
                    <a:pt x="202" y="34"/>
                  </a:cubicBezTo>
                  <a:cubicBezTo>
                    <a:pt x="202" y="25"/>
                    <a:pt x="194" y="17"/>
                    <a:pt x="184" y="17"/>
                  </a:cubicBezTo>
                  <a:cubicBezTo>
                    <a:pt x="175" y="17"/>
                    <a:pt x="167" y="25"/>
                    <a:pt x="167" y="34"/>
                  </a:cubicBezTo>
                  <a:cubicBezTo>
                    <a:pt x="167" y="44"/>
                    <a:pt x="175" y="52"/>
                    <a:pt x="184" y="52"/>
                  </a:cubicBezTo>
                  <a:cubicBezTo>
                    <a:pt x="186" y="52"/>
                    <a:pt x="187" y="52"/>
                    <a:pt x="189" y="51"/>
                  </a:cubicBezTo>
                  <a:cubicBezTo>
                    <a:pt x="196" y="71"/>
                    <a:pt x="196" y="71"/>
                    <a:pt x="196" y="71"/>
                  </a:cubicBezTo>
                  <a:cubicBezTo>
                    <a:pt x="169" y="80"/>
                    <a:pt x="144" y="96"/>
                    <a:pt x="123" y="115"/>
                  </a:cubicBezTo>
                  <a:cubicBezTo>
                    <a:pt x="110" y="102"/>
                    <a:pt x="110" y="102"/>
                    <a:pt x="110" y="102"/>
                  </a:cubicBezTo>
                  <a:cubicBezTo>
                    <a:pt x="113" y="99"/>
                    <a:pt x="115" y="95"/>
                    <a:pt x="115" y="90"/>
                  </a:cubicBezTo>
                  <a:cubicBezTo>
                    <a:pt x="115" y="81"/>
                    <a:pt x="107" y="73"/>
                    <a:pt x="97" y="73"/>
                  </a:cubicBezTo>
                  <a:cubicBezTo>
                    <a:pt x="88" y="73"/>
                    <a:pt x="80" y="81"/>
                    <a:pt x="80" y="90"/>
                  </a:cubicBezTo>
                  <a:cubicBezTo>
                    <a:pt x="80" y="100"/>
                    <a:pt x="88" y="108"/>
                    <a:pt x="97" y="108"/>
                  </a:cubicBezTo>
                  <a:cubicBezTo>
                    <a:pt x="102" y="108"/>
                    <a:pt x="106" y="106"/>
                    <a:pt x="109" y="103"/>
                  </a:cubicBezTo>
                  <a:cubicBezTo>
                    <a:pt x="121" y="117"/>
                    <a:pt x="121" y="117"/>
                    <a:pt x="121" y="117"/>
                  </a:cubicBezTo>
                  <a:cubicBezTo>
                    <a:pt x="120" y="118"/>
                    <a:pt x="118" y="120"/>
                    <a:pt x="117" y="121"/>
                  </a:cubicBezTo>
                  <a:cubicBezTo>
                    <a:pt x="99" y="139"/>
                    <a:pt x="85" y="159"/>
                    <a:pt x="75" y="181"/>
                  </a:cubicBezTo>
                  <a:cubicBezTo>
                    <a:pt x="58" y="174"/>
                    <a:pt x="58" y="174"/>
                    <a:pt x="58" y="174"/>
                  </a:cubicBezTo>
                  <a:cubicBezTo>
                    <a:pt x="59" y="172"/>
                    <a:pt x="59" y="170"/>
                    <a:pt x="59" y="168"/>
                  </a:cubicBezTo>
                  <a:cubicBezTo>
                    <a:pt x="59" y="159"/>
                    <a:pt x="52" y="151"/>
                    <a:pt x="42" y="151"/>
                  </a:cubicBezTo>
                  <a:cubicBezTo>
                    <a:pt x="33" y="151"/>
                    <a:pt x="25" y="159"/>
                    <a:pt x="25" y="168"/>
                  </a:cubicBezTo>
                  <a:cubicBezTo>
                    <a:pt x="25" y="178"/>
                    <a:pt x="33" y="186"/>
                    <a:pt x="42" y="186"/>
                  </a:cubicBezTo>
                  <a:cubicBezTo>
                    <a:pt x="49" y="186"/>
                    <a:pt x="55" y="182"/>
                    <a:pt x="58" y="176"/>
                  </a:cubicBezTo>
                  <a:cubicBezTo>
                    <a:pt x="74" y="183"/>
                    <a:pt x="74" y="183"/>
                    <a:pt x="74" y="183"/>
                  </a:cubicBezTo>
                  <a:cubicBezTo>
                    <a:pt x="62" y="208"/>
                    <a:pt x="56" y="236"/>
                    <a:pt x="55" y="264"/>
                  </a:cubicBezTo>
                  <a:cubicBezTo>
                    <a:pt x="34" y="263"/>
                    <a:pt x="34" y="263"/>
                    <a:pt x="34" y="263"/>
                  </a:cubicBezTo>
                  <a:cubicBezTo>
                    <a:pt x="34" y="254"/>
                    <a:pt x="26" y="246"/>
                    <a:pt x="17" y="246"/>
                  </a:cubicBezTo>
                  <a:cubicBezTo>
                    <a:pt x="7" y="246"/>
                    <a:pt x="0" y="254"/>
                    <a:pt x="0" y="264"/>
                  </a:cubicBezTo>
                  <a:cubicBezTo>
                    <a:pt x="0" y="273"/>
                    <a:pt x="7" y="281"/>
                    <a:pt x="17" y="281"/>
                  </a:cubicBezTo>
                  <a:cubicBezTo>
                    <a:pt x="26" y="281"/>
                    <a:pt x="33" y="274"/>
                    <a:pt x="34" y="265"/>
                  </a:cubicBezTo>
                  <a:cubicBezTo>
                    <a:pt x="55" y="266"/>
                    <a:pt x="55" y="266"/>
                    <a:pt x="55" y="266"/>
                  </a:cubicBezTo>
                  <a:cubicBezTo>
                    <a:pt x="55" y="268"/>
                    <a:pt x="55" y="270"/>
                    <a:pt x="55" y="272"/>
                  </a:cubicBezTo>
                  <a:cubicBezTo>
                    <a:pt x="55" y="297"/>
                    <a:pt x="59" y="321"/>
                    <a:pt x="67" y="344"/>
                  </a:cubicBezTo>
                  <a:cubicBezTo>
                    <a:pt x="50" y="351"/>
                    <a:pt x="50" y="351"/>
                    <a:pt x="50" y="351"/>
                  </a:cubicBezTo>
                  <a:cubicBezTo>
                    <a:pt x="48" y="345"/>
                    <a:pt x="42" y="340"/>
                    <a:pt x="35" y="340"/>
                  </a:cubicBezTo>
                  <a:cubicBezTo>
                    <a:pt x="25" y="340"/>
                    <a:pt x="17" y="348"/>
                    <a:pt x="17" y="358"/>
                  </a:cubicBezTo>
                  <a:cubicBezTo>
                    <a:pt x="17" y="367"/>
                    <a:pt x="25" y="375"/>
                    <a:pt x="35" y="375"/>
                  </a:cubicBezTo>
                  <a:cubicBezTo>
                    <a:pt x="44" y="375"/>
                    <a:pt x="52" y="367"/>
                    <a:pt x="52" y="358"/>
                  </a:cubicBezTo>
                  <a:cubicBezTo>
                    <a:pt x="52" y="356"/>
                    <a:pt x="52" y="354"/>
                    <a:pt x="51" y="352"/>
                  </a:cubicBezTo>
                  <a:cubicBezTo>
                    <a:pt x="68" y="346"/>
                    <a:pt x="68" y="346"/>
                    <a:pt x="68" y="346"/>
                  </a:cubicBezTo>
                  <a:cubicBezTo>
                    <a:pt x="78" y="372"/>
                    <a:pt x="92" y="396"/>
                    <a:pt x="112" y="417"/>
                  </a:cubicBezTo>
                  <a:cubicBezTo>
                    <a:pt x="98" y="429"/>
                    <a:pt x="98" y="429"/>
                    <a:pt x="98" y="429"/>
                  </a:cubicBezTo>
                  <a:cubicBezTo>
                    <a:pt x="95" y="426"/>
                    <a:pt x="91" y="424"/>
                    <a:pt x="86" y="424"/>
                  </a:cubicBezTo>
                  <a:cubicBezTo>
                    <a:pt x="77" y="424"/>
                    <a:pt x="69" y="432"/>
                    <a:pt x="69" y="442"/>
                  </a:cubicBezTo>
                  <a:cubicBezTo>
                    <a:pt x="69" y="451"/>
                    <a:pt x="77" y="459"/>
                    <a:pt x="86" y="459"/>
                  </a:cubicBezTo>
                  <a:cubicBezTo>
                    <a:pt x="96" y="459"/>
                    <a:pt x="104" y="451"/>
                    <a:pt x="104" y="442"/>
                  </a:cubicBezTo>
                  <a:cubicBezTo>
                    <a:pt x="104" y="437"/>
                    <a:pt x="102" y="434"/>
                    <a:pt x="100" y="431"/>
                  </a:cubicBezTo>
                  <a:cubicBezTo>
                    <a:pt x="113" y="418"/>
                    <a:pt x="113" y="418"/>
                    <a:pt x="113" y="418"/>
                  </a:cubicBezTo>
                  <a:cubicBezTo>
                    <a:pt x="114" y="420"/>
                    <a:pt x="116" y="421"/>
                    <a:pt x="117" y="422"/>
                  </a:cubicBezTo>
                  <a:cubicBezTo>
                    <a:pt x="131" y="436"/>
                    <a:pt x="146" y="447"/>
                    <a:pt x="162" y="457"/>
                  </a:cubicBezTo>
                  <a:cubicBezTo>
                    <a:pt x="57" y="649"/>
                    <a:pt x="57" y="649"/>
                    <a:pt x="57" y="649"/>
                  </a:cubicBezTo>
                  <a:cubicBezTo>
                    <a:pt x="39" y="649"/>
                    <a:pt x="39" y="649"/>
                    <a:pt x="39" y="649"/>
                  </a:cubicBezTo>
                  <a:cubicBezTo>
                    <a:pt x="39" y="654"/>
                    <a:pt x="39" y="654"/>
                    <a:pt x="39" y="654"/>
                  </a:cubicBezTo>
                  <a:cubicBezTo>
                    <a:pt x="29" y="654"/>
                    <a:pt x="29" y="654"/>
                    <a:pt x="29" y="654"/>
                  </a:cubicBezTo>
                  <a:cubicBezTo>
                    <a:pt x="29" y="665"/>
                    <a:pt x="29" y="665"/>
                    <a:pt x="29" y="665"/>
                  </a:cubicBezTo>
                  <a:cubicBezTo>
                    <a:pt x="506" y="665"/>
                    <a:pt x="506" y="665"/>
                    <a:pt x="506" y="665"/>
                  </a:cubicBezTo>
                  <a:cubicBezTo>
                    <a:pt x="506" y="654"/>
                    <a:pt x="506" y="654"/>
                    <a:pt x="506" y="654"/>
                  </a:cubicBezTo>
                  <a:cubicBezTo>
                    <a:pt x="497" y="654"/>
                    <a:pt x="497" y="654"/>
                    <a:pt x="497" y="654"/>
                  </a:cubicBezTo>
                  <a:cubicBezTo>
                    <a:pt x="497" y="649"/>
                    <a:pt x="497" y="649"/>
                    <a:pt x="497" y="649"/>
                  </a:cubicBezTo>
                  <a:cubicBezTo>
                    <a:pt x="478" y="649"/>
                    <a:pt x="478" y="649"/>
                    <a:pt x="478" y="649"/>
                  </a:cubicBezTo>
                  <a:cubicBezTo>
                    <a:pt x="374" y="457"/>
                    <a:pt x="374" y="457"/>
                    <a:pt x="374" y="457"/>
                  </a:cubicBezTo>
                  <a:cubicBezTo>
                    <a:pt x="388" y="449"/>
                    <a:pt x="401" y="439"/>
                    <a:pt x="413" y="428"/>
                  </a:cubicBezTo>
                  <a:cubicBezTo>
                    <a:pt x="430" y="446"/>
                    <a:pt x="430" y="446"/>
                    <a:pt x="430" y="446"/>
                  </a:cubicBezTo>
                  <a:cubicBezTo>
                    <a:pt x="426" y="449"/>
                    <a:pt x="424" y="454"/>
                    <a:pt x="424" y="459"/>
                  </a:cubicBezTo>
                  <a:cubicBezTo>
                    <a:pt x="424" y="468"/>
                    <a:pt x="432" y="476"/>
                    <a:pt x="441" y="476"/>
                  </a:cubicBezTo>
                  <a:cubicBezTo>
                    <a:pt x="451" y="476"/>
                    <a:pt x="458" y="468"/>
                    <a:pt x="458" y="459"/>
                  </a:cubicBezTo>
                  <a:cubicBezTo>
                    <a:pt x="458" y="449"/>
                    <a:pt x="451" y="442"/>
                    <a:pt x="441" y="442"/>
                  </a:cubicBezTo>
                  <a:cubicBezTo>
                    <a:pt x="437" y="442"/>
                    <a:pt x="434" y="443"/>
                    <a:pt x="431" y="445"/>
                  </a:cubicBezTo>
                  <a:cubicBezTo>
                    <a:pt x="414" y="427"/>
                    <a:pt x="414" y="427"/>
                    <a:pt x="414" y="427"/>
                  </a:cubicBezTo>
                  <a:cubicBezTo>
                    <a:pt x="416" y="425"/>
                    <a:pt x="417" y="424"/>
                    <a:pt x="418" y="422"/>
                  </a:cubicBezTo>
                  <a:cubicBezTo>
                    <a:pt x="436" y="405"/>
                    <a:pt x="451" y="384"/>
                    <a:pt x="461" y="362"/>
                  </a:cubicBezTo>
                  <a:cubicBezTo>
                    <a:pt x="480" y="371"/>
                    <a:pt x="480" y="371"/>
                    <a:pt x="480" y="371"/>
                  </a:cubicBezTo>
                  <a:cubicBezTo>
                    <a:pt x="479" y="372"/>
                    <a:pt x="479" y="373"/>
                    <a:pt x="479" y="375"/>
                  </a:cubicBezTo>
                  <a:cubicBezTo>
                    <a:pt x="479" y="384"/>
                    <a:pt x="487" y="392"/>
                    <a:pt x="497" y="392"/>
                  </a:cubicBezTo>
                  <a:cubicBezTo>
                    <a:pt x="506" y="392"/>
                    <a:pt x="514" y="384"/>
                    <a:pt x="514" y="375"/>
                  </a:cubicBezTo>
                  <a:cubicBezTo>
                    <a:pt x="514" y="365"/>
                    <a:pt x="506" y="358"/>
                    <a:pt x="497" y="358"/>
                  </a:cubicBezTo>
                  <a:cubicBezTo>
                    <a:pt x="489" y="358"/>
                    <a:pt x="483" y="362"/>
                    <a:pt x="480" y="369"/>
                  </a:cubicBezTo>
                  <a:cubicBezTo>
                    <a:pt x="462" y="360"/>
                    <a:pt x="462" y="360"/>
                    <a:pt x="462" y="360"/>
                  </a:cubicBezTo>
                  <a:cubicBezTo>
                    <a:pt x="473" y="335"/>
                    <a:pt x="480" y="308"/>
                    <a:pt x="481" y="280"/>
                  </a:cubicBezTo>
                  <a:cubicBezTo>
                    <a:pt x="501" y="280"/>
                    <a:pt x="501" y="280"/>
                    <a:pt x="501" y="280"/>
                  </a:cubicBezTo>
                  <a:cubicBezTo>
                    <a:pt x="501" y="290"/>
                    <a:pt x="509" y="297"/>
                    <a:pt x="518" y="297"/>
                  </a:cubicBezTo>
                  <a:cubicBezTo>
                    <a:pt x="528" y="297"/>
                    <a:pt x="536" y="289"/>
                    <a:pt x="536" y="280"/>
                  </a:cubicBezTo>
                  <a:cubicBezTo>
                    <a:pt x="536" y="270"/>
                    <a:pt x="528" y="262"/>
                    <a:pt x="518" y="262"/>
                  </a:cubicBezTo>
                  <a:close/>
                  <a:moveTo>
                    <a:pt x="475" y="272"/>
                  </a:moveTo>
                  <a:cubicBezTo>
                    <a:pt x="475" y="274"/>
                    <a:pt x="475" y="276"/>
                    <a:pt x="475" y="277"/>
                  </a:cubicBezTo>
                  <a:cubicBezTo>
                    <a:pt x="415" y="276"/>
                    <a:pt x="415" y="276"/>
                    <a:pt x="415" y="276"/>
                  </a:cubicBezTo>
                  <a:cubicBezTo>
                    <a:pt x="415" y="274"/>
                    <a:pt x="415" y="273"/>
                    <a:pt x="415" y="272"/>
                  </a:cubicBezTo>
                  <a:cubicBezTo>
                    <a:pt x="415" y="254"/>
                    <a:pt x="412" y="237"/>
                    <a:pt x="407" y="222"/>
                  </a:cubicBezTo>
                  <a:cubicBezTo>
                    <a:pt x="463" y="201"/>
                    <a:pt x="463" y="201"/>
                    <a:pt x="463" y="201"/>
                  </a:cubicBezTo>
                  <a:cubicBezTo>
                    <a:pt x="471" y="223"/>
                    <a:pt x="475" y="247"/>
                    <a:pt x="475" y="272"/>
                  </a:cubicBezTo>
                  <a:close/>
                  <a:moveTo>
                    <a:pt x="413" y="275"/>
                  </a:moveTo>
                  <a:cubicBezTo>
                    <a:pt x="279" y="271"/>
                    <a:pt x="279" y="271"/>
                    <a:pt x="279" y="271"/>
                  </a:cubicBezTo>
                  <a:cubicBezTo>
                    <a:pt x="279" y="270"/>
                    <a:pt x="279" y="269"/>
                    <a:pt x="279" y="269"/>
                  </a:cubicBezTo>
                  <a:cubicBezTo>
                    <a:pt x="404" y="223"/>
                    <a:pt x="404" y="223"/>
                    <a:pt x="404" y="223"/>
                  </a:cubicBezTo>
                  <a:cubicBezTo>
                    <a:pt x="410" y="238"/>
                    <a:pt x="413" y="254"/>
                    <a:pt x="413" y="272"/>
                  </a:cubicBezTo>
                  <a:cubicBezTo>
                    <a:pt x="413" y="273"/>
                    <a:pt x="413" y="274"/>
                    <a:pt x="413" y="275"/>
                  </a:cubicBezTo>
                  <a:close/>
                  <a:moveTo>
                    <a:pt x="123" y="268"/>
                  </a:moveTo>
                  <a:cubicBezTo>
                    <a:pt x="256" y="272"/>
                    <a:pt x="256" y="272"/>
                    <a:pt x="256" y="272"/>
                  </a:cubicBezTo>
                  <a:cubicBezTo>
                    <a:pt x="256" y="273"/>
                    <a:pt x="256" y="274"/>
                    <a:pt x="257" y="275"/>
                  </a:cubicBezTo>
                  <a:cubicBezTo>
                    <a:pt x="132" y="321"/>
                    <a:pt x="132" y="321"/>
                    <a:pt x="132" y="321"/>
                  </a:cubicBezTo>
                  <a:cubicBezTo>
                    <a:pt x="126" y="305"/>
                    <a:pt x="123" y="289"/>
                    <a:pt x="123" y="272"/>
                  </a:cubicBezTo>
                  <a:cubicBezTo>
                    <a:pt x="123" y="270"/>
                    <a:pt x="123" y="269"/>
                    <a:pt x="123" y="268"/>
                  </a:cubicBezTo>
                  <a:close/>
                  <a:moveTo>
                    <a:pt x="277" y="264"/>
                  </a:moveTo>
                  <a:cubicBezTo>
                    <a:pt x="374" y="173"/>
                    <a:pt x="374" y="173"/>
                    <a:pt x="374" y="173"/>
                  </a:cubicBezTo>
                  <a:cubicBezTo>
                    <a:pt x="387" y="187"/>
                    <a:pt x="397" y="203"/>
                    <a:pt x="403" y="221"/>
                  </a:cubicBezTo>
                  <a:cubicBezTo>
                    <a:pt x="278" y="267"/>
                    <a:pt x="278" y="267"/>
                    <a:pt x="278" y="267"/>
                  </a:cubicBezTo>
                  <a:cubicBezTo>
                    <a:pt x="278" y="266"/>
                    <a:pt x="277" y="265"/>
                    <a:pt x="277" y="264"/>
                  </a:cubicBezTo>
                  <a:close/>
                  <a:moveTo>
                    <a:pt x="276" y="263"/>
                  </a:moveTo>
                  <a:cubicBezTo>
                    <a:pt x="275" y="262"/>
                    <a:pt x="274" y="262"/>
                    <a:pt x="273" y="261"/>
                  </a:cubicBezTo>
                  <a:cubicBezTo>
                    <a:pt x="324" y="138"/>
                    <a:pt x="324" y="138"/>
                    <a:pt x="324" y="138"/>
                  </a:cubicBezTo>
                  <a:cubicBezTo>
                    <a:pt x="342" y="146"/>
                    <a:pt x="359" y="158"/>
                    <a:pt x="373" y="172"/>
                  </a:cubicBezTo>
                  <a:lnTo>
                    <a:pt x="276" y="263"/>
                  </a:lnTo>
                  <a:close/>
                  <a:moveTo>
                    <a:pt x="271" y="261"/>
                  </a:moveTo>
                  <a:cubicBezTo>
                    <a:pt x="271" y="260"/>
                    <a:pt x="270" y="260"/>
                    <a:pt x="269" y="260"/>
                  </a:cubicBezTo>
                  <a:cubicBezTo>
                    <a:pt x="273" y="127"/>
                    <a:pt x="273" y="127"/>
                    <a:pt x="273" y="127"/>
                  </a:cubicBezTo>
                  <a:cubicBezTo>
                    <a:pt x="290" y="128"/>
                    <a:pt x="307" y="131"/>
                    <a:pt x="322" y="137"/>
                  </a:cubicBezTo>
                  <a:lnTo>
                    <a:pt x="271" y="261"/>
                  </a:lnTo>
                  <a:close/>
                  <a:moveTo>
                    <a:pt x="267" y="260"/>
                  </a:moveTo>
                  <a:cubicBezTo>
                    <a:pt x="266" y="260"/>
                    <a:pt x="266" y="260"/>
                    <a:pt x="265" y="260"/>
                  </a:cubicBezTo>
                  <a:cubicBezTo>
                    <a:pt x="221" y="135"/>
                    <a:pt x="221" y="135"/>
                    <a:pt x="221" y="135"/>
                  </a:cubicBezTo>
                  <a:cubicBezTo>
                    <a:pt x="235" y="130"/>
                    <a:pt x="251" y="127"/>
                    <a:pt x="268" y="127"/>
                  </a:cubicBezTo>
                  <a:cubicBezTo>
                    <a:pt x="269" y="127"/>
                    <a:pt x="270" y="127"/>
                    <a:pt x="272" y="127"/>
                  </a:cubicBezTo>
                  <a:lnTo>
                    <a:pt x="267" y="260"/>
                  </a:lnTo>
                  <a:close/>
                  <a:moveTo>
                    <a:pt x="263" y="261"/>
                  </a:moveTo>
                  <a:cubicBezTo>
                    <a:pt x="262" y="261"/>
                    <a:pt x="261" y="262"/>
                    <a:pt x="261" y="263"/>
                  </a:cubicBezTo>
                  <a:cubicBezTo>
                    <a:pt x="170" y="165"/>
                    <a:pt x="170" y="165"/>
                    <a:pt x="170" y="165"/>
                  </a:cubicBezTo>
                  <a:cubicBezTo>
                    <a:pt x="184" y="152"/>
                    <a:pt x="200" y="142"/>
                    <a:pt x="219" y="135"/>
                  </a:cubicBezTo>
                  <a:lnTo>
                    <a:pt x="263" y="261"/>
                  </a:lnTo>
                  <a:close/>
                  <a:moveTo>
                    <a:pt x="259" y="264"/>
                  </a:moveTo>
                  <a:cubicBezTo>
                    <a:pt x="259" y="264"/>
                    <a:pt x="258" y="265"/>
                    <a:pt x="258" y="266"/>
                  </a:cubicBezTo>
                  <a:cubicBezTo>
                    <a:pt x="137" y="210"/>
                    <a:pt x="137" y="210"/>
                    <a:pt x="137" y="210"/>
                  </a:cubicBezTo>
                  <a:cubicBezTo>
                    <a:pt x="144" y="194"/>
                    <a:pt x="155" y="179"/>
                    <a:pt x="168" y="167"/>
                  </a:cubicBezTo>
                  <a:lnTo>
                    <a:pt x="259" y="264"/>
                  </a:lnTo>
                  <a:close/>
                  <a:moveTo>
                    <a:pt x="257" y="268"/>
                  </a:moveTo>
                  <a:cubicBezTo>
                    <a:pt x="257" y="269"/>
                    <a:pt x="256" y="269"/>
                    <a:pt x="256" y="270"/>
                  </a:cubicBezTo>
                  <a:cubicBezTo>
                    <a:pt x="123" y="266"/>
                    <a:pt x="123" y="266"/>
                    <a:pt x="123" y="266"/>
                  </a:cubicBezTo>
                  <a:cubicBezTo>
                    <a:pt x="124" y="247"/>
                    <a:pt x="128" y="228"/>
                    <a:pt x="136" y="212"/>
                  </a:cubicBezTo>
                  <a:lnTo>
                    <a:pt x="257" y="268"/>
                  </a:lnTo>
                  <a:close/>
                  <a:moveTo>
                    <a:pt x="257" y="277"/>
                  </a:moveTo>
                  <a:cubicBezTo>
                    <a:pt x="258" y="277"/>
                    <a:pt x="258" y="278"/>
                    <a:pt x="258" y="278"/>
                  </a:cubicBezTo>
                  <a:cubicBezTo>
                    <a:pt x="258" y="280"/>
                    <a:pt x="258" y="280"/>
                    <a:pt x="258" y="280"/>
                  </a:cubicBezTo>
                  <a:cubicBezTo>
                    <a:pt x="162" y="370"/>
                    <a:pt x="162" y="370"/>
                    <a:pt x="162" y="370"/>
                  </a:cubicBezTo>
                  <a:cubicBezTo>
                    <a:pt x="149" y="356"/>
                    <a:pt x="139" y="340"/>
                    <a:pt x="132" y="323"/>
                  </a:cubicBezTo>
                  <a:lnTo>
                    <a:pt x="257" y="277"/>
                  </a:lnTo>
                  <a:close/>
                  <a:moveTo>
                    <a:pt x="255" y="285"/>
                  </a:moveTo>
                  <a:cubicBezTo>
                    <a:pt x="194" y="396"/>
                    <a:pt x="194" y="396"/>
                    <a:pt x="194" y="396"/>
                  </a:cubicBezTo>
                  <a:cubicBezTo>
                    <a:pt x="183" y="390"/>
                    <a:pt x="172" y="381"/>
                    <a:pt x="163" y="371"/>
                  </a:cubicBezTo>
                  <a:lnTo>
                    <a:pt x="255" y="285"/>
                  </a:lnTo>
                  <a:close/>
                  <a:moveTo>
                    <a:pt x="261" y="281"/>
                  </a:moveTo>
                  <a:cubicBezTo>
                    <a:pt x="262" y="282"/>
                    <a:pt x="262" y="282"/>
                    <a:pt x="262" y="282"/>
                  </a:cubicBezTo>
                  <a:cubicBezTo>
                    <a:pt x="212" y="405"/>
                    <a:pt x="212" y="405"/>
                    <a:pt x="212" y="405"/>
                  </a:cubicBezTo>
                  <a:cubicBezTo>
                    <a:pt x="207" y="403"/>
                    <a:pt x="202" y="401"/>
                    <a:pt x="198" y="398"/>
                  </a:cubicBezTo>
                  <a:lnTo>
                    <a:pt x="261" y="281"/>
                  </a:lnTo>
                  <a:close/>
                  <a:moveTo>
                    <a:pt x="264" y="283"/>
                  </a:moveTo>
                  <a:cubicBezTo>
                    <a:pt x="265" y="283"/>
                    <a:pt x="266" y="283"/>
                    <a:pt x="266" y="283"/>
                  </a:cubicBezTo>
                  <a:cubicBezTo>
                    <a:pt x="262" y="416"/>
                    <a:pt x="262" y="416"/>
                    <a:pt x="262" y="416"/>
                  </a:cubicBezTo>
                  <a:cubicBezTo>
                    <a:pt x="245" y="416"/>
                    <a:pt x="229" y="412"/>
                    <a:pt x="214" y="406"/>
                  </a:cubicBezTo>
                  <a:lnTo>
                    <a:pt x="264" y="283"/>
                  </a:lnTo>
                  <a:close/>
                  <a:moveTo>
                    <a:pt x="268" y="416"/>
                  </a:moveTo>
                  <a:cubicBezTo>
                    <a:pt x="267" y="416"/>
                    <a:pt x="265" y="416"/>
                    <a:pt x="264" y="416"/>
                  </a:cubicBezTo>
                  <a:cubicBezTo>
                    <a:pt x="268" y="283"/>
                    <a:pt x="268" y="283"/>
                    <a:pt x="268" y="283"/>
                  </a:cubicBezTo>
                  <a:cubicBezTo>
                    <a:pt x="269" y="283"/>
                    <a:pt x="270" y="283"/>
                    <a:pt x="271" y="283"/>
                  </a:cubicBezTo>
                  <a:cubicBezTo>
                    <a:pt x="315" y="409"/>
                    <a:pt x="315" y="409"/>
                    <a:pt x="315" y="409"/>
                  </a:cubicBezTo>
                  <a:cubicBezTo>
                    <a:pt x="300" y="414"/>
                    <a:pt x="284" y="416"/>
                    <a:pt x="268" y="416"/>
                  </a:cubicBezTo>
                  <a:close/>
                  <a:moveTo>
                    <a:pt x="273" y="282"/>
                  </a:moveTo>
                  <a:cubicBezTo>
                    <a:pt x="273" y="282"/>
                    <a:pt x="274" y="282"/>
                    <a:pt x="274" y="281"/>
                  </a:cubicBezTo>
                  <a:cubicBezTo>
                    <a:pt x="338" y="398"/>
                    <a:pt x="338" y="398"/>
                    <a:pt x="338" y="398"/>
                  </a:cubicBezTo>
                  <a:cubicBezTo>
                    <a:pt x="331" y="402"/>
                    <a:pt x="324" y="405"/>
                    <a:pt x="317" y="408"/>
                  </a:cubicBezTo>
                  <a:lnTo>
                    <a:pt x="273" y="282"/>
                  </a:lnTo>
                  <a:close/>
                  <a:moveTo>
                    <a:pt x="283" y="290"/>
                  </a:moveTo>
                  <a:cubicBezTo>
                    <a:pt x="366" y="378"/>
                    <a:pt x="366" y="378"/>
                    <a:pt x="366" y="378"/>
                  </a:cubicBezTo>
                  <a:cubicBezTo>
                    <a:pt x="358" y="385"/>
                    <a:pt x="350" y="391"/>
                    <a:pt x="341" y="396"/>
                  </a:cubicBezTo>
                  <a:lnTo>
                    <a:pt x="283" y="290"/>
                  </a:lnTo>
                  <a:close/>
                  <a:moveTo>
                    <a:pt x="280" y="283"/>
                  </a:moveTo>
                  <a:cubicBezTo>
                    <a:pt x="277" y="278"/>
                    <a:pt x="277" y="278"/>
                    <a:pt x="277" y="278"/>
                  </a:cubicBezTo>
                  <a:cubicBezTo>
                    <a:pt x="277" y="278"/>
                    <a:pt x="278" y="278"/>
                    <a:pt x="278" y="277"/>
                  </a:cubicBezTo>
                  <a:cubicBezTo>
                    <a:pt x="399" y="333"/>
                    <a:pt x="399" y="333"/>
                    <a:pt x="399" y="333"/>
                  </a:cubicBezTo>
                  <a:cubicBezTo>
                    <a:pt x="391" y="350"/>
                    <a:pt x="380" y="364"/>
                    <a:pt x="367" y="377"/>
                  </a:cubicBezTo>
                  <a:lnTo>
                    <a:pt x="280" y="283"/>
                  </a:lnTo>
                  <a:close/>
                  <a:moveTo>
                    <a:pt x="279" y="276"/>
                  </a:moveTo>
                  <a:cubicBezTo>
                    <a:pt x="279" y="275"/>
                    <a:pt x="279" y="274"/>
                    <a:pt x="279" y="273"/>
                  </a:cubicBezTo>
                  <a:cubicBezTo>
                    <a:pt x="412" y="277"/>
                    <a:pt x="412" y="277"/>
                    <a:pt x="412" y="277"/>
                  </a:cubicBezTo>
                  <a:cubicBezTo>
                    <a:pt x="412" y="297"/>
                    <a:pt x="407" y="315"/>
                    <a:pt x="400" y="331"/>
                  </a:cubicBezTo>
                  <a:lnTo>
                    <a:pt x="279" y="276"/>
                  </a:lnTo>
                  <a:close/>
                  <a:moveTo>
                    <a:pt x="211" y="408"/>
                  </a:moveTo>
                  <a:cubicBezTo>
                    <a:pt x="188" y="463"/>
                    <a:pt x="188" y="463"/>
                    <a:pt x="188" y="463"/>
                  </a:cubicBezTo>
                  <a:cubicBezTo>
                    <a:pt x="181" y="460"/>
                    <a:pt x="174" y="457"/>
                    <a:pt x="168" y="453"/>
                  </a:cubicBezTo>
                  <a:cubicBezTo>
                    <a:pt x="196" y="401"/>
                    <a:pt x="196" y="401"/>
                    <a:pt x="196" y="401"/>
                  </a:cubicBezTo>
                  <a:cubicBezTo>
                    <a:pt x="201" y="403"/>
                    <a:pt x="206" y="406"/>
                    <a:pt x="211" y="408"/>
                  </a:cubicBezTo>
                  <a:close/>
                  <a:moveTo>
                    <a:pt x="213" y="409"/>
                  </a:moveTo>
                  <a:cubicBezTo>
                    <a:pt x="228" y="415"/>
                    <a:pt x="245" y="419"/>
                    <a:pt x="262" y="419"/>
                  </a:cubicBezTo>
                  <a:cubicBezTo>
                    <a:pt x="260" y="479"/>
                    <a:pt x="260" y="479"/>
                    <a:pt x="260" y="479"/>
                  </a:cubicBezTo>
                  <a:cubicBezTo>
                    <a:pt x="236" y="478"/>
                    <a:pt x="212" y="473"/>
                    <a:pt x="190" y="464"/>
                  </a:cubicBezTo>
                  <a:lnTo>
                    <a:pt x="213" y="409"/>
                  </a:lnTo>
                  <a:close/>
                  <a:moveTo>
                    <a:pt x="264" y="419"/>
                  </a:moveTo>
                  <a:cubicBezTo>
                    <a:pt x="265" y="419"/>
                    <a:pt x="266" y="419"/>
                    <a:pt x="268" y="419"/>
                  </a:cubicBezTo>
                  <a:cubicBezTo>
                    <a:pt x="285" y="419"/>
                    <a:pt x="301" y="416"/>
                    <a:pt x="316" y="411"/>
                  </a:cubicBezTo>
                  <a:cubicBezTo>
                    <a:pt x="336" y="468"/>
                    <a:pt x="336" y="468"/>
                    <a:pt x="336" y="468"/>
                  </a:cubicBezTo>
                  <a:cubicBezTo>
                    <a:pt x="314" y="475"/>
                    <a:pt x="291" y="479"/>
                    <a:pt x="268" y="479"/>
                  </a:cubicBezTo>
                  <a:cubicBezTo>
                    <a:pt x="266" y="479"/>
                    <a:pt x="264" y="479"/>
                    <a:pt x="262" y="479"/>
                  </a:cubicBezTo>
                  <a:lnTo>
                    <a:pt x="264" y="419"/>
                  </a:lnTo>
                  <a:close/>
                  <a:moveTo>
                    <a:pt x="318" y="411"/>
                  </a:moveTo>
                  <a:cubicBezTo>
                    <a:pt x="325" y="408"/>
                    <a:pt x="332" y="405"/>
                    <a:pt x="339" y="401"/>
                  </a:cubicBezTo>
                  <a:cubicBezTo>
                    <a:pt x="368" y="453"/>
                    <a:pt x="368" y="453"/>
                    <a:pt x="368" y="453"/>
                  </a:cubicBezTo>
                  <a:cubicBezTo>
                    <a:pt x="358" y="459"/>
                    <a:pt x="348" y="463"/>
                    <a:pt x="338" y="467"/>
                  </a:cubicBezTo>
                  <a:lnTo>
                    <a:pt x="318" y="411"/>
                  </a:lnTo>
                  <a:close/>
                  <a:moveTo>
                    <a:pt x="462" y="199"/>
                  </a:moveTo>
                  <a:cubicBezTo>
                    <a:pt x="406" y="220"/>
                    <a:pt x="406" y="220"/>
                    <a:pt x="406" y="220"/>
                  </a:cubicBezTo>
                  <a:cubicBezTo>
                    <a:pt x="399" y="202"/>
                    <a:pt x="389" y="185"/>
                    <a:pt x="376" y="171"/>
                  </a:cubicBezTo>
                  <a:cubicBezTo>
                    <a:pt x="420" y="131"/>
                    <a:pt x="420" y="131"/>
                    <a:pt x="420" y="131"/>
                  </a:cubicBezTo>
                  <a:cubicBezTo>
                    <a:pt x="438" y="151"/>
                    <a:pt x="453" y="174"/>
                    <a:pt x="462" y="199"/>
                  </a:cubicBezTo>
                  <a:close/>
                  <a:moveTo>
                    <a:pt x="414" y="125"/>
                  </a:moveTo>
                  <a:cubicBezTo>
                    <a:pt x="416" y="126"/>
                    <a:pt x="417" y="128"/>
                    <a:pt x="418" y="129"/>
                  </a:cubicBezTo>
                  <a:cubicBezTo>
                    <a:pt x="375" y="170"/>
                    <a:pt x="375" y="170"/>
                    <a:pt x="375" y="170"/>
                  </a:cubicBezTo>
                  <a:cubicBezTo>
                    <a:pt x="361" y="155"/>
                    <a:pt x="344" y="143"/>
                    <a:pt x="325" y="135"/>
                  </a:cubicBezTo>
                  <a:cubicBezTo>
                    <a:pt x="347" y="80"/>
                    <a:pt x="347" y="80"/>
                    <a:pt x="347" y="80"/>
                  </a:cubicBezTo>
                  <a:cubicBezTo>
                    <a:pt x="372" y="90"/>
                    <a:pt x="395" y="106"/>
                    <a:pt x="414" y="125"/>
                  </a:cubicBezTo>
                  <a:close/>
                  <a:moveTo>
                    <a:pt x="346" y="79"/>
                  </a:moveTo>
                  <a:cubicBezTo>
                    <a:pt x="323" y="135"/>
                    <a:pt x="323" y="135"/>
                    <a:pt x="323" y="135"/>
                  </a:cubicBezTo>
                  <a:cubicBezTo>
                    <a:pt x="308" y="128"/>
                    <a:pt x="291" y="125"/>
                    <a:pt x="274" y="124"/>
                  </a:cubicBezTo>
                  <a:cubicBezTo>
                    <a:pt x="275" y="64"/>
                    <a:pt x="275" y="64"/>
                    <a:pt x="275" y="64"/>
                  </a:cubicBezTo>
                  <a:cubicBezTo>
                    <a:pt x="300" y="65"/>
                    <a:pt x="324" y="70"/>
                    <a:pt x="346" y="79"/>
                  </a:cubicBezTo>
                  <a:close/>
                  <a:moveTo>
                    <a:pt x="268" y="64"/>
                  </a:moveTo>
                  <a:cubicBezTo>
                    <a:pt x="270" y="64"/>
                    <a:pt x="272" y="64"/>
                    <a:pt x="274" y="64"/>
                  </a:cubicBezTo>
                  <a:cubicBezTo>
                    <a:pt x="272" y="124"/>
                    <a:pt x="272" y="124"/>
                    <a:pt x="272" y="124"/>
                  </a:cubicBezTo>
                  <a:cubicBezTo>
                    <a:pt x="270" y="124"/>
                    <a:pt x="269" y="124"/>
                    <a:pt x="268" y="124"/>
                  </a:cubicBezTo>
                  <a:cubicBezTo>
                    <a:pt x="251" y="124"/>
                    <a:pt x="235" y="127"/>
                    <a:pt x="220" y="132"/>
                  </a:cubicBezTo>
                  <a:cubicBezTo>
                    <a:pt x="200" y="76"/>
                    <a:pt x="200" y="76"/>
                    <a:pt x="200" y="76"/>
                  </a:cubicBezTo>
                  <a:cubicBezTo>
                    <a:pt x="221" y="68"/>
                    <a:pt x="244" y="64"/>
                    <a:pt x="268" y="64"/>
                  </a:cubicBezTo>
                  <a:close/>
                  <a:moveTo>
                    <a:pt x="198" y="76"/>
                  </a:moveTo>
                  <a:cubicBezTo>
                    <a:pt x="218" y="133"/>
                    <a:pt x="218" y="133"/>
                    <a:pt x="218" y="133"/>
                  </a:cubicBezTo>
                  <a:cubicBezTo>
                    <a:pt x="199" y="140"/>
                    <a:pt x="182" y="150"/>
                    <a:pt x="168" y="163"/>
                  </a:cubicBezTo>
                  <a:cubicBezTo>
                    <a:pt x="127" y="120"/>
                    <a:pt x="127" y="120"/>
                    <a:pt x="127" y="120"/>
                  </a:cubicBezTo>
                  <a:cubicBezTo>
                    <a:pt x="148" y="100"/>
                    <a:pt x="172" y="86"/>
                    <a:pt x="198" y="76"/>
                  </a:cubicBezTo>
                  <a:close/>
                  <a:moveTo>
                    <a:pt x="121" y="125"/>
                  </a:moveTo>
                  <a:cubicBezTo>
                    <a:pt x="122" y="124"/>
                    <a:pt x="124" y="122"/>
                    <a:pt x="125" y="121"/>
                  </a:cubicBezTo>
                  <a:cubicBezTo>
                    <a:pt x="166" y="165"/>
                    <a:pt x="166" y="165"/>
                    <a:pt x="166" y="165"/>
                  </a:cubicBezTo>
                  <a:cubicBezTo>
                    <a:pt x="153" y="177"/>
                    <a:pt x="142" y="192"/>
                    <a:pt x="134" y="209"/>
                  </a:cubicBezTo>
                  <a:cubicBezTo>
                    <a:pt x="80" y="184"/>
                    <a:pt x="80" y="184"/>
                    <a:pt x="80" y="184"/>
                  </a:cubicBezTo>
                  <a:cubicBezTo>
                    <a:pt x="90" y="162"/>
                    <a:pt x="104" y="142"/>
                    <a:pt x="121" y="125"/>
                  </a:cubicBezTo>
                  <a:close/>
                  <a:moveTo>
                    <a:pt x="79" y="186"/>
                  </a:moveTo>
                  <a:cubicBezTo>
                    <a:pt x="133" y="211"/>
                    <a:pt x="133" y="211"/>
                    <a:pt x="133" y="211"/>
                  </a:cubicBezTo>
                  <a:cubicBezTo>
                    <a:pt x="126" y="228"/>
                    <a:pt x="121" y="246"/>
                    <a:pt x="120" y="266"/>
                  </a:cubicBezTo>
                  <a:cubicBezTo>
                    <a:pt x="61" y="264"/>
                    <a:pt x="61" y="264"/>
                    <a:pt x="61" y="264"/>
                  </a:cubicBezTo>
                  <a:cubicBezTo>
                    <a:pt x="62" y="237"/>
                    <a:pt x="68" y="210"/>
                    <a:pt x="79" y="186"/>
                  </a:cubicBezTo>
                  <a:close/>
                  <a:moveTo>
                    <a:pt x="60" y="272"/>
                  </a:moveTo>
                  <a:cubicBezTo>
                    <a:pt x="60" y="270"/>
                    <a:pt x="60" y="268"/>
                    <a:pt x="60" y="266"/>
                  </a:cubicBezTo>
                  <a:cubicBezTo>
                    <a:pt x="120" y="268"/>
                    <a:pt x="120" y="268"/>
                    <a:pt x="120" y="268"/>
                  </a:cubicBezTo>
                  <a:cubicBezTo>
                    <a:pt x="120" y="269"/>
                    <a:pt x="120" y="270"/>
                    <a:pt x="120" y="272"/>
                  </a:cubicBezTo>
                  <a:cubicBezTo>
                    <a:pt x="120" y="289"/>
                    <a:pt x="123" y="306"/>
                    <a:pt x="129" y="322"/>
                  </a:cubicBezTo>
                  <a:cubicBezTo>
                    <a:pt x="73" y="342"/>
                    <a:pt x="73" y="342"/>
                    <a:pt x="73" y="342"/>
                  </a:cubicBezTo>
                  <a:cubicBezTo>
                    <a:pt x="65" y="320"/>
                    <a:pt x="60" y="296"/>
                    <a:pt x="60" y="272"/>
                  </a:cubicBezTo>
                  <a:close/>
                  <a:moveTo>
                    <a:pt x="73" y="344"/>
                  </a:moveTo>
                  <a:cubicBezTo>
                    <a:pt x="130" y="324"/>
                    <a:pt x="130" y="324"/>
                    <a:pt x="130" y="324"/>
                  </a:cubicBezTo>
                  <a:cubicBezTo>
                    <a:pt x="136" y="342"/>
                    <a:pt x="147" y="358"/>
                    <a:pt x="159" y="372"/>
                  </a:cubicBezTo>
                  <a:cubicBezTo>
                    <a:pt x="116" y="413"/>
                    <a:pt x="116" y="413"/>
                    <a:pt x="116" y="413"/>
                  </a:cubicBezTo>
                  <a:cubicBezTo>
                    <a:pt x="97" y="393"/>
                    <a:pt x="83" y="369"/>
                    <a:pt x="73" y="344"/>
                  </a:cubicBezTo>
                  <a:close/>
                  <a:moveTo>
                    <a:pt x="121" y="418"/>
                  </a:moveTo>
                  <a:cubicBezTo>
                    <a:pt x="120" y="417"/>
                    <a:pt x="118" y="416"/>
                    <a:pt x="117" y="414"/>
                  </a:cubicBezTo>
                  <a:cubicBezTo>
                    <a:pt x="161" y="373"/>
                    <a:pt x="161" y="373"/>
                    <a:pt x="161" y="373"/>
                  </a:cubicBezTo>
                  <a:cubicBezTo>
                    <a:pt x="170" y="383"/>
                    <a:pt x="181" y="392"/>
                    <a:pt x="193" y="399"/>
                  </a:cubicBezTo>
                  <a:cubicBezTo>
                    <a:pt x="164" y="452"/>
                    <a:pt x="164" y="452"/>
                    <a:pt x="164" y="452"/>
                  </a:cubicBezTo>
                  <a:cubicBezTo>
                    <a:pt x="149" y="443"/>
                    <a:pt x="134" y="431"/>
                    <a:pt x="121" y="418"/>
                  </a:cubicBezTo>
                  <a:close/>
                  <a:moveTo>
                    <a:pt x="474" y="649"/>
                  </a:moveTo>
                  <a:cubicBezTo>
                    <a:pt x="62" y="649"/>
                    <a:pt x="62" y="649"/>
                    <a:pt x="62" y="649"/>
                  </a:cubicBezTo>
                  <a:cubicBezTo>
                    <a:pt x="165" y="459"/>
                    <a:pt x="165" y="459"/>
                    <a:pt x="165" y="459"/>
                  </a:cubicBezTo>
                  <a:cubicBezTo>
                    <a:pt x="172" y="462"/>
                    <a:pt x="179" y="466"/>
                    <a:pt x="186" y="469"/>
                  </a:cubicBezTo>
                  <a:cubicBezTo>
                    <a:pt x="179" y="486"/>
                    <a:pt x="179" y="486"/>
                    <a:pt x="179" y="486"/>
                  </a:cubicBezTo>
                  <a:cubicBezTo>
                    <a:pt x="177" y="486"/>
                    <a:pt x="175" y="485"/>
                    <a:pt x="173" y="485"/>
                  </a:cubicBezTo>
                  <a:cubicBezTo>
                    <a:pt x="164" y="485"/>
                    <a:pt x="156" y="493"/>
                    <a:pt x="156" y="503"/>
                  </a:cubicBezTo>
                  <a:cubicBezTo>
                    <a:pt x="156" y="512"/>
                    <a:pt x="164" y="520"/>
                    <a:pt x="173" y="520"/>
                  </a:cubicBezTo>
                  <a:cubicBezTo>
                    <a:pt x="183" y="520"/>
                    <a:pt x="191" y="512"/>
                    <a:pt x="191" y="503"/>
                  </a:cubicBezTo>
                  <a:cubicBezTo>
                    <a:pt x="191" y="496"/>
                    <a:pt x="186" y="490"/>
                    <a:pt x="180" y="487"/>
                  </a:cubicBezTo>
                  <a:cubicBezTo>
                    <a:pt x="188" y="469"/>
                    <a:pt x="188" y="469"/>
                    <a:pt x="188" y="469"/>
                  </a:cubicBezTo>
                  <a:cubicBezTo>
                    <a:pt x="210" y="479"/>
                    <a:pt x="235" y="484"/>
                    <a:pt x="260" y="485"/>
                  </a:cubicBezTo>
                  <a:cubicBezTo>
                    <a:pt x="259" y="503"/>
                    <a:pt x="259" y="503"/>
                    <a:pt x="259" y="503"/>
                  </a:cubicBezTo>
                  <a:cubicBezTo>
                    <a:pt x="250" y="503"/>
                    <a:pt x="242" y="511"/>
                    <a:pt x="242" y="520"/>
                  </a:cubicBezTo>
                  <a:cubicBezTo>
                    <a:pt x="242" y="530"/>
                    <a:pt x="250" y="537"/>
                    <a:pt x="260" y="537"/>
                  </a:cubicBezTo>
                  <a:cubicBezTo>
                    <a:pt x="269" y="537"/>
                    <a:pt x="277" y="530"/>
                    <a:pt x="277" y="520"/>
                  </a:cubicBezTo>
                  <a:cubicBezTo>
                    <a:pt x="277" y="511"/>
                    <a:pt x="270" y="504"/>
                    <a:pt x="261" y="503"/>
                  </a:cubicBezTo>
                  <a:cubicBezTo>
                    <a:pt x="262" y="485"/>
                    <a:pt x="262" y="485"/>
                    <a:pt x="262" y="485"/>
                  </a:cubicBezTo>
                  <a:cubicBezTo>
                    <a:pt x="264" y="485"/>
                    <a:pt x="266" y="485"/>
                    <a:pt x="268" y="485"/>
                  </a:cubicBezTo>
                  <a:cubicBezTo>
                    <a:pt x="292" y="485"/>
                    <a:pt x="316" y="481"/>
                    <a:pt x="338" y="473"/>
                  </a:cubicBezTo>
                  <a:cubicBezTo>
                    <a:pt x="344" y="491"/>
                    <a:pt x="344" y="491"/>
                    <a:pt x="344" y="491"/>
                  </a:cubicBezTo>
                  <a:cubicBezTo>
                    <a:pt x="338" y="494"/>
                    <a:pt x="334" y="499"/>
                    <a:pt x="334" y="506"/>
                  </a:cubicBezTo>
                  <a:cubicBezTo>
                    <a:pt x="334" y="516"/>
                    <a:pt x="342" y="524"/>
                    <a:pt x="351" y="524"/>
                  </a:cubicBezTo>
                  <a:cubicBezTo>
                    <a:pt x="361" y="524"/>
                    <a:pt x="369" y="516"/>
                    <a:pt x="369" y="506"/>
                  </a:cubicBezTo>
                  <a:cubicBezTo>
                    <a:pt x="369" y="497"/>
                    <a:pt x="361" y="489"/>
                    <a:pt x="351" y="489"/>
                  </a:cubicBezTo>
                  <a:cubicBezTo>
                    <a:pt x="349" y="489"/>
                    <a:pt x="347" y="489"/>
                    <a:pt x="346" y="490"/>
                  </a:cubicBezTo>
                  <a:cubicBezTo>
                    <a:pt x="340" y="472"/>
                    <a:pt x="340" y="472"/>
                    <a:pt x="340" y="472"/>
                  </a:cubicBezTo>
                  <a:cubicBezTo>
                    <a:pt x="350" y="469"/>
                    <a:pt x="361" y="464"/>
                    <a:pt x="371" y="459"/>
                  </a:cubicBezTo>
                  <a:lnTo>
                    <a:pt x="474" y="649"/>
                  </a:lnTo>
                  <a:close/>
                  <a:moveTo>
                    <a:pt x="371" y="452"/>
                  </a:moveTo>
                  <a:cubicBezTo>
                    <a:pt x="343" y="399"/>
                    <a:pt x="343" y="399"/>
                    <a:pt x="343" y="399"/>
                  </a:cubicBezTo>
                  <a:cubicBezTo>
                    <a:pt x="352" y="394"/>
                    <a:pt x="360" y="387"/>
                    <a:pt x="368" y="380"/>
                  </a:cubicBezTo>
                  <a:cubicBezTo>
                    <a:pt x="409" y="424"/>
                    <a:pt x="409" y="424"/>
                    <a:pt x="409" y="424"/>
                  </a:cubicBezTo>
                  <a:cubicBezTo>
                    <a:pt x="397" y="434"/>
                    <a:pt x="385" y="444"/>
                    <a:pt x="371" y="452"/>
                  </a:cubicBezTo>
                  <a:close/>
                  <a:moveTo>
                    <a:pt x="414" y="418"/>
                  </a:moveTo>
                  <a:cubicBezTo>
                    <a:pt x="413" y="420"/>
                    <a:pt x="412" y="421"/>
                    <a:pt x="410" y="422"/>
                  </a:cubicBezTo>
                  <a:cubicBezTo>
                    <a:pt x="369" y="379"/>
                    <a:pt x="369" y="379"/>
                    <a:pt x="369" y="379"/>
                  </a:cubicBezTo>
                  <a:cubicBezTo>
                    <a:pt x="383" y="366"/>
                    <a:pt x="394" y="351"/>
                    <a:pt x="401" y="334"/>
                  </a:cubicBezTo>
                  <a:cubicBezTo>
                    <a:pt x="456" y="359"/>
                    <a:pt x="456" y="359"/>
                    <a:pt x="456" y="359"/>
                  </a:cubicBezTo>
                  <a:cubicBezTo>
                    <a:pt x="446" y="381"/>
                    <a:pt x="432" y="401"/>
                    <a:pt x="414" y="418"/>
                  </a:cubicBezTo>
                  <a:close/>
                  <a:moveTo>
                    <a:pt x="457" y="358"/>
                  </a:moveTo>
                  <a:cubicBezTo>
                    <a:pt x="402" y="333"/>
                    <a:pt x="402" y="333"/>
                    <a:pt x="402" y="333"/>
                  </a:cubicBezTo>
                  <a:cubicBezTo>
                    <a:pt x="410" y="316"/>
                    <a:pt x="415" y="297"/>
                    <a:pt x="415" y="277"/>
                  </a:cubicBezTo>
                  <a:cubicBezTo>
                    <a:pt x="475" y="279"/>
                    <a:pt x="475" y="279"/>
                    <a:pt x="475" y="279"/>
                  </a:cubicBezTo>
                  <a:cubicBezTo>
                    <a:pt x="474" y="307"/>
                    <a:pt x="468" y="333"/>
                    <a:pt x="457" y="358"/>
                  </a:cubicBezTo>
                  <a:close/>
                </a:path>
              </a:pathLst>
            </a:custGeom>
            <a:solidFill>
              <a:srgbClr val="95A9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5" name="Rectangle 407"/>
            <p:cNvSpPr>
              <a:spLocks noChangeArrowheads="1"/>
            </p:cNvSpPr>
            <p:nvPr/>
          </p:nvSpPr>
          <p:spPr bwMode="auto">
            <a:xfrm>
              <a:off x="11368948" y="6389173"/>
              <a:ext cx="234413" cy="346411"/>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6" name="Rectangle 408"/>
            <p:cNvSpPr>
              <a:spLocks noChangeArrowheads="1"/>
            </p:cNvSpPr>
            <p:nvPr/>
          </p:nvSpPr>
          <p:spPr bwMode="auto">
            <a:xfrm>
              <a:off x="11569502" y="6524612"/>
              <a:ext cx="237018" cy="208367"/>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7" name="Rectangle 411"/>
            <p:cNvSpPr>
              <a:spLocks noChangeArrowheads="1"/>
            </p:cNvSpPr>
            <p:nvPr/>
          </p:nvSpPr>
          <p:spPr bwMode="auto">
            <a:xfrm>
              <a:off x="11486155" y="6058390"/>
              <a:ext cx="166694" cy="677194"/>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8" name="Freeform 412"/>
            <p:cNvSpPr>
              <a:spLocks/>
            </p:cNvSpPr>
            <p:nvPr/>
          </p:nvSpPr>
          <p:spPr bwMode="auto">
            <a:xfrm>
              <a:off x="11707545" y="6342291"/>
              <a:ext cx="221390" cy="393294"/>
            </a:xfrm>
            <a:custGeom>
              <a:avLst/>
              <a:gdLst>
                <a:gd name="T0" fmla="*/ 85 w 85"/>
                <a:gd name="T1" fmla="*/ 151 h 151"/>
                <a:gd name="T2" fmla="*/ 0 w 85"/>
                <a:gd name="T3" fmla="*/ 151 h 151"/>
                <a:gd name="T4" fmla="*/ 0 w 85"/>
                <a:gd name="T5" fmla="*/ 0 h 151"/>
                <a:gd name="T6" fmla="*/ 64 w 85"/>
                <a:gd name="T7" fmla="*/ 0 h 151"/>
                <a:gd name="T8" fmla="*/ 85 w 85"/>
                <a:gd name="T9" fmla="*/ 151 h 151"/>
              </a:gdLst>
              <a:ahLst/>
              <a:cxnLst>
                <a:cxn ang="0">
                  <a:pos x="T0" y="T1"/>
                </a:cxn>
                <a:cxn ang="0">
                  <a:pos x="T2" y="T3"/>
                </a:cxn>
                <a:cxn ang="0">
                  <a:pos x="T4" y="T5"/>
                </a:cxn>
                <a:cxn ang="0">
                  <a:pos x="T6" y="T7"/>
                </a:cxn>
                <a:cxn ang="0">
                  <a:pos x="T8" y="T9"/>
                </a:cxn>
              </a:cxnLst>
              <a:rect l="0" t="0" r="r" b="b"/>
              <a:pathLst>
                <a:path w="85" h="151">
                  <a:moveTo>
                    <a:pt x="85" y="151"/>
                  </a:moveTo>
                  <a:lnTo>
                    <a:pt x="0" y="151"/>
                  </a:lnTo>
                  <a:lnTo>
                    <a:pt x="0" y="0"/>
                  </a:lnTo>
                  <a:lnTo>
                    <a:pt x="64" y="0"/>
                  </a:lnTo>
                  <a:lnTo>
                    <a:pt x="85" y="151"/>
                  </a:lnTo>
                  <a:close/>
                </a:path>
              </a:pathLst>
            </a:custGeom>
            <a:solidFill>
              <a:srgbClr val="95A9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59" name="Rectangle 414"/>
            <p:cNvSpPr>
              <a:spLocks noChangeArrowheads="1"/>
            </p:cNvSpPr>
            <p:nvPr/>
          </p:nvSpPr>
          <p:spPr bwMode="auto">
            <a:xfrm>
              <a:off x="11611176" y="5917742"/>
              <a:ext cx="5209" cy="184926"/>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0" name="Rectangle 415"/>
            <p:cNvSpPr>
              <a:spLocks noChangeArrowheads="1"/>
            </p:cNvSpPr>
            <p:nvPr/>
          </p:nvSpPr>
          <p:spPr bwMode="auto">
            <a:xfrm>
              <a:off x="11629408" y="5956811"/>
              <a:ext cx="5209" cy="184926"/>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1" name="Rectangle 416"/>
            <p:cNvSpPr>
              <a:spLocks noChangeArrowheads="1"/>
            </p:cNvSpPr>
            <p:nvPr/>
          </p:nvSpPr>
          <p:spPr bwMode="auto">
            <a:xfrm>
              <a:off x="11592943" y="5982857"/>
              <a:ext cx="5209" cy="184926"/>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2" name="Rectangle 417"/>
            <p:cNvSpPr>
              <a:spLocks noChangeArrowheads="1"/>
            </p:cNvSpPr>
            <p:nvPr/>
          </p:nvSpPr>
          <p:spPr bwMode="auto">
            <a:xfrm>
              <a:off x="11715359" y="6308431"/>
              <a:ext cx="80742" cy="62510"/>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3" name="Rectangle 418"/>
            <p:cNvSpPr>
              <a:spLocks noChangeArrowheads="1"/>
            </p:cNvSpPr>
            <p:nvPr/>
          </p:nvSpPr>
          <p:spPr bwMode="auto">
            <a:xfrm>
              <a:off x="11725778" y="6287594"/>
              <a:ext cx="59906" cy="33860"/>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4" name="Rectangle 419"/>
            <p:cNvSpPr>
              <a:spLocks noChangeArrowheads="1"/>
            </p:cNvSpPr>
            <p:nvPr/>
          </p:nvSpPr>
          <p:spPr bwMode="auto">
            <a:xfrm>
              <a:off x="11827357" y="6326663"/>
              <a:ext cx="15628" cy="26046"/>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5" name="Rectangle 420"/>
            <p:cNvSpPr>
              <a:spLocks noChangeArrowheads="1"/>
            </p:cNvSpPr>
            <p:nvPr/>
          </p:nvSpPr>
          <p:spPr bwMode="auto">
            <a:xfrm>
              <a:off x="11848194" y="6303222"/>
              <a:ext cx="20837" cy="49487"/>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6" name="Rectangle 375"/>
            <p:cNvSpPr>
              <a:spLocks noChangeArrowheads="1"/>
            </p:cNvSpPr>
            <p:nvPr/>
          </p:nvSpPr>
          <p:spPr bwMode="auto">
            <a:xfrm>
              <a:off x="8483059" y="6644423"/>
              <a:ext cx="3607362" cy="85952"/>
            </a:xfrm>
            <a:prstGeom prst="rect">
              <a:avLst/>
            </a:prstGeom>
            <a:solidFill>
              <a:srgbClr val="B5C3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7" name="Rectangle 376"/>
            <p:cNvSpPr>
              <a:spLocks noChangeArrowheads="1"/>
            </p:cNvSpPr>
            <p:nvPr/>
          </p:nvSpPr>
          <p:spPr bwMode="auto">
            <a:xfrm>
              <a:off x="8483059" y="6644423"/>
              <a:ext cx="3607362" cy="85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8" name="Rectangle 378"/>
            <p:cNvSpPr>
              <a:spLocks noChangeArrowheads="1"/>
            </p:cNvSpPr>
            <p:nvPr/>
          </p:nvSpPr>
          <p:spPr bwMode="auto">
            <a:xfrm>
              <a:off x="8352829" y="6722561"/>
              <a:ext cx="3787079" cy="135439"/>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69" name="Rectangle 379"/>
            <p:cNvSpPr>
              <a:spLocks noChangeArrowheads="1"/>
            </p:cNvSpPr>
            <p:nvPr/>
          </p:nvSpPr>
          <p:spPr bwMode="auto">
            <a:xfrm>
              <a:off x="8352829" y="6722561"/>
              <a:ext cx="3787079" cy="135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0" name="Rectangle 401"/>
            <p:cNvSpPr>
              <a:spLocks noChangeArrowheads="1"/>
            </p:cNvSpPr>
            <p:nvPr/>
          </p:nvSpPr>
          <p:spPr bwMode="auto">
            <a:xfrm>
              <a:off x="8628916" y="6615773"/>
              <a:ext cx="151066" cy="119811"/>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1" name="Rectangle 403"/>
            <p:cNvSpPr>
              <a:spLocks noChangeArrowheads="1"/>
            </p:cNvSpPr>
            <p:nvPr/>
          </p:nvSpPr>
          <p:spPr bwMode="auto">
            <a:xfrm>
              <a:off x="8483059" y="6675678"/>
              <a:ext cx="125020" cy="59906"/>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2" name="Rectangle 404"/>
            <p:cNvSpPr>
              <a:spLocks noChangeArrowheads="1"/>
            </p:cNvSpPr>
            <p:nvPr/>
          </p:nvSpPr>
          <p:spPr bwMode="auto">
            <a:xfrm>
              <a:off x="9918190" y="6602750"/>
              <a:ext cx="1528896" cy="132834"/>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3" name="Rectangle 405"/>
            <p:cNvSpPr>
              <a:spLocks noChangeArrowheads="1"/>
            </p:cNvSpPr>
            <p:nvPr/>
          </p:nvSpPr>
          <p:spPr bwMode="auto">
            <a:xfrm>
              <a:off x="9918190" y="6602750"/>
              <a:ext cx="1528896" cy="132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4" name="Rectangle 413"/>
            <p:cNvSpPr>
              <a:spLocks noChangeArrowheads="1"/>
            </p:cNvSpPr>
            <p:nvPr/>
          </p:nvSpPr>
          <p:spPr bwMode="auto">
            <a:xfrm>
              <a:off x="11829961" y="6644423"/>
              <a:ext cx="195345" cy="91161"/>
            </a:xfrm>
            <a:prstGeom prst="rect">
              <a:avLst/>
            </a:prstGeom>
            <a:solidFill>
              <a:srgbClr val="95A9A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nvGrpSpPr>
            <p:cNvPr id="175" name="Group 174"/>
            <p:cNvGrpSpPr/>
            <p:nvPr/>
          </p:nvGrpSpPr>
          <p:grpSpPr>
            <a:xfrm>
              <a:off x="8303342" y="6152155"/>
              <a:ext cx="3888658" cy="705845"/>
              <a:chOff x="8303342" y="7127515"/>
              <a:chExt cx="3888658" cy="705845"/>
            </a:xfrm>
          </p:grpSpPr>
          <p:grpSp>
            <p:nvGrpSpPr>
              <p:cNvPr id="176" name="Group 175"/>
              <p:cNvGrpSpPr/>
              <p:nvPr/>
            </p:nvGrpSpPr>
            <p:grpSpPr>
              <a:xfrm>
                <a:off x="10630131" y="7166147"/>
                <a:ext cx="244832" cy="663449"/>
                <a:chOff x="11935879" y="4935839"/>
                <a:chExt cx="244832" cy="663449"/>
              </a:xfrm>
            </p:grpSpPr>
            <p:sp>
              <p:nvSpPr>
                <p:cNvPr id="296" name="Rectangle 421"/>
                <p:cNvSpPr>
                  <a:spLocks noChangeArrowheads="1"/>
                </p:cNvSpPr>
                <p:nvPr/>
              </p:nvSpPr>
              <p:spPr bwMode="auto">
                <a:xfrm>
                  <a:off x="11960315" y="4953349"/>
                  <a:ext cx="200554" cy="645939"/>
                </a:xfrm>
                <a:prstGeom prst="rect">
                  <a:avLst/>
                </a:prstGeom>
                <a:solidFill>
                  <a:srgbClr val="6582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7" name="Rectangle 422"/>
                <p:cNvSpPr>
                  <a:spLocks noChangeArrowheads="1"/>
                </p:cNvSpPr>
                <p:nvPr/>
              </p:nvSpPr>
              <p:spPr bwMode="auto">
                <a:xfrm>
                  <a:off x="11956716" y="4951467"/>
                  <a:ext cx="200554" cy="645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nvGrpSpPr>
                <p:cNvPr id="298" name="Group 297"/>
                <p:cNvGrpSpPr/>
                <p:nvPr/>
              </p:nvGrpSpPr>
              <p:grpSpPr>
                <a:xfrm>
                  <a:off x="11935879" y="4935839"/>
                  <a:ext cx="244832" cy="557384"/>
                  <a:chOff x="11935879" y="4935839"/>
                  <a:chExt cx="244832" cy="557384"/>
                </a:xfrm>
                <a:solidFill>
                  <a:srgbClr val="113037"/>
                </a:solidFill>
              </p:grpSpPr>
              <p:sp>
                <p:nvSpPr>
                  <p:cNvPr id="299" name="Rectangle 409"/>
                  <p:cNvSpPr>
                    <a:spLocks noChangeArrowheads="1"/>
                  </p:cNvSpPr>
                  <p:nvPr/>
                </p:nvSpPr>
                <p:spPr bwMode="auto">
                  <a:xfrm>
                    <a:off x="11959321" y="5232763"/>
                    <a:ext cx="132834" cy="174508"/>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0" name="Rectangle 410"/>
                  <p:cNvSpPr>
                    <a:spLocks noChangeArrowheads="1"/>
                  </p:cNvSpPr>
                  <p:nvPr/>
                </p:nvSpPr>
                <p:spPr bwMode="auto">
                  <a:xfrm>
                    <a:off x="11959321" y="5232763"/>
                    <a:ext cx="132834" cy="174508"/>
                  </a:xfrm>
                  <a:prstGeom prst="rect">
                    <a:avLst/>
                  </a:prstGeom>
                  <a:solidFill>
                    <a:srgbClr val="173F49"/>
                  </a:solidFill>
                  <a:ln>
                    <a:noFill/>
                  </a:ln>
                </p:spPr>
                <p:txBody>
                  <a:bodyPr vert="horz" wrap="square" lIns="121920" tIns="60960" rIns="121920" bIns="60960" numCol="1" anchor="t" anchorCtr="0" compatLnSpc="1">
                    <a:prstTxWarp prst="textNoShape">
                      <a:avLst/>
                    </a:prstTxWarp>
                  </a:bodyPr>
                  <a:lstStyle/>
                  <a:p>
                    <a:endParaRPr lang="en-GB" sz="5200"/>
                  </a:p>
                </p:txBody>
              </p:sp>
              <p:sp>
                <p:nvSpPr>
                  <p:cNvPr id="301" name="Rectangle 423"/>
                  <p:cNvSpPr>
                    <a:spLocks noChangeArrowheads="1"/>
                  </p:cNvSpPr>
                  <p:nvPr/>
                </p:nvSpPr>
                <p:spPr bwMode="auto">
                  <a:xfrm>
                    <a:off x="11943693" y="4954072"/>
                    <a:ext cx="229204" cy="7814"/>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2" name="Rectangle 424"/>
                  <p:cNvSpPr>
                    <a:spLocks noChangeArrowheads="1"/>
                  </p:cNvSpPr>
                  <p:nvPr/>
                </p:nvSpPr>
                <p:spPr bwMode="auto">
                  <a:xfrm>
                    <a:off x="11948902" y="5045232"/>
                    <a:ext cx="218786" cy="7814"/>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3" name="Rectangle 425"/>
                  <p:cNvSpPr>
                    <a:spLocks noChangeArrowheads="1"/>
                  </p:cNvSpPr>
                  <p:nvPr/>
                </p:nvSpPr>
                <p:spPr bwMode="auto">
                  <a:xfrm>
                    <a:off x="11948902" y="5133788"/>
                    <a:ext cx="218786" cy="5209"/>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4" name="Rectangle 426"/>
                  <p:cNvSpPr>
                    <a:spLocks noChangeArrowheads="1"/>
                  </p:cNvSpPr>
                  <p:nvPr/>
                </p:nvSpPr>
                <p:spPr bwMode="auto">
                  <a:xfrm>
                    <a:off x="11948902" y="5222345"/>
                    <a:ext cx="218786" cy="5209"/>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5" name="Rectangle 427"/>
                  <p:cNvSpPr>
                    <a:spLocks noChangeArrowheads="1"/>
                  </p:cNvSpPr>
                  <p:nvPr/>
                </p:nvSpPr>
                <p:spPr bwMode="auto">
                  <a:xfrm>
                    <a:off x="11948902" y="5308296"/>
                    <a:ext cx="218786" cy="7814"/>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6" name="Rectangle 428"/>
                  <p:cNvSpPr>
                    <a:spLocks noChangeArrowheads="1"/>
                  </p:cNvSpPr>
                  <p:nvPr/>
                </p:nvSpPr>
                <p:spPr bwMode="auto">
                  <a:xfrm>
                    <a:off x="11948902" y="5396852"/>
                    <a:ext cx="218786" cy="7814"/>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7" name="Rectangle 429"/>
                  <p:cNvSpPr>
                    <a:spLocks noChangeArrowheads="1"/>
                  </p:cNvSpPr>
                  <p:nvPr/>
                </p:nvSpPr>
                <p:spPr bwMode="auto">
                  <a:xfrm>
                    <a:off x="11948902" y="5485409"/>
                    <a:ext cx="218786" cy="7814"/>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8" name="Rectangle 430"/>
                  <p:cNvSpPr>
                    <a:spLocks noChangeArrowheads="1"/>
                  </p:cNvSpPr>
                  <p:nvPr/>
                </p:nvSpPr>
                <p:spPr bwMode="auto">
                  <a:xfrm>
                    <a:off x="11935879" y="4935839"/>
                    <a:ext cx="244832" cy="1823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09" name="Rectangle 431"/>
                  <p:cNvSpPr>
                    <a:spLocks noChangeArrowheads="1"/>
                  </p:cNvSpPr>
                  <p:nvPr/>
                </p:nvSpPr>
                <p:spPr bwMode="auto">
                  <a:xfrm>
                    <a:off x="11974948" y="4982722"/>
                    <a:ext cx="23441"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0" name="Rectangle 432"/>
                  <p:cNvSpPr>
                    <a:spLocks noChangeArrowheads="1"/>
                  </p:cNvSpPr>
                  <p:nvPr/>
                </p:nvSpPr>
                <p:spPr bwMode="auto">
                  <a:xfrm>
                    <a:off x="12021831" y="4982722"/>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1" name="Rectangle 433"/>
                  <p:cNvSpPr>
                    <a:spLocks noChangeArrowheads="1"/>
                  </p:cNvSpPr>
                  <p:nvPr/>
                </p:nvSpPr>
                <p:spPr bwMode="auto">
                  <a:xfrm>
                    <a:off x="12068714" y="4982722"/>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2" name="Rectangle 434"/>
                  <p:cNvSpPr>
                    <a:spLocks noChangeArrowheads="1"/>
                  </p:cNvSpPr>
                  <p:nvPr/>
                </p:nvSpPr>
                <p:spPr bwMode="auto">
                  <a:xfrm>
                    <a:off x="12115596" y="4982722"/>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3" name="Rectangle 435"/>
                  <p:cNvSpPr>
                    <a:spLocks noChangeArrowheads="1"/>
                  </p:cNvSpPr>
                  <p:nvPr/>
                </p:nvSpPr>
                <p:spPr bwMode="auto">
                  <a:xfrm>
                    <a:off x="11974948" y="5068674"/>
                    <a:ext cx="23441" cy="49487"/>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4" name="Rectangle 436"/>
                  <p:cNvSpPr>
                    <a:spLocks noChangeArrowheads="1"/>
                  </p:cNvSpPr>
                  <p:nvPr/>
                </p:nvSpPr>
                <p:spPr bwMode="auto">
                  <a:xfrm>
                    <a:off x="12021831" y="5068674"/>
                    <a:ext cx="20837" cy="49487"/>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5" name="Rectangle 437"/>
                  <p:cNvSpPr>
                    <a:spLocks noChangeArrowheads="1"/>
                  </p:cNvSpPr>
                  <p:nvPr/>
                </p:nvSpPr>
                <p:spPr bwMode="auto">
                  <a:xfrm>
                    <a:off x="12021831" y="5068674"/>
                    <a:ext cx="20837" cy="49487"/>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6" name="Rectangle 438"/>
                  <p:cNvSpPr>
                    <a:spLocks noChangeArrowheads="1"/>
                  </p:cNvSpPr>
                  <p:nvPr/>
                </p:nvSpPr>
                <p:spPr bwMode="auto">
                  <a:xfrm>
                    <a:off x="12068714" y="5068674"/>
                    <a:ext cx="20837" cy="49487"/>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7" name="Rectangle 439"/>
                  <p:cNvSpPr>
                    <a:spLocks noChangeArrowheads="1"/>
                  </p:cNvSpPr>
                  <p:nvPr/>
                </p:nvSpPr>
                <p:spPr bwMode="auto">
                  <a:xfrm>
                    <a:off x="12115596" y="5068674"/>
                    <a:ext cx="20837" cy="49487"/>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8" name="Rectangle 440"/>
                  <p:cNvSpPr>
                    <a:spLocks noChangeArrowheads="1"/>
                  </p:cNvSpPr>
                  <p:nvPr/>
                </p:nvSpPr>
                <p:spPr bwMode="auto">
                  <a:xfrm>
                    <a:off x="11974948" y="5154625"/>
                    <a:ext cx="23441"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19" name="Rectangle 441"/>
                  <p:cNvSpPr>
                    <a:spLocks noChangeArrowheads="1"/>
                  </p:cNvSpPr>
                  <p:nvPr/>
                </p:nvSpPr>
                <p:spPr bwMode="auto">
                  <a:xfrm>
                    <a:off x="12021831" y="5154625"/>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0" name="Rectangle 442"/>
                  <p:cNvSpPr>
                    <a:spLocks noChangeArrowheads="1"/>
                  </p:cNvSpPr>
                  <p:nvPr/>
                </p:nvSpPr>
                <p:spPr bwMode="auto">
                  <a:xfrm>
                    <a:off x="12068714" y="5154625"/>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1" name="Rectangle 443"/>
                  <p:cNvSpPr>
                    <a:spLocks noChangeArrowheads="1"/>
                  </p:cNvSpPr>
                  <p:nvPr/>
                </p:nvSpPr>
                <p:spPr bwMode="auto">
                  <a:xfrm>
                    <a:off x="12115596" y="5154625"/>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2" name="Rectangle 444"/>
                  <p:cNvSpPr>
                    <a:spLocks noChangeArrowheads="1"/>
                  </p:cNvSpPr>
                  <p:nvPr/>
                </p:nvSpPr>
                <p:spPr bwMode="auto">
                  <a:xfrm>
                    <a:off x="12115596" y="5154625"/>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3" name="Rectangle 445"/>
                  <p:cNvSpPr>
                    <a:spLocks noChangeArrowheads="1"/>
                  </p:cNvSpPr>
                  <p:nvPr/>
                </p:nvSpPr>
                <p:spPr bwMode="auto">
                  <a:xfrm>
                    <a:off x="11974948" y="5243181"/>
                    <a:ext cx="23441"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4" name="Rectangle 446"/>
                  <p:cNvSpPr>
                    <a:spLocks noChangeArrowheads="1"/>
                  </p:cNvSpPr>
                  <p:nvPr/>
                </p:nvSpPr>
                <p:spPr bwMode="auto">
                  <a:xfrm>
                    <a:off x="12021831" y="5243181"/>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5" name="Rectangle 447"/>
                  <p:cNvSpPr>
                    <a:spLocks noChangeArrowheads="1"/>
                  </p:cNvSpPr>
                  <p:nvPr/>
                </p:nvSpPr>
                <p:spPr bwMode="auto">
                  <a:xfrm>
                    <a:off x="12021831" y="5243181"/>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6" name="Rectangle 448"/>
                  <p:cNvSpPr>
                    <a:spLocks noChangeArrowheads="1"/>
                  </p:cNvSpPr>
                  <p:nvPr/>
                </p:nvSpPr>
                <p:spPr bwMode="auto">
                  <a:xfrm>
                    <a:off x="12068714" y="5243181"/>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7" name="Rectangle 449"/>
                  <p:cNvSpPr>
                    <a:spLocks noChangeArrowheads="1"/>
                  </p:cNvSpPr>
                  <p:nvPr/>
                </p:nvSpPr>
                <p:spPr bwMode="auto">
                  <a:xfrm>
                    <a:off x="12068714" y="5243181"/>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8" name="Rectangle 450"/>
                  <p:cNvSpPr>
                    <a:spLocks noChangeArrowheads="1"/>
                  </p:cNvSpPr>
                  <p:nvPr/>
                </p:nvSpPr>
                <p:spPr bwMode="auto">
                  <a:xfrm>
                    <a:off x="12115596" y="5243181"/>
                    <a:ext cx="20837"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sp>
                <p:nvSpPr>
                  <p:cNvPr id="329" name="Rectangle 451"/>
                  <p:cNvSpPr>
                    <a:spLocks noChangeArrowheads="1"/>
                  </p:cNvSpPr>
                  <p:nvPr/>
                </p:nvSpPr>
                <p:spPr bwMode="auto">
                  <a:xfrm>
                    <a:off x="11974948" y="5331738"/>
                    <a:ext cx="23441" cy="52092"/>
                  </a:xfrm>
                  <a:prstGeom prst="rect">
                    <a:avLst/>
                  </a:prstGeom>
                  <a:grpFill/>
                  <a:ln>
                    <a:noFill/>
                  </a:ln>
                </p:spPr>
                <p:txBody>
                  <a:bodyPr vert="horz" wrap="square" lIns="121920" tIns="60960" rIns="121920" bIns="60960" numCol="1" anchor="t" anchorCtr="0" compatLnSpc="1">
                    <a:prstTxWarp prst="textNoShape">
                      <a:avLst/>
                    </a:prstTxWarp>
                  </a:bodyPr>
                  <a:lstStyle/>
                  <a:p>
                    <a:endParaRPr lang="en-GB" sz="5200"/>
                  </a:p>
                </p:txBody>
              </p:sp>
            </p:grpSp>
          </p:grpSp>
          <p:grpSp>
            <p:nvGrpSpPr>
              <p:cNvPr id="177" name="Group 176"/>
              <p:cNvGrpSpPr/>
              <p:nvPr/>
            </p:nvGrpSpPr>
            <p:grpSpPr>
              <a:xfrm>
                <a:off x="8303342" y="7127515"/>
                <a:ext cx="3888658" cy="705845"/>
                <a:chOff x="8303342" y="6152155"/>
                <a:chExt cx="3888658" cy="705845"/>
              </a:xfrm>
              <a:solidFill>
                <a:srgbClr val="113037"/>
              </a:solidFill>
            </p:grpSpPr>
            <p:sp>
              <p:nvSpPr>
                <p:cNvPr id="178" name="Rectangle 453"/>
                <p:cNvSpPr>
                  <a:spLocks noChangeArrowheads="1"/>
                </p:cNvSpPr>
                <p:nvPr/>
              </p:nvSpPr>
              <p:spPr bwMode="auto">
                <a:xfrm>
                  <a:off x="10670917" y="6592332"/>
                  <a:ext cx="23441"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79" name="Rectangle 454"/>
                <p:cNvSpPr>
                  <a:spLocks noChangeArrowheads="1"/>
                </p:cNvSpPr>
                <p:nvPr/>
              </p:nvSpPr>
              <p:spPr bwMode="auto">
                <a:xfrm>
                  <a:off x="10717800" y="6592332"/>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0" name="Rectangle 455"/>
                <p:cNvSpPr>
                  <a:spLocks noChangeArrowheads="1"/>
                </p:cNvSpPr>
                <p:nvPr/>
              </p:nvSpPr>
              <p:spPr bwMode="auto">
                <a:xfrm>
                  <a:off x="10764683" y="6592332"/>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1" name="Rectangle 456"/>
                <p:cNvSpPr>
                  <a:spLocks noChangeArrowheads="1"/>
                </p:cNvSpPr>
                <p:nvPr/>
              </p:nvSpPr>
              <p:spPr bwMode="auto">
                <a:xfrm>
                  <a:off x="10811565" y="6592332"/>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2" name="Rectangle 457"/>
                <p:cNvSpPr>
                  <a:spLocks noChangeArrowheads="1"/>
                </p:cNvSpPr>
                <p:nvPr/>
              </p:nvSpPr>
              <p:spPr bwMode="auto">
                <a:xfrm>
                  <a:off x="10670917" y="6678283"/>
                  <a:ext cx="23441"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3" name="Rectangle 458"/>
                <p:cNvSpPr>
                  <a:spLocks noChangeArrowheads="1"/>
                </p:cNvSpPr>
                <p:nvPr/>
              </p:nvSpPr>
              <p:spPr bwMode="auto">
                <a:xfrm>
                  <a:off x="10717800" y="6678283"/>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4" name="Rectangle 459"/>
                <p:cNvSpPr>
                  <a:spLocks noChangeArrowheads="1"/>
                </p:cNvSpPr>
                <p:nvPr/>
              </p:nvSpPr>
              <p:spPr bwMode="auto">
                <a:xfrm>
                  <a:off x="10764683" y="6678283"/>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5" name="Rectangle 460"/>
                <p:cNvSpPr>
                  <a:spLocks noChangeArrowheads="1"/>
                </p:cNvSpPr>
                <p:nvPr/>
              </p:nvSpPr>
              <p:spPr bwMode="auto">
                <a:xfrm>
                  <a:off x="10764683" y="6678283"/>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6" name="Rectangle 461"/>
                <p:cNvSpPr>
                  <a:spLocks noChangeArrowheads="1"/>
                </p:cNvSpPr>
                <p:nvPr/>
              </p:nvSpPr>
              <p:spPr bwMode="auto">
                <a:xfrm>
                  <a:off x="10811565" y="6678283"/>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7" name="Rectangle 462"/>
                <p:cNvSpPr>
                  <a:spLocks noChangeArrowheads="1"/>
                </p:cNvSpPr>
                <p:nvPr/>
              </p:nvSpPr>
              <p:spPr bwMode="auto">
                <a:xfrm>
                  <a:off x="10670917" y="6766839"/>
                  <a:ext cx="23441"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8" name="Rectangle 463"/>
                <p:cNvSpPr>
                  <a:spLocks noChangeArrowheads="1"/>
                </p:cNvSpPr>
                <p:nvPr/>
              </p:nvSpPr>
              <p:spPr bwMode="auto">
                <a:xfrm>
                  <a:off x="10717800" y="6766839"/>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89" name="Rectangle 464"/>
                <p:cNvSpPr>
                  <a:spLocks noChangeArrowheads="1"/>
                </p:cNvSpPr>
                <p:nvPr/>
              </p:nvSpPr>
              <p:spPr bwMode="auto">
                <a:xfrm>
                  <a:off x="10717800" y="6766839"/>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0" name="Rectangle 465"/>
                <p:cNvSpPr>
                  <a:spLocks noChangeArrowheads="1"/>
                </p:cNvSpPr>
                <p:nvPr/>
              </p:nvSpPr>
              <p:spPr bwMode="auto">
                <a:xfrm>
                  <a:off x="10764683" y="6766839"/>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1" name="Rectangle 466"/>
                <p:cNvSpPr>
                  <a:spLocks noChangeArrowheads="1"/>
                </p:cNvSpPr>
                <p:nvPr/>
              </p:nvSpPr>
              <p:spPr bwMode="auto">
                <a:xfrm>
                  <a:off x="10811565" y="6766839"/>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2" name="Rectangle 467"/>
                <p:cNvSpPr>
                  <a:spLocks noChangeArrowheads="1"/>
                </p:cNvSpPr>
                <p:nvPr/>
              </p:nvSpPr>
              <p:spPr bwMode="auto">
                <a:xfrm>
                  <a:off x="10811565" y="6766839"/>
                  <a:ext cx="208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3" name="Rectangle 468"/>
                <p:cNvSpPr>
                  <a:spLocks noChangeArrowheads="1"/>
                </p:cNvSpPr>
                <p:nvPr/>
              </p:nvSpPr>
              <p:spPr bwMode="auto">
                <a:xfrm>
                  <a:off x="10665708" y="6172992"/>
                  <a:ext cx="67719" cy="3386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4" name="Rectangle 469"/>
                <p:cNvSpPr>
                  <a:spLocks noChangeArrowheads="1"/>
                </p:cNvSpPr>
                <p:nvPr/>
              </p:nvSpPr>
              <p:spPr bwMode="auto">
                <a:xfrm>
                  <a:off x="10663104" y="6172992"/>
                  <a:ext cx="75533" cy="52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5" name="Freeform 470"/>
                <p:cNvSpPr>
                  <a:spLocks/>
                </p:cNvSpPr>
                <p:nvPr/>
              </p:nvSpPr>
              <p:spPr bwMode="auto">
                <a:xfrm>
                  <a:off x="10100511" y="6178201"/>
                  <a:ext cx="265669" cy="679799"/>
                </a:xfrm>
                <a:custGeom>
                  <a:avLst/>
                  <a:gdLst>
                    <a:gd name="T0" fmla="*/ 102 w 102"/>
                    <a:gd name="T1" fmla="*/ 261 h 261"/>
                    <a:gd name="T2" fmla="*/ 0 w 102"/>
                    <a:gd name="T3" fmla="*/ 261 h 261"/>
                    <a:gd name="T4" fmla="*/ 0 w 102"/>
                    <a:gd name="T5" fmla="*/ 25 h 261"/>
                    <a:gd name="T6" fmla="*/ 102 w 102"/>
                    <a:gd name="T7" fmla="*/ 0 h 261"/>
                    <a:gd name="T8" fmla="*/ 102 w 102"/>
                    <a:gd name="T9" fmla="*/ 261 h 261"/>
                  </a:gdLst>
                  <a:ahLst/>
                  <a:cxnLst>
                    <a:cxn ang="0">
                      <a:pos x="T0" y="T1"/>
                    </a:cxn>
                    <a:cxn ang="0">
                      <a:pos x="T2" y="T3"/>
                    </a:cxn>
                    <a:cxn ang="0">
                      <a:pos x="T4" y="T5"/>
                    </a:cxn>
                    <a:cxn ang="0">
                      <a:pos x="T6" y="T7"/>
                    </a:cxn>
                    <a:cxn ang="0">
                      <a:pos x="T8" y="T9"/>
                    </a:cxn>
                  </a:cxnLst>
                  <a:rect l="0" t="0" r="r" b="b"/>
                  <a:pathLst>
                    <a:path w="102" h="261">
                      <a:moveTo>
                        <a:pt x="102" y="261"/>
                      </a:moveTo>
                      <a:lnTo>
                        <a:pt x="0" y="261"/>
                      </a:lnTo>
                      <a:lnTo>
                        <a:pt x="0" y="25"/>
                      </a:lnTo>
                      <a:lnTo>
                        <a:pt x="102" y="0"/>
                      </a:lnTo>
                      <a:lnTo>
                        <a:pt x="102"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6" name="Freeform 471"/>
                <p:cNvSpPr>
                  <a:spLocks/>
                </p:cNvSpPr>
                <p:nvPr/>
              </p:nvSpPr>
              <p:spPr bwMode="auto">
                <a:xfrm>
                  <a:off x="10100511" y="6178201"/>
                  <a:ext cx="265669" cy="679799"/>
                </a:xfrm>
                <a:custGeom>
                  <a:avLst/>
                  <a:gdLst>
                    <a:gd name="T0" fmla="*/ 102 w 102"/>
                    <a:gd name="T1" fmla="*/ 261 h 261"/>
                    <a:gd name="T2" fmla="*/ 0 w 102"/>
                    <a:gd name="T3" fmla="*/ 261 h 261"/>
                    <a:gd name="T4" fmla="*/ 0 w 102"/>
                    <a:gd name="T5" fmla="*/ 25 h 261"/>
                    <a:gd name="T6" fmla="*/ 102 w 102"/>
                    <a:gd name="T7" fmla="*/ 0 h 261"/>
                    <a:gd name="T8" fmla="*/ 102 w 102"/>
                    <a:gd name="T9" fmla="*/ 261 h 261"/>
                  </a:gdLst>
                  <a:ahLst/>
                  <a:cxnLst>
                    <a:cxn ang="0">
                      <a:pos x="T0" y="T1"/>
                    </a:cxn>
                    <a:cxn ang="0">
                      <a:pos x="T2" y="T3"/>
                    </a:cxn>
                    <a:cxn ang="0">
                      <a:pos x="T4" y="T5"/>
                    </a:cxn>
                    <a:cxn ang="0">
                      <a:pos x="T6" y="T7"/>
                    </a:cxn>
                    <a:cxn ang="0">
                      <a:pos x="T8" y="T9"/>
                    </a:cxn>
                  </a:cxnLst>
                  <a:rect l="0" t="0" r="r" b="b"/>
                  <a:pathLst>
                    <a:path w="102" h="261">
                      <a:moveTo>
                        <a:pt x="102" y="261"/>
                      </a:moveTo>
                      <a:lnTo>
                        <a:pt x="0" y="261"/>
                      </a:lnTo>
                      <a:lnTo>
                        <a:pt x="0" y="25"/>
                      </a:lnTo>
                      <a:lnTo>
                        <a:pt x="102" y="0"/>
                      </a:lnTo>
                      <a:lnTo>
                        <a:pt x="102" y="26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7" name="Rectangle 472"/>
                <p:cNvSpPr>
                  <a:spLocks noChangeArrowheads="1"/>
                </p:cNvSpPr>
                <p:nvPr/>
              </p:nvSpPr>
              <p:spPr bwMode="auto">
                <a:xfrm>
                  <a:off x="10090093" y="6232898"/>
                  <a:ext cx="23441" cy="625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8" name="Rectangle 473"/>
                <p:cNvSpPr>
                  <a:spLocks noChangeArrowheads="1"/>
                </p:cNvSpPr>
                <p:nvPr/>
              </p:nvSpPr>
              <p:spPr bwMode="auto">
                <a:xfrm>
                  <a:off x="10155208" y="6214666"/>
                  <a:ext cx="23441" cy="6433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199" name="Rectangle 474"/>
                <p:cNvSpPr>
                  <a:spLocks noChangeArrowheads="1"/>
                </p:cNvSpPr>
                <p:nvPr/>
              </p:nvSpPr>
              <p:spPr bwMode="auto">
                <a:xfrm>
                  <a:off x="10222927" y="6196433"/>
                  <a:ext cx="23441" cy="6615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0" name="Rectangle 475"/>
                <p:cNvSpPr>
                  <a:spLocks noChangeArrowheads="1"/>
                </p:cNvSpPr>
                <p:nvPr/>
              </p:nvSpPr>
              <p:spPr bwMode="auto">
                <a:xfrm>
                  <a:off x="10288042" y="6183410"/>
                  <a:ext cx="23441" cy="6745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1" name="Rectangle 476"/>
                <p:cNvSpPr>
                  <a:spLocks noChangeArrowheads="1"/>
                </p:cNvSpPr>
                <p:nvPr/>
              </p:nvSpPr>
              <p:spPr bwMode="auto">
                <a:xfrm>
                  <a:off x="10355762" y="6167783"/>
                  <a:ext cx="23441" cy="6902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2" name="Rectangle 477"/>
                <p:cNvSpPr>
                  <a:spLocks noChangeArrowheads="1"/>
                </p:cNvSpPr>
                <p:nvPr/>
              </p:nvSpPr>
              <p:spPr bwMode="auto">
                <a:xfrm>
                  <a:off x="10118744" y="6284990"/>
                  <a:ext cx="31255"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3" name="Rectangle 478"/>
                <p:cNvSpPr>
                  <a:spLocks noChangeArrowheads="1"/>
                </p:cNvSpPr>
                <p:nvPr/>
              </p:nvSpPr>
              <p:spPr bwMode="auto">
                <a:xfrm>
                  <a:off x="10118744" y="6284990"/>
                  <a:ext cx="31255"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4" name="Rectangle 479"/>
                <p:cNvSpPr>
                  <a:spLocks noChangeArrowheads="1"/>
                </p:cNvSpPr>
                <p:nvPr/>
              </p:nvSpPr>
              <p:spPr bwMode="auto">
                <a:xfrm>
                  <a:off x="10186463" y="6284990"/>
                  <a:ext cx="31255"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5" name="Rectangle 480"/>
                <p:cNvSpPr>
                  <a:spLocks noChangeArrowheads="1"/>
                </p:cNvSpPr>
                <p:nvPr/>
              </p:nvSpPr>
              <p:spPr bwMode="auto">
                <a:xfrm>
                  <a:off x="10186463" y="6284990"/>
                  <a:ext cx="31255"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6" name="Rectangle 481"/>
                <p:cNvSpPr>
                  <a:spLocks noChangeArrowheads="1"/>
                </p:cNvSpPr>
                <p:nvPr/>
              </p:nvSpPr>
              <p:spPr bwMode="auto">
                <a:xfrm>
                  <a:off x="10251578" y="6284990"/>
                  <a:ext cx="31255"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7" name="Rectangle 482"/>
                <p:cNvSpPr>
                  <a:spLocks noChangeArrowheads="1"/>
                </p:cNvSpPr>
                <p:nvPr/>
              </p:nvSpPr>
              <p:spPr bwMode="auto">
                <a:xfrm>
                  <a:off x="10319297" y="6284990"/>
                  <a:ext cx="28651"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8" name="Rectangle 483"/>
                <p:cNvSpPr>
                  <a:spLocks noChangeArrowheads="1"/>
                </p:cNvSpPr>
                <p:nvPr/>
              </p:nvSpPr>
              <p:spPr bwMode="auto">
                <a:xfrm>
                  <a:off x="10319297" y="6284990"/>
                  <a:ext cx="28651"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09" name="Rectangle 484"/>
                <p:cNvSpPr>
                  <a:spLocks noChangeArrowheads="1"/>
                </p:cNvSpPr>
                <p:nvPr/>
              </p:nvSpPr>
              <p:spPr bwMode="auto">
                <a:xfrm>
                  <a:off x="10118744" y="636833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0" name="Rectangle 485"/>
                <p:cNvSpPr>
                  <a:spLocks noChangeArrowheads="1"/>
                </p:cNvSpPr>
                <p:nvPr/>
              </p:nvSpPr>
              <p:spPr bwMode="auto">
                <a:xfrm>
                  <a:off x="10186463" y="636833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1" name="Rectangle 486"/>
                <p:cNvSpPr>
                  <a:spLocks noChangeArrowheads="1"/>
                </p:cNvSpPr>
                <p:nvPr/>
              </p:nvSpPr>
              <p:spPr bwMode="auto">
                <a:xfrm>
                  <a:off x="10251578" y="636833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2" name="Rectangle 487"/>
                <p:cNvSpPr>
                  <a:spLocks noChangeArrowheads="1"/>
                </p:cNvSpPr>
                <p:nvPr/>
              </p:nvSpPr>
              <p:spPr bwMode="auto">
                <a:xfrm>
                  <a:off x="10251578" y="636833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3" name="Rectangle 488"/>
                <p:cNvSpPr>
                  <a:spLocks noChangeArrowheads="1"/>
                </p:cNvSpPr>
                <p:nvPr/>
              </p:nvSpPr>
              <p:spPr bwMode="auto">
                <a:xfrm>
                  <a:off x="10319297" y="6368337"/>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4" name="Rectangle 489"/>
                <p:cNvSpPr>
                  <a:spLocks noChangeArrowheads="1"/>
                </p:cNvSpPr>
                <p:nvPr/>
              </p:nvSpPr>
              <p:spPr bwMode="auto">
                <a:xfrm>
                  <a:off x="10319297" y="6368337"/>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5" name="Rectangle 490"/>
                <p:cNvSpPr>
                  <a:spLocks noChangeArrowheads="1"/>
                </p:cNvSpPr>
                <p:nvPr/>
              </p:nvSpPr>
              <p:spPr bwMode="auto">
                <a:xfrm>
                  <a:off x="10118744" y="645168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6" name="Rectangle 491"/>
                <p:cNvSpPr>
                  <a:spLocks noChangeArrowheads="1"/>
                </p:cNvSpPr>
                <p:nvPr/>
              </p:nvSpPr>
              <p:spPr bwMode="auto">
                <a:xfrm>
                  <a:off x="10118744" y="645168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7" name="Rectangle 492"/>
                <p:cNvSpPr>
                  <a:spLocks noChangeArrowheads="1"/>
                </p:cNvSpPr>
                <p:nvPr/>
              </p:nvSpPr>
              <p:spPr bwMode="auto">
                <a:xfrm>
                  <a:off x="10186463" y="645168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8" name="Rectangle 493"/>
                <p:cNvSpPr>
                  <a:spLocks noChangeArrowheads="1"/>
                </p:cNvSpPr>
                <p:nvPr/>
              </p:nvSpPr>
              <p:spPr bwMode="auto">
                <a:xfrm>
                  <a:off x="10186463" y="645168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19" name="Rectangle 494"/>
                <p:cNvSpPr>
                  <a:spLocks noChangeArrowheads="1"/>
                </p:cNvSpPr>
                <p:nvPr/>
              </p:nvSpPr>
              <p:spPr bwMode="auto">
                <a:xfrm>
                  <a:off x="10251578" y="645168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0" name="Rectangle 495"/>
                <p:cNvSpPr>
                  <a:spLocks noChangeArrowheads="1"/>
                </p:cNvSpPr>
                <p:nvPr/>
              </p:nvSpPr>
              <p:spPr bwMode="auto">
                <a:xfrm>
                  <a:off x="10251578" y="645168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1" name="Rectangle 496"/>
                <p:cNvSpPr>
                  <a:spLocks noChangeArrowheads="1"/>
                </p:cNvSpPr>
                <p:nvPr/>
              </p:nvSpPr>
              <p:spPr bwMode="auto">
                <a:xfrm>
                  <a:off x="10319297" y="6451683"/>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2" name="Rectangle 497"/>
                <p:cNvSpPr>
                  <a:spLocks noChangeArrowheads="1"/>
                </p:cNvSpPr>
                <p:nvPr/>
              </p:nvSpPr>
              <p:spPr bwMode="auto">
                <a:xfrm>
                  <a:off x="10118744" y="653503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3" name="Rectangle 498"/>
                <p:cNvSpPr>
                  <a:spLocks noChangeArrowheads="1"/>
                </p:cNvSpPr>
                <p:nvPr/>
              </p:nvSpPr>
              <p:spPr bwMode="auto">
                <a:xfrm>
                  <a:off x="10118744" y="653503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4" name="Rectangle 499"/>
                <p:cNvSpPr>
                  <a:spLocks noChangeArrowheads="1"/>
                </p:cNvSpPr>
                <p:nvPr/>
              </p:nvSpPr>
              <p:spPr bwMode="auto">
                <a:xfrm>
                  <a:off x="10186463" y="653503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5" name="Rectangle 500"/>
                <p:cNvSpPr>
                  <a:spLocks noChangeArrowheads="1"/>
                </p:cNvSpPr>
                <p:nvPr/>
              </p:nvSpPr>
              <p:spPr bwMode="auto">
                <a:xfrm>
                  <a:off x="10251578" y="653503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6" name="Rectangle 501"/>
                <p:cNvSpPr>
                  <a:spLocks noChangeArrowheads="1"/>
                </p:cNvSpPr>
                <p:nvPr/>
              </p:nvSpPr>
              <p:spPr bwMode="auto">
                <a:xfrm>
                  <a:off x="10251578" y="653503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7" name="Rectangle 502"/>
                <p:cNvSpPr>
                  <a:spLocks noChangeArrowheads="1"/>
                </p:cNvSpPr>
                <p:nvPr/>
              </p:nvSpPr>
              <p:spPr bwMode="auto">
                <a:xfrm>
                  <a:off x="10319297" y="6535030"/>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8" name="Rectangle 503"/>
                <p:cNvSpPr>
                  <a:spLocks noChangeArrowheads="1"/>
                </p:cNvSpPr>
                <p:nvPr/>
              </p:nvSpPr>
              <p:spPr bwMode="auto">
                <a:xfrm>
                  <a:off x="10319297" y="6535030"/>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29" name="Rectangle 504"/>
                <p:cNvSpPr>
                  <a:spLocks noChangeArrowheads="1"/>
                </p:cNvSpPr>
                <p:nvPr/>
              </p:nvSpPr>
              <p:spPr bwMode="auto">
                <a:xfrm>
                  <a:off x="10118744" y="661577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0" name="Rectangle 505"/>
                <p:cNvSpPr>
                  <a:spLocks noChangeArrowheads="1"/>
                </p:cNvSpPr>
                <p:nvPr/>
              </p:nvSpPr>
              <p:spPr bwMode="auto">
                <a:xfrm>
                  <a:off x="10118744" y="661577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1" name="Rectangle 506"/>
                <p:cNvSpPr>
                  <a:spLocks noChangeArrowheads="1"/>
                </p:cNvSpPr>
                <p:nvPr/>
              </p:nvSpPr>
              <p:spPr bwMode="auto">
                <a:xfrm>
                  <a:off x="10186463" y="661577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2" name="Rectangle 507"/>
                <p:cNvSpPr>
                  <a:spLocks noChangeArrowheads="1"/>
                </p:cNvSpPr>
                <p:nvPr/>
              </p:nvSpPr>
              <p:spPr bwMode="auto">
                <a:xfrm>
                  <a:off x="10186463" y="661577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3" name="Rectangle 508"/>
                <p:cNvSpPr>
                  <a:spLocks noChangeArrowheads="1"/>
                </p:cNvSpPr>
                <p:nvPr/>
              </p:nvSpPr>
              <p:spPr bwMode="auto">
                <a:xfrm>
                  <a:off x="10251578" y="6615773"/>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4" name="Rectangle 509"/>
                <p:cNvSpPr>
                  <a:spLocks noChangeArrowheads="1"/>
                </p:cNvSpPr>
                <p:nvPr/>
              </p:nvSpPr>
              <p:spPr bwMode="auto">
                <a:xfrm>
                  <a:off x="10319297" y="6615773"/>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5" name="Rectangle 510"/>
                <p:cNvSpPr>
                  <a:spLocks noChangeArrowheads="1"/>
                </p:cNvSpPr>
                <p:nvPr/>
              </p:nvSpPr>
              <p:spPr bwMode="auto">
                <a:xfrm>
                  <a:off x="10319297" y="6615773"/>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6" name="Rectangle 511"/>
                <p:cNvSpPr>
                  <a:spLocks noChangeArrowheads="1"/>
                </p:cNvSpPr>
                <p:nvPr/>
              </p:nvSpPr>
              <p:spPr bwMode="auto">
                <a:xfrm>
                  <a:off x="10118744" y="669912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7" name="Rectangle 512"/>
                <p:cNvSpPr>
                  <a:spLocks noChangeArrowheads="1"/>
                </p:cNvSpPr>
                <p:nvPr/>
              </p:nvSpPr>
              <p:spPr bwMode="auto">
                <a:xfrm>
                  <a:off x="10186463" y="669912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8" name="Rectangle 513"/>
                <p:cNvSpPr>
                  <a:spLocks noChangeArrowheads="1"/>
                </p:cNvSpPr>
                <p:nvPr/>
              </p:nvSpPr>
              <p:spPr bwMode="auto">
                <a:xfrm>
                  <a:off x="10251578" y="669912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39" name="Rectangle 514"/>
                <p:cNvSpPr>
                  <a:spLocks noChangeArrowheads="1"/>
                </p:cNvSpPr>
                <p:nvPr/>
              </p:nvSpPr>
              <p:spPr bwMode="auto">
                <a:xfrm>
                  <a:off x="10251578" y="6699120"/>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0" name="Rectangle 515"/>
                <p:cNvSpPr>
                  <a:spLocks noChangeArrowheads="1"/>
                </p:cNvSpPr>
                <p:nvPr/>
              </p:nvSpPr>
              <p:spPr bwMode="auto">
                <a:xfrm>
                  <a:off x="10319297" y="6699120"/>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1" name="Rectangle 516"/>
                <p:cNvSpPr>
                  <a:spLocks noChangeArrowheads="1"/>
                </p:cNvSpPr>
                <p:nvPr/>
              </p:nvSpPr>
              <p:spPr bwMode="auto">
                <a:xfrm>
                  <a:off x="10319297" y="6699120"/>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2" name="Rectangle 517"/>
                <p:cNvSpPr>
                  <a:spLocks noChangeArrowheads="1"/>
                </p:cNvSpPr>
                <p:nvPr/>
              </p:nvSpPr>
              <p:spPr bwMode="auto">
                <a:xfrm>
                  <a:off x="10118744" y="678246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3" name="Rectangle 518"/>
                <p:cNvSpPr>
                  <a:spLocks noChangeArrowheads="1"/>
                </p:cNvSpPr>
                <p:nvPr/>
              </p:nvSpPr>
              <p:spPr bwMode="auto">
                <a:xfrm>
                  <a:off x="10118744" y="678246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4" name="Rectangle 519"/>
                <p:cNvSpPr>
                  <a:spLocks noChangeArrowheads="1"/>
                </p:cNvSpPr>
                <p:nvPr/>
              </p:nvSpPr>
              <p:spPr bwMode="auto">
                <a:xfrm>
                  <a:off x="10186463" y="678246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5" name="Rectangle 520"/>
                <p:cNvSpPr>
                  <a:spLocks noChangeArrowheads="1"/>
                </p:cNvSpPr>
                <p:nvPr/>
              </p:nvSpPr>
              <p:spPr bwMode="auto">
                <a:xfrm>
                  <a:off x="10251578" y="678246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6" name="Rectangle 521"/>
                <p:cNvSpPr>
                  <a:spLocks noChangeArrowheads="1"/>
                </p:cNvSpPr>
                <p:nvPr/>
              </p:nvSpPr>
              <p:spPr bwMode="auto">
                <a:xfrm>
                  <a:off x="10251578" y="6782467"/>
                  <a:ext cx="31255"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7" name="Rectangle 522"/>
                <p:cNvSpPr>
                  <a:spLocks noChangeArrowheads="1"/>
                </p:cNvSpPr>
                <p:nvPr/>
              </p:nvSpPr>
              <p:spPr bwMode="auto">
                <a:xfrm>
                  <a:off x="10319297" y="6782467"/>
                  <a:ext cx="28651" cy="468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8" name="Freeform 523"/>
                <p:cNvSpPr>
                  <a:spLocks/>
                </p:cNvSpPr>
                <p:nvPr/>
              </p:nvSpPr>
              <p:spPr bwMode="auto">
                <a:xfrm>
                  <a:off x="9256623" y="6271967"/>
                  <a:ext cx="190135" cy="586033"/>
                </a:xfrm>
                <a:custGeom>
                  <a:avLst/>
                  <a:gdLst>
                    <a:gd name="T0" fmla="*/ 32 w 73"/>
                    <a:gd name="T1" fmla="*/ 0 h 225"/>
                    <a:gd name="T2" fmla="*/ 32 w 73"/>
                    <a:gd name="T3" fmla="*/ 3 h 225"/>
                    <a:gd name="T4" fmla="*/ 30 w 73"/>
                    <a:gd name="T5" fmla="*/ 3 h 225"/>
                    <a:gd name="T6" fmla="*/ 30 w 73"/>
                    <a:gd name="T7" fmla="*/ 10 h 225"/>
                    <a:gd name="T8" fmla="*/ 73 w 73"/>
                    <a:gd name="T9" fmla="*/ 10 h 225"/>
                    <a:gd name="T10" fmla="*/ 73 w 73"/>
                    <a:gd name="T11" fmla="*/ 225 h 225"/>
                    <a:gd name="T12" fmla="*/ 2 w 73"/>
                    <a:gd name="T13" fmla="*/ 225 h 225"/>
                    <a:gd name="T14" fmla="*/ 2 w 73"/>
                    <a:gd name="T15" fmla="*/ 21 h 225"/>
                    <a:gd name="T16" fmla="*/ 2 w 73"/>
                    <a:gd name="T17" fmla="*/ 10 h 225"/>
                    <a:gd name="T18" fmla="*/ 2 w 73"/>
                    <a:gd name="T19" fmla="*/ 3 h 225"/>
                    <a:gd name="T20" fmla="*/ 0 w 73"/>
                    <a:gd name="T21" fmla="*/ 3 h 225"/>
                    <a:gd name="T22" fmla="*/ 0 w 73"/>
                    <a:gd name="T23" fmla="*/ 0 h 225"/>
                    <a:gd name="T24" fmla="*/ 32 w 73"/>
                    <a:gd name="T2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225">
                      <a:moveTo>
                        <a:pt x="32" y="0"/>
                      </a:moveTo>
                      <a:lnTo>
                        <a:pt x="32" y="3"/>
                      </a:lnTo>
                      <a:lnTo>
                        <a:pt x="30" y="3"/>
                      </a:lnTo>
                      <a:lnTo>
                        <a:pt x="30" y="10"/>
                      </a:lnTo>
                      <a:lnTo>
                        <a:pt x="73" y="10"/>
                      </a:lnTo>
                      <a:lnTo>
                        <a:pt x="73" y="225"/>
                      </a:lnTo>
                      <a:lnTo>
                        <a:pt x="2" y="225"/>
                      </a:lnTo>
                      <a:lnTo>
                        <a:pt x="2" y="21"/>
                      </a:lnTo>
                      <a:lnTo>
                        <a:pt x="2" y="10"/>
                      </a:lnTo>
                      <a:lnTo>
                        <a:pt x="2" y="3"/>
                      </a:lnTo>
                      <a:lnTo>
                        <a:pt x="0" y="3"/>
                      </a:lnTo>
                      <a:lnTo>
                        <a:pt x="0" y="0"/>
                      </a:ln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49" name="Rectangle 524"/>
                <p:cNvSpPr>
                  <a:spLocks noChangeArrowheads="1"/>
                </p:cNvSpPr>
                <p:nvPr/>
              </p:nvSpPr>
              <p:spPr bwMode="auto">
                <a:xfrm>
                  <a:off x="9652521" y="6527217"/>
                  <a:ext cx="156276" cy="3307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0" name="Rectangle 525"/>
                <p:cNvSpPr>
                  <a:spLocks noChangeArrowheads="1"/>
                </p:cNvSpPr>
                <p:nvPr/>
              </p:nvSpPr>
              <p:spPr bwMode="auto">
                <a:xfrm>
                  <a:off x="8970118" y="6451683"/>
                  <a:ext cx="127625" cy="4063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1" name="Rectangle 526"/>
                <p:cNvSpPr>
                  <a:spLocks noChangeArrowheads="1"/>
                </p:cNvSpPr>
                <p:nvPr/>
              </p:nvSpPr>
              <p:spPr bwMode="auto">
                <a:xfrm>
                  <a:off x="9071697" y="6537635"/>
                  <a:ext cx="138043" cy="32036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2" name="Rectangle 527"/>
                <p:cNvSpPr>
                  <a:spLocks noChangeArrowheads="1"/>
                </p:cNvSpPr>
                <p:nvPr/>
              </p:nvSpPr>
              <p:spPr bwMode="auto">
                <a:xfrm>
                  <a:off x="9014396" y="6436056"/>
                  <a:ext cx="57301"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3" name="Rectangle 528"/>
                <p:cNvSpPr>
                  <a:spLocks noChangeArrowheads="1"/>
                </p:cNvSpPr>
                <p:nvPr/>
              </p:nvSpPr>
              <p:spPr bwMode="auto">
                <a:xfrm>
                  <a:off x="9079511" y="6532426"/>
                  <a:ext cx="148462" cy="104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4" name="Rectangle 529"/>
                <p:cNvSpPr>
                  <a:spLocks noChangeArrowheads="1"/>
                </p:cNvSpPr>
                <p:nvPr/>
              </p:nvSpPr>
              <p:spPr bwMode="auto">
                <a:xfrm>
                  <a:off x="9194113" y="6675678"/>
                  <a:ext cx="156276" cy="1823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5" name="Rectangle 530"/>
                <p:cNvSpPr>
                  <a:spLocks noChangeArrowheads="1"/>
                </p:cNvSpPr>
                <p:nvPr/>
              </p:nvSpPr>
              <p:spPr bwMode="auto">
                <a:xfrm>
                  <a:off x="8691426" y="6524612"/>
                  <a:ext cx="127625" cy="333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6" name="Rectangle 531"/>
                <p:cNvSpPr>
                  <a:spLocks noChangeArrowheads="1"/>
                </p:cNvSpPr>
                <p:nvPr/>
              </p:nvSpPr>
              <p:spPr bwMode="auto">
                <a:xfrm>
                  <a:off x="8582033" y="6691306"/>
                  <a:ext cx="166694" cy="16669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7" name="Rectangle 532"/>
                <p:cNvSpPr>
                  <a:spLocks noChangeArrowheads="1"/>
                </p:cNvSpPr>
                <p:nvPr/>
              </p:nvSpPr>
              <p:spPr bwMode="auto">
                <a:xfrm>
                  <a:off x="8399712" y="6662656"/>
                  <a:ext cx="104184" cy="1953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8" name="Rectangle 533"/>
                <p:cNvSpPr>
                  <a:spLocks noChangeArrowheads="1"/>
                </p:cNvSpPr>
                <p:nvPr/>
              </p:nvSpPr>
              <p:spPr bwMode="auto">
                <a:xfrm>
                  <a:off x="8483059" y="6798094"/>
                  <a:ext cx="244832" cy="599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59" name="Rectangle 534"/>
                <p:cNvSpPr>
                  <a:spLocks noChangeArrowheads="1"/>
                </p:cNvSpPr>
                <p:nvPr/>
              </p:nvSpPr>
              <p:spPr bwMode="auto">
                <a:xfrm>
                  <a:off x="8303342" y="6777258"/>
                  <a:ext cx="127625" cy="807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0" name="Rectangle 535"/>
                <p:cNvSpPr>
                  <a:spLocks noChangeArrowheads="1"/>
                </p:cNvSpPr>
                <p:nvPr/>
              </p:nvSpPr>
              <p:spPr bwMode="auto">
                <a:xfrm>
                  <a:off x="8819052" y="6735584"/>
                  <a:ext cx="195345" cy="1224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1" name="Rectangle 536"/>
                <p:cNvSpPr>
                  <a:spLocks noChangeArrowheads="1"/>
                </p:cNvSpPr>
                <p:nvPr/>
              </p:nvSpPr>
              <p:spPr bwMode="auto">
                <a:xfrm>
                  <a:off x="9394667" y="6805908"/>
                  <a:ext cx="3047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2" name="Rectangle 537"/>
                <p:cNvSpPr>
                  <a:spLocks noChangeArrowheads="1"/>
                </p:cNvSpPr>
                <p:nvPr/>
              </p:nvSpPr>
              <p:spPr bwMode="auto">
                <a:xfrm>
                  <a:off x="9936422" y="6805908"/>
                  <a:ext cx="304737" cy="52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3" name="Freeform 538"/>
                <p:cNvSpPr>
                  <a:spLocks/>
                </p:cNvSpPr>
                <p:nvPr/>
              </p:nvSpPr>
              <p:spPr bwMode="auto">
                <a:xfrm>
                  <a:off x="9522292" y="6649633"/>
                  <a:ext cx="166694" cy="182322"/>
                </a:xfrm>
                <a:custGeom>
                  <a:avLst/>
                  <a:gdLst>
                    <a:gd name="T0" fmla="*/ 64 w 64"/>
                    <a:gd name="T1" fmla="*/ 0 h 70"/>
                    <a:gd name="T2" fmla="*/ 19 w 64"/>
                    <a:gd name="T3" fmla="*/ 0 h 70"/>
                    <a:gd name="T4" fmla="*/ 0 w 64"/>
                    <a:gd name="T5" fmla="*/ 70 h 70"/>
                    <a:gd name="T6" fmla="*/ 64 w 64"/>
                    <a:gd name="T7" fmla="*/ 70 h 70"/>
                    <a:gd name="T8" fmla="*/ 64 w 64"/>
                    <a:gd name="T9" fmla="*/ 0 h 70"/>
                  </a:gdLst>
                  <a:ahLst/>
                  <a:cxnLst>
                    <a:cxn ang="0">
                      <a:pos x="T0" y="T1"/>
                    </a:cxn>
                    <a:cxn ang="0">
                      <a:pos x="T2" y="T3"/>
                    </a:cxn>
                    <a:cxn ang="0">
                      <a:pos x="T4" y="T5"/>
                    </a:cxn>
                    <a:cxn ang="0">
                      <a:pos x="T6" y="T7"/>
                    </a:cxn>
                    <a:cxn ang="0">
                      <a:pos x="T8" y="T9"/>
                    </a:cxn>
                  </a:cxnLst>
                  <a:rect l="0" t="0" r="r" b="b"/>
                  <a:pathLst>
                    <a:path w="64" h="70">
                      <a:moveTo>
                        <a:pt x="64" y="0"/>
                      </a:moveTo>
                      <a:lnTo>
                        <a:pt x="19" y="0"/>
                      </a:lnTo>
                      <a:lnTo>
                        <a:pt x="0" y="70"/>
                      </a:lnTo>
                      <a:lnTo>
                        <a:pt x="64" y="70"/>
                      </a:ln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4" name="Rectangle 539"/>
                <p:cNvSpPr>
                  <a:spLocks noChangeArrowheads="1"/>
                </p:cNvSpPr>
                <p:nvPr/>
              </p:nvSpPr>
              <p:spPr bwMode="auto">
                <a:xfrm>
                  <a:off x="9741078" y="6386569"/>
                  <a:ext cx="5209" cy="2005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5" name="Rectangle 540"/>
                <p:cNvSpPr>
                  <a:spLocks noChangeArrowheads="1"/>
                </p:cNvSpPr>
                <p:nvPr/>
              </p:nvSpPr>
              <p:spPr bwMode="auto">
                <a:xfrm>
                  <a:off x="9756705" y="6454288"/>
                  <a:ext cx="5209" cy="11981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6" name="Rectangle 541"/>
                <p:cNvSpPr>
                  <a:spLocks noChangeArrowheads="1"/>
                </p:cNvSpPr>
                <p:nvPr/>
              </p:nvSpPr>
              <p:spPr bwMode="auto">
                <a:xfrm>
                  <a:off x="9733264" y="6475125"/>
                  <a:ext cx="59906" cy="5990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7" name="Rectangle 542"/>
                <p:cNvSpPr>
                  <a:spLocks noChangeArrowheads="1"/>
                </p:cNvSpPr>
                <p:nvPr/>
              </p:nvSpPr>
              <p:spPr bwMode="auto">
                <a:xfrm>
                  <a:off x="9725450" y="6469916"/>
                  <a:ext cx="78138" cy="520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8" name="Rectangle 543"/>
                <p:cNvSpPr>
                  <a:spLocks noChangeArrowheads="1"/>
                </p:cNvSpPr>
                <p:nvPr/>
              </p:nvSpPr>
              <p:spPr bwMode="auto">
                <a:xfrm>
                  <a:off x="9780146" y="6688701"/>
                  <a:ext cx="190135" cy="1692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69" name="Rectangle 544"/>
                <p:cNvSpPr>
                  <a:spLocks noChangeArrowheads="1"/>
                </p:cNvSpPr>
                <p:nvPr/>
              </p:nvSpPr>
              <p:spPr bwMode="auto">
                <a:xfrm>
                  <a:off x="9933817" y="6501171"/>
                  <a:ext cx="122416" cy="32817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0" name="Rectangle 545"/>
                <p:cNvSpPr>
                  <a:spLocks noChangeArrowheads="1"/>
                </p:cNvSpPr>
                <p:nvPr/>
              </p:nvSpPr>
              <p:spPr bwMode="auto">
                <a:xfrm>
                  <a:off x="10410458" y="6563681"/>
                  <a:ext cx="195345" cy="2943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1" name="Rectangle 546"/>
                <p:cNvSpPr>
                  <a:spLocks noChangeArrowheads="1"/>
                </p:cNvSpPr>
                <p:nvPr/>
              </p:nvSpPr>
              <p:spPr bwMode="auto">
                <a:xfrm>
                  <a:off x="10347948" y="6748607"/>
                  <a:ext cx="223995" cy="1093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2" name="Rectangle 547"/>
                <p:cNvSpPr>
                  <a:spLocks noChangeArrowheads="1"/>
                </p:cNvSpPr>
                <p:nvPr/>
              </p:nvSpPr>
              <p:spPr bwMode="auto">
                <a:xfrm>
                  <a:off x="10595384" y="6818931"/>
                  <a:ext cx="143253" cy="390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3" name="Rectangle 548"/>
                <p:cNvSpPr>
                  <a:spLocks noChangeArrowheads="1"/>
                </p:cNvSpPr>
                <p:nvPr/>
              </p:nvSpPr>
              <p:spPr bwMode="auto">
                <a:xfrm>
                  <a:off x="10816775" y="6748607"/>
                  <a:ext cx="234413" cy="10939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4" name="Rectangle 549"/>
                <p:cNvSpPr>
                  <a:spLocks noChangeArrowheads="1"/>
                </p:cNvSpPr>
                <p:nvPr/>
              </p:nvSpPr>
              <p:spPr bwMode="auto">
                <a:xfrm>
                  <a:off x="10910540" y="6464706"/>
                  <a:ext cx="294319" cy="39329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5" name="Rectangle 550"/>
                <p:cNvSpPr>
                  <a:spLocks noChangeArrowheads="1"/>
                </p:cNvSpPr>
                <p:nvPr/>
              </p:nvSpPr>
              <p:spPr bwMode="auto">
                <a:xfrm>
                  <a:off x="10902726" y="6449079"/>
                  <a:ext cx="317760" cy="156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6" name="Rectangle 551"/>
                <p:cNvSpPr>
                  <a:spLocks noChangeArrowheads="1"/>
                </p:cNvSpPr>
                <p:nvPr/>
              </p:nvSpPr>
              <p:spPr bwMode="auto">
                <a:xfrm>
                  <a:off x="11061606" y="6407405"/>
                  <a:ext cx="130230" cy="807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7" name="Rectangle 552"/>
                <p:cNvSpPr>
                  <a:spLocks noChangeArrowheads="1"/>
                </p:cNvSpPr>
                <p:nvPr/>
              </p:nvSpPr>
              <p:spPr bwMode="auto">
                <a:xfrm>
                  <a:off x="10999096" y="6407405"/>
                  <a:ext cx="20837"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8" name="Rectangle 553"/>
                <p:cNvSpPr>
                  <a:spLocks noChangeArrowheads="1"/>
                </p:cNvSpPr>
                <p:nvPr/>
              </p:nvSpPr>
              <p:spPr bwMode="auto">
                <a:xfrm>
                  <a:off x="10952214" y="6407405"/>
                  <a:ext cx="23441" cy="494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79" name="Rectangle 554"/>
                <p:cNvSpPr>
                  <a:spLocks noChangeArrowheads="1"/>
                </p:cNvSpPr>
                <p:nvPr/>
              </p:nvSpPr>
              <p:spPr bwMode="auto">
                <a:xfrm>
                  <a:off x="11405413" y="6282385"/>
                  <a:ext cx="229204" cy="5756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0" name="Rectangle 555"/>
                <p:cNvSpPr>
                  <a:spLocks noChangeArrowheads="1"/>
                </p:cNvSpPr>
                <p:nvPr/>
              </p:nvSpPr>
              <p:spPr bwMode="auto">
                <a:xfrm>
                  <a:off x="11397599" y="6271967"/>
                  <a:ext cx="244832" cy="156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1" name="Rectangle 556"/>
                <p:cNvSpPr>
                  <a:spLocks noChangeArrowheads="1"/>
                </p:cNvSpPr>
                <p:nvPr/>
              </p:nvSpPr>
              <p:spPr bwMode="auto">
                <a:xfrm>
                  <a:off x="11410622" y="6251130"/>
                  <a:ext cx="218786" cy="78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2" name="Rectangle 557"/>
                <p:cNvSpPr>
                  <a:spLocks noChangeArrowheads="1"/>
                </p:cNvSpPr>
                <p:nvPr/>
              </p:nvSpPr>
              <p:spPr bwMode="auto">
                <a:xfrm>
                  <a:off x="11525224" y="6219875"/>
                  <a:ext cx="85952" cy="8334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3" name="Freeform 558"/>
                <p:cNvSpPr>
                  <a:spLocks/>
                </p:cNvSpPr>
                <p:nvPr/>
              </p:nvSpPr>
              <p:spPr bwMode="auto">
                <a:xfrm>
                  <a:off x="11561688" y="6199038"/>
                  <a:ext cx="49487" cy="44278"/>
                </a:xfrm>
                <a:custGeom>
                  <a:avLst/>
                  <a:gdLst>
                    <a:gd name="T0" fmla="*/ 0 w 19"/>
                    <a:gd name="T1" fmla="*/ 17 h 17"/>
                    <a:gd name="T2" fmla="*/ 19 w 19"/>
                    <a:gd name="T3" fmla="*/ 17 h 17"/>
                    <a:gd name="T4" fmla="*/ 19 w 19"/>
                    <a:gd name="T5" fmla="*/ 0 h 17"/>
                    <a:gd name="T6" fmla="*/ 6 w 19"/>
                    <a:gd name="T7" fmla="*/ 0 h 17"/>
                    <a:gd name="T8" fmla="*/ 0 w 19"/>
                    <a:gd name="T9" fmla="*/ 17 h 17"/>
                  </a:gdLst>
                  <a:ahLst/>
                  <a:cxnLst>
                    <a:cxn ang="0">
                      <a:pos x="T0" y="T1"/>
                    </a:cxn>
                    <a:cxn ang="0">
                      <a:pos x="T2" y="T3"/>
                    </a:cxn>
                    <a:cxn ang="0">
                      <a:pos x="T4" y="T5"/>
                    </a:cxn>
                    <a:cxn ang="0">
                      <a:pos x="T6" y="T7"/>
                    </a:cxn>
                    <a:cxn ang="0">
                      <a:pos x="T8" y="T9"/>
                    </a:cxn>
                  </a:cxnLst>
                  <a:rect l="0" t="0" r="r" b="b"/>
                  <a:pathLst>
                    <a:path w="19" h="17">
                      <a:moveTo>
                        <a:pt x="0" y="17"/>
                      </a:moveTo>
                      <a:lnTo>
                        <a:pt x="19" y="17"/>
                      </a:lnTo>
                      <a:lnTo>
                        <a:pt x="19" y="0"/>
                      </a:lnTo>
                      <a:lnTo>
                        <a:pt x="6" y="0"/>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4" name="Rectangle 559"/>
                <p:cNvSpPr>
                  <a:spLocks noChangeArrowheads="1"/>
                </p:cNvSpPr>
                <p:nvPr/>
              </p:nvSpPr>
              <p:spPr bwMode="auto">
                <a:xfrm>
                  <a:off x="11587734" y="6162574"/>
                  <a:ext cx="5209" cy="98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5" name="Oval 560"/>
                <p:cNvSpPr>
                  <a:spLocks noChangeArrowheads="1"/>
                </p:cNvSpPr>
                <p:nvPr/>
              </p:nvSpPr>
              <p:spPr bwMode="auto">
                <a:xfrm>
                  <a:off x="11585130" y="6152155"/>
                  <a:ext cx="7814" cy="104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6" name="Rectangle 561"/>
                <p:cNvSpPr>
                  <a:spLocks noChangeArrowheads="1"/>
                </p:cNvSpPr>
                <p:nvPr/>
              </p:nvSpPr>
              <p:spPr bwMode="auto">
                <a:xfrm>
                  <a:off x="11603362" y="6620982"/>
                  <a:ext cx="104184" cy="2370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7" name="Rectangle 562"/>
                <p:cNvSpPr>
                  <a:spLocks noChangeArrowheads="1"/>
                </p:cNvSpPr>
                <p:nvPr/>
              </p:nvSpPr>
              <p:spPr bwMode="auto">
                <a:xfrm>
                  <a:off x="11309043" y="6503775"/>
                  <a:ext cx="119811" cy="354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8" name="Freeform 563"/>
                <p:cNvSpPr>
                  <a:spLocks/>
                </p:cNvSpPr>
                <p:nvPr/>
              </p:nvSpPr>
              <p:spPr bwMode="auto">
                <a:xfrm>
                  <a:off x="11202254" y="6667865"/>
                  <a:ext cx="166694" cy="190135"/>
                </a:xfrm>
                <a:custGeom>
                  <a:avLst/>
                  <a:gdLst>
                    <a:gd name="T0" fmla="*/ 64 w 64"/>
                    <a:gd name="T1" fmla="*/ 73 h 73"/>
                    <a:gd name="T2" fmla="*/ 0 w 64"/>
                    <a:gd name="T3" fmla="*/ 73 h 73"/>
                    <a:gd name="T4" fmla="*/ 0 w 64"/>
                    <a:gd name="T5" fmla="*/ 0 h 73"/>
                    <a:gd name="T6" fmla="*/ 54 w 64"/>
                    <a:gd name="T7" fmla="*/ 24 h 73"/>
                    <a:gd name="T8" fmla="*/ 64 w 64"/>
                    <a:gd name="T9" fmla="*/ 73 h 73"/>
                  </a:gdLst>
                  <a:ahLst/>
                  <a:cxnLst>
                    <a:cxn ang="0">
                      <a:pos x="T0" y="T1"/>
                    </a:cxn>
                    <a:cxn ang="0">
                      <a:pos x="T2" y="T3"/>
                    </a:cxn>
                    <a:cxn ang="0">
                      <a:pos x="T4" y="T5"/>
                    </a:cxn>
                    <a:cxn ang="0">
                      <a:pos x="T6" y="T7"/>
                    </a:cxn>
                    <a:cxn ang="0">
                      <a:pos x="T8" y="T9"/>
                    </a:cxn>
                  </a:cxnLst>
                  <a:rect l="0" t="0" r="r" b="b"/>
                  <a:pathLst>
                    <a:path w="64" h="73">
                      <a:moveTo>
                        <a:pt x="64" y="73"/>
                      </a:moveTo>
                      <a:lnTo>
                        <a:pt x="0" y="73"/>
                      </a:lnTo>
                      <a:lnTo>
                        <a:pt x="0" y="0"/>
                      </a:lnTo>
                      <a:lnTo>
                        <a:pt x="54" y="24"/>
                      </a:lnTo>
                      <a:lnTo>
                        <a:pt x="64"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89" name="Rectangle 564"/>
                <p:cNvSpPr>
                  <a:spLocks noChangeArrowheads="1"/>
                </p:cNvSpPr>
                <p:nvPr/>
              </p:nvSpPr>
              <p:spPr bwMode="auto">
                <a:xfrm>
                  <a:off x="11673686" y="6753816"/>
                  <a:ext cx="255250" cy="10418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0" name="Rectangle 565"/>
                <p:cNvSpPr>
                  <a:spLocks noChangeArrowheads="1"/>
                </p:cNvSpPr>
                <p:nvPr/>
              </p:nvSpPr>
              <p:spPr bwMode="auto">
                <a:xfrm>
                  <a:off x="11835171" y="6446474"/>
                  <a:ext cx="145857" cy="4115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1" name="Rectangle 566"/>
                <p:cNvSpPr>
                  <a:spLocks noChangeArrowheads="1"/>
                </p:cNvSpPr>
                <p:nvPr/>
              </p:nvSpPr>
              <p:spPr bwMode="auto">
                <a:xfrm>
                  <a:off x="11947168" y="6782467"/>
                  <a:ext cx="244832" cy="755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2" name="Rectangle 567"/>
                <p:cNvSpPr>
                  <a:spLocks noChangeArrowheads="1"/>
                </p:cNvSpPr>
                <p:nvPr/>
              </p:nvSpPr>
              <p:spPr bwMode="auto">
                <a:xfrm>
                  <a:off x="11827357" y="6441265"/>
                  <a:ext cx="161485" cy="1302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3" name="Rectangle 568"/>
                <p:cNvSpPr>
                  <a:spLocks noChangeArrowheads="1"/>
                </p:cNvSpPr>
                <p:nvPr/>
              </p:nvSpPr>
              <p:spPr bwMode="auto">
                <a:xfrm>
                  <a:off x="11957587" y="6383964"/>
                  <a:ext cx="5209" cy="807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4" name="Rectangle 569"/>
                <p:cNvSpPr>
                  <a:spLocks noChangeArrowheads="1"/>
                </p:cNvSpPr>
                <p:nvPr/>
              </p:nvSpPr>
              <p:spPr bwMode="auto">
                <a:xfrm>
                  <a:off x="11936750" y="6394382"/>
                  <a:ext cx="2605" cy="651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sp>
              <p:nvSpPr>
                <p:cNvPr id="295" name="Freeform 570"/>
                <p:cNvSpPr>
                  <a:spLocks/>
                </p:cNvSpPr>
                <p:nvPr/>
              </p:nvSpPr>
              <p:spPr bwMode="auto">
                <a:xfrm>
                  <a:off x="11970610" y="6602750"/>
                  <a:ext cx="93765" cy="187531"/>
                </a:xfrm>
                <a:custGeom>
                  <a:avLst/>
                  <a:gdLst>
                    <a:gd name="T0" fmla="*/ 25 w 36"/>
                    <a:gd name="T1" fmla="*/ 0 h 72"/>
                    <a:gd name="T2" fmla="*/ 0 w 36"/>
                    <a:gd name="T3" fmla="*/ 0 h 72"/>
                    <a:gd name="T4" fmla="*/ 0 w 36"/>
                    <a:gd name="T5" fmla="*/ 72 h 72"/>
                    <a:gd name="T6" fmla="*/ 36 w 36"/>
                    <a:gd name="T7" fmla="*/ 72 h 72"/>
                    <a:gd name="T8" fmla="*/ 25 w 36"/>
                    <a:gd name="T9" fmla="*/ 0 h 72"/>
                  </a:gdLst>
                  <a:ahLst/>
                  <a:cxnLst>
                    <a:cxn ang="0">
                      <a:pos x="T0" y="T1"/>
                    </a:cxn>
                    <a:cxn ang="0">
                      <a:pos x="T2" y="T3"/>
                    </a:cxn>
                    <a:cxn ang="0">
                      <a:pos x="T4" y="T5"/>
                    </a:cxn>
                    <a:cxn ang="0">
                      <a:pos x="T6" y="T7"/>
                    </a:cxn>
                    <a:cxn ang="0">
                      <a:pos x="T8" y="T9"/>
                    </a:cxn>
                  </a:cxnLst>
                  <a:rect l="0" t="0" r="r" b="b"/>
                  <a:pathLst>
                    <a:path w="36" h="72">
                      <a:moveTo>
                        <a:pt x="25" y="0"/>
                      </a:moveTo>
                      <a:lnTo>
                        <a:pt x="0" y="0"/>
                      </a:lnTo>
                      <a:lnTo>
                        <a:pt x="0" y="72"/>
                      </a:lnTo>
                      <a:lnTo>
                        <a:pt x="36" y="72"/>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GB" sz="5200"/>
                </a:p>
              </p:txBody>
            </p:sp>
          </p:grpSp>
        </p:grpSp>
      </p:grpSp>
      <p:sp>
        <p:nvSpPr>
          <p:cNvPr id="330" name="Rectangle 329"/>
          <p:cNvSpPr/>
          <p:nvPr/>
        </p:nvSpPr>
        <p:spPr>
          <a:xfrm>
            <a:off x="0" y="8963416"/>
            <a:ext cx="11071123" cy="180585"/>
          </a:xfrm>
          <a:prstGeom prst="rect">
            <a:avLst/>
          </a:prstGeom>
          <a:solidFill>
            <a:srgbClr val="1130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5200"/>
          </a:p>
        </p:txBody>
      </p:sp>
      <p:pic>
        <p:nvPicPr>
          <p:cNvPr id="331" name="Picture 330"/>
          <p:cNvPicPr>
            <a:picLocks noChangeAspect="1"/>
          </p:cNvPicPr>
          <p:nvPr/>
        </p:nvPicPr>
        <p:blipFill>
          <a:blip r:embed="rId8"/>
          <a:stretch>
            <a:fillRect/>
          </a:stretch>
        </p:blipFill>
        <p:spPr>
          <a:xfrm>
            <a:off x="1748558" y="1088158"/>
            <a:ext cx="6608042" cy="6608042"/>
          </a:xfrm>
          <a:prstGeom prst="rect">
            <a:avLst/>
          </a:prstGeom>
        </p:spPr>
      </p:pic>
      <p:sp>
        <p:nvSpPr>
          <p:cNvPr id="332" name="Title 1"/>
          <p:cNvSpPr txBox="1">
            <a:spLocks/>
          </p:cNvSpPr>
          <p:nvPr/>
        </p:nvSpPr>
        <p:spPr>
          <a:xfrm>
            <a:off x="648033" y="76200"/>
            <a:ext cx="12204367" cy="982639"/>
          </a:xfrm>
          <a:prstGeom prst="rect">
            <a:avLst/>
          </a:prstGeom>
        </p:spPr>
        <p:txBody>
          <a:bodyPr vert="horz" lIns="121920" tIns="60960" rIns="121920" bIns="6096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400" b="1" dirty="0">
                <a:solidFill>
                  <a:srgbClr val="90F502"/>
                </a:solidFill>
              </a:rPr>
              <a:t>Understanding Smart Cities</a:t>
            </a:r>
          </a:p>
        </p:txBody>
      </p:sp>
    </p:spTree>
    <p:extLst>
      <p:ext uri="{BB962C8B-B14F-4D97-AF65-F5344CB8AC3E}">
        <p14:creationId xmlns:p14="http://schemas.microsoft.com/office/powerpoint/2010/main" val="6292148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3154E-9BCC-B14B-B09C-D9C05AF33D47}"/>
              </a:ext>
            </a:extLst>
          </p:cNvPr>
          <p:cNvSpPr>
            <a:spLocks noGrp="1"/>
          </p:cNvSpPr>
          <p:nvPr>
            <p:ph type="title"/>
          </p:nvPr>
        </p:nvSpPr>
        <p:spPr>
          <a:xfrm>
            <a:off x="279400" y="76200"/>
            <a:ext cx="12752928" cy="833486"/>
          </a:xfrm>
        </p:spPr>
        <p:txBody>
          <a:bodyPr>
            <a:noAutofit/>
          </a:bodyPr>
          <a:lstStyle/>
          <a:p>
            <a:r>
              <a:rPr lang="en-GB" dirty="0">
                <a:latin typeface="Century Gothic" panose="020B0502020202020204" pitchFamily="34" charset="0"/>
              </a:rPr>
              <a:t>Common digital platform and digital solutions</a:t>
            </a:r>
            <a:endParaRPr lang="en-US" dirty="0">
              <a:latin typeface="Century Gothic" panose="020B0502020202020204" pitchFamily="34" charset="0"/>
            </a:endParaRPr>
          </a:p>
        </p:txBody>
      </p:sp>
      <p:grpSp>
        <p:nvGrpSpPr>
          <p:cNvPr id="5" name="Group 4">
            <a:extLst>
              <a:ext uri="{FF2B5EF4-FFF2-40B4-BE49-F238E27FC236}">
                <a16:creationId xmlns:a16="http://schemas.microsoft.com/office/drawing/2014/main" id="{1A6B166C-47BD-7D48-828E-AFAAB36F0B84}"/>
              </a:ext>
            </a:extLst>
          </p:cNvPr>
          <p:cNvGrpSpPr/>
          <p:nvPr/>
        </p:nvGrpSpPr>
        <p:grpSpPr>
          <a:xfrm>
            <a:off x="2260600" y="1295400"/>
            <a:ext cx="12219528" cy="7239000"/>
            <a:chOff x="5634732" y="3852639"/>
            <a:chExt cx="4808483" cy="2950185"/>
          </a:xfrm>
        </p:grpSpPr>
        <p:grpSp>
          <p:nvGrpSpPr>
            <p:cNvPr id="6" name="Group 5">
              <a:extLst>
                <a:ext uri="{FF2B5EF4-FFF2-40B4-BE49-F238E27FC236}">
                  <a16:creationId xmlns:a16="http://schemas.microsoft.com/office/drawing/2014/main" id="{7041D5BC-BFA0-0D41-BD33-09FBAC3AFCCF}"/>
                </a:ext>
              </a:extLst>
            </p:cNvPr>
            <p:cNvGrpSpPr/>
            <p:nvPr/>
          </p:nvGrpSpPr>
          <p:grpSpPr>
            <a:xfrm>
              <a:off x="6832015" y="3852639"/>
              <a:ext cx="2653651" cy="586403"/>
              <a:chOff x="4831844" y="3330767"/>
              <a:chExt cx="2653651" cy="586403"/>
            </a:xfrm>
          </p:grpSpPr>
          <p:sp>
            <p:nvSpPr>
              <p:cNvPr id="44" name="Rectangle 43">
                <a:extLst>
                  <a:ext uri="{FF2B5EF4-FFF2-40B4-BE49-F238E27FC236}">
                    <a16:creationId xmlns:a16="http://schemas.microsoft.com/office/drawing/2014/main" id="{092C5B05-5E9E-4C44-A5BA-E6C2674CD525}"/>
                  </a:ext>
                </a:extLst>
              </p:cNvPr>
              <p:cNvSpPr/>
              <p:nvPr/>
            </p:nvSpPr>
            <p:spPr>
              <a:xfrm>
                <a:off x="4831844" y="3458603"/>
                <a:ext cx="909722" cy="441629"/>
              </a:xfrm>
              <a:prstGeom prst="rect">
                <a:avLst/>
              </a:prstGeom>
              <a:solidFill>
                <a:schemeClr val="accent5">
                  <a:lumMod val="60000"/>
                  <a:lumOff val="4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olution </a:t>
                </a:r>
                <a:r>
                  <a:rPr lang="el-GR" sz="1000" b="1" dirty="0">
                    <a:solidFill>
                      <a:schemeClr val="tx1"/>
                    </a:solidFill>
                  </a:rPr>
                  <a:t>α</a:t>
                </a:r>
                <a:endParaRPr lang="en-GB" sz="1000" b="1" dirty="0">
                  <a:solidFill>
                    <a:schemeClr val="tx1"/>
                  </a:solidFill>
                </a:endParaRPr>
              </a:p>
            </p:txBody>
          </p:sp>
          <p:sp>
            <p:nvSpPr>
              <p:cNvPr id="45" name="Rectangle 44">
                <a:extLst>
                  <a:ext uri="{FF2B5EF4-FFF2-40B4-BE49-F238E27FC236}">
                    <a16:creationId xmlns:a16="http://schemas.microsoft.com/office/drawing/2014/main" id="{76A9E34A-C561-E14A-96AE-9C37DEF1DEBD}"/>
                  </a:ext>
                </a:extLst>
              </p:cNvPr>
              <p:cNvSpPr/>
              <p:nvPr/>
            </p:nvSpPr>
            <p:spPr>
              <a:xfrm>
                <a:off x="6455783" y="3330767"/>
                <a:ext cx="1029712" cy="586403"/>
              </a:xfrm>
              <a:prstGeom prst="rect">
                <a:avLst/>
              </a:prstGeom>
              <a:solidFill>
                <a:schemeClr val="accent5">
                  <a:lumMod val="60000"/>
                  <a:lumOff val="40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olution </a:t>
                </a:r>
                <a:r>
                  <a:rPr lang="el-GR" sz="1000" b="1" dirty="0">
                    <a:solidFill>
                      <a:schemeClr val="tx1"/>
                    </a:solidFill>
                  </a:rPr>
                  <a:t>β</a:t>
                </a:r>
                <a:endParaRPr lang="en-GB" sz="1000" b="1" dirty="0">
                  <a:solidFill>
                    <a:schemeClr val="tx1"/>
                  </a:solidFill>
                </a:endParaRPr>
              </a:p>
            </p:txBody>
          </p:sp>
        </p:grpSp>
        <p:grpSp>
          <p:nvGrpSpPr>
            <p:cNvPr id="7" name="Group 6">
              <a:extLst>
                <a:ext uri="{FF2B5EF4-FFF2-40B4-BE49-F238E27FC236}">
                  <a16:creationId xmlns:a16="http://schemas.microsoft.com/office/drawing/2014/main" id="{DF577870-C678-734E-875C-12E722E91D0C}"/>
                </a:ext>
              </a:extLst>
            </p:cNvPr>
            <p:cNvGrpSpPr/>
            <p:nvPr/>
          </p:nvGrpSpPr>
          <p:grpSpPr>
            <a:xfrm>
              <a:off x="5954499" y="4965885"/>
              <a:ext cx="4168946" cy="851069"/>
              <a:chOff x="3960260" y="4384194"/>
              <a:chExt cx="4168946" cy="851069"/>
            </a:xfrm>
          </p:grpSpPr>
          <p:sp>
            <p:nvSpPr>
              <p:cNvPr id="32" name="Rectangle 3">
                <a:extLst>
                  <a:ext uri="{FF2B5EF4-FFF2-40B4-BE49-F238E27FC236}">
                    <a16:creationId xmlns:a16="http://schemas.microsoft.com/office/drawing/2014/main" id="{C7F3D2D8-D60A-4343-887B-BBF47B51E878}"/>
                  </a:ext>
                </a:extLst>
              </p:cNvPr>
              <p:cNvSpPr/>
              <p:nvPr/>
            </p:nvSpPr>
            <p:spPr>
              <a:xfrm>
                <a:off x="3960260" y="4384194"/>
                <a:ext cx="4168946" cy="851069"/>
              </a:xfrm>
              <a:custGeom>
                <a:avLst/>
                <a:gdLst>
                  <a:gd name="connsiteX0" fmla="*/ 3148 w 6480720"/>
                  <a:gd name="connsiteY0" fmla="*/ 0 h 936104"/>
                  <a:gd name="connsiteX1" fmla="*/ 363188 w 6480720"/>
                  <a:gd name="connsiteY1" fmla="*/ 0 h 936104"/>
                  <a:gd name="connsiteX2" fmla="*/ 352556 w 6480720"/>
                  <a:gd name="connsiteY2" fmla="*/ 261195 h 936104"/>
                  <a:gd name="connsiteX3" fmla="*/ 6120680 w 6480720"/>
                  <a:gd name="connsiteY3" fmla="*/ 50405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52556 w 6480720"/>
                  <a:gd name="connsiteY2" fmla="*/ 261195 h 936104"/>
                  <a:gd name="connsiteX3" fmla="*/ 6099415 w 6480720"/>
                  <a:gd name="connsiteY3" fmla="*/ 252200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099415 w 6480720"/>
                  <a:gd name="connsiteY3" fmla="*/ 252200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158995 w 6480720"/>
                  <a:gd name="connsiteY3" fmla="*/ 195952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44044 w 6480720"/>
                  <a:gd name="connsiteY2" fmla="*/ 194720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74850 w 6480720"/>
                  <a:gd name="connsiteY2" fmla="*/ 193033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80720" h="936104">
                    <a:moveTo>
                      <a:pt x="3148" y="0"/>
                    </a:moveTo>
                    <a:lnTo>
                      <a:pt x="363188" y="0"/>
                    </a:lnTo>
                    <a:lnTo>
                      <a:pt x="374850" y="193033"/>
                    </a:lnTo>
                    <a:lnTo>
                      <a:pt x="6124949" y="201066"/>
                    </a:lnTo>
                    <a:lnTo>
                      <a:pt x="6120680" y="1324"/>
                    </a:lnTo>
                    <a:lnTo>
                      <a:pt x="6480720" y="1324"/>
                    </a:lnTo>
                    <a:lnTo>
                      <a:pt x="6480720" y="504056"/>
                    </a:lnTo>
                    <a:lnTo>
                      <a:pt x="6480720" y="505380"/>
                    </a:lnTo>
                    <a:lnTo>
                      <a:pt x="6480720" y="936104"/>
                    </a:lnTo>
                    <a:lnTo>
                      <a:pt x="0" y="936104"/>
                    </a:lnTo>
                    <a:lnTo>
                      <a:pt x="0" y="504056"/>
                    </a:lnTo>
                    <a:lnTo>
                      <a:pt x="3148" y="504056"/>
                    </a:lnTo>
                    <a:lnTo>
                      <a:pt x="3148" y="0"/>
                    </a:lnTo>
                    <a:close/>
                  </a:path>
                </a:pathLst>
              </a:cu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noProof="1">
                  <a:solidFill>
                    <a:schemeClr val="tx1"/>
                  </a:solidFill>
                </a:endParaRPr>
              </a:p>
            </p:txBody>
          </p:sp>
          <p:sp>
            <p:nvSpPr>
              <p:cNvPr id="33" name="TextBox 32">
                <a:extLst>
                  <a:ext uri="{FF2B5EF4-FFF2-40B4-BE49-F238E27FC236}">
                    <a16:creationId xmlns:a16="http://schemas.microsoft.com/office/drawing/2014/main" id="{9F82B6BF-A447-AF4A-A849-38552F3CE6F1}"/>
                  </a:ext>
                </a:extLst>
              </p:cNvPr>
              <p:cNvSpPr txBox="1"/>
              <p:nvPr/>
            </p:nvSpPr>
            <p:spPr>
              <a:xfrm>
                <a:off x="5581151" y="4580905"/>
                <a:ext cx="960051" cy="119160"/>
              </a:xfrm>
              <a:prstGeom prst="rect">
                <a:avLst/>
              </a:prstGeom>
              <a:noFill/>
            </p:spPr>
            <p:txBody>
              <a:bodyPr wrap="square" rtlCol="0">
                <a:spAutoFit/>
              </a:bodyPr>
              <a:lstStyle/>
              <a:p>
                <a:pPr algn="ctr"/>
                <a:r>
                  <a:rPr lang="en-GB" sz="1000" b="1" dirty="0"/>
                  <a:t>City</a:t>
                </a:r>
              </a:p>
            </p:txBody>
          </p:sp>
          <p:sp>
            <p:nvSpPr>
              <p:cNvPr id="34" name="Rectangle 33">
                <a:extLst>
                  <a:ext uri="{FF2B5EF4-FFF2-40B4-BE49-F238E27FC236}">
                    <a16:creationId xmlns:a16="http://schemas.microsoft.com/office/drawing/2014/main" id="{99F3A35E-F7C6-D348-9064-F8D2FD5A5917}"/>
                  </a:ext>
                </a:extLst>
              </p:cNvPr>
              <p:cNvSpPr/>
              <p:nvPr/>
            </p:nvSpPr>
            <p:spPr>
              <a:xfrm>
                <a:off x="4126290" y="4629311"/>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Procurement</a:t>
                </a:r>
              </a:p>
            </p:txBody>
          </p:sp>
          <p:sp>
            <p:nvSpPr>
              <p:cNvPr id="35" name="Rectangle 34">
                <a:extLst>
                  <a:ext uri="{FF2B5EF4-FFF2-40B4-BE49-F238E27FC236}">
                    <a16:creationId xmlns:a16="http://schemas.microsoft.com/office/drawing/2014/main" id="{69E737A2-5A6B-044A-AAEB-F1653D70C335}"/>
                  </a:ext>
                </a:extLst>
              </p:cNvPr>
              <p:cNvSpPr/>
              <p:nvPr/>
            </p:nvSpPr>
            <p:spPr>
              <a:xfrm>
                <a:off x="4126290" y="4826023"/>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Finance</a:t>
                </a:r>
              </a:p>
            </p:txBody>
          </p:sp>
          <p:sp>
            <p:nvSpPr>
              <p:cNvPr id="36" name="Rectangle 35">
                <a:extLst>
                  <a:ext uri="{FF2B5EF4-FFF2-40B4-BE49-F238E27FC236}">
                    <a16:creationId xmlns:a16="http://schemas.microsoft.com/office/drawing/2014/main" id="{750A2945-38CE-BF48-89BE-C5060E07DCCF}"/>
                  </a:ext>
                </a:extLst>
              </p:cNvPr>
              <p:cNvSpPr/>
              <p:nvPr/>
            </p:nvSpPr>
            <p:spPr>
              <a:xfrm>
                <a:off x="4126290" y="5022735"/>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Legal</a:t>
                </a:r>
              </a:p>
            </p:txBody>
          </p:sp>
          <p:sp>
            <p:nvSpPr>
              <p:cNvPr id="37" name="Rectangle 36">
                <a:extLst>
                  <a:ext uri="{FF2B5EF4-FFF2-40B4-BE49-F238E27FC236}">
                    <a16:creationId xmlns:a16="http://schemas.microsoft.com/office/drawing/2014/main" id="{A1F7AEB1-534C-5247-B0CB-94927B044D5E}"/>
                  </a:ext>
                </a:extLst>
              </p:cNvPr>
              <p:cNvSpPr/>
              <p:nvPr/>
            </p:nvSpPr>
            <p:spPr>
              <a:xfrm>
                <a:off x="5111485" y="4819652"/>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PMO</a:t>
                </a:r>
              </a:p>
            </p:txBody>
          </p:sp>
          <p:sp>
            <p:nvSpPr>
              <p:cNvPr id="38" name="Rectangle 37">
                <a:extLst>
                  <a:ext uri="{FF2B5EF4-FFF2-40B4-BE49-F238E27FC236}">
                    <a16:creationId xmlns:a16="http://schemas.microsoft.com/office/drawing/2014/main" id="{E565F7AE-A302-5C43-8BF5-E0EFDDF75B69}"/>
                  </a:ext>
                </a:extLst>
              </p:cNvPr>
              <p:cNvSpPr/>
              <p:nvPr/>
            </p:nvSpPr>
            <p:spPr>
              <a:xfrm>
                <a:off x="5111485" y="5016992"/>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ICT</a:t>
                </a:r>
              </a:p>
            </p:txBody>
          </p:sp>
          <p:sp>
            <p:nvSpPr>
              <p:cNvPr id="39" name="Rectangle 38">
                <a:extLst>
                  <a:ext uri="{FF2B5EF4-FFF2-40B4-BE49-F238E27FC236}">
                    <a16:creationId xmlns:a16="http://schemas.microsoft.com/office/drawing/2014/main" id="{33DD9BB2-965F-944B-B908-D3D04DE83612}"/>
                  </a:ext>
                </a:extLst>
              </p:cNvPr>
              <p:cNvSpPr/>
              <p:nvPr/>
            </p:nvSpPr>
            <p:spPr>
              <a:xfrm>
                <a:off x="6231032" y="4813625"/>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Geomatics</a:t>
                </a:r>
              </a:p>
            </p:txBody>
          </p:sp>
          <p:sp>
            <p:nvSpPr>
              <p:cNvPr id="40" name="Rectangle 39">
                <a:extLst>
                  <a:ext uri="{FF2B5EF4-FFF2-40B4-BE49-F238E27FC236}">
                    <a16:creationId xmlns:a16="http://schemas.microsoft.com/office/drawing/2014/main" id="{41B65B1A-520B-2843-8C21-49EEBE13EA5B}"/>
                  </a:ext>
                </a:extLst>
              </p:cNvPr>
              <p:cNvSpPr/>
              <p:nvPr/>
            </p:nvSpPr>
            <p:spPr>
              <a:xfrm>
                <a:off x="6233821" y="5007626"/>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Census</a:t>
                </a:r>
              </a:p>
            </p:txBody>
          </p:sp>
          <p:sp>
            <p:nvSpPr>
              <p:cNvPr id="41" name="Rectangle 40">
                <a:extLst>
                  <a:ext uri="{FF2B5EF4-FFF2-40B4-BE49-F238E27FC236}">
                    <a16:creationId xmlns:a16="http://schemas.microsoft.com/office/drawing/2014/main" id="{E619BF5B-E9EF-D54E-9A6F-9A8BA6EAAC73}"/>
                  </a:ext>
                </a:extLst>
              </p:cNvPr>
              <p:cNvSpPr/>
              <p:nvPr/>
            </p:nvSpPr>
            <p:spPr>
              <a:xfrm>
                <a:off x="7191411" y="4636841"/>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Governance</a:t>
                </a:r>
              </a:p>
            </p:txBody>
          </p:sp>
          <p:sp>
            <p:nvSpPr>
              <p:cNvPr id="42" name="Rectangle 41">
                <a:extLst>
                  <a:ext uri="{FF2B5EF4-FFF2-40B4-BE49-F238E27FC236}">
                    <a16:creationId xmlns:a16="http://schemas.microsoft.com/office/drawing/2014/main" id="{E6959F8A-1AF2-084B-8C00-34AFC2F826B9}"/>
                  </a:ext>
                </a:extLst>
              </p:cNvPr>
              <p:cNvSpPr/>
              <p:nvPr/>
            </p:nvSpPr>
            <p:spPr>
              <a:xfrm>
                <a:off x="7191411" y="4825415"/>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Management</a:t>
                </a:r>
              </a:p>
            </p:txBody>
          </p:sp>
          <p:sp>
            <p:nvSpPr>
              <p:cNvPr id="43" name="Rectangle 42">
                <a:extLst>
                  <a:ext uri="{FF2B5EF4-FFF2-40B4-BE49-F238E27FC236}">
                    <a16:creationId xmlns:a16="http://schemas.microsoft.com/office/drawing/2014/main" id="{B8231D5C-E525-B942-AD70-5CC3EB389981}"/>
                  </a:ext>
                </a:extLst>
              </p:cNvPr>
              <p:cNvSpPr/>
              <p:nvPr/>
            </p:nvSpPr>
            <p:spPr>
              <a:xfrm>
                <a:off x="7191411" y="5013990"/>
                <a:ext cx="909722" cy="147213"/>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Operations</a:t>
                </a:r>
              </a:p>
            </p:txBody>
          </p:sp>
        </p:grpSp>
        <p:grpSp>
          <p:nvGrpSpPr>
            <p:cNvPr id="8" name="Group 7">
              <a:extLst>
                <a:ext uri="{FF2B5EF4-FFF2-40B4-BE49-F238E27FC236}">
                  <a16:creationId xmlns:a16="http://schemas.microsoft.com/office/drawing/2014/main" id="{34F5A6E3-078B-8B47-9D4D-D053565E8409}"/>
                </a:ext>
              </a:extLst>
            </p:cNvPr>
            <p:cNvGrpSpPr/>
            <p:nvPr/>
          </p:nvGrpSpPr>
          <p:grpSpPr>
            <a:xfrm>
              <a:off x="6482775" y="4307362"/>
              <a:ext cx="3240360" cy="790042"/>
              <a:chOff x="4410596" y="3646512"/>
              <a:chExt cx="3240360" cy="790042"/>
            </a:xfrm>
          </p:grpSpPr>
          <p:sp>
            <p:nvSpPr>
              <p:cNvPr id="22" name="Rectangle 3">
                <a:extLst>
                  <a:ext uri="{FF2B5EF4-FFF2-40B4-BE49-F238E27FC236}">
                    <a16:creationId xmlns:a16="http://schemas.microsoft.com/office/drawing/2014/main" id="{FB7378A4-55CF-2D47-9879-2993C15C8C21}"/>
                  </a:ext>
                </a:extLst>
              </p:cNvPr>
              <p:cNvSpPr/>
              <p:nvPr/>
            </p:nvSpPr>
            <p:spPr>
              <a:xfrm>
                <a:off x="4410596" y="3646512"/>
                <a:ext cx="3240360" cy="790042"/>
              </a:xfrm>
              <a:custGeom>
                <a:avLst/>
                <a:gdLst>
                  <a:gd name="connsiteX0" fmla="*/ 3148 w 6480720"/>
                  <a:gd name="connsiteY0" fmla="*/ 0 h 936104"/>
                  <a:gd name="connsiteX1" fmla="*/ 363188 w 6480720"/>
                  <a:gd name="connsiteY1" fmla="*/ 0 h 936104"/>
                  <a:gd name="connsiteX2" fmla="*/ 352556 w 6480720"/>
                  <a:gd name="connsiteY2" fmla="*/ 261195 h 936104"/>
                  <a:gd name="connsiteX3" fmla="*/ 6120680 w 6480720"/>
                  <a:gd name="connsiteY3" fmla="*/ 50405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52556 w 6480720"/>
                  <a:gd name="connsiteY2" fmla="*/ 261195 h 936104"/>
                  <a:gd name="connsiteX3" fmla="*/ 6099415 w 6480720"/>
                  <a:gd name="connsiteY3" fmla="*/ 252200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099415 w 6480720"/>
                  <a:gd name="connsiteY3" fmla="*/ 252200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158995 w 6480720"/>
                  <a:gd name="connsiteY3" fmla="*/ 195952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44044 w 6480720"/>
                  <a:gd name="connsiteY2" fmla="*/ 194720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74850 w 6480720"/>
                  <a:gd name="connsiteY2" fmla="*/ 193033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80720" h="936104">
                    <a:moveTo>
                      <a:pt x="3148" y="0"/>
                    </a:moveTo>
                    <a:lnTo>
                      <a:pt x="363188" y="0"/>
                    </a:lnTo>
                    <a:lnTo>
                      <a:pt x="374850" y="193033"/>
                    </a:lnTo>
                    <a:lnTo>
                      <a:pt x="6124949" y="201066"/>
                    </a:lnTo>
                    <a:lnTo>
                      <a:pt x="6120680" y="1324"/>
                    </a:lnTo>
                    <a:lnTo>
                      <a:pt x="6480720" y="1324"/>
                    </a:lnTo>
                    <a:lnTo>
                      <a:pt x="6480720" y="504056"/>
                    </a:lnTo>
                    <a:lnTo>
                      <a:pt x="6480720" y="505380"/>
                    </a:lnTo>
                    <a:lnTo>
                      <a:pt x="6480720" y="936104"/>
                    </a:lnTo>
                    <a:lnTo>
                      <a:pt x="0" y="936104"/>
                    </a:lnTo>
                    <a:lnTo>
                      <a:pt x="0" y="504056"/>
                    </a:lnTo>
                    <a:lnTo>
                      <a:pt x="3148" y="504056"/>
                    </a:lnTo>
                    <a:lnTo>
                      <a:pt x="3148" y="0"/>
                    </a:lnTo>
                    <a:close/>
                  </a:path>
                </a:pathLst>
              </a:cu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b="1" noProof="1">
                  <a:solidFill>
                    <a:schemeClr val="tx1"/>
                  </a:solidFill>
                </a:endParaRPr>
              </a:p>
            </p:txBody>
          </p:sp>
          <p:sp>
            <p:nvSpPr>
              <p:cNvPr id="23" name="Rectangle 22">
                <a:extLst>
                  <a:ext uri="{FF2B5EF4-FFF2-40B4-BE49-F238E27FC236}">
                    <a16:creationId xmlns:a16="http://schemas.microsoft.com/office/drawing/2014/main" id="{E77494B1-E854-4441-A782-2F850C4611CA}"/>
                  </a:ext>
                </a:extLst>
              </p:cNvPr>
              <p:cNvSpPr/>
              <p:nvPr/>
            </p:nvSpPr>
            <p:spPr>
              <a:xfrm>
                <a:off x="4529431" y="3872581"/>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Water</a:t>
                </a:r>
              </a:p>
            </p:txBody>
          </p:sp>
          <p:sp>
            <p:nvSpPr>
              <p:cNvPr id="24" name="Rectangle 23">
                <a:extLst>
                  <a:ext uri="{FF2B5EF4-FFF2-40B4-BE49-F238E27FC236}">
                    <a16:creationId xmlns:a16="http://schemas.microsoft.com/office/drawing/2014/main" id="{A63FD7BC-E863-2145-A049-AC82258B5D87}"/>
                  </a:ext>
                </a:extLst>
              </p:cNvPr>
              <p:cNvSpPr/>
              <p:nvPr/>
            </p:nvSpPr>
            <p:spPr>
              <a:xfrm>
                <a:off x="4529431" y="4049378"/>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Waste</a:t>
                </a:r>
              </a:p>
            </p:txBody>
          </p:sp>
          <p:sp>
            <p:nvSpPr>
              <p:cNvPr id="25" name="Rectangle 24">
                <a:extLst>
                  <a:ext uri="{FF2B5EF4-FFF2-40B4-BE49-F238E27FC236}">
                    <a16:creationId xmlns:a16="http://schemas.microsoft.com/office/drawing/2014/main" id="{478A1297-A8EC-1249-81B5-73FC4B268AC5}"/>
                  </a:ext>
                </a:extLst>
              </p:cNvPr>
              <p:cNvSpPr/>
              <p:nvPr/>
            </p:nvSpPr>
            <p:spPr>
              <a:xfrm>
                <a:off x="4529431" y="4237883"/>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Energy</a:t>
                </a:r>
              </a:p>
            </p:txBody>
          </p:sp>
          <p:sp>
            <p:nvSpPr>
              <p:cNvPr id="26" name="TextBox 25">
                <a:extLst>
                  <a:ext uri="{FF2B5EF4-FFF2-40B4-BE49-F238E27FC236}">
                    <a16:creationId xmlns:a16="http://schemas.microsoft.com/office/drawing/2014/main" id="{AFFC56E1-2606-374E-AE9E-FD3DFC4663F5}"/>
                  </a:ext>
                </a:extLst>
              </p:cNvPr>
              <p:cNvSpPr txBox="1"/>
              <p:nvPr/>
            </p:nvSpPr>
            <p:spPr>
              <a:xfrm>
                <a:off x="5550751" y="3780667"/>
                <a:ext cx="960051" cy="119160"/>
              </a:xfrm>
              <a:prstGeom prst="rect">
                <a:avLst/>
              </a:prstGeom>
              <a:noFill/>
            </p:spPr>
            <p:txBody>
              <a:bodyPr wrap="square" rtlCol="0">
                <a:spAutoFit/>
              </a:bodyPr>
              <a:lstStyle/>
              <a:p>
                <a:pPr algn="ctr"/>
                <a:r>
                  <a:rPr lang="en-GB" sz="1000" b="1" dirty="0"/>
                  <a:t>Zones</a:t>
                </a:r>
              </a:p>
            </p:txBody>
          </p:sp>
          <p:sp>
            <p:nvSpPr>
              <p:cNvPr id="27" name="Rectangle 26">
                <a:extLst>
                  <a:ext uri="{FF2B5EF4-FFF2-40B4-BE49-F238E27FC236}">
                    <a16:creationId xmlns:a16="http://schemas.microsoft.com/office/drawing/2014/main" id="{5300ACAB-38F0-464F-B738-A4AC67992EF9}"/>
                  </a:ext>
                </a:extLst>
              </p:cNvPr>
              <p:cNvSpPr/>
              <p:nvPr/>
            </p:nvSpPr>
            <p:spPr>
              <a:xfrm>
                <a:off x="5526423" y="4231170"/>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Public safety</a:t>
                </a:r>
              </a:p>
            </p:txBody>
          </p:sp>
          <p:sp>
            <p:nvSpPr>
              <p:cNvPr id="28" name="Rectangle 27">
                <a:extLst>
                  <a:ext uri="{FF2B5EF4-FFF2-40B4-BE49-F238E27FC236}">
                    <a16:creationId xmlns:a16="http://schemas.microsoft.com/office/drawing/2014/main" id="{4B32ED38-5420-A74A-8C80-9EBE44F112FF}"/>
                  </a:ext>
                </a:extLst>
              </p:cNvPr>
              <p:cNvSpPr/>
              <p:nvPr/>
            </p:nvSpPr>
            <p:spPr>
              <a:xfrm>
                <a:off x="5526423" y="4047857"/>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Environment</a:t>
                </a:r>
              </a:p>
            </p:txBody>
          </p:sp>
          <p:sp>
            <p:nvSpPr>
              <p:cNvPr id="29" name="Rectangle 28">
                <a:extLst>
                  <a:ext uri="{FF2B5EF4-FFF2-40B4-BE49-F238E27FC236}">
                    <a16:creationId xmlns:a16="http://schemas.microsoft.com/office/drawing/2014/main" id="{0AF20E78-8017-6140-8794-0222F99CFFBE}"/>
                  </a:ext>
                </a:extLst>
              </p:cNvPr>
              <p:cNvSpPr/>
              <p:nvPr/>
            </p:nvSpPr>
            <p:spPr>
              <a:xfrm>
                <a:off x="6554980" y="4230952"/>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Tourism</a:t>
                </a:r>
              </a:p>
            </p:txBody>
          </p:sp>
          <p:sp>
            <p:nvSpPr>
              <p:cNvPr id="30" name="Rectangle 29">
                <a:extLst>
                  <a:ext uri="{FF2B5EF4-FFF2-40B4-BE49-F238E27FC236}">
                    <a16:creationId xmlns:a16="http://schemas.microsoft.com/office/drawing/2014/main" id="{8A2FED08-1E26-A849-B217-F350370A984A}"/>
                  </a:ext>
                </a:extLst>
              </p:cNvPr>
              <p:cNvSpPr/>
              <p:nvPr/>
            </p:nvSpPr>
            <p:spPr>
              <a:xfrm>
                <a:off x="6556293" y="4053893"/>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Culture</a:t>
                </a:r>
              </a:p>
            </p:txBody>
          </p:sp>
          <p:sp>
            <p:nvSpPr>
              <p:cNvPr id="31" name="Rectangle 30">
                <a:extLst>
                  <a:ext uri="{FF2B5EF4-FFF2-40B4-BE49-F238E27FC236}">
                    <a16:creationId xmlns:a16="http://schemas.microsoft.com/office/drawing/2014/main" id="{37D527E0-D78E-F44C-85A8-471813348A55}"/>
                  </a:ext>
                </a:extLst>
              </p:cNvPr>
              <p:cNvSpPr/>
              <p:nvPr/>
            </p:nvSpPr>
            <p:spPr>
              <a:xfrm>
                <a:off x="6554980" y="3870206"/>
                <a:ext cx="909722" cy="147213"/>
              </a:xfrm>
              <a:prstGeom prst="rect">
                <a:avLst/>
              </a:prstGeom>
              <a:solidFill>
                <a:schemeClr val="accent3">
                  <a:lumMod val="60000"/>
                  <a:lumOff val="40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Transport</a:t>
                </a:r>
              </a:p>
            </p:txBody>
          </p:sp>
        </p:grpSp>
        <p:grpSp>
          <p:nvGrpSpPr>
            <p:cNvPr id="9" name="Group 8">
              <a:extLst>
                <a:ext uri="{FF2B5EF4-FFF2-40B4-BE49-F238E27FC236}">
                  <a16:creationId xmlns:a16="http://schemas.microsoft.com/office/drawing/2014/main" id="{9C443BB4-5765-0A45-8CAB-78BBECA85C5B}"/>
                </a:ext>
              </a:extLst>
            </p:cNvPr>
            <p:cNvGrpSpPr/>
            <p:nvPr/>
          </p:nvGrpSpPr>
          <p:grpSpPr>
            <a:xfrm>
              <a:off x="5634732" y="5662475"/>
              <a:ext cx="4808483" cy="1140349"/>
              <a:chOff x="5634732" y="5662475"/>
              <a:chExt cx="4808483" cy="1140349"/>
            </a:xfrm>
          </p:grpSpPr>
          <p:grpSp>
            <p:nvGrpSpPr>
              <p:cNvPr id="10" name="Group 9">
                <a:extLst>
                  <a:ext uri="{FF2B5EF4-FFF2-40B4-BE49-F238E27FC236}">
                    <a16:creationId xmlns:a16="http://schemas.microsoft.com/office/drawing/2014/main" id="{7F2AEAF5-C6E2-EA4C-8156-3721E0F27456}"/>
                  </a:ext>
                </a:extLst>
              </p:cNvPr>
              <p:cNvGrpSpPr/>
              <p:nvPr/>
            </p:nvGrpSpPr>
            <p:grpSpPr>
              <a:xfrm>
                <a:off x="5634732" y="5662475"/>
                <a:ext cx="4808483" cy="970056"/>
                <a:chOff x="3634561" y="5140603"/>
                <a:chExt cx="4808483" cy="970056"/>
              </a:xfrm>
            </p:grpSpPr>
            <p:sp>
              <p:nvSpPr>
                <p:cNvPr id="12" name="Rectangle 3">
                  <a:extLst>
                    <a:ext uri="{FF2B5EF4-FFF2-40B4-BE49-F238E27FC236}">
                      <a16:creationId xmlns:a16="http://schemas.microsoft.com/office/drawing/2014/main" id="{90578B7A-BA7D-5A40-B848-5F3A9642AC76}"/>
                    </a:ext>
                  </a:extLst>
                </p:cNvPr>
                <p:cNvSpPr/>
                <p:nvPr/>
              </p:nvSpPr>
              <p:spPr>
                <a:xfrm>
                  <a:off x="3634561" y="5140603"/>
                  <a:ext cx="4808483" cy="970056"/>
                </a:xfrm>
                <a:custGeom>
                  <a:avLst/>
                  <a:gdLst>
                    <a:gd name="connsiteX0" fmla="*/ 3148 w 6480720"/>
                    <a:gd name="connsiteY0" fmla="*/ 0 h 936104"/>
                    <a:gd name="connsiteX1" fmla="*/ 363188 w 6480720"/>
                    <a:gd name="connsiteY1" fmla="*/ 0 h 936104"/>
                    <a:gd name="connsiteX2" fmla="*/ 352556 w 6480720"/>
                    <a:gd name="connsiteY2" fmla="*/ 261195 h 936104"/>
                    <a:gd name="connsiteX3" fmla="*/ 6120680 w 6480720"/>
                    <a:gd name="connsiteY3" fmla="*/ 50405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52556 w 6480720"/>
                    <a:gd name="connsiteY2" fmla="*/ 261195 h 936104"/>
                    <a:gd name="connsiteX3" fmla="*/ 6099415 w 6480720"/>
                    <a:gd name="connsiteY3" fmla="*/ 252200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099415 w 6480720"/>
                    <a:gd name="connsiteY3" fmla="*/ 252200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158995 w 6480720"/>
                    <a:gd name="connsiteY3" fmla="*/ 195952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18510 w 6480720"/>
                    <a:gd name="connsiteY2" fmla="*/ 194720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44044 w 6480720"/>
                    <a:gd name="connsiteY2" fmla="*/ 194720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 name="connsiteX0" fmla="*/ 3148 w 6480720"/>
                    <a:gd name="connsiteY0" fmla="*/ 0 h 936104"/>
                    <a:gd name="connsiteX1" fmla="*/ 363188 w 6480720"/>
                    <a:gd name="connsiteY1" fmla="*/ 0 h 936104"/>
                    <a:gd name="connsiteX2" fmla="*/ 374850 w 6480720"/>
                    <a:gd name="connsiteY2" fmla="*/ 193033 h 936104"/>
                    <a:gd name="connsiteX3" fmla="*/ 6124949 w 6480720"/>
                    <a:gd name="connsiteY3" fmla="*/ 201066 h 936104"/>
                    <a:gd name="connsiteX4" fmla="*/ 6120680 w 6480720"/>
                    <a:gd name="connsiteY4" fmla="*/ 1324 h 936104"/>
                    <a:gd name="connsiteX5" fmla="*/ 6480720 w 6480720"/>
                    <a:gd name="connsiteY5" fmla="*/ 1324 h 936104"/>
                    <a:gd name="connsiteX6" fmla="*/ 6480720 w 6480720"/>
                    <a:gd name="connsiteY6" fmla="*/ 504056 h 936104"/>
                    <a:gd name="connsiteX7" fmla="*/ 6480720 w 6480720"/>
                    <a:gd name="connsiteY7" fmla="*/ 505380 h 936104"/>
                    <a:gd name="connsiteX8" fmla="*/ 6480720 w 6480720"/>
                    <a:gd name="connsiteY8" fmla="*/ 936104 h 936104"/>
                    <a:gd name="connsiteX9" fmla="*/ 0 w 6480720"/>
                    <a:gd name="connsiteY9" fmla="*/ 936104 h 936104"/>
                    <a:gd name="connsiteX10" fmla="*/ 0 w 6480720"/>
                    <a:gd name="connsiteY10" fmla="*/ 504056 h 936104"/>
                    <a:gd name="connsiteX11" fmla="*/ 3148 w 6480720"/>
                    <a:gd name="connsiteY11" fmla="*/ 504056 h 936104"/>
                    <a:gd name="connsiteX12" fmla="*/ 3148 w 6480720"/>
                    <a:gd name="connsiteY12" fmla="*/ 0 h 93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80720" h="936104">
                      <a:moveTo>
                        <a:pt x="3148" y="0"/>
                      </a:moveTo>
                      <a:lnTo>
                        <a:pt x="363188" y="0"/>
                      </a:lnTo>
                      <a:lnTo>
                        <a:pt x="374850" y="193033"/>
                      </a:lnTo>
                      <a:lnTo>
                        <a:pt x="6124949" y="201066"/>
                      </a:lnTo>
                      <a:lnTo>
                        <a:pt x="6120680" y="1324"/>
                      </a:lnTo>
                      <a:lnTo>
                        <a:pt x="6480720" y="1324"/>
                      </a:lnTo>
                      <a:lnTo>
                        <a:pt x="6480720" y="504056"/>
                      </a:lnTo>
                      <a:lnTo>
                        <a:pt x="6480720" y="505380"/>
                      </a:lnTo>
                      <a:lnTo>
                        <a:pt x="6480720" y="936104"/>
                      </a:lnTo>
                      <a:lnTo>
                        <a:pt x="0" y="936104"/>
                      </a:lnTo>
                      <a:lnTo>
                        <a:pt x="0" y="504056"/>
                      </a:lnTo>
                      <a:lnTo>
                        <a:pt x="3148" y="504056"/>
                      </a:lnTo>
                      <a:lnTo>
                        <a:pt x="3148" y="0"/>
                      </a:lnTo>
                      <a:close/>
                    </a:path>
                  </a:pathLst>
                </a:cu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noProof="1">
                    <a:solidFill>
                      <a:schemeClr val="tx1"/>
                    </a:solidFill>
                  </a:endParaRPr>
                </a:p>
              </p:txBody>
            </p:sp>
            <p:sp>
              <p:nvSpPr>
                <p:cNvPr id="13" name="Rectangle 12">
                  <a:extLst>
                    <a:ext uri="{FF2B5EF4-FFF2-40B4-BE49-F238E27FC236}">
                      <a16:creationId xmlns:a16="http://schemas.microsoft.com/office/drawing/2014/main" id="{DF2EE1F7-A699-D547-A9CE-D342E16B8C70}"/>
                    </a:ext>
                  </a:extLst>
                </p:cNvPr>
                <p:cNvSpPr/>
                <p:nvPr/>
              </p:nvSpPr>
              <p:spPr>
                <a:xfrm>
                  <a:off x="3760070" y="5876006"/>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Process management</a:t>
                  </a:r>
                </a:p>
              </p:txBody>
            </p:sp>
            <p:sp>
              <p:nvSpPr>
                <p:cNvPr id="14" name="Rectangle 13">
                  <a:extLst>
                    <a:ext uri="{FF2B5EF4-FFF2-40B4-BE49-F238E27FC236}">
                      <a16:creationId xmlns:a16="http://schemas.microsoft.com/office/drawing/2014/main" id="{A531347E-F0C2-E54F-9A07-F10C10FA8672}"/>
                    </a:ext>
                  </a:extLst>
                </p:cNvPr>
                <p:cNvSpPr/>
                <p:nvPr/>
              </p:nvSpPr>
              <p:spPr>
                <a:xfrm>
                  <a:off x="3749830" y="5647705"/>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API management</a:t>
                  </a:r>
                </a:p>
              </p:txBody>
            </p:sp>
            <p:sp>
              <p:nvSpPr>
                <p:cNvPr id="15" name="Rectangle 14">
                  <a:extLst>
                    <a:ext uri="{FF2B5EF4-FFF2-40B4-BE49-F238E27FC236}">
                      <a16:creationId xmlns:a16="http://schemas.microsoft.com/office/drawing/2014/main" id="{EAFD1F25-9940-4848-B721-18647AE27993}"/>
                    </a:ext>
                  </a:extLst>
                </p:cNvPr>
                <p:cNvSpPr/>
                <p:nvPr/>
              </p:nvSpPr>
              <p:spPr>
                <a:xfrm>
                  <a:off x="3749829" y="5434414"/>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ecurity management</a:t>
                  </a:r>
                </a:p>
              </p:txBody>
            </p:sp>
            <p:sp>
              <p:nvSpPr>
                <p:cNvPr id="16" name="Rectangle 15">
                  <a:extLst>
                    <a:ext uri="{FF2B5EF4-FFF2-40B4-BE49-F238E27FC236}">
                      <a16:creationId xmlns:a16="http://schemas.microsoft.com/office/drawing/2014/main" id="{20E9E8D2-4C29-5F4C-B5C5-AFD2AA3860B9}"/>
                    </a:ext>
                  </a:extLst>
                </p:cNvPr>
                <p:cNvSpPr/>
                <p:nvPr/>
              </p:nvSpPr>
              <p:spPr>
                <a:xfrm>
                  <a:off x="5295520" y="5773118"/>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IoT management</a:t>
                  </a:r>
                </a:p>
              </p:txBody>
            </p:sp>
            <p:sp>
              <p:nvSpPr>
                <p:cNvPr id="17" name="Rectangle 16">
                  <a:extLst>
                    <a:ext uri="{FF2B5EF4-FFF2-40B4-BE49-F238E27FC236}">
                      <a16:creationId xmlns:a16="http://schemas.microsoft.com/office/drawing/2014/main" id="{866EA784-64F0-4B48-A71C-6BAD93818AD1}"/>
                    </a:ext>
                  </a:extLst>
                </p:cNvPr>
                <p:cNvSpPr/>
                <p:nvPr/>
              </p:nvSpPr>
              <p:spPr>
                <a:xfrm>
                  <a:off x="6853600" y="5860732"/>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Analytics &amp; reporting</a:t>
                  </a:r>
                </a:p>
              </p:txBody>
            </p:sp>
            <p:sp>
              <p:nvSpPr>
                <p:cNvPr id="18" name="TextBox 17">
                  <a:extLst>
                    <a:ext uri="{FF2B5EF4-FFF2-40B4-BE49-F238E27FC236}">
                      <a16:creationId xmlns:a16="http://schemas.microsoft.com/office/drawing/2014/main" id="{ECAD5AA9-8079-814D-94C9-C95A45B56B1B}"/>
                    </a:ext>
                  </a:extLst>
                </p:cNvPr>
                <p:cNvSpPr txBox="1"/>
                <p:nvPr/>
              </p:nvSpPr>
              <p:spPr>
                <a:xfrm>
                  <a:off x="5558777" y="5371864"/>
                  <a:ext cx="960051" cy="119160"/>
                </a:xfrm>
                <a:prstGeom prst="rect">
                  <a:avLst/>
                </a:prstGeom>
                <a:noFill/>
              </p:spPr>
              <p:txBody>
                <a:bodyPr wrap="square" rtlCol="0">
                  <a:spAutoFit/>
                </a:bodyPr>
                <a:lstStyle/>
                <a:p>
                  <a:pPr algn="ctr"/>
                  <a:r>
                    <a:rPr lang="en-GB" sz="1000" b="1" dirty="0"/>
                    <a:t>Universal</a:t>
                  </a:r>
                </a:p>
              </p:txBody>
            </p:sp>
            <p:sp>
              <p:nvSpPr>
                <p:cNvPr id="19" name="Rectangle 18">
                  <a:extLst>
                    <a:ext uri="{FF2B5EF4-FFF2-40B4-BE49-F238E27FC236}">
                      <a16:creationId xmlns:a16="http://schemas.microsoft.com/office/drawing/2014/main" id="{711AAD53-938D-514E-B5E9-9DF68E4D9F65}"/>
                    </a:ext>
                  </a:extLst>
                </p:cNvPr>
                <p:cNvSpPr/>
                <p:nvPr/>
              </p:nvSpPr>
              <p:spPr>
                <a:xfrm>
                  <a:off x="5306991" y="5585202"/>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Event management</a:t>
                  </a:r>
                </a:p>
              </p:txBody>
            </p:sp>
            <p:sp>
              <p:nvSpPr>
                <p:cNvPr id="20" name="Rectangle 19">
                  <a:extLst>
                    <a:ext uri="{FF2B5EF4-FFF2-40B4-BE49-F238E27FC236}">
                      <a16:creationId xmlns:a16="http://schemas.microsoft.com/office/drawing/2014/main" id="{1DF4966D-6A8D-3147-90A0-BEE3A3CDEBCF}"/>
                    </a:ext>
                  </a:extLst>
                </p:cNvPr>
                <p:cNvSpPr/>
                <p:nvPr/>
              </p:nvSpPr>
              <p:spPr>
                <a:xfrm>
                  <a:off x="6836208" y="5412073"/>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Software factory</a:t>
                  </a:r>
                </a:p>
              </p:txBody>
            </p:sp>
            <p:sp>
              <p:nvSpPr>
                <p:cNvPr id="21" name="Rectangle 20">
                  <a:extLst>
                    <a:ext uri="{FF2B5EF4-FFF2-40B4-BE49-F238E27FC236}">
                      <a16:creationId xmlns:a16="http://schemas.microsoft.com/office/drawing/2014/main" id="{8B082638-FB69-E841-9E32-86A46215900C}"/>
                    </a:ext>
                  </a:extLst>
                </p:cNvPr>
                <p:cNvSpPr/>
                <p:nvPr/>
              </p:nvSpPr>
              <p:spPr>
                <a:xfrm>
                  <a:off x="6838255" y="5635396"/>
                  <a:ext cx="1359335" cy="136873"/>
                </a:xfrm>
                <a:prstGeom prst="rect">
                  <a:avLst/>
                </a:prstGeom>
                <a:solidFill>
                  <a:schemeClr val="accent2">
                    <a:lumMod val="60000"/>
                    <a:lumOff val="4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chemeClr val="tx1"/>
                      </a:solidFill>
                    </a:rPr>
                    <a:t>Data persistence</a:t>
                  </a:r>
                </a:p>
              </p:txBody>
            </p:sp>
          </p:grpSp>
          <p:pic>
            <p:nvPicPr>
              <p:cNvPr id="11" name="Picture 10">
                <a:extLst>
                  <a:ext uri="{FF2B5EF4-FFF2-40B4-BE49-F238E27FC236}">
                    <a16:creationId xmlns:a16="http://schemas.microsoft.com/office/drawing/2014/main" id="{EB942DC7-0A0F-324A-9E4B-B389524BB3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30102" y="6467779"/>
                <a:ext cx="1570688" cy="335045"/>
              </a:xfrm>
              <a:prstGeom prst="rect">
                <a:avLst/>
              </a:prstGeom>
            </p:spPr>
          </p:pic>
        </p:grpSp>
      </p:grpSp>
    </p:spTree>
    <p:extLst>
      <p:ext uri="{BB962C8B-B14F-4D97-AF65-F5344CB8AC3E}">
        <p14:creationId xmlns:p14="http://schemas.microsoft.com/office/powerpoint/2010/main" val="195552285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61713C-6EA4-434A-B3EF-3D56EC7AF0B4}"/>
              </a:ext>
            </a:extLst>
          </p:cNvPr>
          <p:cNvSpPr>
            <a:spLocks noGrp="1"/>
          </p:cNvSpPr>
          <p:nvPr>
            <p:ph type="title"/>
          </p:nvPr>
        </p:nvSpPr>
        <p:spPr/>
        <p:txBody>
          <a:bodyPr>
            <a:noAutofit/>
          </a:bodyPr>
          <a:lstStyle/>
          <a:p>
            <a:r>
              <a:rPr lang="en-US" dirty="0"/>
              <a:t>Platforms Approach…</a:t>
            </a:r>
          </a:p>
        </p:txBody>
      </p:sp>
      <p:pic>
        <p:nvPicPr>
          <p:cNvPr id="5" name="Content Placeholder 4" descr="A screenshot of a computer&#10;&#10;Description automatically generated">
            <a:extLst>
              <a:ext uri="{FF2B5EF4-FFF2-40B4-BE49-F238E27FC236}">
                <a16:creationId xmlns:a16="http://schemas.microsoft.com/office/drawing/2014/main" id="{844829A1-1011-0D4E-A116-0B07E9C32FA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02401" y="1143000"/>
            <a:ext cx="13348215" cy="7239000"/>
          </a:xfrm>
        </p:spPr>
      </p:pic>
    </p:spTree>
    <p:extLst>
      <p:ext uri="{BB962C8B-B14F-4D97-AF65-F5344CB8AC3E}">
        <p14:creationId xmlns:p14="http://schemas.microsoft.com/office/powerpoint/2010/main" val="298218743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FF4F2-4351-DB4B-BD28-9230CEB10D90}"/>
              </a:ext>
            </a:extLst>
          </p:cNvPr>
          <p:cNvSpPr>
            <a:spLocks noGrp="1"/>
          </p:cNvSpPr>
          <p:nvPr>
            <p:ph type="title"/>
          </p:nvPr>
        </p:nvSpPr>
        <p:spPr>
          <a:xfrm>
            <a:off x="812800" y="76200"/>
            <a:ext cx="12801600" cy="833486"/>
          </a:xfrm>
        </p:spPr>
        <p:txBody>
          <a:bodyPr>
            <a:noAutofit/>
          </a:bodyPr>
          <a:lstStyle/>
          <a:p>
            <a:r>
              <a:rPr lang="en-US" dirty="0"/>
              <a:t>Some more focus Areas…</a:t>
            </a:r>
          </a:p>
        </p:txBody>
      </p:sp>
      <p:sp>
        <p:nvSpPr>
          <p:cNvPr id="3" name="Content Placeholder 2">
            <a:extLst>
              <a:ext uri="{FF2B5EF4-FFF2-40B4-BE49-F238E27FC236}">
                <a16:creationId xmlns:a16="http://schemas.microsoft.com/office/drawing/2014/main" id="{938C0E16-C8E4-0D48-9FBF-D8F4DBB07F89}"/>
              </a:ext>
            </a:extLst>
          </p:cNvPr>
          <p:cNvSpPr>
            <a:spLocks noGrp="1"/>
          </p:cNvSpPr>
          <p:nvPr>
            <p:ph idx="1"/>
          </p:nvPr>
        </p:nvSpPr>
        <p:spPr>
          <a:xfrm>
            <a:off x="1193800" y="1172308"/>
            <a:ext cx="14859000" cy="7250648"/>
          </a:xfrm>
        </p:spPr>
        <p:txBody>
          <a:bodyPr>
            <a:normAutofit fontScale="92500" lnSpcReduction="20000"/>
          </a:bodyPr>
          <a:lstStyle/>
          <a:p>
            <a:pPr marL="0" indent="0" algn="just">
              <a:buNone/>
            </a:pPr>
            <a:r>
              <a:rPr lang="en-US" sz="2800" b="1" dirty="0">
                <a:solidFill>
                  <a:srgbClr val="90F502"/>
                </a:solidFill>
              </a:rPr>
              <a:t>BIS LITD 28 shall also undertake studies on the following subjects:</a:t>
            </a:r>
            <a:endParaRPr lang="en-IN" sz="2800" b="1" dirty="0">
              <a:solidFill>
                <a:srgbClr val="90F502"/>
              </a:solidFill>
            </a:endParaRPr>
          </a:p>
          <a:p>
            <a:pPr lvl="0" algn="just">
              <a:buFont typeface="Wingdings" pitchFamily="2" charset="2"/>
              <a:buChar char="Ø"/>
            </a:pPr>
            <a:r>
              <a:rPr lang="en-US" sz="2800" b="1" dirty="0"/>
              <a:t>E-governance portals delivering services online (like single windows for building plans etc.) </a:t>
            </a:r>
            <a:endParaRPr lang="en-IN" sz="2800" b="1" dirty="0"/>
          </a:p>
          <a:p>
            <a:pPr lvl="0" algn="just">
              <a:buFont typeface="Wingdings" pitchFamily="2" charset="2"/>
              <a:buChar char="Ø"/>
            </a:pPr>
            <a:r>
              <a:rPr lang="en-US" sz="2800" b="1" dirty="0"/>
              <a:t>Transportation systems that integrate multiple modes of transport and enable integration through common smart fare cards etc. </a:t>
            </a:r>
            <a:r>
              <a:rPr lang="ja-JP" altLang="en-US" sz="2800" b="1"/>
              <a:t> </a:t>
            </a:r>
            <a:endParaRPr lang="en-IN" sz="2800" b="1" dirty="0"/>
          </a:p>
          <a:p>
            <a:pPr lvl="0" algn="just">
              <a:buFont typeface="Wingdings" pitchFamily="2" charset="2"/>
              <a:buChar char="Ø"/>
            </a:pPr>
            <a:r>
              <a:rPr lang="en-US" sz="2800" b="1" dirty="0"/>
              <a:t>Various SCADA systems being integrated into command centers at city level </a:t>
            </a:r>
            <a:r>
              <a:rPr lang="ja-JP" altLang="en-US" sz="2800" b="1"/>
              <a:t> </a:t>
            </a:r>
            <a:endParaRPr lang="en-IN" sz="2800" b="1" dirty="0"/>
          </a:p>
          <a:p>
            <a:pPr lvl="0" algn="just">
              <a:buFont typeface="Wingdings" pitchFamily="2" charset="2"/>
              <a:buChar char="Ø"/>
            </a:pPr>
            <a:r>
              <a:rPr lang="en-US" sz="2800" b="1" dirty="0"/>
              <a:t>Various energy systems and their integration </a:t>
            </a:r>
            <a:r>
              <a:rPr lang="ja-JP" altLang="en-US" sz="2800" b="1"/>
              <a:t> </a:t>
            </a:r>
            <a:endParaRPr lang="en-IN" sz="2800" b="1" dirty="0"/>
          </a:p>
          <a:p>
            <a:pPr lvl="0" algn="just">
              <a:buFont typeface="Wingdings" pitchFamily="2" charset="2"/>
              <a:buChar char="Ø"/>
            </a:pPr>
            <a:r>
              <a:rPr lang="en-US" sz="2800" b="1" dirty="0"/>
              <a:t>Electric Vehicle Charging Infrastructure Integration</a:t>
            </a:r>
            <a:endParaRPr lang="en-IN" sz="2800" b="1" dirty="0"/>
          </a:p>
          <a:p>
            <a:pPr lvl="0" algn="just">
              <a:buFont typeface="Wingdings" pitchFamily="2" charset="2"/>
              <a:buChar char="Ø"/>
            </a:pPr>
            <a:r>
              <a:rPr lang="en-US" sz="2800" b="1" dirty="0"/>
              <a:t>How to manage decentralized systems that require wireless as well as </a:t>
            </a:r>
            <a:r>
              <a:rPr lang="ja-JP" altLang="en-US" sz="2800" b="1"/>
              <a:t> </a:t>
            </a:r>
            <a:r>
              <a:rPr lang="en-US" sz="2800" b="1" dirty="0"/>
              <a:t>hard-wire access to data servers </a:t>
            </a:r>
            <a:r>
              <a:rPr lang="ja-JP" altLang="en-US" sz="2800" b="1"/>
              <a:t> </a:t>
            </a:r>
            <a:endParaRPr lang="en-IN" sz="2800" b="1" dirty="0"/>
          </a:p>
          <a:p>
            <a:pPr lvl="0" algn="just">
              <a:buFont typeface="Wingdings" pitchFamily="2" charset="2"/>
              <a:buChar char="Ø"/>
            </a:pPr>
            <a:r>
              <a:rPr lang="en-US" sz="2800" b="1" dirty="0"/>
              <a:t>How to manage standards in systems that employ GIS maps as well as </a:t>
            </a:r>
            <a:r>
              <a:rPr lang="ja-JP" altLang="en-US" sz="2800" b="1"/>
              <a:t> </a:t>
            </a:r>
            <a:r>
              <a:rPr lang="en-US" sz="2800" b="1" dirty="0"/>
              <a:t>other digital data sources </a:t>
            </a:r>
            <a:r>
              <a:rPr lang="ja-JP" altLang="en-US" sz="2800" b="1"/>
              <a:t> </a:t>
            </a:r>
            <a:endParaRPr lang="en-IN" sz="2800" b="1" dirty="0"/>
          </a:p>
          <a:p>
            <a:pPr lvl="0" algn="just">
              <a:buFont typeface="Wingdings" pitchFamily="2" charset="2"/>
              <a:buChar char="Ø"/>
            </a:pPr>
            <a:r>
              <a:rPr lang="en-US" sz="2800" b="1" dirty="0"/>
              <a:t>Interoperability and automation of alerts and commands between the </a:t>
            </a:r>
            <a:r>
              <a:rPr lang="ja-JP" altLang="en-US" sz="2800" b="1"/>
              <a:t> </a:t>
            </a:r>
            <a:r>
              <a:rPr lang="en-US" sz="2800" b="1" dirty="0"/>
              <a:t>GIS systems and command and control centers </a:t>
            </a:r>
            <a:r>
              <a:rPr lang="ja-JP" altLang="en-US" sz="2800" b="1"/>
              <a:t> </a:t>
            </a:r>
            <a:endParaRPr lang="en-IN" sz="2800" b="1" dirty="0"/>
          </a:p>
          <a:p>
            <a:pPr lvl="0" algn="just">
              <a:buFont typeface="Wingdings" pitchFamily="2" charset="2"/>
              <a:buChar char="Ø"/>
            </a:pPr>
            <a:r>
              <a:rPr lang="en-US" sz="2800" b="1" dirty="0"/>
              <a:t>Role of Blockchain, Artificial Intelligence and Machine Learning in the Smart Infrastructure ICT Framework</a:t>
            </a:r>
            <a:endParaRPr lang="en-IN" sz="2800" b="1" dirty="0"/>
          </a:p>
          <a:p>
            <a:pPr lvl="0" algn="just">
              <a:buFont typeface="Wingdings" pitchFamily="2" charset="2"/>
              <a:buChar char="Ø"/>
            </a:pPr>
            <a:r>
              <a:rPr lang="en-US" sz="2800" b="1" dirty="0"/>
              <a:t>Stakeholder mapping of all the data expected to be generated from smart city </a:t>
            </a:r>
            <a:r>
              <a:rPr lang="ja-JP" altLang="en-US" sz="2800" b="1"/>
              <a:t> </a:t>
            </a:r>
            <a:endParaRPr lang="en-IN" sz="2800" b="1" dirty="0"/>
          </a:p>
          <a:p>
            <a:pPr lvl="0" algn="just">
              <a:buFont typeface="Wingdings" pitchFamily="2" charset="2"/>
              <a:buChar char="Ø"/>
            </a:pPr>
            <a:r>
              <a:rPr lang="en-US" sz="2800" b="1" dirty="0"/>
              <a:t>….</a:t>
            </a:r>
            <a:endParaRPr lang="en-IN" sz="2800" b="1" dirty="0"/>
          </a:p>
          <a:p>
            <a:pPr algn="just">
              <a:buFont typeface="Wingdings" pitchFamily="2" charset="2"/>
              <a:buChar char="Ø"/>
            </a:pPr>
            <a:endParaRPr lang="en-US" sz="2800" b="1" dirty="0"/>
          </a:p>
        </p:txBody>
      </p:sp>
    </p:spTree>
    <p:extLst>
      <p:ext uri="{BB962C8B-B14F-4D97-AF65-F5344CB8AC3E}">
        <p14:creationId xmlns:p14="http://schemas.microsoft.com/office/powerpoint/2010/main" val="37000163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894B4-F891-BB4A-8B5C-7BF8BEE29E80}"/>
              </a:ext>
            </a:extLst>
          </p:cNvPr>
          <p:cNvSpPr>
            <a:spLocks noGrp="1"/>
          </p:cNvSpPr>
          <p:nvPr>
            <p:ph type="title"/>
          </p:nvPr>
        </p:nvSpPr>
        <p:spPr/>
        <p:txBody>
          <a:bodyPr>
            <a:normAutofit/>
          </a:bodyPr>
          <a:lstStyle/>
          <a:p>
            <a:r>
              <a:rPr lang="en-GB" sz="4000" dirty="0">
                <a:latin typeface="Century Gothic" panose="020B0502020202020204" pitchFamily="34" charset="0"/>
              </a:rPr>
              <a:t>BIS LITD 28 Deliverables Imperatives:</a:t>
            </a:r>
            <a:endParaRPr lang="en-US" sz="4000" dirty="0">
              <a:latin typeface="Century Gothic" panose="020B0502020202020204" pitchFamily="34" charset="0"/>
            </a:endParaRPr>
          </a:p>
        </p:txBody>
      </p:sp>
      <p:sp>
        <p:nvSpPr>
          <p:cNvPr id="3" name="Content Placeholder 2">
            <a:extLst>
              <a:ext uri="{FF2B5EF4-FFF2-40B4-BE49-F238E27FC236}">
                <a16:creationId xmlns:a16="http://schemas.microsoft.com/office/drawing/2014/main" id="{DE3B0BEB-0E70-CA4A-B663-06F8B7BE407A}"/>
              </a:ext>
            </a:extLst>
          </p:cNvPr>
          <p:cNvSpPr>
            <a:spLocks noGrp="1"/>
          </p:cNvSpPr>
          <p:nvPr>
            <p:ph idx="1"/>
          </p:nvPr>
        </p:nvSpPr>
        <p:spPr>
          <a:xfrm>
            <a:off x="1473939" y="1752600"/>
            <a:ext cx="14350261" cy="6370319"/>
          </a:xfrm>
        </p:spPr>
        <p:txBody>
          <a:bodyPr/>
          <a:lstStyle/>
          <a:p>
            <a:pPr lvl="0" algn="just">
              <a:buFont typeface="Wingdings" pitchFamily="2" charset="2"/>
              <a:buChar char="Ø"/>
            </a:pPr>
            <a:r>
              <a:rPr lang="en-US" sz="4400" dirty="0"/>
              <a:t>Comprehensive</a:t>
            </a:r>
            <a:r>
              <a:rPr lang="en-US" sz="4400" b="1" dirty="0"/>
              <a:t> Security Architecture</a:t>
            </a:r>
            <a:endParaRPr lang="en-US" sz="4400" dirty="0"/>
          </a:p>
          <a:p>
            <a:pPr lvl="0" algn="just">
              <a:buFont typeface="Wingdings" pitchFamily="2" charset="2"/>
              <a:buChar char="Ø"/>
            </a:pPr>
            <a:endParaRPr lang="en-IN" sz="4400" b="1" dirty="0"/>
          </a:p>
          <a:p>
            <a:pPr lvl="0" algn="just">
              <a:buFont typeface="Wingdings" pitchFamily="2" charset="2"/>
              <a:buChar char="Ø"/>
            </a:pPr>
            <a:r>
              <a:rPr lang="en-US" sz="4400" dirty="0"/>
              <a:t>Comprehensive </a:t>
            </a:r>
            <a:r>
              <a:rPr lang="en-US" sz="4400" b="1" dirty="0"/>
              <a:t>Big Data</a:t>
            </a:r>
            <a:r>
              <a:rPr lang="en-US" sz="4400" dirty="0"/>
              <a:t> </a:t>
            </a:r>
            <a:r>
              <a:rPr lang="en-US" sz="4400" b="1" dirty="0"/>
              <a:t>Architecture</a:t>
            </a:r>
          </a:p>
          <a:p>
            <a:pPr marL="0" lvl="0" indent="0" algn="just">
              <a:buNone/>
            </a:pPr>
            <a:endParaRPr lang="en-US" sz="4400" b="1" dirty="0">
              <a:solidFill>
                <a:srgbClr val="FFFF00"/>
              </a:solidFill>
            </a:endParaRPr>
          </a:p>
          <a:p>
            <a:pPr lvl="0" algn="just">
              <a:buFont typeface="Wingdings" pitchFamily="2" charset="2"/>
              <a:buChar char="Ø"/>
            </a:pPr>
            <a:r>
              <a:rPr lang="en-US" sz="4400" b="1" dirty="0">
                <a:solidFill>
                  <a:srgbClr val="FFFF00"/>
                </a:solidFill>
              </a:rPr>
              <a:t>5G Inclusive ICT Reference Architecture</a:t>
            </a:r>
          </a:p>
          <a:p>
            <a:pPr lvl="0" algn="just">
              <a:buFont typeface="Wingdings" pitchFamily="2" charset="2"/>
              <a:buChar char="Ø"/>
            </a:pPr>
            <a:endParaRPr lang="en-US" sz="4400" b="1" dirty="0"/>
          </a:p>
          <a:p>
            <a:pPr marL="0" lvl="0" indent="0" algn="ctr">
              <a:buNone/>
            </a:pPr>
            <a:r>
              <a:rPr lang="en-US" sz="5400" b="1" dirty="0">
                <a:solidFill>
                  <a:srgbClr val="90F502"/>
                </a:solidFill>
              </a:rPr>
              <a:t>for Unified &amp; Secure Smart Infrastructure</a:t>
            </a:r>
            <a:endParaRPr lang="en-US" b="1" dirty="0">
              <a:solidFill>
                <a:srgbClr val="90F502"/>
              </a:solidFill>
            </a:endParaRPr>
          </a:p>
        </p:txBody>
      </p:sp>
      <p:sp>
        <p:nvSpPr>
          <p:cNvPr id="4" name="Rectangle 2">
            <a:extLst>
              <a:ext uri="{FF2B5EF4-FFF2-40B4-BE49-F238E27FC236}">
                <a16:creationId xmlns:a16="http://schemas.microsoft.com/office/drawing/2014/main" id="{889BA67F-5383-A64C-AFC4-FE6A9DF437BA}"/>
              </a:ext>
            </a:extLst>
          </p:cNvPr>
          <p:cNvSpPr>
            <a:spLocks noChangeArrowheads="1"/>
          </p:cNvSpPr>
          <p:nvPr/>
        </p:nvSpPr>
        <p:spPr bwMode="auto">
          <a:xfrm>
            <a:off x="2032001" y="-461666"/>
            <a:ext cx="246286"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en-US" sz="5200"/>
          </a:p>
        </p:txBody>
      </p:sp>
    </p:spTree>
    <p:extLst>
      <p:ext uri="{BB962C8B-B14F-4D97-AF65-F5344CB8AC3E}">
        <p14:creationId xmlns:p14="http://schemas.microsoft.com/office/powerpoint/2010/main" val="17444948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72B32376-638C-664E-9D95-B2A56703F846}"/>
              </a:ext>
            </a:extLst>
          </p:cNvPr>
          <p:cNvSpPr txBox="1">
            <a:spLocks/>
          </p:cNvSpPr>
          <p:nvPr/>
        </p:nvSpPr>
        <p:spPr>
          <a:xfrm>
            <a:off x="736600" y="1981200"/>
            <a:ext cx="15240000" cy="2000249"/>
          </a:xfrm>
          <a:prstGeom prst="rect">
            <a:avLst/>
          </a:prstGeom>
        </p:spPr>
        <p:txBody>
          <a:bodyPr>
            <a:normAutofit/>
          </a:bodyPr>
          <a:lstStyle>
            <a:lvl1pPr marL="472729" indent="-472729" algn="l" defTabSz="1260612" rtl="0" eaLnBrk="1" latinLnBrk="0" hangingPunct="1">
              <a:spcBef>
                <a:spcPct val="20000"/>
              </a:spcBef>
              <a:buFont typeface="Arial" pitchFamily="34" charset="0"/>
              <a:buChar char="•"/>
              <a:defRPr sz="4381" kern="1200">
                <a:solidFill>
                  <a:schemeClr val="bg1"/>
                </a:solidFill>
                <a:latin typeface="Century Gothic" panose="020B0502020202020204" pitchFamily="34" charset="0"/>
                <a:ea typeface="+mn-ea"/>
                <a:cs typeface="+mn-cs"/>
              </a:defRPr>
            </a:lvl1pPr>
            <a:lvl2pPr marL="1024247" indent="-393941" algn="l" defTabSz="1260612" rtl="0" eaLnBrk="1" latinLnBrk="0" hangingPunct="1">
              <a:spcBef>
                <a:spcPct val="20000"/>
              </a:spcBef>
              <a:buFont typeface="Arial" pitchFamily="34" charset="0"/>
              <a:buChar char="–"/>
              <a:defRPr sz="3873" kern="1200">
                <a:solidFill>
                  <a:schemeClr val="bg1"/>
                </a:solidFill>
                <a:latin typeface="Century Gothic" panose="020B0502020202020204" pitchFamily="34" charset="0"/>
                <a:ea typeface="+mn-ea"/>
                <a:cs typeface="+mn-cs"/>
              </a:defRPr>
            </a:lvl2pPr>
            <a:lvl3pPr marL="1575765" indent="-315153" algn="l" defTabSz="1260612" rtl="0" eaLnBrk="1" latinLnBrk="0" hangingPunct="1">
              <a:spcBef>
                <a:spcPct val="20000"/>
              </a:spcBef>
              <a:buFont typeface="Arial" pitchFamily="34" charset="0"/>
              <a:buChar char="•"/>
              <a:defRPr sz="3301" kern="1200">
                <a:solidFill>
                  <a:schemeClr val="bg1"/>
                </a:solidFill>
                <a:latin typeface="Century Gothic" panose="020B0502020202020204" pitchFamily="34" charset="0"/>
                <a:ea typeface="+mn-ea"/>
                <a:cs typeface="+mn-cs"/>
              </a:defRPr>
            </a:lvl3pPr>
            <a:lvl4pPr marL="2206071" indent="-315153" algn="l" defTabSz="1260612" rtl="0" eaLnBrk="1" latinLnBrk="0" hangingPunct="1">
              <a:spcBef>
                <a:spcPct val="20000"/>
              </a:spcBef>
              <a:buFont typeface="Arial" pitchFamily="34" charset="0"/>
              <a:buChar char="–"/>
              <a:defRPr sz="2730" kern="1200">
                <a:solidFill>
                  <a:schemeClr val="bg1"/>
                </a:solidFill>
                <a:latin typeface="Century Gothic" panose="020B0502020202020204" pitchFamily="34" charset="0"/>
                <a:ea typeface="+mn-ea"/>
                <a:cs typeface="+mn-cs"/>
              </a:defRPr>
            </a:lvl4pPr>
            <a:lvl5pPr marL="2836376" indent="-315153" algn="l" defTabSz="1260612" rtl="0" eaLnBrk="1" latinLnBrk="0" hangingPunct="1">
              <a:spcBef>
                <a:spcPct val="20000"/>
              </a:spcBef>
              <a:buFont typeface="Arial" pitchFamily="34" charset="0"/>
              <a:buChar char="»"/>
              <a:defRPr sz="2730" kern="1200">
                <a:solidFill>
                  <a:schemeClr val="bg1"/>
                </a:solidFill>
                <a:latin typeface="Century Gothic" panose="020B0502020202020204" pitchFamily="34" charset="0"/>
                <a:ea typeface="+mn-ea"/>
                <a:cs typeface="+mn-cs"/>
              </a:defRPr>
            </a:lvl5pPr>
            <a:lvl6pPr marL="3466682"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6pPr>
            <a:lvl7pPr marL="4096989"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7pPr>
            <a:lvl8pPr marL="4727295"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8pPr>
            <a:lvl9pPr marL="5357600" indent="-315153" algn="l" defTabSz="1260612" rtl="0" eaLnBrk="1" latinLnBrk="0" hangingPunct="1">
              <a:spcBef>
                <a:spcPct val="20000"/>
              </a:spcBef>
              <a:buFont typeface="Arial" pitchFamily="34" charset="0"/>
              <a:buChar char="•"/>
              <a:defRPr sz="2730" kern="1200">
                <a:solidFill>
                  <a:schemeClr val="tx1"/>
                </a:solidFill>
                <a:latin typeface="+mn-lt"/>
                <a:ea typeface="+mn-ea"/>
                <a:cs typeface="+mn-cs"/>
              </a:defRPr>
            </a:lvl9pPr>
          </a:lstStyle>
          <a:p>
            <a:pPr marL="0" indent="0" algn="ctr">
              <a:buNone/>
            </a:pPr>
            <a:r>
              <a:rPr lang="en-US" sz="4800" b="1" dirty="0">
                <a:solidFill>
                  <a:srgbClr val="90F502"/>
                </a:solidFill>
              </a:rPr>
              <a:t>Study Group 5 on 5G Imperatives for Smart Cities</a:t>
            </a:r>
          </a:p>
        </p:txBody>
      </p:sp>
      <p:sp>
        <p:nvSpPr>
          <p:cNvPr id="9" name="Title 4">
            <a:extLst>
              <a:ext uri="{FF2B5EF4-FFF2-40B4-BE49-F238E27FC236}">
                <a16:creationId xmlns:a16="http://schemas.microsoft.com/office/drawing/2014/main" id="{8844EC86-B98D-844F-8A37-4CB89D95ACBD}"/>
              </a:ext>
            </a:extLst>
          </p:cNvPr>
          <p:cNvSpPr txBox="1">
            <a:spLocks/>
          </p:cNvSpPr>
          <p:nvPr/>
        </p:nvSpPr>
        <p:spPr>
          <a:xfrm>
            <a:off x="228600" y="4254502"/>
            <a:ext cx="15748000" cy="1816100"/>
          </a:xfrm>
          <a:prstGeom prst="rect">
            <a:avLst/>
          </a:prstGeom>
        </p:spPr>
        <p:txBody>
          <a:bodyPr>
            <a:normAutofit fontScale="97500"/>
          </a:bodyPr>
          <a:lstStyle>
            <a:lvl1pPr algn="l" defTabSz="1260612" rtl="0" eaLnBrk="1" latinLnBrk="0" hangingPunct="1">
              <a:spcBef>
                <a:spcPct val="0"/>
              </a:spcBef>
              <a:buNone/>
              <a:defRPr sz="6095" b="1" kern="1200">
                <a:solidFill>
                  <a:srgbClr val="FFFF00"/>
                </a:solidFill>
                <a:latin typeface="+mj-lt"/>
                <a:ea typeface="+mj-ea"/>
                <a:cs typeface="+mj-cs"/>
              </a:defRPr>
            </a:lvl1pPr>
          </a:lstStyle>
          <a:p>
            <a:pPr algn="ctr"/>
            <a:r>
              <a:rPr lang="en-US" sz="5400" dirty="0"/>
              <a:t>LITD – 28 - Smart infrastructure Sectional Committee , Bureau of Indian Standards</a:t>
            </a:r>
          </a:p>
        </p:txBody>
      </p:sp>
    </p:spTree>
    <p:extLst>
      <p:ext uri="{BB962C8B-B14F-4D97-AF65-F5344CB8AC3E}">
        <p14:creationId xmlns:p14="http://schemas.microsoft.com/office/powerpoint/2010/main" val="22626824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1FA90D-9FC7-494F-8541-8E17C15BF4F0}"/>
              </a:ext>
            </a:extLst>
          </p:cNvPr>
          <p:cNvSpPr>
            <a:spLocks noGrp="1"/>
          </p:cNvSpPr>
          <p:nvPr>
            <p:ph type="title"/>
          </p:nvPr>
        </p:nvSpPr>
        <p:spPr/>
        <p:txBody>
          <a:bodyPr>
            <a:normAutofit fontScale="90000"/>
          </a:bodyPr>
          <a:lstStyle/>
          <a:p>
            <a:r>
              <a:rPr lang="en-US" dirty="0"/>
              <a:t>A few steps being undertaken…</a:t>
            </a:r>
          </a:p>
        </p:txBody>
      </p:sp>
      <p:sp>
        <p:nvSpPr>
          <p:cNvPr id="7" name="Content Placeholder 6">
            <a:extLst>
              <a:ext uri="{FF2B5EF4-FFF2-40B4-BE49-F238E27FC236}">
                <a16:creationId xmlns:a16="http://schemas.microsoft.com/office/drawing/2014/main" id="{32EDC2C3-FAC0-CF4E-B383-2C5CC15FCEFB}"/>
              </a:ext>
            </a:extLst>
          </p:cNvPr>
          <p:cNvSpPr>
            <a:spLocks noGrp="1"/>
          </p:cNvSpPr>
          <p:nvPr>
            <p:ph idx="1"/>
          </p:nvPr>
        </p:nvSpPr>
        <p:spPr/>
        <p:txBody>
          <a:bodyPr>
            <a:normAutofit fontScale="92500" lnSpcReduction="10000"/>
          </a:bodyPr>
          <a:lstStyle/>
          <a:p>
            <a:pPr algn="just">
              <a:buFont typeface="Wingdings" pitchFamily="2" charset="2"/>
              <a:buChar char="v"/>
            </a:pPr>
            <a:r>
              <a:rPr lang="en-US" sz="4000" dirty="0">
                <a:solidFill>
                  <a:srgbClr val="FFFF00"/>
                </a:solidFill>
              </a:rPr>
              <a:t>Identify 5G Friendly, 5G Intensive &amp; 5G Extensive Applications &amp; Use Cases within the Smart Infrastructure paradigm and even outside…</a:t>
            </a:r>
          </a:p>
          <a:p>
            <a:pPr algn="just">
              <a:buFont typeface="Wingdings" pitchFamily="2" charset="2"/>
              <a:buChar char="v"/>
            </a:pPr>
            <a:r>
              <a:rPr lang="en-US" sz="4000" dirty="0">
                <a:solidFill>
                  <a:srgbClr val="FFFF00"/>
                </a:solidFill>
              </a:rPr>
              <a:t>Identify the feasibility of developing Application Layer Standards around them…</a:t>
            </a:r>
          </a:p>
          <a:p>
            <a:pPr algn="just">
              <a:buFont typeface="Wingdings" pitchFamily="2" charset="2"/>
              <a:buChar char="v"/>
            </a:pPr>
            <a:r>
              <a:rPr lang="en-US" sz="4000" dirty="0">
                <a:solidFill>
                  <a:srgbClr val="FFFF00"/>
                </a:solidFill>
              </a:rPr>
              <a:t>Develop a phased implementation &amp; deployment plan for them…</a:t>
            </a:r>
          </a:p>
          <a:p>
            <a:pPr algn="just">
              <a:buFont typeface="Wingdings" pitchFamily="2" charset="2"/>
              <a:buChar char="v"/>
            </a:pPr>
            <a:r>
              <a:rPr lang="en-US" sz="4000" dirty="0">
                <a:solidFill>
                  <a:srgbClr val="FFFF00"/>
                </a:solidFill>
              </a:rPr>
              <a:t>Develop the most optimized </a:t>
            </a:r>
            <a:r>
              <a:rPr lang="en-US" sz="4000" b="1" dirty="0">
                <a:solidFill>
                  <a:srgbClr val="FFFF00"/>
                </a:solidFill>
              </a:rPr>
              <a:t>“5G inclusive ICT Reference Architecture for Smart Infrastructure”</a:t>
            </a:r>
            <a:r>
              <a:rPr lang="en-US" sz="4000" dirty="0">
                <a:solidFill>
                  <a:srgbClr val="FFFF00"/>
                </a:solidFill>
              </a:rPr>
              <a:t>…</a:t>
            </a:r>
          </a:p>
          <a:p>
            <a:pPr algn="just">
              <a:buFont typeface="Wingdings" pitchFamily="2" charset="2"/>
              <a:buChar char="v"/>
            </a:pPr>
            <a:r>
              <a:rPr lang="en-US" sz="4000" dirty="0">
                <a:solidFill>
                  <a:srgbClr val="FFFF00"/>
                </a:solidFill>
              </a:rPr>
              <a:t>Develop a smooth migration &amp; adoption strategy from Contemporary ICT Architectures to the 5G Inclusive Architectures…</a:t>
            </a:r>
          </a:p>
        </p:txBody>
      </p:sp>
    </p:spTree>
    <p:extLst>
      <p:ext uri="{BB962C8B-B14F-4D97-AF65-F5344CB8AC3E}">
        <p14:creationId xmlns:p14="http://schemas.microsoft.com/office/powerpoint/2010/main" val="26570475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735541C-5F53-4CF1-A708-62B63A81CF20}"/>
              </a:ext>
            </a:extLst>
          </p:cNvPr>
          <p:cNvSpPr>
            <a:spLocks noGrp="1"/>
          </p:cNvSpPr>
          <p:nvPr>
            <p:ph sz="quarter" idx="11"/>
          </p:nvPr>
        </p:nvSpPr>
        <p:spPr>
          <a:xfrm>
            <a:off x="1338928" y="1371600"/>
            <a:ext cx="14713871" cy="6814153"/>
          </a:xfrm>
        </p:spPr>
        <p:txBody>
          <a:bodyPr>
            <a:normAutofit/>
          </a:bodyPr>
          <a:lstStyle/>
          <a:p>
            <a:pPr algn="just">
              <a:spcBef>
                <a:spcPts val="0"/>
              </a:spcBef>
              <a:spcAft>
                <a:spcPts val="1600"/>
              </a:spcAft>
              <a:buFont typeface="Wingdings" pitchFamily="2" charset="2"/>
              <a:buChar char="v"/>
            </a:pPr>
            <a:r>
              <a:rPr lang="en-US" sz="4000" b="1" dirty="0">
                <a:solidFill>
                  <a:srgbClr val="FFFF00"/>
                </a:solidFill>
              </a:rPr>
              <a:t>Study SBA/ Open API’s at 3GPP versus common service layer platform for use cases – examine API’s</a:t>
            </a:r>
          </a:p>
          <a:p>
            <a:pPr marL="0" indent="0" algn="just">
              <a:spcBef>
                <a:spcPts val="0"/>
              </a:spcBef>
              <a:spcAft>
                <a:spcPts val="1600"/>
              </a:spcAft>
              <a:buNone/>
            </a:pPr>
            <a:endParaRPr lang="en-US" sz="4000" b="1" dirty="0">
              <a:solidFill>
                <a:srgbClr val="FFFF00"/>
              </a:solidFill>
            </a:endParaRPr>
          </a:p>
          <a:p>
            <a:pPr algn="just">
              <a:spcBef>
                <a:spcPts val="0"/>
              </a:spcBef>
              <a:spcAft>
                <a:spcPts val="1600"/>
              </a:spcAft>
              <a:buFont typeface="Wingdings" pitchFamily="2" charset="2"/>
              <a:buChar char="v"/>
            </a:pPr>
            <a:r>
              <a:rPr lang="en-US" sz="4000" b="1" dirty="0">
                <a:solidFill>
                  <a:srgbClr val="FFFF00"/>
                </a:solidFill>
              </a:rPr>
              <a:t>How to leverage network slicing/ SBA 5G to implement diverse critical use cases and e2e QoS mapping from transport layer to application layer</a:t>
            </a:r>
          </a:p>
          <a:p>
            <a:pPr marL="0" indent="0" algn="just">
              <a:spcBef>
                <a:spcPts val="0"/>
              </a:spcBef>
              <a:spcAft>
                <a:spcPts val="1600"/>
              </a:spcAft>
              <a:buNone/>
            </a:pPr>
            <a:endParaRPr lang="en-US" sz="4000" b="1" dirty="0">
              <a:solidFill>
                <a:srgbClr val="FFFF00"/>
              </a:solidFill>
            </a:endParaRPr>
          </a:p>
          <a:p>
            <a:pPr algn="just">
              <a:spcBef>
                <a:spcPts val="0"/>
              </a:spcBef>
              <a:spcAft>
                <a:spcPts val="1600"/>
              </a:spcAft>
              <a:buFont typeface="Wingdings" pitchFamily="2" charset="2"/>
              <a:buChar char="v"/>
            </a:pPr>
            <a:r>
              <a:rPr lang="en-US" sz="4000" b="1" dirty="0">
                <a:solidFill>
                  <a:srgbClr val="FFFF00"/>
                </a:solidFill>
              </a:rPr>
              <a:t>Role of virtualization/ SDN/ MEC for dynamic use cases implementation and deployment flexibility</a:t>
            </a:r>
          </a:p>
          <a:p>
            <a:pPr algn="just">
              <a:buFont typeface="Wingdings" pitchFamily="2" charset="2"/>
              <a:buChar char="v"/>
            </a:pPr>
            <a:endParaRPr lang="en-US" sz="4800" b="1" dirty="0">
              <a:solidFill>
                <a:srgbClr val="FFFF00"/>
              </a:solidFill>
            </a:endParaRPr>
          </a:p>
        </p:txBody>
      </p:sp>
      <p:sp>
        <p:nvSpPr>
          <p:cNvPr id="5" name="Title 4">
            <a:extLst>
              <a:ext uri="{FF2B5EF4-FFF2-40B4-BE49-F238E27FC236}">
                <a16:creationId xmlns:a16="http://schemas.microsoft.com/office/drawing/2014/main" id="{1C14A582-9CD5-AC42-97E8-982C02399BC6}"/>
              </a:ext>
            </a:extLst>
          </p:cNvPr>
          <p:cNvSpPr>
            <a:spLocks noGrp="1"/>
          </p:cNvSpPr>
          <p:nvPr>
            <p:ph type="title"/>
          </p:nvPr>
        </p:nvSpPr>
        <p:spPr/>
        <p:txBody>
          <a:bodyPr/>
          <a:lstStyle/>
          <a:p>
            <a:r>
              <a:rPr lang="en-US" sz="5500" dirty="0"/>
              <a:t>A few Next steps…</a:t>
            </a:r>
          </a:p>
        </p:txBody>
      </p:sp>
    </p:spTree>
    <p:extLst>
      <p:ext uri="{BB962C8B-B14F-4D97-AF65-F5344CB8AC3E}">
        <p14:creationId xmlns:p14="http://schemas.microsoft.com/office/powerpoint/2010/main" val="38228060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DF9C36-BC3D-D54E-98C6-B7C4D4C99974}"/>
              </a:ext>
            </a:extLst>
          </p:cNvPr>
          <p:cNvSpPr>
            <a:spLocks noGrp="1"/>
          </p:cNvSpPr>
          <p:nvPr>
            <p:ph type="title"/>
          </p:nvPr>
        </p:nvSpPr>
        <p:spPr/>
        <p:txBody>
          <a:bodyPr>
            <a:normAutofit fontScale="90000"/>
          </a:bodyPr>
          <a:lstStyle/>
          <a:p>
            <a:r>
              <a:rPr lang="en-US" dirty="0"/>
              <a:t>5G Service Based Architecture</a:t>
            </a:r>
          </a:p>
        </p:txBody>
      </p:sp>
      <p:pic>
        <p:nvPicPr>
          <p:cNvPr id="5" name="Content Placeholder 4" descr="A screenshot of a cell phone&#10;&#10;Description automatically generated">
            <a:extLst>
              <a:ext uri="{FF2B5EF4-FFF2-40B4-BE49-F238E27FC236}">
                <a16:creationId xmlns:a16="http://schemas.microsoft.com/office/drawing/2014/main" id="{51331F2A-E361-3B43-9C90-0393FC4F042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84400" y="1371599"/>
            <a:ext cx="12344400" cy="6989777"/>
          </a:xfrm>
        </p:spPr>
      </p:pic>
    </p:spTree>
    <p:extLst>
      <p:ext uri="{BB962C8B-B14F-4D97-AF65-F5344CB8AC3E}">
        <p14:creationId xmlns:p14="http://schemas.microsoft.com/office/powerpoint/2010/main" val="39999080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1FA90D-9FC7-494F-8541-8E17C15BF4F0}"/>
              </a:ext>
            </a:extLst>
          </p:cNvPr>
          <p:cNvSpPr>
            <a:spLocks noGrp="1"/>
          </p:cNvSpPr>
          <p:nvPr>
            <p:ph type="title"/>
          </p:nvPr>
        </p:nvSpPr>
        <p:spPr>
          <a:xfrm>
            <a:off x="709072" y="76200"/>
            <a:ext cx="12905328" cy="833486"/>
          </a:xfrm>
        </p:spPr>
        <p:txBody>
          <a:bodyPr>
            <a:noAutofit/>
          </a:bodyPr>
          <a:lstStyle/>
          <a:p>
            <a:r>
              <a:rPr lang="en-IN" sz="5400" dirty="0"/>
              <a:t>Example of a micro service architecture</a:t>
            </a:r>
          </a:p>
        </p:txBody>
      </p:sp>
      <p:pic>
        <p:nvPicPr>
          <p:cNvPr id="2" name="Picture 1">
            <a:extLst>
              <a:ext uri="{FF2B5EF4-FFF2-40B4-BE49-F238E27FC236}">
                <a16:creationId xmlns:a16="http://schemas.microsoft.com/office/drawing/2014/main" id="{66963B82-D13B-3C46-B224-01892DDF8342}"/>
              </a:ext>
            </a:extLst>
          </p:cNvPr>
          <p:cNvPicPr>
            <a:picLocks noChangeAspect="1"/>
          </p:cNvPicPr>
          <p:nvPr/>
        </p:nvPicPr>
        <p:blipFill>
          <a:blip r:embed="rId2"/>
          <a:stretch>
            <a:fillRect/>
          </a:stretch>
        </p:blipFill>
        <p:spPr>
          <a:xfrm>
            <a:off x="2260600" y="1242978"/>
            <a:ext cx="12905328" cy="7322171"/>
          </a:xfrm>
          <a:prstGeom prst="rect">
            <a:avLst/>
          </a:prstGeom>
        </p:spPr>
      </p:pic>
    </p:spTree>
    <p:extLst>
      <p:ext uri="{BB962C8B-B14F-4D97-AF65-F5344CB8AC3E}">
        <p14:creationId xmlns:p14="http://schemas.microsoft.com/office/powerpoint/2010/main" val="26022994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517BCC3-BBF6-B14F-848E-EEDA0A421FA0}"/>
              </a:ext>
            </a:extLst>
          </p:cNvPr>
          <p:cNvSpPr>
            <a:spLocks noGrp="1"/>
          </p:cNvSpPr>
          <p:nvPr>
            <p:ph type="title"/>
          </p:nvPr>
        </p:nvSpPr>
        <p:spPr/>
        <p:txBody>
          <a:bodyPr>
            <a:normAutofit fontScale="90000"/>
          </a:bodyPr>
          <a:lstStyle/>
          <a:p>
            <a:r>
              <a:rPr lang="en-IN" dirty="0"/>
              <a:t>Cloud native application stacks</a:t>
            </a:r>
            <a:endParaRPr lang="en-US" dirty="0"/>
          </a:p>
        </p:txBody>
      </p:sp>
      <p:pic>
        <p:nvPicPr>
          <p:cNvPr id="2" name="Picture 1">
            <a:extLst>
              <a:ext uri="{FF2B5EF4-FFF2-40B4-BE49-F238E27FC236}">
                <a16:creationId xmlns:a16="http://schemas.microsoft.com/office/drawing/2014/main" id="{DB2AF7BC-29E8-F949-8391-F0CD0052587E}"/>
              </a:ext>
            </a:extLst>
          </p:cNvPr>
          <p:cNvPicPr>
            <a:picLocks noChangeAspect="1"/>
          </p:cNvPicPr>
          <p:nvPr/>
        </p:nvPicPr>
        <p:blipFill>
          <a:blip r:embed="rId2"/>
          <a:stretch>
            <a:fillRect/>
          </a:stretch>
        </p:blipFill>
        <p:spPr>
          <a:xfrm>
            <a:off x="2697544" y="1143000"/>
            <a:ext cx="12219528" cy="7266356"/>
          </a:xfrm>
          <a:prstGeom prst="rect">
            <a:avLst/>
          </a:prstGeom>
        </p:spPr>
      </p:pic>
    </p:spTree>
    <p:extLst>
      <p:ext uri="{BB962C8B-B14F-4D97-AF65-F5344CB8AC3E}">
        <p14:creationId xmlns:p14="http://schemas.microsoft.com/office/powerpoint/2010/main" val="2272678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mart Cities – Addressing 3 Core issues</a:t>
            </a:r>
            <a:endParaRPr lang="en-IN" dirty="0"/>
          </a:p>
        </p:txBody>
      </p:sp>
      <p:grpSp>
        <p:nvGrpSpPr>
          <p:cNvPr id="2" name="Group 1">
            <a:extLst>
              <a:ext uri="{FF2B5EF4-FFF2-40B4-BE49-F238E27FC236}">
                <a16:creationId xmlns:a16="http://schemas.microsoft.com/office/drawing/2014/main" id="{8B88B29F-0E91-449A-94D1-E6DE5367528B}"/>
              </a:ext>
            </a:extLst>
          </p:cNvPr>
          <p:cNvGrpSpPr/>
          <p:nvPr/>
        </p:nvGrpSpPr>
        <p:grpSpPr>
          <a:xfrm>
            <a:off x="310339" y="3065195"/>
            <a:ext cx="15417359" cy="4235661"/>
            <a:chOff x="232754" y="2298896"/>
            <a:chExt cx="11891484" cy="3506234"/>
          </a:xfrm>
        </p:grpSpPr>
        <p:sp>
          <p:nvSpPr>
            <p:cNvPr id="13" name="Rectangle 12"/>
            <p:cNvSpPr/>
            <p:nvPr/>
          </p:nvSpPr>
          <p:spPr>
            <a:xfrm>
              <a:off x="8212692" y="2980257"/>
              <a:ext cx="1930376" cy="1961287"/>
            </a:xfrm>
            <a:prstGeom prst="rect">
              <a:avLst/>
            </a:prstGeom>
            <a:solidFill>
              <a:schemeClr val="tx1">
                <a:lumMod val="85000"/>
                <a:lumOff val="15000"/>
              </a:schemeClr>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67" b="1" dirty="0">
                  <a:latin typeface="Roboto" panose="02000000000000000000" pitchFamily="2" charset="0"/>
                  <a:ea typeface="Roboto" panose="02000000000000000000" pitchFamily="2" charset="0"/>
                </a:rPr>
                <a:t>Technology is the means, not goal</a:t>
              </a:r>
            </a:p>
          </p:txBody>
        </p:sp>
        <p:sp>
          <p:nvSpPr>
            <p:cNvPr id="14" name="Oval 13"/>
            <p:cNvSpPr/>
            <p:nvPr/>
          </p:nvSpPr>
          <p:spPr>
            <a:xfrm>
              <a:off x="1586752" y="27790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15" name="Oval 14"/>
            <p:cNvSpPr/>
            <p:nvPr/>
          </p:nvSpPr>
          <p:spPr>
            <a:xfrm>
              <a:off x="3810000" y="27790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17" name="Oval 16"/>
            <p:cNvSpPr/>
            <p:nvPr/>
          </p:nvSpPr>
          <p:spPr>
            <a:xfrm>
              <a:off x="6046692" y="27790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18" name="Oval 17"/>
            <p:cNvSpPr/>
            <p:nvPr/>
          </p:nvSpPr>
          <p:spPr>
            <a:xfrm>
              <a:off x="8269940" y="27790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19" name="Oval 18"/>
            <p:cNvSpPr/>
            <p:nvPr/>
          </p:nvSpPr>
          <p:spPr>
            <a:xfrm>
              <a:off x="10488705" y="27790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20" name="Freeform 484"/>
            <p:cNvSpPr>
              <a:spLocks noEditPoints="1"/>
            </p:cNvSpPr>
            <p:nvPr/>
          </p:nvSpPr>
          <p:spPr bwMode="black">
            <a:xfrm>
              <a:off x="884953" y="2298896"/>
              <a:ext cx="715962" cy="438150"/>
            </a:xfrm>
            <a:custGeom>
              <a:avLst/>
              <a:gdLst>
                <a:gd name="T0" fmla="*/ 276 w 286"/>
                <a:gd name="T1" fmla="*/ 37 h 175"/>
                <a:gd name="T2" fmla="*/ 202 w 286"/>
                <a:gd name="T3" fmla="*/ 37 h 175"/>
                <a:gd name="T4" fmla="*/ 202 w 286"/>
                <a:gd name="T5" fmla="*/ 68 h 175"/>
                <a:gd name="T6" fmla="*/ 148 w 286"/>
                <a:gd name="T7" fmla="*/ 68 h 175"/>
                <a:gd name="T8" fmla="*/ 148 w 286"/>
                <a:gd name="T9" fmla="*/ 37 h 175"/>
                <a:gd name="T10" fmla="*/ 74 w 286"/>
                <a:gd name="T11" fmla="*/ 37 h 175"/>
                <a:gd name="T12" fmla="*/ 74 w 286"/>
                <a:gd name="T13" fmla="*/ 68 h 175"/>
                <a:gd name="T14" fmla="*/ 10 w 286"/>
                <a:gd name="T15" fmla="*/ 93 h 175"/>
                <a:gd name="T16" fmla="*/ 0 w 286"/>
                <a:gd name="T17" fmla="*/ 124 h 175"/>
                <a:gd name="T18" fmla="*/ 14 w 286"/>
                <a:gd name="T19" fmla="*/ 175 h 175"/>
                <a:gd name="T20" fmla="*/ 80 w 286"/>
                <a:gd name="T21" fmla="*/ 138 h 175"/>
                <a:gd name="T22" fmla="*/ 94 w 286"/>
                <a:gd name="T23" fmla="*/ 175 h 175"/>
                <a:gd name="T24" fmla="*/ 67 w 286"/>
                <a:gd name="T25" fmla="*/ 124 h 175"/>
                <a:gd name="T26" fmla="*/ 82 w 286"/>
                <a:gd name="T27" fmla="*/ 82 h 175"/>
                <a:gd name="T28" fmla="*/ 138 w 286"/>
                <a:gd name="T29" fmla="*/ 93 h 175"/>
                <a:gd name="T30" fmla="*/ 128 w 286"/>
                <a:gd name="T31" fmla="*/ 124 h 175"/>
                <a:gd name="T32" fmla="*/ 142 w 286"/>
                <a:gd name="T33" fmla="*/ 175 h 175"/>
                <a:gd name="T34" fmla="*/ 208 w 286"/>
                <a:gd name="T35" fmla="*/ 138 h 175"/>
                <a:gd name="T36" fmla="*/ 222 w 286"/>
                <a:gd name="T37" fmla="*/ 175 h 175"/>
                <a:gd name="T38" fmla="*/ 195 w 286"/>
                <a:gd name="T39" fmla="*/ 124 h 175"/>
                <a:gd name="T40" fmla="*/ 210 w 286"/>
                <a:gd name="T41" fmla="*/ 82 h 175"/>
                <a:gd name="T42" fmla="*/ 272 w 286"/>
                <a:gd name="T43" fmla="*/ 151 h 175"/>
                <a:gd name="T44" fmla="*/ 286 w 286"/>
                <a:gd name="T45" fmla="*/ 68 h 175"/>
                <a:gd name="T46" fmla="*/ 239 w 286"/>
                <a:gd name="T47" fmla="*/ 14 h 175"/>
                <a:gd name="T48" fmla="*/ 239 w 286"/>
                <a:gd name="T49" fmla="*/ 60 h 175"/>
                <a:gd name="T50" fmla="*/ 239 w 286"/>
                <a:gd name="T51" fmla="*/ 14 h 175"/>
                <a:gd name="T52" fmla="*/ 134 w 286"/>
                <a:gd name="T53" fmla="*/ 37 h 175"/>
                <a:gd name="T54" fmla="*/ 88 w 286"/>
                <a:gd name="T55" fmla="*/ 37 h 175"/>
                <a:gd name="T56" fmla="*/ 47 w 286"/>
                <a:gd name="T57" fmla="*/ 116 h 175"/>
                <a:gd name="T58" fmla="*/ 47 w 286"/>
                <a:gd name="T59" fmla="*/ 70 h 175"/>
                <a:gd name="T60" fmla="*/ 47 w 286"/>
                <a:gd name="T61" fmla="*/ 116 h 175"/>
                <a:gd name="T62" fmla="*/ 152 w 286"/>
                <a:gd name="T63" fmla="*/ 93 h 175"/>
                <a:gd name="T64" fmla="*/ 198 w 286"/>
                <a:gd name="T65" fmla="*/ 9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175">
                  <a:moveTo>
                    <a:pt x="259" y="68"/>
                  </a:moveTo>
                  <a:cubicBezTo>
                    <a:pt x="269" y="61"/>
                    <a:pt x="276" y="50"/>
                    <a:pt x="276" y="37"/>
                  </a:cubicBezTo>
                  <a:cubicBezTo>
                    <a:pt x="276" y="17"/>
                    <a:pt x="259" y="0"/>
                    <a:pt x="239" y="0"/>
                  </a:cubicBezTo>
                  <a:cubicBezTo>
                    <a:pt x="219" y="0"/>
                    <a:pt x="202" y="17"/>
                    <a:pt x="202" y="37"/>
                  </a:cubicBezTo>
                  <a:cubicBezTo>
                    <a:pt x="202" y="50"/>
                    <a:pt x="209" y="61"/>
                    <a:pt x="219" y="68"/>
                  </a:cubicBezTo>
                  <a:cubicBezTo>
                    <a:pt x="202" y="68"/>
                    <a:pt x="202" y="68"/>
                    <a:pt x="202" y="68"/>
                  </a:cubicBezTo>
                  <a:cubicBezTo>
                    <a:pt x="195" y="61"/>
                    <a:pt x="186" y="56"/>
                    <a:pt x="175" y="56"/>
                  </a:cubicBezTo>
                  <a:cubicBezTo>
                    <a:pt x="164" y="56"/>
                    <a:pt x="155" y="61"/>
                    <a:pt x="148" y="68"/>
                  </a:cubicBezTo>
                  <a:cubicBezTo>
                    <a:pt x="131" y="68"/>
                    <a:pt x="131" y="68"/>
                    <a:pt x="131" y="68"/>
                  </a:cubicBezTo>
                  <a:cubicBezTo>
                    <a:pt x="141" y="61"/>
                    <a:pt x="148" y="50"/>
                    <a:pt x="148" y="37"/>
                  </a:cubicBezTo>
                  <a:cubicBezTo>
                    <a:pt x="148" y="17"/>
                    <a:pt x="131" y="0"/>
                    <a:pt x="111" y="0"/>
                  </a:cubicBezTo>
                  <a:cubicBezTo>
                    <a:pt x="91" y="0"/>
                    <a:pt x="74" y="17"/>
                    <a:pt x="74" y="37"/>
                  </a:cubicBezTo>
                  <a:cubicBezTo>
                    <a:pt x="74" y="50"/>
                    <a:pt x="81" y="61"/>
                    <a:pt x="91" y="68"/>
                  </a:cubicBezTo>
                  <a:cubicBezTo>
                    <a:pt x="74" y="68"/>
                    <a:pt x="74" y="68"/>
                    <a:pt x="74" y="68"/>
                  </a:cubicBezTo>
                  <a:cubicBezTo>
                    <a:pt x="67" y="61"/>
                    <a:pt x="58" y="56"/>
                    <a:pt x="47" y="56"/>
                  </a:cubicBezTo>
                  <a:cubicBezTo>
                    <a:pt x="27" y="56"/>
                    <a:pt x="10" y="73"/>
                    <a:pt x="10" y="93"/>
                  </a:cubicBezTo>
                  <a:cubicBezTo>
                    <a:pt x="10" y="106"/>
                    <a:pt x="17" y="117"/>
                    <a:pt x="27" y="124"/>
                  </a:cubicBezTo>
                  <a:cubicBezTo>
                    <a:pt x="0" y="124"/>
                    <a:pt x="0" y="124"/>
                    <a:pt x="0" y="124"/>
                  </a:cubicBezTo>
                  <a:cubicBezTo>
                    <a:pt x="0" y="175"/>
                    <a:pt x="0" y="175"/>
                    <a:pt x="0" y="175"/>
                  </a:cubicBezTo>
                  <a:cubicBezTo>
                    <a:pt x="14" y="175"/>
                    <a:pt x="14" y="175"/>
                    <a:pt x="14" y="175"/>
                  </a:cubicBezTo>
                  <a:cubicBezTo>
                    <a:pt x="14" y="138"/>
                    <a:pt x="14" y="138"/>
                    <a:pt x="14" y="138"/>
                  </a:cubicBezTo>
                  <a:cubicBezTo>
                    <a:pt x="80" y="138"/>
                    <a:pt x="80" y="138"/>
                    <a:pt x="80" y="138"/>
                  </a:cubicBezTo>
                  <a:cubicBezTo>
                    <a:pt x="80" y="175"/>
                    <a:pt x="80" y="175"/>
                    <a:pt x="80" y="175"/>
                  </a:cubicBezTo>
                  <a:cubicBezTo>
                    <a:pt x="94" y="175"/>
                    <a:pt x="94" y="175"/>
                    <a:pt x="94" y="175"/>
                  </a:cubicBezTo>
                  <a:cubicBezTo>
                    <a:pt x="94" y="124"/>
                    <a:pt x="94" y="124"/>
                    <a:pt x="94" y="124"/>
                  </a:cubicBezTo>
                  <a:cubicBezTo>
                    <a:pt x="67" y="124"/>
                    <a:pt x="67" y="124"/>
                    <a:pt x="67" y="124"/>
                  </a:cubicBezTo>
                  <a:cubicBezTo>
                    <a:pt x="77" y="117"/>
                    <a:pt x="84" y="106"/>
                    <a:pt x="84" y="93"/>
                  </a:cubicBezTo>
                  <a:cubicBezTo>
                    <a:pt x="84" y="89"/>
                    <a:pt x="83" y="85"/>
                    <a:pt x="82" y="82"/>
                  </a:cubicBezTo>
                  <a:cubicBezTo>
                    <a:pt x="140" y="82"/>
                    <a:pt x="140" y="82"/>
                    <a:pt x="140" y="82"/>
                  </a:cubicBezTo>
                  <a:cubicBezTo>
                    <a:pt x="139" y="85"/>
                    <a:pt x="138" y="89"/>
                    <a:pt x="138" y="93"/>
                  </a:cubicBezTo>
                  <a:cubicBezTo>
                    <a:pt x="138" y="106"/>
                    <a:pt x="145" y="117"/>
                    <a:pt x="155" y="124"/>
                  </a:cubicBezTo>
                  <a:cubicBezTo>
                    <a:pt x="128" y="124"/>
                    <a:pt x="128" y="124"/>
                    <a:pt x="128" y="124"/>
                  </a:cubicBezTo>
                  <a:cubicBezTo>
                    <a:pt x="128" y="175"/>
                    <a:pt x="128" y="175"/>
                    <a:pt x="128" y="175"/>
                  </a:cubicBezTo>
                  <a:cubicBezTo>
                    <a:pt x="142" y="175"/>
                    <a:pt x="142" y="175"/>
                    <a:pt x="142" y="175"/>
                  </a:cubicBezTo>
                  <a:cubicBezTo>
                    <a:pt x="142" y="138"/>
                    <a:pt x="142" y="138"/>
                    <a:pt x="142" y="138"/>
                  </a:cubicBezTo>
                  <a:cubicBezTo>
                    <a:pt x="208" y="138"/>
                    <a:pt x="208" y="138"/>
                    <a:pt x="208" y="138"/>
                  </a:cubicBezTo>
                  <a:cubicBezTo>
                    <a:pt x="208" y="175"/>
                    <a:pt x="208" y="175"/>
                    <a:pt x="208" y="175"/>
                  </a:cubicBezTo>
                  <a:cubicBezTo>
                    <a:pt x="222" y="175"/>
                    <a:pt x="222" y="175"/>
                    <a:pt x="222" y="175"/>
                  </a:cubicBezTo>
                  <a:cubicBezTo>
                    <a:pt x="222" y="124"/>
                    <a:pt x="222" y="124"/>
                    <a:pt x="222" y="124"/>
                  </a:cubicBezTo>
                  <a:cubicBezTo>
                    <a:pt x="195" y="124"/>
                    <a:pt x="195" y="124"/>
                    <a:pt x="195" y="124"/>
                  </a:cubicBezTo>
                  <a:cubicBezTo>
                    <a:pt x="205" y="117"/>
                    <a:pt x="212" y="106"/>
                    <a:pt x="212" y="93"/>
                  </a:cubicBezTo>
                  <a:cubicBezTo>
                    <a:pt x="212" y="89"/>
                    <a:pt x="211" y="85"/>
                    <a:pt x="210" y="82"/>
                  </a:cubicBezTo>
                  <a:cubicBezTo>
                    <a:pt x="272" y="82"/>
                    <a:pt x="272" y="82"/>
                    <a:pt x="272" y="82"/>
                  </a:cubicBezTo>
                  <a:cubicBezTo>
                    <a:pt x="272" y="151"/>
                    <a:pt x="272" y="151"/>
                    <a:pt x="272" y="151"/>
                  </a:cubicBezTo>
                  <a:cubicBezTo>
                    <a:pt x="286" y="151"/>
                    <a:pt x="286" y="151"/>
                    <a:pt x="286" y="151"/>
                  </a:cubicBezTo>
                  <a:cubicBezTo>
                    <a:pt x="286" y="68"/>
                    <a:pt x="286" y="68"/>
                    <a:pt x="286" y="68"/>
                  </a:cubicBezTo>
                  <a:lnTo>
                    <a:pt x="259" y="68"/>
                  </a:lnTo>
                  <a:close/>
                  <a:moveTo>
                    <a:pt x="239" y="14"/>
                  </a:moveTo>
                  <a:cubicBezTo>
                    <a:pt x="252" y="14"/>
                    <a:pt x="262" y="24"/>
                    <a:pt x="262" y="37"/>
                  </a:cubicBezTo>
                  <a:cubicBezTo>
                    <a:pt x="262" y="50"/>
                    <a:pt x="252" y="60"/>
                    <a:pt x="239" y="60"/>
                  </a:cubicBezTo>
                  <a:cubicBezTo>
                    <a:pt x="226" y="60"/>
                    <a:pt x="216" y="50"/>
                    <a:pt x="216" y="37"/>
                  </a:cubicBezTo>
                  <a:cubicBezTo>
                    <a:pt x="216" y="24"/>
                    <a:pt x="226" y="14"/>
                    <a:pt x="239" y="14"/>
                  </a:cubicBezTo>
                  <a:moveTo>
                    <a:pt x="111" y="14"/>
                  </a:moveTo>
                  <a:cubicBezTo>
                    <a:pt x="124" y="14"/>
                    <a:pt x="134" y="24"/>
                    <a:pt x="134" y="37"/>
                  </a:cubicBezTo>
                  <a:cubicBezTo>
                    <a:pt x="134" y="50"/>
                    <a:pt x="124" y="60"/>
                    <a:pt x="111" y="60"/>
                  </a:cubicBezTo>
                  <a:cubicBezTo>
                    <a:pt x="98" y="60"/>
                    <a:pt x="88" y="50"/>
                    <a:pt x="88" y="37"/>
                  </a:cubicBezTo>
                  <a:cubicBezTo>
                    <a:pt x="88" y="24"/>
                    <a:pt x="98" y="14"/>
                    <a:pt x="111" y="14"/>
                  </a:cubicBezTo>
                  <a:moveTo>
                    <a:pt x="47" y="116"/>
                  </a:moveTo>
                  <a:cubicBezTo>
                    <a:pt x="34" y="116"/>
                    <a:pt x="24" y="106"/>
                    <a:pt x="24" y="93"/>
                  </a:cubicBezTo>
                  <a:cubicBezTo>
                    <a:pt x="24" y="80"/>
                    <a:pt x="34" y="70"/>
                    <a:pt x="47" y="70"/>
                  </a:cubicBezTo>
                  <a:cubicBezTo>
                    <a:pt x="60" y="70"/>
                    <a:pt x="70" y="80"/>
                    <a:pt x="70" y="93"/>
                  </a:cubicBezTo>
                  <a:cubicBezTo>
                    <a:pt x="70" y="106"/>
                    <a:pt x="60" y="116"/>
                    <a:pt x="47" y="116"/>
                  </a:cubicBezTo>
                  <a:moveTo>
                    <a:pt x="175" y="116"/>
                  </a:moveTo>
                  <a:cubicBezTo>
                    <a:pt x="162" y="116"/>
                    <a:pt x="152" y="106"/>
                    <a:pt x="152" y="93"/>
                  </a:cubicBezTo>
                  <a:cubicBezTo>
                    <a:pt x="152" y="80"/>
                    <a:pt x="162" y="70"/>
                    <a:pt x="175" y="70"/>
                  </a:cubicBezTo>
                  <a:cubicBezTo>
                    <a:pt x="188" y="70"/>
                    <a:pt x="198" y="80"/>
                    <a:pt x="198" y="93"/>
                  </a:cubicBezTo>
                  <a:cubicBezTo>
                    <a:pt x="198" y="106"/>
                    <a:pt x="188" y="116"/>
                    <a:pt x="175" y="116"/>
                  </a:cubicBezTo>
                </a:path>
              </a:pathLst>
            </a:custGeom>
            <a:solidFill>
              <a:srgbClr val="444242"/>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21" name="Freeform 423"/>
            <p:cNvSpPr>
              <a:spLocks noEditPoints="1"/>
            </p:cNvSpPr>
            <p:nvPr/>
          </p:nvSpPr>
          <p:spPr bwMode="black">
            <a:xfrm>
              <a:off x="4866795" y="2356748"/>
              <a:ext cx="689346" cy="481600"/>
            </a:xfrm>
            <a:custGeom>
              <a:avLst/>
              <a:gdLst>
                <a:gd name="T0" fmla="*/ 212 w 232"/>
                <a:gd name="T1" fmla="*/ 28 h 162"/>
                <a:gd name="T2" fmla="*/ 232 w 232"/>
                <a:gd name="T3" fmla="*/ 28 h 162"/>
                <a:gd name="T4" fmla="*/ 232 w 232"/>
                <a:gd name="T5" fmla="*/ 12 h 162"/>
                <a:gd name="T6" fmla="*/ 196 w 232"/>
                <a:gd name="T7" fmla="*/ 12 h 162"/>
                <a:gd name="T8" fmla="*/ 196 w 232"/>
                <a:gd name="T9" fmla="*/ 24 h 162"/>
                <a:gd name="T10" fmla="*/ 158 w 232"/>
                <a:gd name="T11" fmla="*/ 8 h 162"/>
                <a:gd name="T12" fmla="*/ 120 w 232"/>
                <a:gd name="T13" fmla="*/ 8 h 162"/>
                <a:gd name="T14" fmla="*/ 101 w 232"/>
                <a:gd name="T15" fmla="*/ 16 h 162"/>
                <a:gd name="T16" fmla="*/ 36 w 232"/>
                <a:gd name="T17" fmla="*/ 16 h 162"/>
                <a:gd name="T18" fmla="*/ 36 w 232"/>
                <a:gd name="T19" fmla="*/ 0 h 162"/>
                <a:gd name="T20" fmla="*/ 0 w 232"/>
                <a:gd name="T21" fmla="*/ 0 h 162"/>
                <a:gd name="T22" fmla="*/ 0 w 232"/>
                <a:gd name="T23" fmla="*/ 16 h 162"/>
                <a:gd name="T24" fmla="*/ 20 w 232"/>
                <a:gd name="T25" fmla="*/ 16 h 162"/>
                <a:gd name="T26" fmla="*/ 20 w 232"/>
                <a:gd name="T27" fmla="*/ 108 h 162"/>
                <a:gd name="T28" fmla="*/ 0 w 232"/>
                <a:gd name="T29" fmla="*/ 108 h 162"/>
                <a:gd name="T30" fmla="*/ 0 w 232"/>
                <a:gd name="T31" fmla="*/ 124 h 162"/>
                <a:gd name="T32" fmla="*/ 36 w 232"/>
                <a:gd name="T33" fmla="*/ 124 h 162"/>
                <a:gd name="T34" fmla="*/ 36 w 232"/>
                <a:gd name="T35" fmla="*/ 112 h 162"/>
                <a:gd name="T36" fmla="*/ 44 w 232"/>
                <a:gd name="T37" fmla="*/ 112 h 162"/>
                <a:gd name="T38" fmla="*/ 65 w 232"/>
                <a:gd name="T39" fmla="*/ 146 h 162"/>
                <a:gd name="T40" fmla="*/ 79 w 232"/>
                <a:gd name="T41" fmla="*/ 158 h 162"/>
                <a:gd name="T42" fmla="*/ 94 w 232"/>
                <a:gd name="T43" fmla="*/ 162 h 162"/>
                <a:gd name="T44" fmla="*/ 104 w 232"/>
                <a:gd name="T45" fmla="*/ 161 h 162"/>
                <a:gd name="T46" fmla="*/ 157 w 232"/>
                <a:gd name="T47" fmla="*/ 145 h 162"/>
                <a:gd name="T48" fmla="*/ 185 w 232"/>
                <a:gd name="T49" fmla="*/ 124 h 162"/>
                <a:gd name="T50" fmla="*/ 196 w 232"/>
                <a:gd name="T51" fmla="*/ 124 h 162"/>
                <a:gd name="T52" fmla="*/ 196 w 232"/>
                <a:gd name="T53" fmla="*/ 136 h 162"/>
                <a:gd name="T54" fmla="*/ 232 w 232"/>
                <a:gd name="T55" fmla="*/ 136 h 162"/>
                <a:gd name="T56" fmla="*/ 232 w 232"/>
                <a:gd name="T57" fmla="*/ 120 h 162"/>
                <a:gd name="T58" fmla="*/ 212 w 232"/>
                <a:gd name="T59" fmla="*/ 120 h 162"/>
                <a:gd name="T60" fmla="*/ 212 w 232"/>
                <a:gd name="T61" fmla="*/ 31 h 162"/>
                <a:gd name="T62" fmla="*/ 212 w 232"/>
                <a:gd name="T63" fmla="*/ 28 h 162"/>
                <a:gd name="T64" fmla="*/ 153 w 232"/>
                <a:gd name="T65" fmla="*/ 129 h 162"/>
                <a:gd name="T66" fmla="*/ 100 w 232"/>
                <a:gd name="T67" fmla="*/ 145 h 162"/>
                <a:gd name="T68" fmla="*/ 86 w 232"/>
                <a:gd name="T69" fmla="*/ 144 h 162"/>
                <a:gd name="T70" fmla="*/ 79 w 232"/>
                <a:gd name="T71" fmla="*/ 137 h 162"/>
                <a:gd name="T72" fmla="*/ 52 w 232"/>
                <a:gd name="T73" fmla="*/ 96 h 162"/>
                <a:gd name="T74" fmla="*/ 36 w 232"/>
                <a:gd name="T75" fmla="*/ 96 h 162"/>
                <a:gd name="T76" fmla="*/ 36 w 232"/>
                <a:gd name="T77" fmla="*/ 32 h 162"/>
                <a:gd name="T78" fmla="*/ 85 w 232"/>
                <a:gd name="T79" fmla="*/ 32 h 162"/>
                <a:gd name="T80" fmla="*/ 53 w 232"/>
                <a:gd name="T81" fmla="*/ 64 h 162"/>
                <a:gd name="T82" fmla="*/ 63 w 232"/>
                <a:gd name="T83" fmla="*/ 74 h 162"/>
                <a:gd name="T84" fmla="*/ 88 w 232"/>
                <a:gd name="T85" fmla="*/ 85 h 162"/>
                <a:gd name="T86" fmla="*/ 88 w 232"/>
                <a:gd name="T87" fmla="*/ 85 h 162"/>
                <a:gd name="T88" fmla="*/ 114 w 232"/>
                <a:gd name="T89" fmla="*/ 74 h 162"/>
                <a:gd name="T90" fmla="*/ 123 w 232"/>
                <a:gd name="T91" fmla="*/ 64 h 162"/>
                <a:gd name="T92" fmla="*/ 136 w 232"/>
                <a:gd name="T93" fmla="*/ 64 h 162"/>
                <a:gd name="T94" fmla="*/ 170 w 232"/>
                <a:gd name="T95" fmla="*/ 116 h 162"/>
                <a:gd name="T96" fmla="*/ 153 w 232"/>
                <a:gd name="T97" fmla="*/ 129 h 162"/>
                <a:gd name="T98" fmla="*/ 184 w 232"/>
                <a:gd name="T99" fmla="*/ 108 h 162"/>
                <a:gd name="T100" fmla="*/ 144 w 232"/>
                <a:gd name="T101" fmla="*/ 48 h 162"/>
                <a:gd name="T102" fmla="*/ 117 w 232"/>
                <a:gd name="T103" fmla="*/ 48 h 162"/>
                <a:gd name="T104" fmla="*/ 102 w 232"/>
                <a:gd name="T105" fmla="*/ 63 h 162"/>
                <a:gd name="T106" fmla="*/ 88 w 232"/>
                <a:gd name="T107" fmla="*/ 69 h 162"/>
                <a:gd name="T108" fmla="*/ 88 w 232"/>
                <a:gd name="T109" fmla="*/ 69 h 162"/>
                <a:gd name="T110" fmla="*/ 75 w 232"/>
                <a:gd name="T111" fmla="*/ 64 h 162"/>
                <a:gd name="T112" fmla="*/ 112 w 232"/>
                <a:gd name="T113" fmla="*/ 27 h 162"/>
                <a:gd name="T114" fmla="*/ 120 w 232"/>
                <a:gd name="T115" fmla="*/ 24 h 162"/>
                <a:gd name="T116" fmla="*/ 154 w 232"/>
                <a:gd name="T117" fmla="*/ 24 h 162"/>
                <a:gd name="T118" fmla="*/ 196 w 232"/>
                <a:gd name="T119" fmla="*/ 42 h 162"/>
                <a:gd name="T120" fmla="*/ 196 w 232"/>
                <a:gd name="T121" fmla="*/ 108 h 162"/>
                <a:gd name="T122" fmla="*/ 184 w 232"/>
                <a:gd name="T123"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 h="162">
                  <a:moveTo>
                    <a:pt x="212" y="28"/>
                  </a:moveTo>
                  <a:cubicBezTo>
                    <a:pt x="232" y="28"/>
                    <a:pt x="232" y="28"/>
                    <a:pt x="232" y="28"/>
                  </a:cubicBezTo>
                  <a:cubicBezTo>
                    <a:pt x="232" y="12"/>
                    <a:pt x="232" y="12"/>
                    <a:pt x="232" y="12"/>
                  </a:cubicBezTo>
                  <a:cubicBezTo>
                    <a:pt x="196" y="12"/>
                    <a:pt x="196" y="12"/>
                    <a:pt x="196" y="12"/>
                  </a:cubicBezTo>
                  <a:cubicBezTo>
                    <a:pt x="196" y="24"/>
                    <a:pt x="196" y="24"/>
                    <a:pt x="196" y="24"/>
                  </a:cubicBezTo>
                  <a:cubicBezTo>
                    <a:pt x="158" y="8"/>
                    <a:pt x="158" y="8"/>
                    <a:pt x="158" y="8"/>
                  </a:cubicBezTo>
                  <a:cubicBezTo>
                    <a:pt x="120" y="8"/>
                    <a:pt x="120" y="8"/>
                    <a:pt x="120" y="8"/>
                  </a:cubicBezTo>
                  <a:cubicBezTo>
                    <a:pt x="113" y="8"/>
                    <a:pt x="106" y="11"/>
                    <a:pt x="101" y="16"/>
                  </a:cubicBezTo>
                  <a:cubicBezTo>
                    <a:pt x="36" y="16"/>
                    <a:pt x="36" y="16"/>
                    <a:pt x="36" y="16"/>
                  </a:cubicBezTo>
                  <a:cubicBezTo>
                    <a:pt x="36" y="0"/>
                    <a:pt x="36" y="0"/>
                    <a:pt x="36" y="0"/>
                  </a:cubicBezTo>
                  <a:cubicBezTo>
                    <a:pt x="0" y="0"/>
                    <a:pt x="0" y="0"/>
                    <a:pt x="0" y="0"/>
                  </a:cubicBezTo>
                  <a:cubicBezTo>
                    <a:pt x="0" y="16"/>
                    <a:pt x="0" y="16"/>
                    <a:pt x="0" y="16"/>
                  </a:cubicBezTo>
                  <a:cubicBezTo>
                    <a:pt x="20" y="16"/>
                    <a:pt x="20" y="16"/>
                    <a:pt x="20" y="16"/>
                  </a:cubicBezTo>
                  <a:cubicBezTo>
                    <a:pt x="20" y="108"/>
                    <a:pt x="20" y="108"/>
                    <a:pt x="20" y="108"/>
                  </a:cubicBezTo>
                  <a:cubicBezTo>
                    <a:pt x="0" y="108"/>
                    <a:pt x="0" y="108"/>
                    <a:pt x="0" y="108"/>
                  </a:cubicBezTo>
                  <a:cubicBezTo>
                    <a:pt x="0" y="124"/>
                    <a:pt x="0" y="124"/>
                    <a:pt x="0" y="124"/>
                  </a:cubicBezTo>
                  <a:cubicBezTo>
                    <a:pt x="36" y="124"/>
                    <a:pt x="36" y="124"/>
                    <a:pt x="36" y="124"/>
                  </a:cubicBezTo>
                  <a:cubicBezTo>
                    <a:pt x="36" y="112"/>
                    <a:pt x="36" y="112"/>
                    <a:pt x="36" y="112"/>
                  </a:cubicBezTo>
                  <a:cubicBezTo>
                    <a:pt x="44" y="112"/>
                    <a:pt x="44" y="112"/>
                    <a:pt x="44" y="112"/>
                  </a:cubicBezTo>
                  <a:cubicBezTo>
                    <a:pt x="65" y="146"/>
                    <a:pt x="65" y="146"/>
                    <a:pt x="65" y="146"/>
                  </a:cubicBezTo>
                  <a:cubicBezTo>
                    <a:pt x="69" y="151"/>
                    <a:pt x="73" y="156"/>
                    <a:pt x="79" y="158"/>
                  </a:cubicBezTo>
                  <a:cubicBezTo>
                    <a:pt x="84" y="161"/>
                    <a:pt x="89" y="162"/>
                    <a:pt x="94" y="162"/>
                  </a:cubicBezTo>
                  <a:cubicBezTo>
                    <a:pt x="98" y="162"/>
                    <a:pt x="101" y="162"/>
                    <a:pt x="104" y="161"/>
                  </a:cubicBezTo>
                  <a:cubicBezTo>
                    <a:pt x="157" y="145"/>
                    <a:pt x="157" y="145"/>
                    <a:pt x="157" y="145"/>
                  </a:cubicBezTo>
                  <a:cubicBezTo>
                    <a:pt x="168" y="141"/>
                    <a:pt x="178" y="134"/>
                    <a:pt x="185" y="124"/>
                  </a:cubicBezTo>
                  <a:cubicBezTo>
                    <a:pt x="196" y="124"/>
                    <a:pt x="196" y="124"/>
                    <a:pt x="196" y="124"/>
                  </a:cubicBezTo>
                  <a:cubicBezTo>
                    <a:pt x="196" y="136"/>
                    <a:pt x="196" y="136"/>
                    <a:pt x="196" y="136"/>
                  </a:cubicBezTo>
                  <a:cubicBezTo>
                    <a:pt x="232" y="136"/>
                    <a:pt x="232" y="136"/>
                    <a:pt x="232" y="136"/>
                  </a:cubicBezTo>
                  <a:cubicBezTo>
                    <a:pt x="232" y="120"/>
                    <a:pt x="232" y="120"/>
                    <a:pt x="232" y="120"/>
                  </a:cubicBezTo>
                  <a:cubicBezTo>
                    <a:pt x="212" y="120"/>
                    <a:pt x="212" y="120"/>
                    <a:pt x="212" y="120"/>
                  </a:cubicBezTo>
                  <a:cubicBezTo>
                    <a:pt x="212" y="31"/>
                    <a:pt x="212" y="31"/>
                    <a:pt x="212" y="31"/>
                  </a:cubicBezTo>
                  <a:lnTo>
                    <a:pt x="212" y="28"/>
                  </a:lnTo>
                  <a:close/>
                  <a:moveTo>
                    <a:pt x="153" y="129"/>
                  </a:moveTo>
                  <a:cubicBezTo>
                    <a:pt x="100" y="145"/>
                    <a:pt x="100" y="145"/>
                    <a:pt x="100" y="145"/>
                  </a:cubicBezTo>
                  <a:cubicBezTo>
                    <a:pt x="95" y="147"/>
                    <a:pt x="90" y="146"/>
                    <a:pt x="86" y="144"/>
                  </a:cubicBezTo>
                  <a:cubicBezTo>
                    <a:pt x="83" y="143"/>
                    <a:pt x="81" y="140"/>
                    <a:pt x="79" y="137"/>
                  </a:cubicBezTo>
                  <a:cubicBezTo>
                    <a:pt x="52" y="96"/>
                    <a:pt x="52" y="96"/>
                    <a:pt x="52" y="96"/>
                  </a:cubicBezTo>
                  <a:cubicBezTo>
                    <a:pt x="36" y="96"/>
                    <a:pt x="36" y="96"/>
                    <a:pt x="36" y="96"/>
                  </a:cubicBezTo>
                  <a:cubicBezTo>
                    <a:pt x="36" y="32"/>
                    <a:pt x="36" y="32"/>
                    <a:pt x="36" y="32"/>
                  </a:cubicBezTo>
                  <a:cubicBezTo>
                    <a:pt x="85" y="32"/>
                    <a:pt x="85" y="32"/>
                    <a:pt x="85" y="32"/>
                  </a:cubicBezTo>
                  <a:cubicBezTo>
                    <a:pt x="53" y="64"/>
                    <a:pt x="53" y="64"/>
                    <a:pt x="53" y="64"/>
                  </a:cubicBezTo>
                  <a:cubicBezTo>
                    <a:pt x="63" y="74"/>
                    <a:pt x="63" y="74"/>
                    <a:pt x="63" y="74"/>
                  </a:cubicBezTo>
                  <a:cubicBezTo>
                    <a:pt x="69" y="81"/>
                    <a:pt x="78" y="85"/>
                    <a:pt x="88" y="85"/>
                  </a:cubicBezTo>
                  <a:cubicBezTo>
                    <a:pt x="88" y="85"/>
                    <a:pt x="88" y="85"/>
                    <a:pt x="88" y="85"/>
                  </a:cubicBezTo>
                  <a:cubicBezTo>
                    <a:pt x="98" y="85"/>
                    <a:pt x="107" y="81"/>
                    <a:pt x="114" y="74"/>
                  </a:cubicBezTo>
                  <a:cubicBezTo>
                    <a:pt x="123" y="64"/>
                    <a:pt x="123" y="64"/>
                    <a:pt x="123" y="64"/>
                  </a:cubicBezTo>
                  <a:cubicBezTo>
                    <a:pt x="136" y="64"/>
                    <a:pt x="136" y="64"/>
                    <a:pt x="136" y="64"/>
                  </a:cubicBezTo>
                  <a:cubicBezTo>
                    <a:pt x="170" y="116"/>
                    <a:pt x="170" y="116"/>
                    <a:pt x="170" y="116"/>
                  </a:cubicBezTo>
                  <a:cubicBezTo>
                    <a:pt x="166" y="123"/>
                    <a:pt x="160" y="127"/>
                    <a:pt x="153" y="129"/>
                  </a:cubicBezTo>
                  <a:moveTo>
                    <a:pt x="184" y="108"/>
                  </a:moveTo>
                  <a:cubicBezTo>
                    <a:pt x="144" y="48"/>
                    <a:pt x="144" y="48"/>
                    <a:pt x="144" y="48"/>
                  </a:cubicBezTo>
                  <a:cubicBezTo>
                    <a:pt x="117" y="48"/>
                    <a:pt x="117" y="48"/>
                    <a:pt x="117" y="48"/>
                  </a:cubicBezTo>
                  <a:cubicBezTo>
                    <a:pt x="102" y="63"/>
                    <a:pt x="102" y="63"/>
                    <a:pt x="102" y="63"/>
                  </a:cubicBezTo>
                  <a:cubicBezTo>
                    <a:pt x="98" y="67"/>
                    <a:pt x="93" y="69"/>
                    <a:pt x="88" y="69"/>
                  </a:cubicBezTo>
                  <a:cubicBezTo>
                    <a:pt x="88" y="69"/>
                    <a:pt x="88" y="69"/>
                    <a:pt x="88" y="69"/>
                  </a:cubicBezTo>
                  <a:cubicBezTo>
                    <a:pt x="83" y="69"/>
                    <a:pt x="79" y="67"/>
                    <a:pt x="75" y="64"/>
                  </a:cubicBezTo>
                  <a:cubicBezTo>
                    <a:pt x="112" y="27"/>
                    <a:pt x="112" y="27"/>
                    <a:pt x="112" y="27"/>
                  </a:cubicBezTo>
                  <a:cubicBezTo>
                    <a:pt x="114" y="25"/>
                    <a:pt x="117" y="24"/>
                    <a:pt x="120" y="24"/>
                  </a:cubicBezTo>
                  <a:cubicBezTo>
                    <a:pt x="154" y="24"/>
                    <a:pt x="154" y="24"/>
                    <a:pt x="154" y="24"/>
                  </a:cubicBezTo>
                  <a:cubicBezTo>
                    <a:pt x="196" y="42"/>
                    <a:pt x="196" y="42"/>
                    <a:pt x="196" y="42"/>
                  </a:cubicBezTo>
                  <a:cubicBezTo>
                    <a:pt x="196" y="108"/>
                    <a:pt x="196" y="108"/>
                    <a:pt x="196" y="108"/>
                  </a:cubicBezTo>
                  <a:lnTo>
                    <a:pt x="184" y="108"/>
                  </a:lnTo>
                  <a:close/>
                </a:path>
              </a:pathLst>
            </a:custGeom>
            <a:solidFill>
              <a:srgbClr val="113037"/>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23" name="Freeform 522"/>
            <p:cNvSpPr>
              <a:spLocks noEditPoints="1"/>
            </p:cNvSpPr>
            <p:nvPr/>
          </p:nvSpPr>
          <p:spPr bwMode="black">
            <a:xfrm>
              <a:off x="2980121" y="3215258"/>
              <a:ext cx="425450" cy="506413"/>
            </a:xfrm>
            <a:custGeom>
              <a:avLst/>
              <a:gdLst>
                <a:gd name="T0" fmla="*/ 18 w 170"/>
                <a:gd name="T1" fmla="*/ 53 h 203"/>
                <a:gd name="T2" fmla="*/ 33 w 170"/>
                <a:gd name="T3" fmla="*/ 39 h 203"/>
                <a:gd name="T4" fmla="*/ 18 w 170"/>
                <a:gd name="T5" fmla="*/ 25 h 203"/>
                <a:gd name="T6" fmla="*/ 30 w 170"/>
                <a:gd name="T7" fmla="*/ 13 h 203"/>
                <a:gd name="T8" fmla="*/ 44 w 170"/>
                <a:gd name="T9" fmla="*/ 28 h 203"/>
                <a:gd name="T10" fmla="*/ 58 w 170"/>
                <a:gd name="T11" fmla="*/ 13 h 203"/>
                <a:gd name="T12" fmla="*/ 70 w 170"/>
                <a:gd name="T13" fmla="*/ 25 h 203"/>
                <a:gd name="T14" fmla="*/ 55 w 170"/>
                <a:gd name="T15" fmla="*/ 39 h 203"/>
                <a:gd name="T16" fmla="*/ 70 w 170"/>
                <a:gd name="T17" fmla="*/ 53 h 203"/>
                <a:gd name="T18" fmla="*/ 58 w 170"/>
                <a:gd name="T19" fmla="*/ 65 h 203"/>
                <a:gd name="T20" fmla="*/ 44 w 170"/>
                <a:gd name="T21" fmla="*/ 50 h 203"/>
                <a:gd name="T22" fmla="*/ 30 w 170"/>
                <a:gd name="T23" fmla="*/ 65 h 203"/>
                <a:gd name="T24" fmla="*/ 18 w 170"/>
                <a:gd name="T25" fmla="*/ 53 h 203"/>
                <a:gd name="T26" fmla="*/ 170 w 170"/>
                <a:gd name="T27" fmla="*/ 33 h 203"/>
                <a:gd name="T28" fmla="*/ 158 w 170"/>
                <a:gd name="T29" fmla="*/ 45 h 203"/>
                <a:gd name="T30" fmla="*/ 144 w 170"/>
                <a:gd name="T31" fmla="*/ 30 h 203"/>
                <a:gd name="T32" fmla="*/ 144 w 170"/>
                <a:gd name="T33" fmla="*/ 109 h 203"/>
                <a:gd name="T34" fmla="*/ 36 w 170"/>
                <a:gd name="T35" fmla="*/ 109 h 203"/>
                <a:gd name="T36" fmla="*/ 36 w 170"/>
                <a:gd name="T37" fmla="*/ 148 h 203"/>
                <a:gd name="T38" fmla="*/ 56 w 170"/>
                <a:gd name="T39" fmla="*/ 175 h 203"/>
                <a:gd name="T40" fmla="*/ 28 w 170"/>
                <a:gd name="T41" fmla="*/ 203 h 203"/>
                <a:gd name="T42" fmla="*/ 0 w 170"/>
                <a:gd name="T43" fmla="*/ 175 h 203"/>
                <a:gd name="T44" fmla="*/ 20 w 170"/>
                <a:gd name="T45" fmla="*/ 148 h 203"/>
                <a:gd name="T46" fmla="*/ 19 w 170"/>
                <a:gd name="T47" fmla="*/ 93 h 203"/>
                <a:gd name="T48" fmla="*/ 128 w 170"/>
                <a:gd name="T49" fmla="*/ 93 h 203"/>
                <a:gd name="T50" fmla="*/ 128 w 170"/>
                <a:gd name="T51" fmla="*/ 31 h 203"/>
                <a:gd name="T52" fmla="*/ 114 w 170"/>
                <a:gd name="T53" fmla="*/ 45 h 203"/>
                <a:gd name="T54" fmla="*/ 103 w 170"/>
                <a:gd name="T55" fmla="*/ 33 h 203"/>
                <a:gd name="T56" fmla="*/ 136 w 170"/>
                <a:gd name="T57" fmla="*/ 0 h 203"/>
                <a:gd name="T58" fmla="*/ 170 w 170"/>
                <a:gd name="T59" fmla="*/ 33 h 203"/>
                <a:gd name="T60" fmla="*/ 40 w 170"/>
                <a:gd name="T61" fmla="*/ 175 h 203"/>
                <a:gd name="T62" fmla="*/ 28 w 170"/>
                <a:gd name="T63" fmla="*/ 163 h 203"/>
                <a:gd name="T64" fmla="*/ 16 w 170"/>
                <a:gd name="T65" fmla="*/ 175 h 203"/>
                <a:gd name="T66" fmla="*/ 28 w 170"/>
                <a:gd name="T67" fmla="*/ 187 h 203"/>
                <a:gd name="T68" fmla="*/ 40 w 170"/>
                <a:gd name="T69" fmla="*/ 175 h 203"/>
                <a:gd name="T70" fmla="*/ 135 w 170"/>
                <a:gd name="T71" fmla="*/ 141 h 203"/>
                <a:gd name="T72" fmla="*/ 120 w 170"/>
                <a:gd name="T73" fmla="*/ 156 h 203"/>
                <a:gd name="T74" fmla="*/ 106 w 170"/>
                <a:gd name="T75" fmla="*/ 141 h 203"/>
                <a:gd name="T76" fmla="*/ 95 w 170"/>
                <a:gd name="T77" fmla="*/ 153 h 203"/>
                <a:gd name="T78" fmla="*/ 109 w 170"/>
                <a:gd name="T79" fmla="*/ 167 h 203"/>
                <a:gd name="T80" fmla="*/ 95 w 170"/>
                <a:gd name="T81" fmla="*/ 181 h 203"/>
                <a:gd name="T82" fmla="*/ 106 w 170"/>
                <a:gd name="T83" fmla="*/ 193 h 203"/>
                <a:gd name="T84" fmla="*/ 120 w 170"/>
                <a:gd name="T85" fmla="*/ 178 h 203"/>
                <a:gd name="T86" fmla="*/ 135 w 170"/>
                <a:gd name="T87" fmla="*/ 193 h 203"/>
                <a:gd name="T88" fmla="*/ 146 w 170"/>
                <a:gd name="T89" fmla="*/ 181 h 203"/>
                <a:gd name="T90" fmla="*/ 132 w 170"/>
                <a:gd name="T91" fmla="*/ 167 h 203"/>
                <a:gd name="T92" fmla="*/ 146 w 170"/>
                <a:gd name="T93" fmla="*/ 153 h 203"/>
                <a:gd name="T94" fmla="*/ 135 w 170"/>
                <a:gd name="T95" fmla="*/ 14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203">
                  <a:moveTo>
                    <a:pt x="18" y="53"/>
                  </a:moveTo>
                  <a:cubicBezTo>
                    <a:pt x="33" y="39"/>
                    <a:pt x="33" y="39"/>
                    <a:pt x="33" y="39"/>
                  </a:cubicBezTo>
                  <a:cubicBezTo>
                    <a:pt x="18" y="25"/>
                    <a:pt x="18" y="25"/>
                    <a:pt x="18" y="25"/>
                  </a:cubicBezTo>
                  <a:cubicBezTo>
                    <a:pt x="30" y="13"/>
                    <a:pt x="30" y="13"/>
                    <a:pt x="30" y="13"/>
                  </a:cubicBezTo>
                  <a:cubicBezTo>
                    <a:pt x="44" y="28"/>
                    <a:pt x="44" y="28"/>
                    <a:pt x="44" y="28"/>
                  </a:cubicBezTo>
                  <a:cubicBezTo>
                    <a:pt x="58" y="13"/>
                    <a:pt x="58" y="13"/>
                    <a:pt x="58" y="13"/>
                  </a:cubicBezTo>
                  <a:cubicBezTo>
                    <a:pt x="70" y="25"/>
                    <a:pt x="70" y="25"/>
                    <a:pt x="70" y="25"/>
                  </a:cubicBezTo>
                  <a:cubicBezTo>
                    <a:pt x="55" y="39"/>
                    <a:pt x="55" y="39"/>
                    <a:pt x="55" y="39"/>
                  </a:cubicBezTo>
                  <a:cubicBezTo>
                    <a:pt x="70" y="53"/>
                    <a:pt x="70" y="53"/>
                    <a:pt x="70" y="53"/>
                  </a:cubicBezTo>
                  <a:cubicBezTo>
                    <a:pt x="58" y="65"/>
                    <a:pt x="58" y="65"/>
                    <a:pt x="58" y="65"/>
                  </a:cubicBezTo>
                  <a:cubicBezTo>
                    <a:pt x="44" y="50"/>
                    <a:pt x="44" y="50"/>
                    <a:pt x="44" y="50"/>
                  </a:cubicBezTo>
                  <a:cubicBezTo>
                    <a:pt x="30" y="65"/>
                    <a:pt x="30" y="65"/>
                    <a:pt x="30" y="65"/>
                  </a:cubicBezTo>
                  <a:lnTo>
                    <a:pt x="18" y="53"/>
                  </a:lnTo>
                  <a:close/>
                  <a:moveTo>
                    <a:pt x="170" y="33"/>
                  </a:moveTo>
                  <a:cubicBezTo>
                    <a:pt x="158" y="45"/>
                    <a:pt x="158" y="45"/>
                    <a:pt x="158" y="45"/>
                  </a:cubicBezTo>
                  <a:cubicBezTo>
                    <a:pt x="144" y="30"/>
                    <a:pt x="144" y="30"/>
                    <a:pt x="144" y="30"/>
                  </a:cubicBezTo>
                  <a:cubicBezTo>
                    <a:pt x="144" y="109"/>
                    <a:pt x="144" y="109"/>
                    <a:pt x="144" y="109"/>
                  </a:cubicBezTo>
                  <a:cubicBezTo>
                    <a:pt x="36" y="109"/>
                    <a:pt x="36" y="109"/>
                    <a:pt x="36" y="109"/>
                  </a:cubicBezTo>
                  <a:cubicBezTo>
                    <a:pt x="36" y="148"/>
                    <a:pt x="36" y="148"/>
                    <a:pt x="36" y="148"/>
                  </a:cubicBezTo>
                  <a:cubicBezTo>
                    <a:pt x="48" y="152"/>
                    <a:pt x="56" y="162"/>
                    <a:pt x="56" y="175"/>
                  </a:cubicBezTo>
                  <a:cubicBezTo>
                    <a:pt x="56" y="190"/>
                    <a:pt x="43" y="203"/>
                    <a:pt x="28" y="203"/>
                  </a:cubicBezTo>
                  <a:cubicBezTo>
                    <a:pt x="13" y="203"/>
                    <a:pt x="0" y="190"/>
                    <a:pt x="0" y="175"/>
                  </a:cubicBezTo>
                  <a:cubicBezTo>
                    <a:pt x="0" y="162"/>
                    <a:pt x="8" y="152"/>
                    <a:pt x="20" y="148"/>
                  </a:cubicBezTo>
                  <a:cubicBezTo>
                    <a:pt x="19" y="93"/>
                    <a:pt x="19" y="93"/>
                    <a:pt x="19" y="93"/>
                  </a:cubicBezTo>
                  <a:cubicBezTo>
                    <a:pt x="128" y="93"/>
                    <a:pt x="128" y="93"/>
                    <a:pt x="128" y="93"/>
                  </a:cubicBezTo>
                  <a:cubicBezTo>
                    <a:pt x="128" y="31"/>
                    <a:pt x="128" y="31"/>
                    <a:pt x="128" y="31"/>
                  </a:cubicBezTo>
                  <a:cubicBezTo>
                    <a:pt x="114" y="45"/>
                    <a:pt x="114" y="45"/>
                    <a:pt x="114" y="45"/>
                  </a:cubicBezTo>
                  <a:cubicBezTo>
                    <a:pt x="103" y="33"/>
                    <a:pt x="103" y="33"/>
                    <a:pt x="103" y="33"/>
                  </a:cubicBezTo>
                  <a:cubicBezTo>
                    <a:pt x="136" y="0"/>
                    <a:pt x="136" y="0"/>
                    <a:pt x="136" y="0"/>
                  </a:cubicBezTo>
                  <a:lnTo>
                    <a:pt x="170" y="33"/>
                  </a:lnTo>
                  <a:close/>
                  <a:moveTo>
                    <a:pt x="40" y="175"/>
                  </a:moveTo>
                  <a:cubicBezTo>
                    <a:pt x="40" y="168"/>
                    <a:pt x="35" y="163"/>
                    <a:pt x="28" y="163"/>
                  </a:cubicBezTo>
                  <a:cubicBezTo>
                    <a:pt x="21" y="163"/>
                    <a:pt x="16" y="168"/>
                    <a:pt x="16" y="175"/>
                  </a:cubicBezTo>
                  <a:cubicBezTo>
                    <a:pt x="16" y="182"/>
                    <a:pt x="21" y="187"/>
                    <a:pt x="28" y="187"/>
                  </a:cubicBezTo>
                  <a:cubicBezTo>
                    <a:pt x="35" y="187"/>
                    <a:pt x="40" y="182"/>
                    <a:pt x="40" y="175"/>
                  </a:cubicBezTo>
                  <a:moveTo>
                    <a:pt x="135" y="141"/>
                  </a:moveTo>
                  <a:cubicBezTo>
                    <a:pt x="120" y="156"/>
                    <a:pt x="120" y="156"/>
                    <a:pt x="120" y="156"/>
                  </a:cubicBezTo>
                  <a:cubicBezTo>
                    <a:pt x="106" y="141"/>
                    <a:pt x="106" y="141"/>
                    <a:pt x="106" y="141"/>
                  </a:cubicBezTo>
                  <a:cubicBezTo>
                    <a:pt x="95" y="153"/>
                    <a:pt x="95" y="153"/>
                    <a:pt x="95" y="153"/>
                  </a:cubicBezTo>
                  <a:cubicBezTo>
                    <a:pt x="109" y="167"/>
                    <a:pt x="109" y="167"/>
                    <a:pt x="109" y="167"/>
                  </a:cubicBezTo>
                  <a:cubicBezTo>
                    <a:pt x="95" y="181"/>
                    <a:pt x="95" y="181"/>
                    <a:pt x="95" y="181"/>
                  </a:cubicBezTo>
                  <a:cubicBezTo>
                    <a:pt x="106" y="193"/>
                    <a:pt x="106" y="193"/>
                    <a:pt x="106" y="193"/>
                  </a:cubicBezTo>
                  <a:cubicBezTo>
                    <a:pt x="120" y="178"/>
                    <a:pt x="120" y="178"/>
                    <a:pt x="120" y="178"/>
                  </a:cubicBezTo>
                  <a:cubicBezTo>
                    <a:pt x="135" y="193"/>
                    <a:pt x="135" y="193"/>
                    <a:pt x="135" y="193"/>
                  </a:cubicBezTo>
                  <a:cubicBezTo>
                    <a:pt x="146" y="181"/>
                    <a:pt x="146" y="181"/>
                    <a:pt x="146" y="181"/>
                  </a:cubicBezTo>
                  <a:cubicBezTo>
                    <a:pt x="132" y="167"/>
                    <a:pt x="132" y="167"/>
                    <a:pt x="132" y="167"/>
                  </a:cubicBezTo>
                  <a:cubicBezTo>
                    <a:pt x="146" y="153"/>
                    <a:pt x="146" y="153"/>
                    <a:pt x="146" y="153"/>
                  </a:cubicBezTo>
                  <a:lnTo>
                    <a:pt x="135" y="141"/>
                  </a:lnTo>
                  <a:close/>
                </a:path>
              </a:pathLst>
            </a:custGeom>
            <a:solidFill>
              <a:srgbClr val="969696"/>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24" name="Freeform 441"/>
            <p:cNvSpPr>
              <a:spLocks noEditPoints="1"/>
            </p:cNvSpPr>
            <p:nvPr/>
          </p:nvSpPr>
          <p:spPr bwMode="black">
            <a:xfrm>
              <a:off x="7001400" y="3340372"/>
              <a:ext cx="582762" cy="447732"/>
            </a:xfrm>
            <a:custGeom>
              <a:avLst/>
              <a:gdLst>
                <a:gd name="T0" fmla="*/ 76 w 328"/>
                <a:gd name="T1" fmla="*/ 75 h 252"/>
                <a:gd name="T2" fmla="*/ 25 w 328"/>
                <a:gd name="T3" fmla="*/ 75 h 252"/>
                <a:gd name="T4" fmla="*/ 25 w 328"/>
                <a:gd name="T5" fmla="*/ 25 h 252"/>
                <a:gd name="T6" fmla="*/ 76 w 328"/>
                <a:gd name="T7" fmla="*/ 25 h 252"/>
                <a:gd name="T8" fmla="*/ 76 w 328"/>
                <a:gd name="T9" fmla="*/ 75 h 252"/>
                <a:gd name="T10" fmla="*/ 101 w 328"/>
                <a:gd name="T11" fmla="*/ 0 h 252"/>
                <a:gd name="T12" fmla="*/ 0 w 328"/>
                <a:gd name="T13" fmla="*/ 0 h 252"/>
                <a:gd name="T14" fmla="*/ 0 w 328"/>
                <a:gd name="T15" fmla="*/ 100 h 252"/>
                <a:gd name="T16" fmla="*/ 101 w 328"/>
                <a:gd name="T17" fmla="*/ 100 h 252"/>
                <a:gd name="T18" fmla="*/ 101 w 328"/>
                <a:gd name="T19" fmla="*/ 0 h 252"/>
                <a:gd name="T20" fmla="*/ 76 w 328"/>
                <a:gd name="T21" fmla="*/ 226 h 252"/>
                <a:gd name="T22" fmla="*/ 25 w 328"/>
                <a:gd name="T23" fmla="*/ 226 h 252"/>
                <a:gd name="T24" fmla="*/ 25 w 328"/>
                <a:gd name="T25" fmla="*/ 176 h 252"/>
                <a:gd name="T26" fmla="*/ 76 w 328"/>
                <a:gd name="T27" fmla="*/ 176 h 252"/>
                <a:gd name="T28" fmla="*/ 76 w 328"/>
                <a:gd name="T29" fmla="*/ 226 h 252"/>
                <a:gd name="T30" fmla="*/ 101 w 328"/>
                <a:gd name="T31" fmla="*/ 151 h 252"/>
                <a:gd name="T32" fmla="*/ 0 w 328"/>
                <a:gd name="T33" fmla="*/ 151 h 252"/>
                <a:gd name="T34" fmla="*/ 0 w 328"/>
                <a:gd name="T35" fmla="*/ 252 h 252"/>
                <a:gd name="T36" fmla="*/ 101 w 328"/>
                <a:gd name="T37" fmla="*/ 252 h 252"/>
                <a:gd name="T38" fmla="*/ 101 w 328"/>
                <a:gd name="T39" fmla="*/ 151 h 252"/>
                <a:gd name="T40" fmla="*/ 328 w 328"/>
                <a:gd name="T41" fmla="*/ 12 h 252"/>
                <a:gd name="T42" fmla="*/ 126 w 328"/>
                <a:gd name="T43" fmla="*/ 12 h 252"/>
                <a:gd name="T44" fmla="*/ 126 w 328"/>
                <a:gd name="T45" fmla="*/ 37 h 252"/>
                <a:gd name="T46" fmla="*/ 328 w 328"/>
                <a:gd name="T47" fmla="*/ 37 h 252"/>
                <a:gd name="T48" fmla="*/ 328 w 328"/>
                <a:gd name="T49" fmla="*/ 12 h 252"/>
                <a:gd name="T50" fmla="*/ 277 w 328"/>
                <a:gd name="T51" fmla="*/ 63 h 252"/>
                <a:gd name="T52" fmla="*/ 126 w 328"/>
                <a:gd name="T53" fmla="*/ 63 h 252"/>
                <a:gd name="T54" fmla="*/ 126 w 328"/>
                <a:gd name="T55" fmla="*/ 88 h 252"/>
                <a:gd name="T56" fmla="*/ 277 w 328"/>
                <a:gd name="T57" fmla="*/ 88 h 252"/>
                <a:gd name="T58" fmla="*/ 277 w 328"/>
                <a:gd name="T59" fmla="*/ 63 h 252"/>
                <a:gd name="T60" fmla="*/ 328 w 328"/>
                <a:gd name="T61" fmla="*/ 163 h 252"/>
                <a:gd name="T62" fmla="*/ 126 w 328"/>
                <a:gd name="T63" fmla="*/ 163 h 252"/>
                <a:gd name="T64" fmla="*/ 126 w 328"/>
                <a:gd name="T65" fmla="*/ 189 h 252"/>
                <a:gd name="T66" fmla="*/ 328 w 328"/>
                <a:gd name="T67" fmla="*/ 189 h 252"/>
                <a:gd name="T68" fmla="*/ 328 w 328"/>
                <a:gd name="T69" fmla="*/ 163 h 252"/>
                <a:gd name="T70" fmla="*/ 277 w 328"/>
                <a:gd name="T71" fmla="*/ 214 h 252"/>
                <a:gd name="T72" fmla="*/ 126 w 328"/>
                <a:gd name="T73" fmla="*/ 214 h 252"/>
                <a:gd name="T74" fmla="*/ 126 w 328"/>
                <a:gd name="T75" fmla="*/ 239 h 252"/>
                <a:gd name="T76" fmla="*/ 277 w 328"/>
                <a:gd name="T77" fmla="*/ 239 h 252"/>
                <a:gd name="T78" fmla="*/ 277 w 328"/>
                <a:gd name="T7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8" h="252">
                  <a:moveTo>
                    <a:pt x="76" y="75"/>
                  </a:moveTo>
                  <a:lnTo>
                    <a:pt x="25" y="75"/>
                  </a:lnTo>
                  <a:lnTo>
                    <a:pt x="25" y="25"/>
                  </a:lnTo>
                  <a:lnTo>
                    <a:pt x="76" y="25"/>
                  </a:lnTo>
                  <a:lnTo>
                    <a:pt x="76" y="75"/>
                  </a:lnTo>
                  <a:close/>
                  <a:moveTo>
                    <a:pt x="101" y="0"/>
                  </a:moveTo>
                  <a:lnTo>
                    <a:pt x="0" y="0"/>
                  </a:lnTo>
                  <a:lnTo>
                    <a:pt x="0" y="100"/>
                  </a:lnTo>
                  <a:lnTo>
                    <a:pt x="101" y="100"/>
                  </a:lnTo>
                  <a:lnTo>
                    <a:pt x="101" y="0"/>
                  </a:lnTo>
                  <a:close/>
                  <a:moveTo>
                    <a:pt x="76" y="226"/>
                  </a:moveTo>
                  <a:lnTo>
                    <a:pt x="25" y="226"/>
                  </a:lnTo>
                  <a:lnTo>
                    <a:pt x="25" y="176"/>
                  </a:lnTo>
                  <a:lnTo>
                    <a:pt x="76" y="176"/>
                  </a:lnTo>
                  <a:lnTo>
                    <a:pt x="76" y="226"/>
                  </a:lnTo>
                  <a:close/>
                  <a:moveTo>
                    <a:pt x="101" y="151"/>
                  </a:moveTo>
                  <a:lnTo>
                    <a:pt x="0" y="151"/>
                  </a:lnTo>
                  <a:lnTo>
                    <a:pt x="0" y="252"/>
                  </a:lnTo>
                  <a:lnTo>
                    <a:pt x="101" y="252"/>
                  </a:lnTo>
                  <a:lnTo>
                    <a:pt x="101" y="151"/>
                  </a:lnTo>
                  <a:close/>
                  <a:moveTo>
                    <a:pt x="328" y="12"/>
                  </a:moveTo>
                  <a:lnTo>
                    <a:pt x="126" y="12"/>
                  </a:lnTo>
                  <a:lnTo>
                    <a:pt x="126" y="37"/>
                  </a:lnTo>
                  <a:lnTo>
                    <a:pt x="328" y="37"/>
                  </a:lnTo>
                  <a:lnTo>
                    <a:pt x="328" y="12"/>
                  </a:lnTo>
                  <a:close/>
                  <a:moveTo>
                    <a:pt x="277" y="63"/>
                  </a:moveTo>
                  <a:lnTo>
                    <a:pt x="126" y="63"/>
                  </a:lnTo>
                  <a:lnTo>
                    <a:pt x="126" y="88"/>
                  </a:lnTo>
                  <a:lnTo>
                    <a:pt x="277" y="88"/>
                  </a:lnTo>
                  <a:lnTo>
                    <a:pt x="277" y="63"/>
                  </a:lnTo>
                  <a:close/>
                  <a:moveTo>
                    <a:pt x="328" y="163"/>
                  </a:moveTo>
                  <a:lnTo>
                    <a:pt x="126" y="163"/>
                  </a:lnTo>
                  <a:lnTo>
                    <a:pt x="126" y="189"/>
                  </a:lnTo>
                  <a:lnTo>
                    <a:pt x="328" y="189"/>
                  </a:lnTo>
                  <a:lnTo>
                    <a:pt x="328" y="163"/>
                  </a:lnTo>
                  <a:close/>
                  <a:moveTo>
                    <a:pt x="277" y="214"/>
                  </a:moveTo>
                  <a:lnTo>
                    <a:pt x="126" y="214"/>
                  </a:lnTo>
                  <a:lnTo>
                    <a:pt x="126" y="239"/>
                  </a:lnTo>
                  <a:lnTo>
                    <a:pt x="277" y="239"/>
                  </a:lnTo>
                  <a:lnTo>
                    <a:pt x="277" y="214"/>
                  </a:lnTo>
                  <a:close/>
                </a:path>
              </a:pathLst>
            </a:custGeom>
            <a:solidFill>
              <a:srgbClr val="516283"/>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25" name="Rectangle 24"/>
            <p:cNvSpPr/>
            <p:nvPr/>
          </p:nvSpPr>
          <p:spPr>
            <a:xfrm>
              <a:off x="232754" y="3014124"/>
              <a:ext cx="1985514" cy="1927424"/>
            </a:xfrm>
            <a:prstGeom prst="rect">
              <a:avLst/>
            </a:prstGeom>
            <a:solidFill>
              <a:srgbClr val="444242"/>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67" b="1" dirty="0">
                  <a:latin typeface="Roboto" panose="02000000000000000000" pitchFamily="2" charset="0"/>
                  <a:ea typeface="Roboto" panose="02000000000000000000" pitchFamily="2" charset="0"/>
                </a:rPr>
                <a:t>Citizen at Core</a:t>
              </a:r>
              <a:endParaRPr lang="en-GB" sz="2667" b="1" dirty="0">
                <a:latin typeface="Roboto" panose="02000000000000000000" pitchFamily="2" charset="0"/>
                <a:ea typeface="Roboto" panose="02000000000000000000" pitchFamily="2" charset="0"/>
              </a:endParaRPr>
            </a:p>
          </p:txBody>
        </p:sp>
        <p:sp>
          <p:nvSpPr>
            <p:cNvPr id="26" name="Rectangle 25"/>
            <p:cNvSpPr/>
            <p:nvPr/>
          </p:nvSpPr>
          <p:spPr>
            <a:xfrm>
              <a:off x="2235211" y="3877732"/>
              <a:ext cx="1913475" cy="1910465"/>
            </a:xfrm>
            <a:prstGeom prst="rect">
              <a:avLst/>
            </a:prstGeom>
            <a:solidFill>
              <a:srgbClr val="969696"/>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67" b="1" dirty="0">
                  <a:latin typeface="Roboto" panose="02000000000000000000" pitchFamily="2" charset="0"/>
                  <a:ea typeface="Roboto" panose="02000000000000000000" pitchFamily="2" charset="0"/>
                </a:rPr>
                <a:t>More from less</a:t>
              </a:r>
            </a:p>
          </p:txBody>
        </p:sp>
        <p:sp>
          <p:nvSpPr>
            <p:cNvPr id="27" name="Rectangle 26"/>
            <p:cNvSpPr/>
            <p:nvPr/>
          </p:nvSpPr>
          <p:spPr>
            <a:xfrm>
              <a:off x="4199486" y="3014124"/>
              <a:ext cx="1936854" cy="1927424"/>
            </a:xfrm>
            <a:prstGeom prst="rect">
              <a:avLst/>
            </a:prstGeom>
            <a:solidFill>
              <a:srgbClr val="113037"/>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67" b="1" dirty="0">
                  <a:latin typeface="Roboto" panose="02000000000000000000" pitchFamily="2" charset="0"/>
                  <a:ea typeface="Roboto" panose="02000000000000000000" pitchFamily="2" charset="0"/>
                </a:rPr>
                <a:t>Cooperative and Competitive Federalism</a:t>
              </a:r>
              <a:endParaRPr lang="en-GB" sz="2667" b="1" dirty="0">
                <a:latin typeface="Roboto" panose="02000000000000000000" pitchFamily="2" charset="0"/>
                <a:ea typeface="Roboto" panose="02000000000000000000" pitchFamily="2" charset="0"/>
              </a:endParaRPr>
            </a:p>
          </p:txBody>
        </p:sp>
        <p:sp>
          <p:nvSpPr>
            <p:cNvPr id="28" name="Rectangle 27"/>
            <p:cNvSpPr/>
            <p:nvPr/>
          </p:nvSpPr>
          <p:spPr>
            <a:xfrm>
              <a:off x="6163756" y="3877731"/>
              <a:ext cx="1996127" cy="1927399"/>
            </a:xfrm>
            <a:prstGeom prst="rect">
              <a:avLst/>
            </a:prstGeom>
            <a:solidFill>
              <a:srgbClr val="516283"/>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67" b="1" dirty="0">
                  <a:latin typeface="Roboto" panose="02000000000000000000" pitchFamily="2" charset="0"/>
                  <a:ea typeface="Roboto" panose="02000000000000000000" pitchFamily="2" charset="0"/>
                </a:rPr>
                <a:t>Integration, Innovation, Sustainability</a:t>
              </a:r>
            </a:p>
          </p:txBody>
        </p:sp>
        <p:sp>
          <p:nvSpPr>
            <p:cNvPr id="29" name="Rectangle 28"/>
            <p:cNvSpPr/>
            <p:nvPr/>
          </p:nvSpPr>
          <p:spPr>
            <a:xfrm>
              <a:off x="10193862" y="3874856"/>
              <a:ext cx="1930376" cy="1797810"/>
            </a:xfrm>
            <a:prstGeom prst="rect">
              <a:avLst/>
            </a:prstGeom>
            <a:solidFill>
              <a:schemeClr val="tx1">
                <a:lumMod val="85000"/>
                <a:lumOff val="15000"/>
              </a:schemeClr>
            </a:solidFill>
            <a:ln>
              <a:solidFill>
                <a:schemeClr val="bg1"/>
              </a:solid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67" b="1" dirty="0">
                  <a:latin typeface="Roboto" panose="02000000000000000000" pitchFamily="2" charset="0"/>
                  <a:ea typeface="Roboto" panose="02000000000000000000" pitchFamily="2" charset="0"/>
                </a:rPr>
                <a:t>Inclusiveness</a:t>
              </a:r>
            </a:p>
          </p:txBody>
        </p:sp>
        <p:sp>
          <p:nvSpPr>
            <p:cNvPr id="30" name="Oval 29"/>
            <p:cNvSpPr/>
            <p:nvPr/>
          </p:nvSpPr>
          <p:spPr>
            <a:xfrm>
              <a:off x="1739152" y="29314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31" name="Oval 30"/>
            <p:cNvSpPr/>
            <p:nvPr/>
          </p:nvSpPr>
          <p:spPr>
            <a:xfrm>
              <a:off x="3962400" y="29314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32" name="Oval 31"/>
            <p:cNvSpPr/>
            <p:nvPr/>
          </p:nvSpPr>
          <p:spPr>
            <a:xfrm>
              <a:off x="6199092" y="29314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36" name="Oval 35"/>
            <p:cNvSpPr/>
            <p:nvPr/>
          </p:nvSpPr>
          <p:spPr>
            <a:xfrm>
              <a:off x="8422340" y="29314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37" name="Oval 36"/>
            <p:cNvSpPr/>
            <p:nvPr/>
          </p:nvSpPr>
          <p:spPr>
            <a:xfrm>
              <a:off x="10641105" y="2931458"/>
              <a:ext cx="89648" cy="89648"/>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667"/>
            </a:p>
          </p:txBody>
        </p:sp>
        <p:sp>
          <p:nvSpPr>
            <p:cNvPr id="44" name="Freeform 484"/>
            <p:cNvSpPr>
              <a:spLocks noEditPoints="1"/>
            </p:cNvSpPr>
            <p:nvPr/>
          </p:nvSpPr>
          <p:spPr bwMode="black">
            <a:xfrm>
              <a:off x="10768210" y="3288004"/>
              <a:ext cx="715962" cy="438150"/>
            </a:xfrm>
            <a:custGeom>
              <a:avLst/>
              <a:gdLst>
                <a:gd name="T0" fmla="*/ 276 w 286"/>
                <a:gd name="T1" fmla="*/ 37 h 175"/>
                <a:gd name="T2" fmla="*/ 202 w 286"/>
                <a:gd name="T3" fmla="*/ 37 h 175"/>
                <a:gd name="T4" fmla="*/ 202 w 286"/>
                <a:gd name="T5" fmla="*/ 68 h 175"/>
                <a:gd name="T6" fmla="*/ 148 w 286"/>
                <a:gd name="T7" fmla="*/ 68 h 175"/>
                <a:gd name="T8" fmla="*/ 148 w 286"/>
                <a:gd name="T9" fmla="*/ 37 h 175"/>
                <a:gd name="T10" fmla="*/ 74 w 286"/>
                <a:gd name="T11" fmla="*/ 37 h 175"/>
                <a:gd name="T12" fmla="*/ 74 w 286"/>
                <a:gd name="T13" fmla="*/ 68 h 175"/>
                <a:gd name="T14" fmla="*/ 10 w 286"/>
                <a:gd name="T15" fmla="*/ 93 h 175"/>
                <a:gd name="T16" fmla="*/ 0 w 286"/>
                <a:gd name="T17" fmla="*/ 124 h 175"/>
                <a:gd name="T18" fmla="*/ 14 w 286"/>
                <a:gd name="T19" fmla="*/ 175 h 175"/>
                <a:gd name="T20" fmla="*/ 80 w 286"/>
                <a:gd name="T21" fmla="*/ 138 h 175"/>
                <a:gd name="T22" fmla="*/ 94 w 286"/>
                <a:gd name="T23" fmla="*/ 175 h 175"/>
                <a:gd name="T24" fmla="*/ 67 w 286"/>
                <a:gd name="T25" fmla="*/ 124 h 175"/>
                <a:gd name="T26" fmla="*/ 82 w 286"/>
                <a:gd name="T27" fmla="*/ 82 h 175"/>
                <a:gd name="T28" fmla="*/ 138 w 286"/>
                <a:gd name="T29" fmla="*/ 93 h 175"/>
                <a:gd name="T30" fmla="*/ 128 w 286"/>
                <a:gd name="T31" fmla="*/ 124 h 175"/>
                <a:gd name="T32" fmla="*/ 142 w 286"/>
                <a:gd name="T33" fmla="*/ 175 h 175"/>
                <a:gd name="T34" fmla="*/ 208 w 286"/>
                <a:gd name="T35" fmla="*/ 138 h 175"/>
                <a:gd name="T36" fmla="*/ 222 w 286"/>
                <a:gd name="T37" fmla="*/ 175 h 175"/>
                <a:gd name="T38" fmla="*/ 195 w 286"/>
                <a:gd name="T39" fmla="*/ 124 h 175"/>
                <a:gd name="T40" fmla="*/ 210 w 286"/>
                <a:gd name="T41" fmla="*/ 82 h 175"/>
                <a:gd name="T42" fmla="*/ 272 w 286"/>
                <a:gd name="T43" fmla="*/ 151 h 175"/>
                <a:gd name="T44" fmla="*/ 286 w 286"/>
                <a:gd name="T45" fmla="*/ 68 h 175"/>
                <a:gd name="T46" fmla="*/ 239 w 286"/>
                <a:gd name="T47" fmla="*/ 14 h 175"/>
                <a:gd name="T48" fmla="*/ 239 w 286"/>
                <a:gd name="T49" fmla="*/ 60 h 175"/>
                <a:gd name="T50" fmla="*/ 239 w 286"/>
                <a:gd name="T51" fmla="*/ 14 h 175"/>
                <a:gd name="T52" fmla="*/ 134 w 286"/>
                <a:gd name="T53" fmla="*/ 37 h 175"/>
                <a:gd name="T54" fmla="*/ 88 w 286"/>
                <a:gd name="T55" fmla="*/ 37 h 175"/>
                <a:gd name="T56" fmla="*/ 47 w 286"/>
                <a:gd name="T57" fmla="*/ 116 h 175"/>
                <a:gd name="T58" fmla="*/ 47 w 286"/>
                <a:gd name="T59" fmla="*/ 70 h 175"/>
                <a:gd name="T60" fmla="*/ 47 w 286"/>
                <a:gd name="T61" fmla="*/ 116 h 175"/>
                <a:gd name="T62" fmla="*/ 152 w 286"/>
                <a:gd name="T63" fmla="*/ 93 h 175"/>
                <a:gd name="T64" fmla="*/ 198 w 286"/>
                <a:gd name="T65" fmla="*/ 9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175">
                  <a:moveTo>
                    <a:pt x="259" y="68"/>
                  </a:moveTo>
                  <a:cubicBezTo>
                    <a:pt x="269" y="61"/>
                    <a:pt x="276" y="50"/>
                    <a:pt x="276" y="37"/>
                  </a:cubicBezTo>
                  <a:cubicBezTo>
                    <a:pt x="276" y="17"/>
                    <a:pt x="259" y="0"/>
                    <a:pt x="239" y="0"/>
                  </a:cubicBezTo>
                  <a:cubicBezTo>
                    <a:pt x="219" y="0"/>
                    <a:pt x="202" y="17"/>
                    <a:pt x="202" y="37"/>
                  </a:cubicBezTo>
                  <a:cubicBezTo>
                    <a:pt x="202" y="50"/>
                    <a:pt x="209" y="61"/>
                    <a:pt x="219" y="68"/>
                  </a:cubicBezTo>
                  <a:cubicBezTo>
                    <a:pt x="202" y="68"/>
                    <a:pt x="202" y="68"/>
                    <a:pt x="202" y="68"/>
                  </a:cubicBezTo>
                  <a:cubicBezTo>
                    <a:pt x="195" y="61"/>
                    <a:pt x="186" y="56"/>
                    <a:pt x="175" y="56"/>
                  </a:cubicBezTo>
                  <a:cubicBezTo>
                    <a:pt x="164" y="56"/>
                    <a:pt x="155" y="61"/>
                    <a:pt x="148" y="68"/>
                  </a:cubicBezTo>
                  <a:cubicBezTo>
                    <a:pt x="131" y="68"/>
                    <a:pt x="131" y="68"/>
                    <a:pt x="131" y="68"/>
                  </a:cubicBezTo>
                  <a:cubicBezTo>
                    <a:pt x="141" y="61"/>
                    <a:pt x="148" y="50"/>
                    <a:pt x="148" y="37"/>
                  </a:cubicBezTo>
                  <a:cubicBezTo>
                    <a:pt x="148" y="17"/>
                    <a:pt x="131" y="0"/>
                    <a:pt x="111" y="0"/>
                  </a:cubicBezTo>
                  <a:cubicBezTo>
                    <a:pt x="91" y="0"/>
                    <a:pt x="74" y="17"/>
                    <a:pt x="74" y="37"/>
                  </a:cubicBezTo>
                  <a:cubicBezTo>
                    <a:pt x="74" y="50"/>
                    <a:pt x="81" y="61"/>
                    <a:pt x="91" y="68"/>
                  </a:cubicBezTo>
                  <a:cubicBezTo>
                    <a:pt x="74" y="68"/>
                    <a:pt x="74" y="68"/>
                    <a:pt x="74" y="68"/>
                  </a:cubicBezTo>
                  <a:cubicBezTo>
                    <a:pt x="67" y="61"/>
                    <a:pt x="58" y="56"/>
                    <a:pt x="47" y="56"/>
                  </a:cubicBezTo>
                  <a:cubicBezTo>
                    <a:pt x="27" y="56"/>
                    <a:pt x="10" y="73"/>
                    <a:pt x="10" y="93"/>
                  </a:cubicBezTo>
                  <a:cubicBezTo>
                    <a:pt x="10" y="106"/>
                    <a:pt x="17" y="117"/>
                    <a:pt x="27" y="124"/>
                  </a:cubicBezTo>
                  <a:cubicBezTo>
                    <a:pt x="0" y="124"/>
                    <a:pt x="0" y="124"/>
                    <a:pt x="0" y="124"/>
                  </a:cubicBezTo>
                  <a:cubicBezTo>
                    <a:pt x="0" y="175"/>
                    <a:pt x="0" y="175"/>
                    <a:pt x="0" y="175"/>
                  </a:cubicBezTo>
                  <a:cubicBezTo>
                    <a:pt x="14" y="175"/>
                    <a:pt x="14" y="175"/>
                    <a:pt x="14" y="175"/>
                  </a:cubicBezTo>
                  <a:cubicBezTo>
                    <a:pt x="14" y="138"/>
                    <a:pt x="14" y="138"/>
                    <a:pt x="14" y="138"/>
                  </a:cubicBezTo>
                  <a:cubicBezTo>
                    <a:pt x="80" y="138"/>
                    <a:pt x="80" y="138"/>
                    <a:pt x="80" y="138"/>
                  </a:cubicBezTo>
                  <a:cubicBezTo>
                    <a:pt x="80" y="175"/>
                    <a:pt x="80" y="175"/>
                    <a:pt x="80" y="175"/>
                  </a:cubicBezTo>
                  <a:cubicBezTo>
                    <a:pt x="94" y="175"/>
                    <a:pt x="94" y="175"/>
                    <a:pt x="94" y="175"/>
                  </a:cubicBezTo>
                  <a:cubicBezTo>
                    <a:pt x="94" y="124"/>
                    <a:pt x="94" y="124"/>
                    <a:pt x="94" y="124"/>
                  </a:cubicBezTo>
                  <a:cubicBezTo>
                    <a:pt x="67" y="124"/>
                    <a:pt x="67" y="124"/>
                    <a:pt x="67" y="124"/>
                  </a:cubicBezTo>
                  <a:cubicBezTo>
                    <a:pt x="77" y="117"/>
                    <a:pt x="84" y="106"/>
                    <a:pt x="84" y="93"/>
                  </a:cubicBezTo>
                  <a:cubicBezTo>
                    <a:pt x="84" y="89"/>
                    <a:pt x="83" y="85"/>
                    <a:pt x="82" y="82"/>
                  </a:cubicBezTo>
                  <a:cubicBezTo>
                    <a:pt x="140" y="82"/>
                    <a:pt x="140" y="82"/>
                    <a:pt x="140" y="82"/>
                  </a:cubicBezTo>
                  <a:cubicBezTo>
                    <a:pt x="139" y="85"/>
                    <a:pt x="138" y="89"/>
                    <a:pt x="138" y="93"/>
                  </a:cubicBezTo>
                  <a:cubicBezTo>
                    <a:pt x="138" y="106"/>
                    <a:pt x="145" y="117"/>
                    <a:pt x="155" y="124"/>
                  </a:cubicBezTo>
                  <a:cubicBezTo>
                    <a:pt x="128" y="124"/>
                    <a:pt x="128" y="124"/>
                    <a:pt x="128" y="124"/>
                  </a:cubicBezTo>
                  <a:cubicBezTo>
                    <a:pt x="128" y="175"/>
                    <a:pt x="128" y="175"/>
                    <a:pt x="128" y="175"/>
                  </a:cubicBezTo>
                  <a:cubicBezTo>
                    <a:pt x="142" y="175"/>
                    <a:pt x="142" y="175"/>
                    <a:pt x="142" y="175"/>
                  </a:cubicBezTo>
                  <a:cubicBezTo>
                    <a:pt x="142" y="138"/>
                    <a:pt x="142" y="138"/>
                    <a:pt x="142" y="138"/>
                  </a:cubicBezTo>
                  <a:cubicBezTo>
                    <a:pt x="208" y="138"/>
                    <a:pt x="208" y="138"/>
                    <a:pt x="208" y="138"/>
                  </a:cubicBezTo>
                  <a:cubicBezTo>
                    <a:pt x="208" y="175"/>
                    <a:pt x="208" y="175"/>
                    <a:pt x="208" y="175"/>
                  </a:cubicBezTo>
                  <a:cubicBezTo>
                    <a:pt x="222" y="175"/>
                    <a:pt x="222" y="175"/>
                    <a:pt x="222" y="175"/>
                  </a:cubicBezTo>
                  <a:cubicBezTo>
                    <a:pt x="222" y="124"/>
                    <a:pt x="222" y="124"/>
                    <a:pt x="222" y="124"/>
                  </a:cubicBezTo>
                  <a:cubicBezTo>
                    <a:pt x="195" y="124"/>
                    <a:pt x="195" y="124"/>
                    <a:pt x="195" y="124"/>
                  </a:cubicBezTo>
                  <a:cubicBezTo>
                    <a:pt x="205" y="117"/>
                    <a:pt x="212" y="106"/>
                    <a:pt x="212" y="93"/>
                  </a:cubicBezTo>
                  <a:cubicBezTo>
                    <a:pt x="212" y="89"/>
                    <a:pt x="211" y="85"/>
                    <a:pt x="210" y="82"/>
                  </a:cubicBezTo>
                  <a:cubicBezTo>
                    <a:pt x="272" y="82"/>
                    <a:pt x="272" y="82"/>
                    <a:pt x="272" y="82"/>
                  </a:cubicBezTo>
                  <a:cubicBezTo>
                    <a:pt x="272" y="151"/>
                    <a:pt x="272" y="151"/>
                    <a:pt x="272" y="151"/>
                  </a:cubicBezTo>
                  <a:cubicBezTo>
                    <a:pt x="286" y="151"/>
                    <a:pt x="286" y="151"/>
                    <a:pt x="286" y="151"/>
                  </a:cubicBezTo>
                  <a:cubicBezTo>
                    <a:pt x="286" y="68"/>
                    <a:pt x="286" y="68"/>
                    <a:pt x="286" y="68"/>
                  </a:cubicBezTo>
                  <a:lnTo>
                    <a:pt x="259" y="68"/>
                  </a:lnTo>
                  <a:close/>
                  <a:moveTo>
                    <a:pt x="239" y="14"/>
                  </a:moveTo>
                  <a:cubicBezTo>
                    <a:pt x="252" y="14"/>
                    <a:pt x="262" y="24"/>
                    <a:pt x="262" y="37"/>
                  </a:cubicBezTo>
                  <a:cubicBezTo>
                    <a:pt x="262" y="50"/>
                    <a:pt x="252" y="60"/>
                    <a:pt x="239" y="60"/>
                  </a:cubicBezTo>
                  <a:cubicBezTo>
                    <a:pt x="226" y="60"/>
                    <a:pt x="216" y="50"/>
                    <a:pt x="216" y="37"/>
                  </a:cubicBezTo>
                  <a:cubicBezTo>
                    <a:pt x="216" y="24"/>
                    <a:pt x="226" y="14"/>
                    <a:pt x="239" y="14"/>
                  </a:cubicBezTo>
                  <a:moveTo>
                    <a:pt x="111" y="14"/>
                  </a:moveTo>
                  <a:cubicBezTo>
                    <a:pt x="124" y="14"/>
                    <a:pt x="134" y="24"/>
                    <a:pt x="134" y="37"/>
                  </a:cubicBezTo>
                  <a:cubicBezTo>
                    <a:pt x="134" y="50"/>
                    <a:pt x="124" y="60"/>
                    <a:pt x="111" y="60"/>
                  </a:cubicBezTo>
                  <a:cubicBezTo>
                    <a:pt x="98" y="60"/>
                    <a:pt x="88" y="50"/>
                    <a:pt x="88" y="37"/>
                  </a:cubicBezTo>
                  <a:cubicBezTo>
                    <a:pt x="88" y="24"/>
                    <a:pt x="98" y="14"/>
                    <a:pt x="111" y="14"/>
                  </a:cubicBezTo>
                  <a:moveTo>
                    <a:pt x="47" y="116"/>
                  </a:moveTo>
                  <a:cubicBezTo>
                    <a:pt x="34" y="116"/>
                    <a:pt x="24" y="106"/>
                    <a:pt x="24" y="93"/>
                  </a:cubicBezTo>
                  <a:cubicBezTo>
                    <a:pt x="24" y="80"/>
                    <a:pt x="34" y="70"/>
                    <a:pt x="47" y="70"/>
                  </a:cubicBezTo>
                  <a:cubicBezTo>
                    <a:pt x="60" y="70"/>
                    <a:pt x="70" y="80"/>
                    <a:pt x="70" y="93"/>
                  </a:cubicBezTo>
                  <a:cubicBezTo>
                    <a:pt x="70" y="106"/>
                    <a:pt x="60" y="116"/>
                    <a:pt x="47" y="116"/>
                  </a:cubicBezTo>
                  <a:moveTo>
                    <a:pt x="175" y="116"/>
                  </a:moveTo>
                  <a:cubicBezTo>
                    <a:pt x="162" y="116"/>
                    <a:pt x="152" y="106"/>
                    <a:pt x="152" y="93"/>
                  </a:cubicBezTo>
                  <a:cubicBezTo>
                    <a:pt x="152" y="80"/>
                    <a:pt x="162" y="70"/>
                    <a:pt x="175" y="70"/>
                  </a:cubicBezTo>
                  <a:cubicBezTo>
                    <a:pt x="188" y="70"/>
                    <a:pt x="198" y="80"/>
                    <a:pt x="198" y="93"/>
                  </a:cubicBezTo>
                  <a:cubicBezTo>
                    <a:pt x="198" y="106"/>
                    <a:pt x="188" y="116"/>
                    <a:pt x="175" y="116"/>
                  </a:cubicBezTo>
                </a:path>
              </a:pathLst>
            </a:custGeom>
            <a:solidFill>
              <a:srgbClr val="444242"/>
            </a:solidFill>
            <a:ln>
              <a:noFill/>
            </a:ln>
          </p:spPr>
          <p:txBody>
            <a:bodyPr vert="horz" wrap="square" lIns="121920" tIns="60960" rIns="121920" bIns="60960" numCol="1" anchor="t" anchorCtr="0" compatLnSpc="1">
              <a:prstTxWarp prst="textNoShape">
                <a:avLst/>
              </a:prstTxWarp>
            </a:bodyPr>
            <a:lstStyle/>
            <a:p>
              <a:endParaRPr lang="en-US" sz="2667" dirty="0"/>
            </a:p>
          </p:txBody>
        </p:sp>
        <p:sp>
          <p:nvSpPr>
            <p:cNvPr id="45" name="Freeform 522"/>
            <p:cNvSpPr>
              <a:spLocks noEditPoints="1"/>
            </p:cNvSpPr>
            <p:nvPr/>
          </p:nvSpPr>
          <p:spPr bwMode="black">
            <a:xfrm>
              <a:off x="9025430" y="2332496"/>
              <a:ext cx="425450" cy="506413"/>
            </a:xfrm>
            <a:custGeom>
              <a:avLst/>
              <a:gdLst>
                <a:gd name="T0" fmla="*/ 18 w 170"/>
                <a:gd name="T1" fmla="*/ 53 h 203"/>
                <a:gd name="T2" fmla="*/ 33 w 170"/>
                <a:gd name="T3" fmla="*/ 39 h 203"/>
                <a:gd name="T4" fmla="*/ 18 w 170"/>
                <a:gd name="T5" fmla="*/ 25 h 203"/>
                <a:gd name="T6" fmla="*/ 30 w 170"/>
                <a:gd name="T7" fmla="*/ 13 h 203"/>
                <a:gd name="T8" fmla="*/ 44 w 170"/>
                <a:gd name="T9" fmla="*/ 28 h 203"/>
                <a:gd name="T10" fmla="*/ 58 w 170"/>
                <a:gd name="T11" fmla="*/ 13 h 203"/>
                <a:gd name="T12" fmla="*/ 70 w 170"/>
                <a:gd name="T13" fmla="*/ 25 h 203"/>
                <a:gd name="T14" fmla="*/ 55 w 170"/>
                <a:gd name="T15" fmla="*/ 39 h 203"/>
                <a:gd name="T16" fmla="*/ 70 w 170"/>
                <a:gd name="T17" fmla="*/ 53 h 203"/>
                <a:gd name="T18" fmla="*/ 58 w 170"/>
                <a:gd name="T19" fmla="*/ 65 h 203"/>
                <a:gd name="T20" fmla="*/ 44 w 170"/>
                <a:gd name="T21" fmla="*/ 50 h 203"/>
                <a:gd name="T22" fmla="*/ 30 w 170"/>
                <a:gd name="T23" fmla="*/ 65 h 203"/>
                <a:gd name="T24" fmla="*/ 18 w 170"/>
                <a:gd name="T25" fmla="*/ 53 h 203"/>
                <a:gd name="T26" fmla="*/ 170 w 170"/>
                <a:gd name="T27" fmla="*/ 33 h 203"/>
                <a:gd name="T28" fmla="*/ 158 w 170"/>
                <a:gd name="T29" fmla="*/ 45 h 203"/>
                <a:gd name="T30" fmla="*/ 144 w 170"/>
                <a:gd name="T31" fmla="*/ 30 h 203"/>
                <a:gd name="T32" fmla="*/ 144 w 170"/>
                <a:gd name="T33" fmla="*/ 109 h 203"/>
                <a:gd name="T34" fmla="*/ 36 w 170"/>
                <a:gd name="T35" fmla="*/ 109 h 203"/>
                <a:gd name="T36" fmla="*/ 36 w 170"/>
                <a:gd name="T37" fmla="*/ 148 h 203"/>
                <a:gd name="T38" fmla="*/ 56 w 170"/>
                <a:gd name="T39" fmla="*/ 175 h 203"/>
                <a:gd name="T40" fmla="*/ 28 w 170"/>
                <a:gd name="T41" fmla="*/ 203 h 203"/>
                <a:gd name="T42" fmla="*/ 0 w 170"/>
                <a:gd name="T43" fmla="*/ 175 h 203"/>
                <a:gd name="T44" fmla="*/ 20 w 170"/>
                <a:gd name="T45" fmla="*/ 148 h 203"/>
                <a:gd name="T46" fmla="*/ 19 w 170"/>
                <a:gd name="T47" fmla="*/ 93 h 203"/>
                <a:gd name="T48" fmla="*/ 128 w 170"/>
                <a:gd name="T49" fmla="*/ 93 h 203"/>
                <a:gd name="T50" fmla="*/ 128 w 170"/>
                <a:gd name="T51" fmla="*/ 31 h 203"/>
                <a:gd name="T52" fmla="*/ 114 w 170"/>
                <a:gd name="T53" fmla="*/ 45 h 203"/>
                <a:gd name="T54" fmla="*/ 103 w 170"/>
                <a:gd name="T55" fmla="*/ 33 h 203"/>
                <a:gd name="T56" fmla="*/ 136 w 170"/>
                <a:gd name="T57" fmla="*/ 0 h 203"/>
                <a:gd name="T58" fmla="*/ 170 w 170"/>
                <a:gd name="T59" fmla="*/ 33 h 203"/>
                <a:gd name="T60" fmla="*/ 40 w 170"/>
                <a:gd name="T61" fmla="*/ 175 h 203"/>
                <a:gd name="T62" fmla="*/ 28 w 170"/>
                <a:gd name="T63" fmla="*/ 163 h 203"/>
                <a:gd name="T64" fmla="*/ 16 w 170"/>
                <a:gd name="T65" fmla="*/ 175 h 203"/>
                <a:gd name="T66" fmla="*/ 28 w 170"/>
                <a:gd name="T67" fmla="*/ 187 h 203"/>
                <a:gd name="T68" fmla="*/ 40 w 170"/>
                <a:gd name="T69" fmla="*/ 175 h 203"/>
                <a:gd name="T70" fmla="*/ 135 w 170"/>
                <a:gd name="T71" fmla="*/ 141 h 203"/>
                <a:gd name="T72" fmla="*/ 120 w 170"/>
                <a:gd name="T73" fmla="*/ 156 h 203"/>
                <a:gd name="T74" fmla="*/ 106 w 170"/>
                <a:gd name="T75" fmla="*/ 141 h 203"/>
                <a:gd name="T76" fmla="*/ 95 w 170"/>
                <a:gd name="T77" fmla="*/ 153 h 203"/>
                <a:gd name="T78" fmla="*/ 109 w 170"/>
                <a:gd name="T79" fmla="*/ 167 h 203"/>
                <a:gd name="T80" fmla="*/ 95 w 170"/>
                <a:gd name="T81" fmla="*/ 181 h 203"/>
                <a:gd name="T82" fmla="*/ 106 w 170"/>
                <a:gd name="T83" fmla="*/ 193 h 203"/>
                <a:gd name="T84" fmla="*/ 120 w 170"/>
                <a:gd name="T85" fmla="*/ 178 h 203"/>
                <a:gd name="T86" fmla="*/ 135 w 170"/>
                <a:gd name="T87" fmla="*/ 193 h 203"/>
                <a:gd name="T88" fmla="*/ 146 w 170"/>
                <a:gd name="T89" fmla="*/ 181 h 203"/>
                <a:gd name="T90" fmla="*/ 132 w 170"/>
                <a:gd name="T91" fmla="*/ 167 h 203"/>
                <a:gd name="T92" fmla="*/ 146 w 170"/>
                <a:gd name="T93" fmla="*/ 153 h 203"/>
                <a:gd name="T94" fmla="*/ 135 w 170"/>
                <a:gd name="T95" fmla="*/ 14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203">
                  <a:moveTo>
                    <a:pt x="18" y="53"/>
                  </a:moveTo>
                  <a:cubicBezTo>
                    <a:pt x="33" y="39"/>
                    <a:pt x="33" y="39"/>
                    <a:pt x="33" y="39"/>
                  </a:cubicBezTo>
                  <a:cubicBezTo>
                    <a:pt x="18" y="25"/>
                    <a:pt x="18" y="25"/>
                    <a:pt x="18" y="25"/>
                  </a:cubicBezTo>
                  <a:cubicBezTo>
                    <a:pt x="30" y="13"/>
                    <a:pt x="30" y="13"/>
                    <a:pt x="30" y="13"/>
                  </a:cubicBezTo>
                  <a:cubicBezTo>
                    <a:pt x="44" y="28"/>
                    <a:pt x="44" y="28"/>
                    <a:pt x="44" y="28"/>
                  </a:cubicBezTo>
                  <a:cubicBezTo>
                    <a:pt x="58" y="13"/>
                    <a:pt x="58" y="13"/>
                    <a:pt x="58" y="13"/>
                  </a:cubicBezTo>
                  <a:cubicBezTo>
                    <a:pt x="70" y="25"/>
                    <a:pt x="70" y="25"/>
                    <a:pt x="70" y="25"/>
                  </a:cubicBezTo>
                  <a:cubicBezTo>
                    <a:pt x="55" y="39"/>
                    <a:pt x="55" y="39"/>
                    <a:pt x="55" y="39"/>
                  </a:cubicBezTo>
                  <a:cubicBezTo>
                    <a:pt x="70" y="53"/>
                    <a:pt x="70" y="53"/>
                    <a:pt x="70" y="53"/>
                  </a:cubicBezTo>
                  <a:cubicBezTo>
                    <a:pt x="58" y="65"/>
                    <a:pt x="58" y="65"/>
                    <a:pt x="58" y="65"/>
                  </a:cubicBezTo>
                  <a:cubicBezTo>
                    <a:pt x="44" y="50"/>
                    <a:pt x="44" y="50"/>
                    <a:pt x="44" y="50"/>
                  </a:cubicBezTo>
                  <a:cubicBezTo>
                    <a:pt x="30" y="65"/>
                    <a:pt x="30" y="65"/>
                    <a:pt x="30" y="65"/>
                  </a:cubicBezTo>
                  <a:lnTo>
                    <a:pt x="18" y="53"/>
                  </a:lnTo>
                  <a:close/>
                  <a:moveTo>
                    <a:pt x="170" y="33"/>
                  </a:moveTo>
                  <a:cubicBezTo>
                    <a:pt x="158" y="45"/>
                    <a:pt x="158" y="45"/>
                    <a:pt x="158" y="45"/>
                  </a:cubicBezTo>
                  <a:cubicBezTo>
                    <a:pt x="144" y="30"/>
                    <a:pt x="144" y="30"/>
                    <a:pt x="144" y="30"/>
                  </a:cubicBezTo>
                  <a:cubicBezTo>
                    <a:pt x="144" y="109"/>
                    <a:pt x="144" y="109"/>
                    <a:pt x="144" y="109"/>
                  </a:cubicBezTo>
                  <a:cubicBezTo>
                    <a:pt x="36" y="109"/>
                    <a:pt x="36" y="109"/>
                    <a:pt x="36" y="109"/>
                  </a:cubicBezTo>
                  <a:cubicBezTo>
                    <a:pt x="36" y="148"/>
                    <a:pt x="36" y="148"/>
                    <a:pt x="36" y="148"/>
                  </a:cubicBezTo>
                  <a:cubicBezTo>
                    <a:pt x="48" y="152"/>
                    <a:pt x="56" y="162"/>
                    <a:pt x="56" y="175"/>
                  </a:cubicBezTo>
                  <a:cubicBezTo>
                    <a:pt x="56" y="190"/>
                    <a:pt x="43" y="203"/>
                    <a:pt x="28" y="203"/>
                  </a:cubicBezTo>
                  <a:cubicBezTo>
                    <a:pt x="13" y="203"/>
                    <a:pt x="0" y="190"/>
                    <a:pt x="0" y="175"/>
                  </a:cubicBezTo>
                  <a:cubicBezTo>
                    <a:pt x="0" y="162"/>
                    <a:pt x="8" y="152"/>
                    <a:pt x="20" y="148"/>
                  </a:cubicBezTo>
                  <a:cubicBezTo>
                    <a:pt x="19" y="93"/>
                    <a:pt x="19" y="93"/>
                    <a:pt x="19" y="93"/>
                  </a:cubicBezTo>
                  <a:cubicBezTo>
                    <a:pt x="128" y="93"/>
                    <a:pt x="128" y="93"/>
                    <a:pt x="128" y="93"/>
                  </a:cubicBezTo>
                  <a:cubicBezTo>
                    <a:pt x="128" y="31"/>
                    <a:pt x="128" y="31"/>
                    <a:pt x="128" y="31"/>
                  </a:cubicBezTo>
                  <a:cubicBezTo>
                    <a:pt x="114" y="45"/>
                    <a:pt x="114" y="45"/>
                    <a:pt x="114" y="45"/>
                  </a:cubicBezTo>
                  <a:cubicBezTo>
                    <a:pt x="103" y="33"/>
                    <a:pt x="103" y="33"/>
                    <a:pt x="103" y="33"/>
                  </a:cubicBezTo>
                  <a:cubicBezTo>
                    <a:pt x="136" y="0"/>
                    <a:pt x="136" y="0"/>
                    <a:pt x="136" y="0"/>
                  </a:cubicBezTo>
                  <a:lnTo>
                    <a:pt x="170" y="33"/>
                  </a:lnTo>
                  <a:close/>
                  <a:moveTo>
                    <a:pt x="40" y="175"/>
                  </a:moveTo>
                  <a:cubicBezTo>
                    <a:pt x="40" y="168"/>
                    <a:pt x="35" y="163"/>
                    <a:pt x="28" y="163"/>
                  </a:cubicBezTo>
                  <a:cubicBezTo>
                    <a:pt x="21" y="163"/>
                    <a:pt x="16" y="168"/>
                    <a:pt x="16" y="175"/>
                  </a:cubicBezTo>
                  <a:cubicBezTo>
                    <a:pt x="16" y="182"/>
                    <a:pt x="21" y="187"/>
                    <a:pt x="28" y="187"/>
                  </a:cubicBezTo>
                  <a:cubicBezTo>
                    <a:pt x="35" y="187"/>
                    <a:pt x="40" y="182"/>
                    <a:pt x="40" y="175"/>
                  </a:cubicBezTo>
                  <a:moveTo>
                    <a:pt x="135" y="141"/>
                  </a:moveTo>
                  <a:cubicBezTo>
                    <a:pt x="120" y="156"/>
                    <a:pt x="120" y="156"/>
                    <a:pt x="120" y="156"/>
                  </a:cubicBezTo>
                  <a:cubicBezTo>
                    <a:pt x="106" y="141"/>
                    <a:pt x="106" y="141"/>
                    <a:pt x="106" y="141"/>
                  </a:cubicBezTo>
                  <a:cubicBezTo>
                    <a:pt x="95" y="153"/>
                    <a:pt x="95" y="153"/>
                    <a:pt x="95" y="153"/>
                  </a:cubicBezTo>
                  <a:cubicBezTo>
                    <a:pt x="109" y="167"/>
                    <a:pt x="109" y="167"/>
                    <a:pt x="109" y="167"/>
                  </a:cubicBezTo>
                  <a:cubicBezTo>
                    <a:pt x="95" y="181"/>
                    <a:pt x="95" y="181"/>
                    <a:pt x="95" y="181"/>
                  </a:cubicBezTo>
                  <a:cubicBezTo>
                    <a:pt x="106" y="193"/>
                    <a:pt x="106" y="193"/>
                    <a:pt x="106" y="193"/>
                  </a:cubicBezTo>
                  <a:cubicBezTo>
                    <a:pt x="120" y="178"/>
                    <a:pt x="120" y="178"/>
                    <a:pt x="120" y="178"/>
                  </a:cubicBezTo>
                  <a:cubicBezTo>
                    <a:pt x="135" y="193"/>
                    <a:pt x="135" y="193"/>
                    <a:pt x="135" y="193"/>
                  </a:cubicBezTo>
                  <a:cubicBezTo>
                    <a:pt x="146" y="181"/>
                    <a:pt x="146" y="181"/>
                    <a:pt x="146" y="181"/>
                  </a:cubicBezTo>
                  <a:cubicBezTo>
                    <a:pt x="132" y="167"/>
                    <a:pt x="132" y="167"/>
                    <a:pt x="132" y="167"/>
                  </a:cubicBezTo>
                  <a:cubicBezTo>
                    <a:pt x="146" y="153"/>
                    <a:pt x="146" y="153"/>
                    <a:pt x="146" y="153"/>
                  </a:cubicBezTo>
                  <a:lnTo>
                    <a:pt x="135" y="141"/>
                  </a:lnTo>
                  <a:close/>
                </a:path>
              </a:pathLst>
            </a:custGeom>
            <a:solidFill>
              <a:srgbClr val="969696"/>
            </a:solidFill>
            <a:ln>
              <a:noFill/>
            </a:ln>
          </p:spPr>
          <p:txBody>
            <a:bodyPr vert="horz" wrap="square" lIns="121920" tIns="60960" rIns="121920" bIns="60960" numCol="1" anchor="t" anchorCtr="0" compatLnSpc="1">
              <a:prstTxWarp prst="textNoShape">
                <a:avLst/>
              </a:prstTxWarp>
            </a:bodyPr>
            <a:lstStyle/>
            <a:p>
              <a:endParaRPr lang="en-US" sz="2667" dirty="0"/>
            </a:p>
          </p:txBody>
        </p:sp>
      </p:grpSp>
      <p:graphicFrame>
        <p:nvGraphicFramePr>
          <p:cNvPr id="9" name="Diagram 8"/>
          <p:cNvGraphicFramePr/>
          <p:nvPr/>
        </p:nvGraphicFramePr>
        <p:xfrm>
          <a:off x="903111" y="2077163"/>
          <a:ext cx="14409119" cy="7902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10409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21A2B4A-E6F2-5A41-BF40-41FB40E3C43D}"/>
              </a:ext>
            </a:extLst>
          </p:cNvPr>
          <p:cNvSpPr>
            <a:spLocks noGrp="1"/>
          </p:cNvSpPr>
          <p:nvPr>
            <p:ph type="title"/>
          </p:nvPr>
        </p:nvSpPr>
        <p:spPr/>
        <p:txBody>
          <a:bodyPr>
            <a:normAutofit fontScale="90000"/>
          </a:bodyPr>
          <a:lstStyle/>
          <a:p>
            <a:r>
              <a:rPr lang="en-IN" dirty="0"/>
              <a:t>5G spectrum strategy </a:t>
            </a:r>
            <a:endParaRPr lang="en-US" dirty="0"/>
          </a:p>
        </p:txBody>
      </p:sp>
      <p:pic>
        <p:nvPicPr>
          <p:cNvPr id="2" name="Picture 1">
            <a:extLst>
              <a:ext uri="{FF2B5EF4-FFF2-40B4-BE49-F238E27FC236}">
                <a16:creationId xmlns:a16="http://schemas.microsoft.com/office/drawing/2014/main" id="{3D3BE48E-A5BF-5D48-A699-E157A177A9A0}"/>
              </a:ext>
            </a:extLst>
          </p:cNvPr>
          <p:cNvPicPr>
            <a:picLocks noChangeAspect="1"/>
          </p:cNvPicPr>
          <p:nvPr/>
        </p:nvPicPr>
        <p:blipFill>
          <a:blip r:embed="rId2"/>
          <a:stretch>
            <a:fillRect/>
          </a:stretch>
        </p:blipFill>
        <p:spPr>
          <a:xfrm>
            <a:off x="2260600" y="1219200"/>
            <a:ext cx="12846050" cy="6849668"/>
          </a:xfrm>
          <a:prstGeom prst="rect">
            <a:avLst/>
          </a:prstGeom>
        </p:spPr>
      </p:pic>
    </p:spTree>
    <p:extLst>
      <p:ext uri="{BB962C8B-B14F-4D97-AF65-F5344CB8AC3E}">
        <p14:creationId xmlns:p14="http://schemas.microsoft.com/office/powerpoint/2010/main" val="13625677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0DBB3-59FC-6943-B911-1C027E8770E9}"/>
              </a:ext>
            </a:extLst>
          </p:cNvPr>
          <p:cNvSpPr>
            <a:spLocks noGrp="1"/>
          </p:cNvSpPr>
          <p:nvPr>
            <p:ph type="title"/>
          </p:nvPr>
        </p:nvSpPr>
        <p:spPr/>
        <p:txBody>
          <a:bodyPr>
            <a:normAutofit fontScale="90000"/>
          </a:bodyPr>
          <a:lstStyle/>
          <a:p>
            <a:r>
              <a:rPr lang="en-US" dirty="0"/>
              <a:t>5G Networks Characteristics</a:t>
            </a:r>
          </a:p>
        </p:txBody>
      </p:sp>
      <p:sp>
        <p:nvSpPr>
          <p:cNvPr id="3" name="Content Placeholder 2">
            <a:extLst>
              <a:ext uri="{FF2B5EF4-FFF2-40B4-BE49-F238E27FC236}">
                <a16:creationId xmlns:a16="http://schemas.microsoft.com/office/drawing/2014/main" id="{086216DF-49A6-E448-8F16-CBE7C6D2DFC0}"/>
              </a:ext>
            </a:extLst>
          </p:cNvPr>
          <p:cNvSpPr>
            <a:spLocks noGrp="1"/>
          </p:cNvSpPr>
          <p:nvPr>
            <p:ph idx="1"/>
          </p:nvPr>
        </p:nvSpPr>
        <p:spPr>
          <a:xfrm>
            <a:off x="812801" y="1371600"/>
            <a:ext cx="15011400" cy="6751319"/>
          </a:xfrm>
        </p:spPr>
        <p:txBody>
          <a:bodyPr/>
          <a:lstStyle/>
          <a:p>
            <a:pPr algn="just"/>
            <a:r>
              <a:rPr lang="en-IN" dirty="0"/>
              <a:t>The ability to handle multiple, tailored use cases is what makes 5G more disruptive than previous generations of cellular technology.</a:t>
            </a:r>
          </a:p>
          <a:p>
            <a:pPr marL="0" indent="0" algn="just">
              <a:buNone/>
            </a:pPr>
            <a:endParaRPr lang="en-IN" dirty="0"/>
          </a:p>
          <a:p>
            <a:pPr algn="just"/>
            <a:r>
              <a:rPr lang="en-IN" b="1" dirty="0">
                <a:solidFill>
                  <a:srgbClr val="FFFF00"/>
                </a:solidFill>
              </a:rPr>
              <a:t>As 5G will need to coexist and interwork with 4G for many years to come, we’re likely to see the vast majority of these deployments as non stand-alone (NSA) initially, as a way of reducing time to market and ensuring good coverage and mobility.</a:t>
            </a:r>
          </a:p>
          <a:p>
            <a:pPr algn="just"/>
            <a:endParaRPr lang="en-US" dirty="0"/>
          </a:p>
        </p:txBody>
      </p:sp>
    </p:spTree>
    <p:extLst>
      <p:ext uri="{BB962C8B-B14F-4D97-AF65-F5344CB8AC3E}">
        <p14:creationId xmlns:p14="http://schemas.microsoft.com/office/powerpoint/2010/main" val="36990820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E6D8A-D794-3D42-8185-DEBBC232CB8D}"/>
              </a:ext>
            </a:extLst>
          </p:cNvPr>
          <p:cNvSpPr>
            <a:spLocks noGrp="1"/>
          </p:cNvSpPr>
          <p:nvPr>
            <p:ph type="title"/>
          </p:nvPr>
        </p:nvSpPr>
        <p:spPr/>
        <p:txBody>
          <a:bodyPr>
            <a:normAutofit fontScale="90000"/>
          </a:bodyPr>
          <a:lstStyle/>
          <a:p>
            <a:r>
              <a:rPr lang="en-US" dirty="0"/>
              <a:t>Network Architecture</a:t>
            </a:r>
          </a:p>
        </p:txBody>
      </p:sp>
      <p:sp>
        <p:nvSpPr>
          <p:cNvPr id="3" name="Content Placeholder 2">
            <a:extLst>
              <a:ext uri="{FF2B5EF4-FFF2-40B4-BE49-F238E27FC236}">
                <a16:creationId xmlns:a16="http://schemas.microsoft.com/office/drawing/2014/main" id="{1AD112F0-F85C-2A4C-8EF2-2DB3F11F4F6A}"/>
              </a:ext>
            </a:extLst>
          </p:cNvPr>
          <p:cNvSpPr>
            <a:spLocks noGrp="1"/>
          </p:cNvSpPr>
          <p:nvPr>
            <p:ph idx="1"/>
          </p:nvPr>
        </p:nvSpPr>
        <p:spPr>
          <a:xfrm>
            <a:off x="1270001" y="1143000"/>
            <a:ext cx="14554200" cy="7025219"/>
          </a:xfrm>
        </p:spPr>
        <p:txBody>
          <a:bodyPr>
            <a:normAutofit fontScale="92500" lnSpcReduction="20000"/>
          </a:bodyPr>
          <a:lstStyle/>
          <a:p>
            <a:pPr algn="just"/>
            <a:r>
              <a:rPr lang="en-IN" sz="4000" dirty="0"/>
              <a:t>Current network architecture needs to evolve to meet the needs of the wide variety of use cases enabled by 5G technology. </a:t>
            </a:r>
          </a:p>
          <a:p>
            <a:pPr algn="just"/>
            <a:endParaRPr lang="en-IN" sz="4000" dirty="0"/>
          </a:p>
          <a:p>
            <a:pPr algn="just"/>
            <a:r>
              <a:rPr lang="en-IN" sz="4000" dirty="0"/>
              <a:t>As part of this, the transport network must evolve and scale efficiently to meet widely varying, but strict, requirements for performance, capacity, latency, and security. </a:t>
            </a:r>
          </a:p>
          <a:p>
            <a:pPr marL="0" indent="0" algn="just">
              <a:buNone/>
            </a:pPr>
            <a:endParaRPr lang="en-IN" sz="4000" dirty="0"/>
          </a:p>
          <a:p>
            <a:pPr algn="just"/>
            <a:r>
              <a:rPr lang="en-IN" sz="4000" b="1" dirty="0">
                <a:solidFill>
                  <a:srgbClr val="FFFF00"/>
                </a:solidFill>
              </a:rPr>
              <a:t>It must also support the various needs of parallel network architectures and technologies, and seamlessly support the coordination between many more cell sites, including those that will coexist with 4G technology for many years to come.</a:t>
            </a:r>
          </a:p>
        </p:txBody>
      </p:sp>
    </p:spTree>
    <p:extLst>
      <p:ext uri="{BB962C8B-B14F-4D97-AF65-F5344CB8AC3E}">
        <p14:creationId xmlns:p14="http://schemas.microsoft.com/office/powerpoint/2010/main" val="212397840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735B0-965E-7146-A288-933D8816C090}"/>
              </a:ext>
            </a:extLst>
          </p:cNvPr>
          <p:cNvSpPr>
            <a:spLocks noGrp="1"/>
          </p:cNvSpPr>
          <p:nvPr>
            <p:ph type="title"/>
          </p:nvPr>
        </p:nvSpPr>
        <p:spPr/>
        <p:txBody>
          <a:bodyPr>
            <a:normAutofit fontScale="90000"/>
          </a:bodyPr>
          <a:lstStyle/>
          <a:p>
            <a:r>
              <a:rPr lang="en-US" dirty="0"/>
              <a:t>Design Principles</a:t>
            </a:r>
          </a:p>
        </p:txBody>
      </p:sp>
      <p:sp>
        <p:nvSpPr>
          <p:cNvPr id="3" name="Content Placeholder 2">
            <a:extLst>
              <a:ext uri="{FF2B5EF4-FFF2-40B4-BE49-F238E27FC236}">
                <a16:creationId xmlns:a16="http://schemas.microsoft.com/office/drawing/2014/main" id="{714C3940-83CD-7A47-8C05-C4D166E1096F}"/>
              </a:ext>
            </a:extLst>
          </p:cNvPr>
          <p:cNvSpPr>
            <a:spLocks noGrp="1"/>
          </p:cNvSpPr>
          <p:nvPr>
            <p:ph idx="1"/>
          </p:nvPr>
        </p:nvSpPr>
        <p:spPr/>
        <p:txBody>
          <a:bodyPr/>
          <a:lstStyle/>
          <a:p>
            <a:r>
              <a:rPr lang="en-IN" dirty="0"/>
              <a:t>Agnosticism</a:t>
            </a:r>
          </a:p>
          <a:p>
            <a:r>
              <a:rPr lang="en-IN" sz="4400" dirty="0"/>
              <a:t>A Micro-service Architecture </a:t>
            </a:r>
          </a:p>
          <a:p>
            <a:r>
              <a:rPr lang="en-IN" dirty="0"/>
              <a:t>Application Resiliency</a:t>
            </a:r>
          </a:p>
          <a:p>
            <a:r>
              <a:rPr lang="en-IN" dirty="0"/>
              <a:t>State Optimized Design</a:t>
            </a:r>
          </a:p>
          <a:p>
            <a:r>
              <a:rPr lang="en-IN" dirty="0"/>
              <a:t>Orchestration and Automation</a:t>
            </a:r>
          </a:p>
          <a:p>
            <a:pPr lvl="1"/>
            <a:r>
              <a:rPr lang="en-IN" dirty="0"/>
              <a:t>Internal automation and orchestration </a:t>
            </a:r>
          </a:p>
          <a:p>
            <a:pPr lvl="1"/>
            <a:r>
              <a:rPr lang="en-IN" dirty="0"/>
              <a:t>Network level orchestration and automation </a:t>
            </a:r>
          </a:p>
          <a:p>
            <a:pPr lvl="1"/>
            <a:endParaRPr lang="en-IN" dirty="0"/>
          </a:p>
          <a:p>
            <a:endParaRPr lang="en-IN" dirty="0"/>
          </a:p>
          <a:p>
            <a:endParaRPr lang="en-IN" dirty="0"/>
          </a:p>
          <a:p>
            <a:endParaRPr lang="en-US" dirty="0"/>
          </a:p>
        </p:txBody>
      </p:sp>
    </p:spTree>
    <p:extLst>
      <p:ext uri="{BB962C8B-B14F-4D97-AF65-F5344CB8AC3E}">
        <p14:creationId xmlns:p14="http://schemas.microsoft.com/office/powerpoint/2010/main" val="33952572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5BEBC-FC59-8444-A945-F63A61C571B7}"/>
              </a:ext>
            </a:extLst>
          </p:cNvPr>
          <p:cNvSpPr>
            <a:spLocks noGrp="1"/>
          </p:cNvSpPr>
          <p:nvPr>
            <p:ph type="title"/>
          </p:nvPr>
        </p:nvSpPr>
        <p:spPr/>
        <p:txBody>
          <a:bodyPr>
            <a:normAutofit fontScale="90000"/>
          </a:bodyPr>
          <a:lstStyle/>
          <a:p>
            <a:r>
              <a:rPr lang="en-US" dirty="0"/>
              <a:t>5G Paradigm – Key Attributes…</a:t>
            </a:r>
          </a:p>
        </p:txBody>
      </p:sp>
      <p:sp>
        <p:nvSpPr>
          <p:cNvPr id="3" name="Content Placeholder 2">
            <a:extLst>
              <a:ext uri="{FF2B5EF4-FFF2-40B4-BE49-F238E27FC236}">
                <a16:creationId xmlns:a16="http://schemas.microsoft.com/office/drawing/2014/main" id="{B50A49C1-714B-7E4D-BB7A-82B45D049116}"/>
              </a:ext>
            </a:extLst>
          </p:cNvPr>
          <p:cNvSpPr>
            <a:spLocks noGrp="1"/>
          </p:cNvSpPr>
          <p:nvPr>
            <p:ph idx="1"/>
          </p:nvPr>
        </p:nvSpPr>
        <p:spPr/>
        <p:txBody>
          <a:bodyPr>
            <a:normAutofit lnSpcReduction="10000"/>
          </a:bodyPr>
          <a:lstStyle/>
          <a:p>
            <a:r>
              <a:rPr lang="en-US" dirty="0"/>
              <a:t>Distributed Architecture</a:t>
            </a:r>
          </a:p>
          <a:p>
            <a:r>
              <a:rPr lang="en-IN" dirty="0"/>
              <a:t>Network Slicing</a:t>
            </a:r>
          </a:p>
          <a:p>
            <a:r>
              <a:rPr lang="en-IN" dirty="0"/>
              <a:t>CUPS</a:t>
            </a:r>
          </a:p>
          <a:p>
            <a:r>
              <a:rPr lang="en-US" dirty="0"/>
              <a:t>Cloud RAN</a:t>
            </a:r>
          </a:p>
          <a:p>
            <a:r>
              <a:rPr lang="en-US" dirty="0"/>
              <a:t>Virtual Network Functions (on Cloud native)</a:t>
            </a:r>
          </a:p>
          <a:p>
            <a:r>
              <a:rPr lang="en-US" dirty="0"/>
              <a:t>Cloud Native Digital Services</a:t>
            </a:r>
          </a:p>
          <a:p>
            <a:r>
              <a:rPr lang="en-US" dirty="0"/>
              <a:t>Microservices Architecture</a:t>
            </a:r>
          </a:p>
          <a:p>
            <a:r>
              <a:rPr lang="en-IN" dirty="0"/>
              <a:t>Continuously Evolving Software</a:t>
            </a:r>
          </a:p>
          <a:p>
            <a:r>
              <a:rPr lang="en-US" dirty="0"/>
              <a:t>DevOps</a:t>
            </a:r>
          </a:p>
          <a:p>
            <a:endParaRPr lang="en-US" dirty="0"/>
          </a:p>
          <a:p>
            <a:endParaRPr lang="en-US" dirty="0"/>
          </a:p>
          <a:p>
            <a:endParaRPr lang="en-US" dirty="0"/>
          </a:p>
        </p:txBody>
      </p:sp>
    </p:spTree>
    <p:extLst>
      <p:ext uri="{BB962C8B-B14F-4D97-AF65-F5344CB8AC3E}">
        <p14:creationId xmlns:p14="http://schemas.microsoft.com/office/powerpoint/2010/main" val="7944529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D5CFF4-C31C-2949-8953-7259C021E1E2}"/>
              </a:ext>
            </a:extLst>
          </p:cNvPr>
          <p:cNvSpPr>
            <a:spLocks noGrp="1"/>
          </p:cNvSpPr>
          <p:nvPr>
            <p:ph type="title"/>
          </p:nvPr>
        </p:nvSpPr>
        <p:spPr/>
        <p:txBody>
          <a:bodyPr>
            <a:normAutofit fontScale="90000"/>
          </a:bodyPr>
          <a:lstStyle/>
          <a:p>
            <a:endParaRPr lang="en-US"/>
          </a:p>
        </p:txBody>
      </p:sp>
      <p:sp>
        <p:nvSpPr>
          <p:cNvPr id="3" name="Content Placeholder 2">
            <a:extLst>
              <a:ext uri="{FF2B5EF4-FFF2-40B4-BE49-F238E27FC236}">
                <a16:creationId xmlns:a16="http://schemas.microsoft.com/office/drawing/2014/main" id="{713220D8-0E08-FB4B-9868-BF5268F1788F}"/>
              </a:ext>
            </a:extLst>
          </p:cNvPr>
          <p:cNvSpPr>
            <a:spLocks noGrp="1"/>
          </p:cNvSpPr>
          <p:nvPr>
            <p:ph idx="1"/>
          </p:nvPr>
        </p:nvSpPr>
        <p:spPr/>
        <p:txBody>
          <a:bodyPr>
            <a:normAutofit lnSpcReduction="10000"/>
          </a:bodyPr>
          <a:lstStyle/>
          <a:p>
            <a:pPr marL="0" indent="0" algn="just">
              <a:buNone/>
            </a:pPr>
            <a:r>
              <a:rPr lang="en-IN" sz="4400" dirty="0"/>
              <a:t>Today, one of the main concerns about virtualizing the network functions is backward compatibility. It is critical to make sure the virtual network functions (VNFs) can interoperate with the physical network functions and the older infrastructure. </a:t>
            </a:r>
          </a:p>
          <a:p>
            <a:pPr marL="0" indent="0" algn="just">
              <a:buNone/>
            </a:pPr>
            <a:endParaRPr lang="en-IN" sz="4400" dirty="0"/>
          </a:p>
          <a:p>
            <a:pPr marL="0" indent="0" algn="just">
              <a:buNone/>
            </a:pPr>
            <a:r>
              <a:rPr lang="en-IN" sz="4400" b="1" dirty="0">
                <a:solidFill>
                  <a:srgbClr val="FFFF00"/>
                </a:solidFill>
              </a:rPr>
              <a:t>But even more important is how best to develop, test, deploy, and manage </a:t>
            </a:r>
            <a:r>
              <a:rPr lang="en-IN" sz="4400" b="1" dirty="0">
                <a:solidFill>
                  <a:srgbClr val="90F502"/>
                </a:solidFill>
              </a:rPr>
              <a:t>APPLICATIONS</a:t>
            </a:r>
            <a:r>
              <a:rPr lang="en-IN" sz="4400" b="1" dirty="0"/>
              <a:t> </a:t>
            </a:r>
            <a:r>
              <a:rPr lang="en-IN" sz="4400" b="1" dirty="0">
                <a:solidFill>
                  <a:srgbClr val="FFFF00"/>
                </a:solidFill>
              </a:rPr>
              <a:t>to take advantage of the new capabilities provided by 5G Paradigm with all its key attributes...</a:t>
            </a:r>
          </a:p>
          <a:p>
            <a:pPr marL="0" indent="0" algn="just">
              <a:buNone/>
            </a:pPr>
            <a:endParaRPr lang="en-US" sz="4400" dirty="0"/>
          </a:p>
        </p:txBody>
      </p:sp>
    </p:spTree>
    <p:extLst>
      <p:ext uri="{BB962C8B-B14F-4D97-AF65-F5344CB8AC3E}">
        <p14:creationId xmlns:p14="http://schemas.microsoft.com/office/powerpoint/2010/main" val="161321323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29457-D8FD-1E48-9076-2E85C0273F73}"/>
              </a:ext>
            </a:extLst>
          </p:cNvPr>
          <p:cNvSpPr>
            <a:spLocks noGrp="1"/>
          </p:cNvSpPr>
          <p:nvPr>
            <p:ph type="title"/>
          </p:nvPr>
        </p:nvSpPr>
        <p:spPr/>
        <p:txBody>
          <a:bodyPr>
            <a:normAutofit fontScale="90000"/>
          </a:bodyPr>
          <a:lstStyle/>
          <a:p>
            <a:r>
              <a:rPr lang="en-US" dirty="0"/>
              <a:t>Some Questions…</a:t>
            </a:r>
          </a:p>
        </p:txBody>
      </p:sp>
      <p:sp>
        <p:nvSpPr>
          <p:cNvPr id="3" name="Content Placeholder 2">
            <a:extLst>
              <a:ext uri="{FF2B5EF4-FFF2-40B4-BE49-F238E27FC236}">
                <a16:creationId xmlns:a16="http://schemas.microsoft.com/office/drawing/2014/main" id="{F52D5672-1A49-8C4D-975A-BDC62C8EB3A4}"/>
              </a:ext>
            </a:extLst>
          </p:cNvPr>
          <p:cNvSpPr>
            <a:spLocks noGrp="1"/>
          </p:cNvSpPr>
          <p:nvPr>
            <p:ph idx="1"/>
          </p:nvPr>
        </p:nvSpPr>
        <p:spPr/>
        <p:txBody>
          <a:bodyPr>
            <a:normAutofit fontScale="92500"/>
          </a:bodyPr>
          <a:lstStyle/>
          <a:p>
            <a:r>
              <a:rPr lang="en-US" sz="4800" dirty="0"/>
              <a:t>Under ALS, what are we going to Standardize?</a:t>
            </a:r>
          </a:p>
          <a:p>
            <a:endParaRPr lang="en-US" sz="4800" dirty="0"/>
          </a:p>
          <a:p>
            <a:pPr lvl="1"/>
            <a:r>
              <a:rPr lang="en-US" sz="4400" dirty="0"/>
              <a:t>The Application Platforms? For different use cases?</a:t>
            </a:r>
          </a:p>
          <a:p>
            <a:pPr lvl="1"/>
            <a:r>
              <a:rPr lang="en-US" sz="4400" dirty="0"/>
              <a:t>Interfaces of the AL with other 5G Network Layers ?</a:t>
            </a:r>
          </a:p>
          <a:p>
            <a:pPr lvl="1"/>
            <a:r>
              <a:rPr lang="en-US" sz="4400" dirty="0"/>
              <a:t>And/or….</a:t>
            </a:r>
          </a:p>
          <a:p>
            <a:pPr lvl="1"/>
            <a:r>
              <a:rPr lang="en-US" sz="4400" dirty="0">
                <a:solidFill>
                  <a:srgbClr val="FFFF00"/>
                </a:solidFill>
              </a:rPr>
              <a:t>Whatever, we choose to Standardize, how granular we want to (or should) go?</a:t>
            </a:r>
          </a:p>
        </p:txBody>
      </p:sp>
    </p:spTree>
    <p:extLst>
      <p:ext uri="{BB962C8B-B14F-4D97-AF65-F5344CB8AC3E}">
        <p14:creationId xmlns:p14="http://schemas.microsoft.com/office/powerpoint/2010/main" val="14724075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8175B-2CDE-7E40-9802-F4EFF24FCCFC}"/>
              </a:ext>
            </a:extLst>
          </p:cNvPr>
          <p:cNvSpPr>
            <a:spLocks noGrp="1"/>
          </p:cNvSpPr>
          <p:nvPr>
            <p:ph type="title"/>
          </p:nvPr>
        </p:nvSpPr>
        <p:spPr/>
        <p:txBody>
          <a:bodyPr>
            <a:noAutofit/>
          </a:bodyPr>
          <a:lstStyle/>
          <a:p>
            <a:r>
              <a:rPr lang="en-US" sz="4800" b="0" dirty="0"/>
              <a:t>A few inputs for the immediate</a:t>
            </a:r>
            <a:r>
              <a:rPr lang="en-US" sz="4800" dirty="0"/>
              <a:t> NEXT STEPS…</a:t>
            </a:r>
          </a:p>
        </p:txBody>
      </p:sp>
      <p:sp>
        <p:nvSpPr>
          <p:cNvPr id="3" name="Content Placeholder 2">
            <a:extLst>
              <a:ext uri="{FF2B5EF4-FFF2-40B4-BE49-F238E27FC236}">
                <a16:creationId xmlns:a16="http://schemas.microsoft.com/office/drawing/2014/main" id="{BF481DEC-0F46-9446-8CD2-4DE4138E6FC1}"/>
              </a:ext>
            </a:extLst>
          </p:cNvPr>
          <p:cNvSpPr>
            <a:spLocks noGrp="1"/>
          </p:cNvSpPr>
          <p:nvPr>
            <p:ph idx="1"/>
          </p:nvPr>
        </p:nvSpPr>
        <p:spPr>
          <a:xfrm>
            <a:off x="1193801" y="1066800"/>
            <a:ext cx="14630400" cy="7101419"/>
          </a:xfrm>
        </p:spPr>
        <p:txBody>
          <a:bodyPr>
            <a:normAutofit lnSpcReduction="10000"/>
          </a:bodyPr>
          <a:lstStyle/>
          <a:p>
            <a:pPr marL="0" indent="0" algn="just">
              <a:buNone/>
            </a:pPr>
            <a:r>
              <a:rPr lang="en-US" sz="4000" b="1" dirty="0">
                <a:solidFill>
                  <a:srgbClr val="FFFF00"/>
                </a:solidFill>
              </a:rPr>
              <a:t>Follow the Systems Approach</a:t>
            </a:r>
          </a:p>
          <a:p>
            <a:pPr algn="just"/>
            <a:r>
              <a:rPr lang="en-US" sz="4000" dirty="0"/>
              <a:t>Study &amp; Analyze the selected Use Cases to understand their respective Characteristics</a:t>
            </a:r>
          </a:p>
          <a:p>
            <a:pPr algn="just"/>
            <a:endParaRPr lang="en-US" sz="4000" dirty="0"/>
          </a:p>
          <a:p>
            <a:pPr algn="just"/>
            <a:r>
              <a:rPr lang="en-US" sz="4000" dirty="0"/>
              <a:t>Study &amp; Analyze the 5G Network Architecture(s) and enumerate their characteristics, as well…</a:t>
            </a:r>
          </a:p>
          <a:p>
            <a:pPr marL="0" indent="0" algn="just">
              <a:buNone/>
            </a:pPr>
            <a:endParaRPr lang="en-US" sz="4000" dirty="0"/>
          </a:p>
          <a:p>
            <a:pPr algn="just"/>
            <a:r>
              <a:rPr lang="en-US" sz="4000" b="1" dirty="0">
                <a:solidFill>
                  <a:srgbClr val="FFFF00"/>
                </a:solidFill>
              </a:rPr>
              <a:t>Develop a Matrix to map the Application(use cases) characteristics with the 5G Network Architecture Characteristics that shall enable &amp; empower the Applications’ characteristics.</a:t>
            </a:r>
          </a:p>
        </p:txBody>
      </p:sp>
    </p:spTree>
    <p:extLst>
      <p:ext uri="{BB962C8B-B14F-4D97-AF65-F5344CB8AC3E}">
        <p14:creationId xmlns:p14="http://schemas.microsoft.com/office/powerpoint/2010/main" val="28511681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36E83-21E3-FA48-8050-1A6A5F6C751C}"/>
              </a:ext>
            </a:extLst>
          </p:cNvPr>
          <p:cNvSpPr>
            <a:spLocks noGrp="1"/>
          </p:cNvSpPr>
          <p:nvPr>
            <p:ph type="title"/>
          </p:nvPr>
        </p:nvSpPr>
        <p:spPr/>
        <p:txBody>
          <a:bodyPr>
            <a:normAutofit fontScale="90000"/>
          </a:bodyPr>
          <a:lstStyle/>
          <a:p>
            <a:endParaRPr lang="en-US"/>
          </a:p>
        </p:txBody>
      </p:sp>
      <p:sp>
        <p:nvSpPr>
          <p:cNvPr id="3" name="Content Placeholder 2">
            <a:extLst>
              <a:ext uri="{FF2B5EF4-FFF2-40B4-BE49-F238E27FC236}">
                <a16:creationId xmlns:a16="http://schemas.microsoft.com/office/drawing/2014/main" id="{656EA826-40A1-7C44-A3EF-B736EB8B4B94}"/>
              </a:ext>
            </a:extLst>
          </p:cNvPr>
          <p:cNvSpPr>
            <a:spLocks noGrp="1"/>
          </p:cNvSpPr>
          <p:nvPr>
            <p:ph idx="1"/>
          </p:nvPr>
        </p:nvSpPr>
        <p:spPr/>
        <p:txBody>
          <a:bodyPr/>
          <a:lstStyle/>
          <a:p>
            <a:pPr algn="just"/>
            <a:r>
              <a:rPr lang="en-US" dirty="0"/>
              <a:t>This Mapping shall help us understand &amp; develop the customized “5G Architecture Views” that shall meet any single or set of Applications &amp; /or use cases.</a:t>
            </a:r>
          </a:p>
          <a:p>
            <a:pPr algn="just"/>
            <a:endParaRPr lang="en-US" dirty="0"/>
          </a:p>
          <a:p>
            <a:pPr algn="just"/>
            <a:r>
              <a:rPr lang="en-US" dirty="0">
                <a:solidFill>
                  <a:srgbClr val="FFFF00"/>
                </a:solidFill>
              </a:rPr>
              <a:t>This shall also help us understand the kind of VNFs, Network Slices,  Microservices, Containers, Data Repositories that shall be needed to serve the respective applications…</a:t>
            </a:r>
          </a:p>
          <a:p>
            <a:pPr algn="just"/>
            <a:endParaRPr lang="en-US" dirty="0"/>
          </a:p>
          <a:p>
            <a:pPr algn="just"/>
            <a:endParaRPr lang="en-US" dirty="0"/>
          </a:p>
        </p:txBody>
      </p:sp>
    </p:spTree>
    <p:extLst>
      <p:ext uri="{BB962C8B-B14F-4D97-AF65-F5344CB8AC3E}">
        <p14:creationId xmlns:p14="http://schemas.microsoft.com/office/powerpoint/2010/main" val="328054189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E49E7-DB01-5C45-A775-35C4089EE84F}"/>
              </a:ext>
            </a:extLst>
          </p:cNvPr>
          <p:cNvSpPr>
            <a:spLocks noGrp="1"/>
          </p:cNvSpPr>
          <p:nvPr>
            <p:ph type="title"/>
          </p:nvPr>
        </p:nvSpPr>
        <p:spPr/>
        <p:txBody>
          <a:bodyPr>
            <a:normAutofit fontScale="90000"/>
          </a:bodyPr>
          <a:lstStyle/>
          <a:p>
            <a:endParaRPr lang="en-US"/>
          </a:p>
        </p:txBody>
      </p:sp>
      <p:sp>
        <p:nvSpPr>
          <p:cNvPr id="3" name="Content Placeholder 2">
            <a:extLst>
              <a:ext uri="{FF2B5EF4-FFF2-40B4-BE49-F238E27FC236}">
                <a16:creationId xmlns:a16="http://schemas.microsoft.com/office/drawing/2014/main" id="{A5AB8F62-D3B7-824A-ACC3-43EE3D5DE9EC}"/>
              </a:ext>
            </a:extLst>
          </p:cNvPr>
          <p:cNvSpPr>
            <a:spLocks noGrp="1"/>
          </p:cNvSpPr>
          <p:nvPr>
            <p:ph idx="1"/>
          </p:nvPr>
        </p:nvSpPr>
        <p:spPr>
          <a:xfrm>
            <a:off x="1473939" y="1371600"/>
            <a:ext cx="14350261" cy="6751319"/>
          </a:xfrm>
        </p:spPr>
        <p:txBody>
          <a:bodyPr>
            <a:normAutofit/>
          </a:bodyPr>
          <a:lstStyle/>
          <a:p>
            <a:pPr marL="0" indent="0" algn="just">
              <a:buNone/>
            </a:pPr>
            <a:r>
              <a:rPr lang="en-US" sz="6000" b="1" dirty="0"/>
              <a:t>Only after this stage, </a:t>
            </a:r>
          </a:p>
          <a:p>
            <a:pPr marL="0" indent="0" algn="just">
              <a:buNone/>
            </a:pPr>
            <a:endParaRPr lang="en-US" sz="6000" b="1" dirty="0"/>
          </a:p>
          <a:p>
            <a:pPr marL="0" indent="0" algn="just">
              <a:buNone/>
            </a:pPr>
            <a:r>
              <a:rPr lang="en-US" sz="6000" b="1" dirty="0">
                <a:solidFill>
                  <a:srgbClr val="FFFF00"/>
                </a:solidFill>
              </a:rPr>
              <a:t>we could actually identify as to what aspects can or should be standardized in the Application Layer Domain…</a:t>
            </a:r>
          </a:p>
        </p:txBody>
      </p:sp>
    </p:spTree>
    <p:extLst>
      <p:ext uri="{BB962C8B-B14F-4D97-AF65-F5344CB8AC3E}">
        <p14:creationId xmlns:p14="http://schemas.microsoft.com/office/powerpoint/2010/main" val="2921559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81B13DB-871A-4CCA-86E1-88491AF2B2A6}"/>
              </a:ext>
            </a:extLst>
          </p:cNvPr>
          <p:cNvGraphicFramePr/>
          <p:nvPr>
            <p:extLst>
              <p:ext uri="{D42A27DB-BD31-4B8C-83A1-F6EECF244321}">
                <p14:modId xmlns:p14="http://schemas.microsoft.com/office/powerpoint/2010/main" val="228680155"/>
              </p:ext>
            </p:extLst>
          </p:nvPr>
        </p:nvGraphicFramePr>
        <p:xfrm>
          <a:off x="728294" y="1938484"/>
          <a:ext cx="14799413" cy="57679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a:spLocks noGrp="1"/>
          </p:cNvSpPr>
          <p:nvPr>
            <p:ph type="title"/>
          </p:nvPr>
        </p:nvSpPr>
        <p:spPr>
          <a:xfrm>
            <a:off x="728294" y="123708"/>
            <a:ext cx="12200306" cy="943092"/>
          </a:xfrm>
        </p:spPr>
        <p:txBody>
          <a:bodyPr/>
          <a:lstStyle/>
          <a:p>
            <a:r>
              <a:rPr lang="en-US" dirty="0"/>
              <a:t>Mission Strategy</a:t>
            </a:r>
            <a:endParaRPr lang="en-GB" dirty="0"/>
          </a:p>
        </p:txBody>
      </p:sp>
    </p:spTree>
    <p:extLst>
      <p:ext uri="{BB962C8B-B14F-4D97-AF65-F5344CB8AC3E}">
        <p14:creationId xmlns:p14="http://schemas.microsoft.com/office/powerpoint/2010/main" val="34795279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9200" y="119729"/>
            <a:ext cx="7620217" cy="853017"/>
          </a:xfrm>
        </p:spPr>
        <p:txBody>
          <a:bodyPr>
            <a:noAutofit/>
          </a:bodyPr>
          <a:lstStyle/>
          <a:p>
            <a:r>
              <a:rPr lang="en-US" sz="6000" dirty="0"/>
              <a:t>Resilience….</a:t>
            </a:r>
          </a:p>
        </p:txBody>
      </p:sp>
      <p:pic>
        <p:nvPicPr>
          <p:cNvPr id="4" name="Content Placeholder 3" descr="rabindranath-tagore-(master.jpg"/>
          <p:cNvPicPr>
            <a:picLocks noGrp="1" noChangeAspect="1"/>
          </p:cNvPicPr>
          <p:nvPr>
            <p:ph idx="1"/>
          </p:nvPr>
        </p:nvPicPr>
        <p:blipFill rotWithShape="1">
          <a:blip r:embed="rId2">
            <a:extLst>
              <a:ext uri="{28A0092B-C50C-407E-A947-70E740481C1C}">
                <a14:useLocalDpi xmlns:a14="http://schemas.microsoft.com/office/drawing/2010/main" val="0"/>
              </a:ext>
            </a:extLst>
          </a:blip>
          <a:srcRect l="-927" t="-1530" r="-1" b="1530"/>
          <a:stretch/>
        </p:blipFill>
        <p:spPr>
          <a:xfrm>
            <a:off x="1955800" y="972747"/>
            <a:ext cx="5334000" cy="7180654"/>
          </a:xfrm>
        </p:spPr>
      </p:pic>
      <p:sp>
        <p:nvSpPr>
          <p:cNvPr id="6" name="TextBox 5"/>
          <p:cNvSpPr txBox="1"/>
          <p:nvPr/>
        </p:nvSpPr>
        <p:spPr>
          <a:xfrm>
            <a:off x="7442200" y="2703446"/>
            <a:ext cx="8686800" cy="4154984"/>
          </a:xfrm>
          <a:prstGeom prst="rect">
            <a:avLst/>
          </a:prstGeom>
          <a:noFill/>
        </p:spPr>
        <p:txBody>
          <a:bodyPr wrap="square" rtlCol="0">
            <a:spAutoFit/>
          </a:bodyPr>
          <a:lstStyle/>
          <a:p>
            <a:pPr algn="ctr"/>
            <a:r>
              <a:rPr lang="en-US" sz="6600" b="1" i="1" dirty="0">
                <a:solidFill>
                  <a:srgbClr val="90F502"/>
                </a:solidFill>
              </a:rPr>
              <a:t>Let us not pray to be sheltered from dangers but to be fearless when facing them</a:t>
            </a:r>
          </a:p>
        </p:txBody>
      </p:sp>
    </p:spTree>
    <p:extLst>
      <p:ext uri="{BB962C8B-B14F-4D97-AF65-F5344CB8AC3E}">
        <p14:creationId xmlns:p14="http://schemas.microsoft.com/office/powerpoint/2010/main" val="29504436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DACB942-76E1-4B4E-8E78-64EAB5CF0398}"/>
              </a:ext>
            </a:extLst>
          </p:cNvPr>
          <p:cNvGrpSpPr/>
          <p:nvPr/>
        </p:nvGrpSpPr>
        <p:grpSpPr>
          <a:xfrm>
            <a:off x="-55902" y="-8252"/>
            <a:ext cx="16476249" cy="9228347"/>
            <a:chOff x="-41927" y="-6189"/>
            <a:chExt cx="12357187" cy="6921260"/>
          </a:xfrm>
        </p:grpSpPr>
        <p:pic>
          <p:nvPicPr>
            <p:cNvPr id="24" name="Picture 23" descr="cyber_security.png">
              <a:extLst>
                <a:ext uri="{FF2B5EF4-FFF2-40B4-BE49-F238E27FC236}">
                  <a16:creationId xmlns:a16="http://schemas.microsoft.com/office/drawing/2014/main" id="{846A62BE-DC2A-BC44-81ED-A21F5CCAF09D}"/>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286693" y="5544342"/>
              <a:ext cx="4783852" cy="1342593"/>
            </a:xfrm>
            <a:prstGeom prst="rect">
              <a:avLst/>
            </a:prstGeom>
            <a:ln>
              <a:noFill/>
            </a:ln>
            <a:effectLst>
              <a:softEdge rad="112500"/>
            </a:effectLst>
          </p:spPr>
        </p:pic>
        <p:pic>
          <p:nvPicPr>
            <p:cNvPr id="21" name="Picture 20" descr="artificial-intelligence-tools.jpg"/>
            <p:cNvPicPr>
              <a:picLocks noChangeAspect="1"/>
            </p:cNvPicPr>
            <p:nvPr/>
          </p:nvPicPr>
          <p:blipFill rotWithShape="1">
            <a:blip r:embed="rId3">
              <a:extLst>
                <a:ext uri="{28A0092B-C50C-407E-A947-70E740481C1C}">
                  <a14:useLocalDpi xmlns:a14="http://schemas.microsoft.com/office/drawing/2010/main" val="0"/>
                </a:ext>
              </a:extLst>
            </a:blip>
            <a:srcRect l="20027" r="18440"/>
            <a:stretch/>
          </p:blipFill>
          <p:spPr>
            <a:xfrm>
              <a:off x="3655391" y="5540815"/>
              <a:ext cx="1976285" cy="1374256"/>
            </a:xfrm>
            <a:prstGeom prst="rect">
              <a:avLst/>
            </a:prstGeom>
            <a:ln>
              <a:noFill/>
            </a:ln>
            <a:effectLst>
              <a:softEdge rad="112500"/>
            </a:effectLst>
          </p:spPr>
        </p:pic>
        <p:pic>
          <p:nvPicPr>
            <p:cNvPr id="4" name="Picture 3" descr="ClLwqjrWYAAaPUG.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6046" y="-6189"/>
              <a:ext cx="2614709" cy="1430766"/>
            </a:xfrm>
            <a:prstGeom prst="rect">
              <a:avLst/>
            </a:prstGeom>
            <a:ln>
              <a:noFill/>
            </a:ln>
            <a:effectLst>
              <a:softEdge rad="112500"/>
            </a:effectLst>
          </p:spPr>
        </p:pic>
        <p:pic>
          <p:nvPicPr>
            <p:cNvPr id="7" name="Picture 6" descr="manu.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716073" y="3606311"/>
              <a:ext cx="2779058" cy="1430766"/>
            </a:xfrm>
            <a:prstGeom prst="rect">
              <a:avLst/>
            </a:prstGeom>
            <a:ln>
              <a:noFill/>
            </a:ln>
            <a:effectLst>
              <a:softEdge rad="112500"/>
            </a:effectLst>
          </p:spPr>
        </p:pic>
        <p:pic>
          <p:nvPicPr>
            <p:cNvPr id="8" name="Picture 7" descr="chains-434022_1920.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56741" y="5488990"/>
              <a:ext cx="1958519" cy="1384225"/>
            </a:xfrm>
            <a:prstGeom prst="rect">
              <a:avLst/>
            </a:prstGeom>
            <a:ln>
              <a:noFill/>
            </a:ln>
            <a:effectLst>
              <a:softEdge rad="112500"/>
            </a:effectLst>
          </p:spPr>
        </p:pic>
        <p:pic>
          <p:nvPicPr>
            <p:cNvPr id="9" name="Picture 8" descr="IoT integra...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62030" y="35376"/>
              <a:ext cx="2455049" cy="1384229"/>
            </a:xfrm>
            <a:prstGeom prst="rect">
              <a:avLst/>
            </a:prstGeom>
            <a:ln>
              <a:noFill/>
            </a:ln>
            <a:effectLst>
              <a:softEdge rad="112500"/>
            </a:effectLst>
          </p:spPr>
        </p:pic>
        <p:pic>
          <p:nvPicPr>
            <p:cNvPr id="10" name="Picture 9" descr="M2M_eblast.png"/>
            <p:cNvPicPr>
              <a:picLocks noChangeAspect="1"/>
            </p:cNvPicPr>
            <p:nvPr/>
          </p:nvPicPr>
          <p:blipFill rotWithShape="1">
            <a:blip r:embed="rId8">
              <a:extLst>
                <a:ext uri="{28A0092B-C50C-407E-A947-70E740481C1C}">
                  <a14:useLocalDpi xmlns:a14="http://schemas.microsoft.com/office/drawing/2010/main" val="0"/>
                </a:ext>
              </a:extLst>
            </a:blip>
            <a:srcRect l="36018" r="17286"/>
            <a:stretch/>
          </p:blipFill>
          <p:spPr>
            <a:xfrm>
              <a:off x="-30832" y="-6189"/>
              <a:ext cx="1450120" cy="1667357"/>
            </a:xfrm>
            <a:prstGeom prst="rect">
              <a:avLst/>
            </a:prstGeom>
            <a:ln>
              <a:noFill/>
            </a:ln>
            <a:effectLst>
              <a:softEdge rad="112500"/>
            </a:effectLst>
          </p:spPr>
        </p:pic>
        <p:pic>
          <p:nvPicPr>
            <p:cNvPr id="11" name="Picture 10" descr="IoT....jp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9381577" y="2685830"/>
              <a:ext cx="4268088" cy="1478915"/>
            </a:xfrm>
            <a:prstGeom prst="rect">
              <a:avLst/>
            </a:prstGeom>
            <a:ln>
              <a:noFill/>
            </a:ln>
            <a:effectLst>
              <a:softEdge rad="112500"/>
            </a:effectLst>
          </p:spPr>
        </p:pic>
        <p:pic>
          <p:nvPicPr>
            <p:cNvPr id="12" name="Picture 11" descr="IOT.jpg"/>
            <p:cNvPicPr>
              <a:picLocks noChangeAspect="1"/>
            </p:cNvPicPr>
            <p:nvPr/>
          </p:nvPicPr>
          <p:blipFill rotWithShape="1">
            <a:blip r:embed="rId10">
              <a:extLst>
                <a:ext uri="{28A0092B-C50C-407E-A947-70E740481C1C}">
                  <a14:useLocalDpi xmlns:a14="http://schemas.microsoft.com/office/drawing/2010/main" val="0"/>
                </a:ext>
              </a:extLst>
            </a:blip>
            <a:srcRect l="2542" t="5284" r="4931" b="6927"/>
            <a:stretch/>
          </p:blipFill>
          <p:spPr>
            <a:xfrm>
              <a:off x="1998920" y="5509303"/>
              <a:ext cx="1818126" cy="1363496"/>
            </a:xfrm>
            <a:prstGeom prst="rect">
              <a:avLst/>
            </a:prstGeom>
            <a:ln>
              <a:noFill/>
            </a:ln>
            <a:effectLst>
              <a:softEdge rad="112500"/>
            </a:effectLst>
          </p:spPr>
        </p:pic>
        <p:pic>
          <p:nvPicPr>
            <p:cNvPr id="13" name="Picture 12" descr="sustainable architecture.jp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08220" y="5559332"/>
              <a:ext cx="1693351" cy="1277400"/>
            </a:xfrm>
            <a:prstGeom prst="rect">
              <a:avLst/>
            </a:prstGeom>
            <a:ln>
              <a:noFill/>
            </a:ln>
            <a:effectLst>
              <a:softEdge rad="112500"/>
            </a:effectLst>
          </p:spPr>
        </p:pic>
        <p:pic>
          <p:nvPicPr>
            <p:cNvPr id="16" name="Picture 15" descr="bitcoin.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819645" y="3672532"/>
              <a:ext cx="1480723" cy="1473875"/>
            </a:xfrm>
            <a:prstGeom prst="rect">
              <a:avLst/>
            </a:prstGeom>
            <a:ln>
              <a:noFill/>
            </a:ln>
            <a:effectLst>
              <a:softEdge rad="112500"/>
            </a:effectLst>
          </p:spPr>
        </p:pic>
        <p:pic>
          <p:nvPicPr>
            <p:cNvPr id="17" name="Picture 16" descr="ciberseguridad.jpg"/>
            <p:cNvPicPr>
              <a:picLocks noChangeAspect="1"/>
            </p:cNvPicPr>
            <p:nvPr/>
          </p:nvPicPr>
          <p:blipFill rotWithShape="1">
            <a:blip r:embed="rId13">
              <a:extLst>
                <a:ext uri="{28A0092B-C50C-407E-A947-70E740481C1C}">
                  <a14:useLocalDpi xmlns:a14="http://schemas.microsoft.com/office/drawing/2010/main" val="0"/>
                </a:ext>
              </a:extLst>
            </a:blip>
            <a:srcRect l="23608" t="24668" r="18302" b="15915"/>
            <a:stretch/>
          </p:blipFill>
          <p:spPr>
            <a:xfrm>
              <a:off x="10773168" y="1843104"/>
              <a:ext cx="1419669" cy="1089061"/>
            </a:xfrm>
            <a:prstGeom prst="rect">
              <a:avLst/>
            </a:prstGeom>
            <a:ln>
              <a:noFill/>
            </a:ln>
            <a:effectLst>
              <a:softEdge rad="112500"/>
            </a:effectLst>
          </p:spPr>
        </p:pic>
        <p:pic>
          <p:nvPicPr>
            <p:cNvPr id="18" name="Picture 17" descr="HI vs AI.png"/>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077376" y="9144"/>
              <a:ext cx="2661223" cy="1430765"/>
            </a:xfrm>
            <a:prstGeom prst="rect">
              <a:avLst/>
            </a:prstGeom>
            <a:ln>
              <a:noFill/>
            </a:ln>
            <a:effectLst>
              <a:softEdge rad="112500"/>
            </a:effectLst>
          </p:spPr>
        </p:pic>
        <p:pic>
          <p:nvPicPr>
            <p:cNvPr id="22" name="Picture 21" descr="figure_8_smartgrid_2.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552561" y="5571457"/>
              <a:ext cx="1785594" cy="1277399"/>
            </a:xfrm>
            <a:prstGeom prst="rect">
              <a:avLst/>
            </a:prstGeom>
          </p:spPr>
        </p:pic>
        <p:pic>
          <p:nvPicPr>
            <p:cNvPr id="23" name="Picture 22" descr="blockchain-and-hashgraph.jpg"/>
            <p:cNvPicPr>
              <a:picLocks noChangeAspect="1"/>
            </p:cNvPicPr>
            <p:nvPr/>
          </p:nvPicPr>
          <p:blipFill rotWithShape="1">
            <a:blip r:embed="rId16">
              <a:extLst>
                <a:ext uri="{28A0092B-C50C-407E-A947-70E740481C1C}">
                  <a14:useLocalDpi xmlns:a14="http://schemas.microsoft.com/office/drawing/2010/main" val="0"/>
                </a:ext>
              </a:extLst>
            </a:blip>
            <a:srcRect l="10597" t="5650" r="9934" b="5876"/>
            <a:stretch/>
          </p:blipFill>
          <p:spPr>
            <a:xfrm>
              <a:off x="-38494" y="5440304"/>
              <a:ext cx="2228024" cy="1451159"/>
            </a:xfrm>
            <a:prstGeom prst="rect">
              <a:avLst/>
            </a:prstGeom>
            <a:ln>
              <a:noFill/>
            </a:ln>
            <a:effectLst>
              <a:softEdge rad="112500"/>
            </a:effectLst>
          </p:spPr>
        </p:pic>
        <p:pic>
          <p:nvPicPr>
            <p:cNvPr id="25" name="Picture 24">
              <a:extLst>
                <a:ext uri="{FF2B5EF4-FFF2-40B4-BE49-F238E27FC236}">
                  <a16:creationId xmlns:a16="http://schemas.microsoft.com/office/drawing/2014/main" id="{4293666C-0B9F-4544-BB5E-D2E0D9D8A898}"/>
                </a:ext>
              </a:extLst>
            </p:cNvPr>
            <p:cNvPicPr>
              <a:picLocks noChangeAspect="1"/>
            </p:cNvPicPr>
            <p:nvPr/>
          </p:nvPicPr>
          <p:blipFill>
            <a:blip r:embed="rId17"/>
            <a:stretch>
              <a:fillRect/>
            </a:stretch>
          </p:blipFill>
          <p:spPr>
            <a:xfrm>
              <a:off x="2390" y="1584254"/>
              <a:ext cx="1450120" cy="1451159"/>
            </a:xfrm>
            <a:prstGeom prst="rect">
              <a:avLst/>
            </a:prstGeom>
            <a:effectLst>
              <a:softEdge rad="88900"/>
            </a:effectLst>
          </p:spPr>
        </p:pic>
        <p:pic>
          <p:nvPicPr>
            <p:cNvPr id="3" name="Picture 2" descr="A picture containing chain&#13;&#10;&#13;&#10;Description automatically generated">
              <a:extLst>
                <a:ext uri="{FF2B5EF4-FFF2-40B4-BE49-F238E27FC236}">
                  <a16:creationId xmlns:a16="http://schemas.microsoft.com/office/drawing/2014/main" id="{24CC0E39-BDE0-D846-9C5B-AB7DCDA0A281}"/>
                </a:ext>
              </a:extLst>
            </p:cNvPr>
            <p:cNvPicPr>
              <a:picLocks noChangeAspect="1"/>
            </p:cNvPicPr>
            <p:nvPr/>
          </p:nvPicPr>
          <p:blipFill>
            <a:blip r:embed="rId18"/>
            <a:stretch>
              <a:fillRect/>
            </a:stretch>
          </p:blipFill>
          <p:spPr>
            <a:xfrm>
              <a:off x="1432321" y="3068557"/>
              <a:ext cx="874781" cy="2356338"/>
            </a:xfrm>
            <a:prstGeom prst="rect">
              <a:avLst/>
            </a:prstGeom>
          </p:spPr>
        </p:pic>
      </p:grpSp>
      <p:sp>
        <p:nvSpPr>
          <p:cNvPr id="28" name="Rectangle 2">
            <a:hlinkClick r:id="rId19"/>
            <a:extLst>
              <a:ext uri="{FF2B5EF4-FFF2-40B4-BE49-F238E27FC236}">
                <a16:creationId xmlns:a16="http://schemas.microsoft.com/office/drawing/2014/main" id="{67A0529F-7000-384D-98A0-A2EBB36C41AB}"/>
              </a:ext>
            </a:extLst>
          </p:cNvPr>
          <p:cNvSpPr>
            <a:spLocks noChangeArrowheads="1"/>
          </p:cNvSpPr>
          <p:nvPr/>
        </p:nvSpPr>
        <p:spPr bwMode="auto">
          <a:xfrm>
            <a:off x="2812018" y="3886200"/>
            <a:ext cx="10573782" cy="25562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lgn="ctr"/>
            <a:r>
              <a:rPr lang="en-US" sz="5400" b="1" dirty="0">
                <a:solidFill>
                  <a:srgbClr val="33FF33"/>
                </a:solidFill>
                <a:latin typeface="Lucida Calligraphy" charset="0"/>
              </a:rPr>
              <a:t>design is our religion</a:t>
            </a:r>
          </a:p>
          <a:p>
            <a:pPr algn="ctr"/>
            <a:r>
              <a:rPr lang="en-US" sz="5400" b="1" dirty="0">
                <a:solidFill>
                  <a:srgbClr val="33FF33"/>
                </a:solidFill>
                <a:latin typeface="Lucida Calligraphy" charset="0"/>
              </a:rPr>
              <a:t> &amp;</a:t>
            </a:r>
          </a:p>
          <a:p>
            <a:pPr algn="ctr"/>
            <a:r>
              <a:rPr lang="en-US" sz="5400" b="1" dirty="0">
                <a:solidFill>
                  <a:srgbClr val="33FF33"/>
                </a:solidFill>
                <a:latin typeface="Lucida Calligraphy" charset="0"/>
              </a:rPr>
              <a:t> we are fanatically religious</a:t>
            </a:r>
            <a:endParaRPr lang="en-US" sz="2400" b="1" dirty="0">
              <a:solidFill>
                <a:srgbClr val="33FF33"/>
              </a:solidFill>
              <a:latin typeface="Lucida Calligraphy" charset="0"/>
            </a:endParaRPr>
          </a:p>
        </p:txBody>
      </p:sp>
      <p:pic>
        <p:nvPicPr>
          <p:cNvPr id="30" name="Picture 2" descr="C:\Documents and Settings\CETaylor\Local Settings\Temporary Internet Files\Content.IE5\GH6RKH6J\MPj04331650000[1].jpg">
            <a:extLst>
              <a:ext uri="{FF2B5EF4-FFF2-40B4-BE49-F238E27FC236}">
                <a16:creationId xmlns:a16="http://schemas.microsoft.com/office/drawing/2014/main" id="{78C313CB-C25D-FF4E-A617-028363A04B79}"/>
              </a:ext>
            </a:extLst>
          </p:cNvPr>
          <p:cNvPicPr>
            <a:picLocks noChangeAspect="1" noChangeArrowheads="1"/>
          </p:cNvPicPr>
          <p:nvPr/>
        </p:nvPicPr>
        <p:blipFill rotWithShape="1">
          <a:blip r:embed="rId20" cstate="screen"/>
          <a:srcRect l="15055" t="6824" r="14023" b="7566"/>
          <a:stretch/>
        </p:blipFill>
        <p:spPr bwMode="auto">
          <a:xfrm>
            <a:off x="7291549" y="1940420"/>
            <a:ext cx="2960809" cy="1913972"/>
          </a:xfrm>
          <a:prstGeom prst="rect">
            <a:avLst/>
          </a:prstGeom>
          <a:noFill/>
          <a:ln w="9525">
            <a:noFill/>
            <a:miter lim="800000"/>
            <a:headEnd/>
            <a:tailEnd/>
          </a:ln>
        </p:spPr>
      </p:pic>
      <p:pic>
        <p:nvPicPr>
          <p:cNvPr id="31" name="Picture 1" descr="narnix contact.jpg">
            <a:extLst>
              <a:ext uri="{FF2B5EF4-FFF2-40B4-BE49-F238E27FC236}">
                <a16:creationId xmlns:a16="http://schemas.microsoft.com/office/drawing/2014/main" id="{DEE42007-F0AA-7740-9F89-AF446C7D77ED}"/>
              </a:ext>
            </a:extLst>
          </p:cNvPr>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10131427" y="6416970"/>
            <a:ext cx="4176406" cy="10116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5" descr="A picture containing electronics&#10;&#10;Description automatically generated">
            <a:extLst>
              <a:ext uri="{FF2B5EF4-FFF2-40B4-BE49-F238E27FC236}">
                <a16:creationId xmlns:a16="http://schemas.microsoft.com/office/drawing/2014/main" id="{FDBBD696-2C85-3D4C-B124-3E55C39D00E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873855" y="45891"/>
            <a:ext cx="4646126" cy="1853545"/>
          </a:xfrm>
          <a:prstGeom prst="rect">
            <a:avLst/>
          </a:prstGeom>
          <a:effectLst>
            <a:softEdge rad="63500"/>
          </a:effectLst>
        </p:spPr>
      </p:pic>
    </p:spTree>
    <p:extLst>
      <p:ext uri="{BB962C8B-B14F-4D97-AF65-F5344CB8AC3E}">
        <p14:creationId xmlns:p14="http://schemas.microsoft.com/office/powerpoint/2010/main" val="3047196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afterEffect">
                                  <p:stCondLst>
                                    <p:cond delay="0"/>
                                  </p:stCondLst>
                                  <p:iterate type="lt">
                                    <p:tmPct val="0"/>
                                  </p:iterate>
                                  <p:childTnLst>
                                    <p:set>
                                      <p:cBhvr>
                                        <p:cTn id="6" dur="1" fill="hold">
                                          <p:stCondLst>
                                            <p:cond delay="0"/>
                                          </p:stCondLst>
                                        </p:cTn>
                                        <p:tgtEl>
                                          <p:spTgt spid="28"/>
                                        </p:tgtEl>
                                        <p:attrNameLst>
                                          <p:attrName>style.visibility</p:attrName>
                                        </p:attrNameLst>
                                      </p:cBhvr>
                                      <p:to>
                                        <p:strVal val="visible"/>
                                      </p:to>
                                    </p:set>
                                    <p:animEffect transition="in" filter="diamond(in)">
                                      <p:cBhvr>
                                        <p:cTn id="7" dur="2000"/>
                                        <p:tgtEl>
                                          <p:spTgt spid="28"/>
                                        </p:tgtEl>
                                      </p:cBhvr>
                                    </p:animEffect>
                                  </p:childTnLst>
                                </p:cTn>
                              </p:par>
                            </p:childTnLst>
                          </p:cTn>
                        </p:par>
                        <p:par>
                          <p:cTn id="8" fill="hold">
                            <p:stCondLst>
                              <p:cond delay="2000"/>
                            </p:stCondLst>
                            <p:childTnLst>
                              <p:par>
                                <p:cTn id="9" presetID="20" presetClass="emph" presetSubtype="0" fill="hold" grpId="1" nodeType="afterEffect">
                                  <p:stCondLst>
                                    <p:cond delay="0"/>
                                  </p:stCondLst>
                                  <p:iterate type="lt">
                                    <p:tmPct val="10000"/>
                                  </p:iterate>
                                  <p:childTnLst>
                                    <p:set>
                                      <p:cBhvr override="childStyle">
                                        <p:cTn id="10" dur="500" autoRev="1" fill="hold"/>
                                        <p:tgtEl>
                                          <p:spTgt spid="28"/>
                                        </p:tgtEl>
                                        <p:attrNameLst>
                                          <p:attrName>style.color</p:attrName>
                                        </p:attrNameLst>
                                      </p:cBhvr>
                                      <p:to>
                                        <p:clrVal>
                                          <a:schemeClr val="accent2"/>
                                        </p:clrVal>
                                      </p:to>
                                    </p:set>
                                    <p:set>
                                      <p:cBhvr>
                                        <p:cTn id="11" dur="500" autoRev="1" fill="hold"/>
                                        <p:tgtEl>
                                          <p:spTgt spid="28"/>
                                        </p:tgtEl>
                                        <p:attrNameLst>
                                          <p:attrName>fillcolor</p:attrName>
                                        </p:attrNameLst>
                                      </p:cBhvr>
                                      <p:to>
                                        <p:clrVal>
                                          <a:schemeClr val="accent2"/>
                                        </p:clrVal>
                                      </p:to>
                                    </p:set>
                                    <p:set>
                                      <p:cBhvr>
                                        <p:cTn id="12" dur="500" autoRev="1" fill="hold"/>
                                        <p:tgtEl>
                                          <p:spTgt spid="2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8" grpId="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
          </p:nvPr>
        </p:nvSpPr>
        <p:spPr>
          <a:xfrm>
            <a:off x="1198913" y="5257800"/>
            <a:ext cx="3304355" cy="1815549"/>
          </a:xfrm>
        </p:spPr>
        <p:txBody>
          <a:bodyPr>
            <a:normAutofit fontScale="92500"/>
          </a:bodyPr>
          <a:lstStyle/>
          <a:p>
            <a:pPr algn="ctr"/>
            <a:r>
              <a:rPr lang="en-US" sz="3200" b="0" dirty="0">
                <a:solidFill>
                  <a:srgbClr val="90F502"/>
                </a:solidFill>
                <a:latin typeface="Bahamas"/>
                <a:cs typeface="Bahamas"/>
              </a:rPr>
              <a:t>narang n. kishor</a:t>
            </a:r>
          </a:p>
          <a:p>
            <a:pPr algn="ctr"/>
            <a:r>
              <a:rPr lang="en-US" b="0" dirty="0">
                <a:solidFill>
                  <a:srgbClr val="00B0F0"/>
                </a:solidFill>
              </a:rPr>
              <a:t>Mentor &amp; </a:t>
            </a:r>
          </a:p>
          <a:p>
            <a:pPr algn="ctr"/>
            <a:r>
              <a:rPr lang="en-US" b="0" dirty="0">
                <a:solidFill>
                  <a:srgbClr val="00B0F0"/>
                </a:solidFill>
              </a:rPr>
              <a:t>Principal Design Architect</a:t>
            </a:r>
          </a:p>
          <a:p>
            <a:pPr algn="ctr"/>
            <a:r>
              <a:rPr lang="en-US" sz="2133" b="0" dirty="0">
                <a:solidFill>
                  <a:srgbClr val="90F502"/>
                </a:solidFill>
                <a:latin typeface="Bahamas"/>
                <a:cs typeface="Bahamas"/>
              </a:rPr>
              <a:t>narnix technolabs pvt. ltd.</a:t>
            </a:r>
          </a:p>
        </p:txBody>
      </p:sp>
      <p:sp>
        <p:nvSpPr>
          <p:cNvPr id="9" name="Content Placeholder 8"/>
          <p:cNvSpPr>
            <a:spLocks noGrp="1"/>
          </p:cNvSpPr>
          <p:nvPr>
            <p:ph sz="quarter" idx="4"/>
          </p:nvPr>
        </p:nvSpPr>
        <p:spPr>
          <a:xfrm>
            <a:off x="4792134" y="1004523"/>
            <a:ext cx="11184466" cy="7405700"/>
          </a:xfrm>
        </p:spPr>
        <p:txBody>
          <a:bodyPr>
            <a:normAutofit/>
          </a:bodyPr>
          <a:lstStyle/>
          <a:p>
            <a:pPr marL="0" indent="0" algn="ctr">
              <a:spcBef>
                <a:spcPts val="1600"/>
              </a:spcBef>
              <a:buClr>
                <a:srgbClr val="003399"/>
              </a:buClr>
              <a:buSzPct val="125000"/>
              <a:buNone/>
            </a:pPr>
            <a:r>
              <a:rPr lang="en-IN" dirty="0">
                <a:solidFill>
                  <a:srgbClr val="00B0F0"/>
                </a:solidFill>
              </a:rPr>
              <a:t>Technology Philanthropist, </a:t>
            </a:r>
          </a:p>
          <a:p>
            <a:pPr marL="0" indent="0" algn="ctr">
              <a:spcBef>
                <a:spcPts val="1600"/>
              </a:spcBef>
              <a:buClr>
                <a:srgbClr val="003399"/>
              </a:buClr>
              <a:buSzPct val="125000"/>
              <a:buNone/>
            </a:pPr>
            <a:r>
              <a:rPr lang="en-IN" dirty="0">
                <a:solidFill>
                  <a:srgbClr val="00B0F0"/>
                </a:solidFill>
              </a:rPr>
              <a:t>Innovation &amp; Standardization Evangelist…</a:t>
            </a:r>
          </a:p>
          <a:p>
            <a:pPr marL="0" indent="0" algn="r">
              <a:spcBef>
                <a:spcPts val="1600"/>
              </a:spcBef>
              <a:buClr>
                <a:srgbClr val="003399"/>
              </a:buClr>
              <a:buSzPct val="125000"/>
              <a:buNone/>
            </a:pPr>
            <a:r>
              <a:rPr lang="en-IN" dirty="0">
                <a:solidFill>
                  <a:srgbClr val="90F502"/>
                </a:solidFill>
              </a:rPr>
              <a:t>Technology Consultant, Mentor &amp; Design Architect in Electrical, Electronics &amp; ICT…</a:t>
            </a:r>
          </a:p>
          <a:p>
            <a:pPr algn="just"/>
            <a:r>
              <a:rPr lang="en-US" sz="2400" dirty="0"/>
              <a:t>Over 40 years of professional experience in education, research, design and consulting</a:t>
            </a:r>
            <a:r>
              <a:rPr lang="en-IN" sz="2400" dirty="0"/>
              <a:t> </a:t>
            </a:r>
            <a:r>
              <a:rPr lang="en-US" sz="2400" dirty="0"/>
              <a:t>. </a:t>
            </a:r>
            <a:endParaRPr lang="en-IN" sz="2400" dirty="0"/>
          </a:p>
          <a:p>
            <a:pPr algn="just"/>
            <a:r>
              <a:rPr lang="en-US" sz="2400" dirty="0"/>
              <a:t>Over 30 years of hardcore Research and Design Development Experience in Solutions, Systems, Products, Hardware, Software &amp; Firmware (Embedded Software) in fields of Industrial, Power, IT, Telecom, Medical, Energy and Environment. </a:t>
            </a:r>
            <a:endParaRPr lang="en-IN" sz="2400" dirty="0"/>
          </a:p>
          <a:p>
            <a:pPr algn="just"/>
            <a:r>
              <a:rPr lang="en-US" sz="2400" dirty="0"/>
              <a:t>Over 10 years of Consultancy Experience to different segments of business &amp; industry. </a:t>
            </a:r>
            <a:endParaRPr lang="en-IN" sz="2400" dirty="0"/>
          </a:p>
          <a:p>
            <a:pPr algn="just"/>
            <a:r>
              <a:rPr lang="en-US" sz="2400" dirty="0"/>
              <a:t>Over 200 Research &amp; Design Mentees in the Electronics &amp; ICT &amp; STI Ecosystems.</a:t>
            </a:r>
            <a:endParaRPr lang="en-IN" sz="2400" dirty="0"/>
          </a:p>
          <a:p>
            <a:pPr algn="just"/>
            <a:r>
              <a:rPr lang="en-US" sz="2400" dirty="0"/>
              <a:t>Leading &amp; contributing in multiple National &amp; Global Standardization Initiatives at BIS, Niti Ayog, TSDSI, IEC, ISO, ITU, IEEE etc.…</a:t>
            </a:r>
            <a:endParaRPr lang="en-IN" sz="2400" dirty="0"/>
          </a:p>
        </p:txBody>
      </p:sp>
      <p:sp>
        <p:nvSpPr>
          <p:cNvPr id="7" name="Title 1"/>
          <p:cNvSpPr>
            <a:spLocks noGrp="1"/>
          </p:cNvSpPr>
          <p:nvPr>
            <p:ph type="title"/>
          </p:nvPr>
        </p:nvSpPr>
        <p:spPr>
          <a:xfrm>
            <a:off x="1270000" y="284029"/>
            <a:ext cx="10744200" cy="680161"/>
          </a:xfrm>
        </p:spPr>
        <p:txBody>
          <a:bodyPr>
            <a:normAutofit fontScale="90000"/>
          </a:bodyPr>
          <a:lstStyle/>
          <a:p>
            <a:r>
              <a:rPr lang="en-US" sz="4400" dirty="0">
                <a:solidFill>
                  <a:srgbClr val="FFFF00"/>
                </a:solidFill>
              </a:rPr>
              <a:t>Brief Profile - </a:t>
            </a:r>
            <a:r>
              <a:rPr lang="en-US" sz="4267" dirty="0">
                <a:solidFill>
                  <a:srgbClr val="90F502"/>
                </a:solidFill>
                <a:latin typeface="Bahamas"/>
                <a:cs typeface="Bahamas"/>
              </a:rPr>
              <a:t>narang n. kishor</a:t>
            </a:r>
            <a:endParaRPr lang="en-IN" b="0" dirty="0">
              <a:solidFill>
                <a:srgbClr val="90F502"/>
              </a:solidFill>
            </a:endParaRPr>
          </a:p>
        </p:txBody>
      </p:sp>
      <p:pic>
        <p:nvPicPr>
          <p:cNvPr id="3" name="Picture 2" descr="narang n. kishor -narnix close up.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8913" y="1142999"/>
            <a:ext cx="3304354" cy="4198533"/>
          </a:xfrm>
          <a:prstGeom prst="rect">
            <a:avLst/>
          </a:prstGeom>
        </p:spPr>
      </p:pic>
      <p:sp>
        <p:nvSpPr>
          <p:cNvPr id="8" name="Footer Placeholder 4">
            <a:extLst>
              <a:ext uri="{FF2B5EF4-FFF2-40B4-BE49-F238E27FC236}">
                <a16:creationId xmlns:a16="http://schemas.microsoft.com/office/drawing/2014/main" id="{F7EA7F1F-B3D1-C346-84D3-29CD11275DE5}"/>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2421904056"/>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sz="quarter" idx="4"/>
          </p:nvPr>
        </p:nvSpPr>
        <p:spPr>
          <a:xfrm>
            <a:off x="1727200" y="1143000"/>
            <a:ext cx="13563600" cy="7592449"/>
          </a:xfrm>
        </p:spPr>
        <p:txBody>
          <a:bodyPr>
            <a:normAutofit/>
          </a:bodyPr>
          <a:lstStyle/>
          <a:p>
            <a:pPr marL="0" indent="0" algn="just">
              <a:buNone/>
            </a:pPr>
            <a:r>
              <a:rPr lang="en-US" sz="2133" dirty="0"/>
              <a:t>Leading Standardization activities @BIS - the Indian National SDO in - Smart Cities, Smart Manufacturing, Smart Energy &amp; Active Assisted Living as the Chairman of </a:t>
            </a:r>
            <a:r>
              <a:rPr lang="en-US" sz="2133" b="1" dirty="0">
                <a:solidFill>
                  <a:srgbClr val="90F502"/>
                </a:solidFill>
              </a:rPr>
              <a:t>Smart Infrastructure Sectional Committee LITD 28 in BIS.</a:t>
            </a:r>
          </a:p>
          <a:p>
            <a:pPr marL="0" indent="0" algn="just">
              <a:buNone/>
            </a:pPr>
            <a:r>
              <a:rPr lang="en-IN" sz="2400" b="1" dirty="0"/>
              <a:t>Contribution in Global SDOs:</a:t>
            </a:r>
            <a:endParaRPr lang="en-US" sz="2400" b="1" dirty="0"/>
          </a:p>
          <a:p>
            <a:pPr algn="just"/>
            <a:r>
              <a:rPr lang="en-US" sz="2133" b="1" dirty="0">
                <a:solidFill>
                  <a:srgbClr val="00B0F0"/>
                </a:solidFill>
              </a:rPr>
              <a:t>Vice Chair – Strategy in IEC SyC Smart Cities</a:t>
            </a:r>
            <a:r>
              <a:rPr lang="en-US" sz="2133" dirty="0">
                <a:solidFill>
                  <a:srgbClr val="00B0F0"/>
                </a:solidFill>
              </a:rPr>
              <a:t>.</a:t>
            </a:r>
          </a:p>
          <a:p>
            <a:pPr algn="just"/>
            <a:r>
              <a:rPr lang="en-US" sz="2133" b="1" dirty="0">
                <a:solidFill>
                  <a:srgbClr val="00B0F0"/>
                </a:solidFill>
              </a:rPr>
              <a:t>Project Leader – IEC TS 63188 ED1 </a:t>
            </a:r>
            <a:r>
              <a:rPr lang="en-US" sz="2133" dirty="0"/>
              <a:t>– Smart Cities Reference Architecture Methodology</a:t>
            </a:r>
          </a:p>
          <a:p>
            <a:pPr algn="just"/>
            <a:r>
              <a:rPr lang="en-US" sz="2133" b="1" dirty="0">
                <a:solidFill>
                  <a:srgbClr val="00B0F0"/>
                </a:solidFill>
              </a:rPr>
              <a:t>Project Leader – IEC 63205 ED1 </a:t>
            </a:r>
            <a:r>
              <a:rPr lang="en-US" sz="2133" dirty="0">
                <a:solidFill>
                  <a:srgbClr val="00B0F0"/>
                </a:solidFill>
              </a:rPr>
              <a:t>– </a:t>
            </a:r>
            <a:r>
              <a:rPr lang="en-US" sz="2133" dirty="0"/>
              <a:t>Smart Cities Reference Architecture</a:t>
            </a:r>
          </a:p>
          <a:p>
            <a:pPr algn="just"/>
            <a:r>
              <a:rPr lang="en-US" sz="2133" dirty="0"/>
              <a:t>Co-Editor – ISO 30145 on Smart City ICT Reference Framework</a:t>
            </a:r>
          </a:p>
          <a:p>
            <a:pPr algn="just"/>
            <a:r>
              <a:rPr lang="en-US" sz="2133" dirty="0"/>
              <a:t>Co-Editor – ISO 30146 on Smart City ICT Indicators</a:t>
            </a:r>
          </a:p>
          <a:p>
            <a:pPr marL="0" indent="0" algn="just">
              <a:buNone/>
            </a:pPr>
            <a:r>
              <a:rPr lang="en-IN" sz="2133" dirty="0"/>
              <a:t>Representing Indian National Body BIS &amp; contributing with Indian perspective in</a:t>
            </a:r>
          </a:p>
          <a:p>
            <a:pPr algn="just"/>
            <a:r>
              <a:rPr lang="en-IN" sz="2133" dirty="0"/>
              <a:t>IEC – SyC Smart Energy, SyC Active Assisted Living &amp; SyC Smart Cities. IEC - SEG4, SEG6, SEG7, SEG8 &amp; SEG9</a:t>
            </a:r>
          </a:p>
          <a:p>
            <a:pPr algn="just"/>
            <a:r>
              <a:rPr lang="en-IN" sz="2133" dirty="0"/>
              <a:t> </a:t>
            </a:r>
            <a:r>
              <a:rPr lang="en-US" sz="2133" dirty="0"/>
              <a:t>ISO - TC 268 on Sustainable Development in Communities.</a:t>
            </a:r>
          </a:p>
          <a:p>
            <a:pPr algn="just"/>
            <a:r>
              <a:rPr lang="en-US" sz="2133" dirty="0"/>
              <a:t>ISO/IEC JTC1/SC 41 – Internet of Things &amp; related Technologies, JTC1/SC 42  - Big Data &amp; Artificial Intelligence; and JTC1/WG11 – Smart Cities.</a:t>
            </a:r>
            <a:endParaRPr lang="en-IN" sz="2133" dirty="0"/>
          </a:p>
          <a:p>
            <a:pPr algn="just"/>
            <a:r>
              <a:rPr lang="en-IN" sz="2133" dirty="0"/>
              <a:t>ITU-T SG20 - </a:t>
            </a:r>
            <a:r>
              <a:rPr lang="en-US" sz="2133" dirty="0"/>
              <a:t>Internet of Things (IoT) and its applications including smart cities and communities (SC&amp;C).</a:t>
            </a:r>
            <a:endParaRPr lang="en-IN" sz="2133" dirty="0"/>
          </a:p>
          <a:p>
            <a:pPr algn="just"/>
            <a:r>
              <a:rPr lang="en-IN" sz="2133" dirty="0"/>
              <a:t>IEEE Smart Cities &amp; Internet of Things Steering Committees. </a:t>
            </a:r>
          </a:p>
          <a:p>
            <a:pPr algn="just"/>
            <a:r>
              <a:rPr lang="en-IN" sz="2133" dirty="0"/>
              <a:t>………..       ……….</a:t>
            </a:r>
            <a:endParaRPr lang="en-US" sz="2133" dirty="0"/>
          </a:p>
        </p:txBody>
      </p:sp>
      <p:sp>
        <p:nvSpPr>
          <p:cNvPr id="3" name="TextBox 2">
            <a:extLst>
              <a:ext uri="{FF2B5EF4-FFF2-40B4-BE49-F238E27FC236}">
                <a16:creationId xmlns:a16="http://schemas.microsoft.com/office/drawing/2014/main" id="{4AD2640A-8EA0-D246-A6B0-C24A5A6A6BF3}"/>
              </a:ext>
            </a:extLst>
          </p:cNvPr>
          <p:cNvSpPr txBox="1"/>
          <p:nvPr/>
        </p:nvSpPr>
        <p:spPr>
          <a:xfrm>
            <a:off x="2387601" y="4758267"/>
            <a:ext cx="184731" cy="892552"/>
          </a:xfrm>
          <a:prstGeom prst="rect">
            <a:avLst/>
          </a:prstGeom>
          <a:noFill/>
        </p:spPr>
        <p:txBody>
          <a:bodyPr wrap="none" rtlCol="0">
            <a:spAutoFit/>
          </a:bodyPr>
          <a:lstStyle/>
          <a:p>
            <a:endParaRPr lang="en-US" sz="5200"/>
          </a:p>
        </p:txBody>
      </p:sp>
      <p:sp>
        <p:nvSpPr>
          <p:cNvPr id="7" name="Title 1">
            <a:extLst>
              <a:ext uri="{FF2B5EF4-FFF2-40B4-BE49-F238E27FC236}">
                <a16:creationId xmlns:a16="http://schemas.microsoft.com/office/drawing/2014/main" id="{441075BA-FAE7-A841-8CF1-E380FB3F48D5}"/>
              </a:ext>
            </a:extLst>
          </p:cNvPr>
          <p:cNvSpPr>
            <a:spLocks noGrp="1"/>
          </p:cNvSpPr>
          <p:nvPr>
            <p:ph type="title"/>
          </p:nvPr>
        </p:nvSpPr>
        <p:spPr>
          <a:xfrm>
            <a:off x="1270000" y="284029"/>
            <a:ext cx="10744200" cy="680161"/>
          </a:xfrm>
        </p:spPr>
        <p:txBody>
          <a:bodyPr>
            <a:normAutofit fontScale="90000"/>
          </a:bodyPr>
          <a:lstStyle/>
          <a:p>
            <a:r>
              <a:rPr lang="en-US" sz="4400" dirty="0">
                <a:solidFill>
                  <a:srgbClr val="FFFF00"/>
                </a:solidFill>
              </a:rPr>
              <a:t>Brief Profile - </a:t>
            </a:r>
            <a:r>
              <a:rPr lang="en-US" sz="4267" dirty="0">
                <a:solidFill>
                  <a:srgbClr val="90F502"/>
                </a:solidFill>
                <a:latin typeface="Bahamas"/>
                <a:cs typeface="Bahamas"/>
              </a:rPr>
              <a:t>narang n. kishor</a:t>
            </a:r>
            <a:endParaRPr lang="en-IN" b="0" dirty="0">
              <a:solidFill>
                <a:srgbClr val="90F502"/>
              </a:solidFill>
            </a:endParaRPr>
          </a:p>
        </p:txBody>
      </p:sp>
      <p:sp>
        <p:nvSpPr>
          <p:cNvPr id="5" name="Footer Placeholder 4">
            <a:extLst>
              <a:ext uri="{FF2B5EF4-FFF2-40B4-BE49-F238E27FC236}">
                <a16:creationId xmlns:a16="http://schemas.microsoft.com/office/drawing/2014/main" id="{59866F5D-99F9-F145-9B38-F02D4516A089}"/>
              </a:ext>
            </a:extLst>
          </p:cNvPr>
          <p:cNvSpPr>
            <a:spLocks noGrp="1"/>
          </p:cNvSpPr>
          <p:nvPr>
            <p:ph type="ftr" sz="quarter" idx="3"/>
          </p:nvPr>
        </p:nvSpPr>
        <p:spPr>
          <a:xfrm>
            <a:off x="1338928" y="8382000"/>
            <a:ext cx="14485272" cy="619706"/>
          </a:xfrm>
          <a:prstGeom prst="rect">
            <a:avLst/>
          </a:prstGeom>
        </p:spPr>
        <p:txBody>
          <a:bodyPr vert="horz" lIns="198553" tIns="99276" rIns="198553" bIns="99276" rtlCol="0" anchor="ctr"/>
          <a:lstStyle>
            <a:lvl1pPr algn="ctr">
              <a:defRPr sz="2800">
                <a:solidFill>
                  <a:schemeClr val="tx1">
                    <a:tint val="75000"/>
                  </a:schemeClr>
                </a:solidFill>
              </a:defRPr>
            </a:lvl1pPr>
          </a:lstStyle>
          <a:p>
            <a:pPr algn="r"/>
            <a:r>
              <a:rPr lang="en-US" dirty="0">
                <a:solidFill>
                  <a:schemeClr val="accent6"/>
                </a:solidFill>
                <a:latin typeface="Century Gothic"/>
                <a:cs typeface="Century Gothic"/>
              </a:rPr>
              <a:t>designing with secure n sustainable dna                       </a:t>
            </a:r>
            <a:r>
              <a:rPr lang="en-US" sz="1600" dirty="0">
                <a:solidFill>
                  <a:srgbClr val="92D050"/>
                </a:solidFill>
                <a:latin typeface="Century Gothic"/>
                <a:cs typeface="Century Gothic"/>
              </a:rPr>
              <a:t>copyright©narnix2019 </a:t>
            </a:r>
          </a:p>
        </p:txBody>
      </p:sp>
    </p:spTree>
    <p:extLst>
      <p:ext uri="{BB962C8B-B14F-4D97-AF65-F5344CB8AC3E}">
        <p14:creationId xmlns:p14="http://schemas.microsoft.com/office/powerpoint/2010/main" val="345076029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itiatives of the Mission</a:t>
            </a:r>
          </a:p>
        </p:txBody>
      </p:sp>
      <p:sp>
        <p:nvSpPr>
          <p:cNvPr id="4" name="Rectangle 3">
            <a:extLst>
              <a:ext uri="{FF2B5EF4-FFF2-40B4-BE49-F238E27FC236}">
                <a16:creationId xmlns:a16="http://schemas.microsoft.com/office/drawing/2014/main" id="{56FCE1E8-AFF3-4B50-B2D9-E48E862CF71A}"/>
              </a:ext>
            </a:extLst>
          </p:cNvPr>
          <p:cNvSpPr/>
          <p:nvPr/>
        </p:nvSpPr>
        <p:spPr>
          <a:xfrm>
            <a:off x="1498601" y="1571178"/>
            <a:ext cx="6400799" cy="5016758"/>
          </a:xfrm>
          <a:prstGeom prst="rect">
            <a:avLst/>
          </a:prstGeom>
        </p:spPr>
        <p:txBody>
          <a:bodyPr wrap="square">
            <a:spAutoFit/>
          </a:bodyPr>
          <a:lstStyle/>
          <a:p>
            <a:pPr marL="571500" indent="-571500">
              <a:buFont typeface="Wingdings" pitchFamily="2" charset="2"/>
              <a:buChar char="Ø"/>
            </a:pPr>
            <a:r>
              <a:rPr lang="en-IN" sz="4000" dirty="0">
                <a:solidFill>
                  <a:schemeClr val="bg1"/>
                </a:solidFill>
              </a:rPr>
              <a:t>Standardisation and Security</a:t>
            </a:r>
          </a:p>
          <a:p>
            <a:pPr marL="571500" indent="-571500">
              <a:buFont typeface="Wingdings" pitchFamily="2" charset="2"/>
              <a:buChar char="Ø"/>
            </a:pPr>
            <a:r>
              <a:rPr lang="en-IN" sz="4000" dirty="0">
                <a:solidFill>
                  <a:schemeClr val="bg1"/>
                </a:solidFill>
              </a:rPr>
              <a:t>Platform agnostic</a:t>
            </a:r>
          </a:p>
          <a:p>
            <a:pPr marL="571500" indent="-571500">
              <a:buFont typeface="Wingdings" pitchFamily="2" charset="2"/>
              <a:buChar char="Ø"/>
            </a:pPr>
            <a:r>
              <a:rPr lang="en-IN" sz="4000" dirty="0">
                <a:solidFill>
                  <a:schemeClr val="bg1"/>
                </a:solidFill>
              </a:rPr>
              <a:t>Backward Compatibility and economies of scale.</a:t>
            </a:r>
          </a:p>
          <a:p>
            <a:pPr marL="571500" indent="-571500">
              <a:buFont typeface="Wingdings" pitchFamily="2" charset="2"/>
              <a:buChar char="Ø"/>
            </a:pPr>
            <a:r>
              <a:rPr lang="en-IN" sz="4000" dirty="0">
                <a:solidFill>
                  <a:schemeClr val="bg1"/>
                </a:solidFill>
              </a:rPr>
              <a:t>Capacity Building</a:t>
            </a:r>
          </a:p>
          <a:p>
            <a:pPr marL="571500" indent="-571500">
              <a:buFont typeface="Wingdings" pitchFamily="2" charset="2"/>
              <a:buChar char="Ø"/>
            </a:pPr>
            <a:r>
              <a:rPr lang="en-IN" sz="4000" dirty="0">
                <a:solidFill>
                  <a:schemeClr val="bg1"/>
                </a:solidFill>
              </a:rPr>
              <a:t>Integrated approach.</a:t>
            </a:r>
          </a:p>
          <a:p>
            <a:pPr marL="571500" indent="-571500">
              <a:buFont typeface="Wingdings" pitchFamily="2" charset="2"/>
              <a:buChar char="Ø"/>
            </a:pPr>
            <a:endParaRPr lang="en-IN" sz="4000" dirty="0">
              <a:solidFill>
                <a:schemeClr val="bg1"/>
              </a:solidFill>
            </a:endParaRPr>
          </a:p>
        </p:txBody>
      </p:sp>
      <p:sp>
        <p:nvSpPr>
          <p:cNvPr id="5" name="Rectangle 4">
            <a:extLst>
              <a:ext uri="{FF2B5EF4-FFF2-40B4-BE49-F238E27FC236}">
                <a16:creationId xmlns:a16="http://schemas.microsoft.com/office/drawing/2014/main" id="{E1DF4B88-92DA-7645-AA6F-033BCFE2C782}"/>
              </a:ext>
            </a:extLst>
          </p:cNvPr>
          <p:cNvSpPr/>
          <p:nvPr/>
        </p:nvSpPr>
        <p:spPr>
          <a:xfrm>
            <a:off x="7899400" y="1571178"/>
            <a:ext cx="7747000" cy="6863417"/>
          </a:xfrm>
          <a:prstGeom prst="rect">
            <a:avLst/>
          </a:prstGeom>
        </p:spPr>
        <p:txBody>
          <a:bodyPr wrap="square">
            <a:spAutoFit/>
          </a:bodyPr>
          <a:lstStyle/>
          <a:p>
            <a:pPr marL="571500" indent="-571500">
              <a:buFont typeface="Wingdings" pitchFamily="2" charset="2"/>
              <a:buChar char="Ø"/>
            </a:pPr>
            <a:r>
              <a:rPr lang="en-IN" sz="4000" dirty="0">
                <a:solidFill>
                  <a:srgbClr val="FFFF00"/>
                </a:solidFill>
              </a:rPr>
              <a:t>Standardization of common processes</a:t>
            </a:r>
          </a:p>
          <a:p>
            <a:pPr marL="571500" indent="-571500">
              <a:buFont typeface="Wingdings" pitchFamily="2" charset="2"/>
              <a:buChar char="Ø"/>
            </a:pPr>
            <a:r>
              <a:rPr lang="en-IN" sz="4000" dirty="0">
                <a:solidFill>
                  <a:srgbClr val="FFFF00"/>
                </a:solidFill>
              </a:rPr>
              <a:t>Standardization of terminologies and semantics </a:t>
            </a:r>
          </a:p>
          <a:p>
            <a:pPr marL="571500" indent="-571500">
              <a:buFont typeface="Wingdings" pitchFamily="2" charset="2"/>
              <a:buChar char="Ø"/>
            </a:pPr>
            <a:r>
              <a:rPr lang="en-IN" sz="4000" dirty="0">
                <a:solidFill>
                  <a:srgbClr val="FFFF00"/>
                </a:solidFill>
              </a:rPr>
              <a:t>Standardization of KPIs</a:t>
            </a:r>
          </a:p>
          <a:p>
            <a:pPr marL="571500" indent="-571500">
              <a:buFont typeface="Wingdings" pitchFamily="2" charset="2"/>
              <a:buChar char="Ø"/>
            </a:pPr>
            <a:r>
              <a:rPr lang="en-IN" sz="4000" dirty="0">
                <a:solidFill>
                  <a:srgbClr val="FFFF00"/>
                </a:solidFill>
              </a:rPr>
              <a:t>Standardization of technology components (including identification/ development of Open standards for IoT/M2M, for interoperability)</a:t>
            </a:r>
          </a:p>
          <a:p>
            <a:pPr marL="571500" indent="-571500">
              <a:buFont typeface="Wingdings" pitchFamily="2" charset="2"/>
              <a:buChar char="Ø"/>
            </a:pPr>
            <a:r>
              <a:rPr lang="en-IN" sz="4000" dirty="0">
                <a:solidFill>
                  <a:srgbClr val="FFFF00"/>
                </a:solidFill>
              </a:rPr>
              <a:t>Data re-use</a:t>
            </a:r>
          </a:p>
        </p:txBody>
      </p:sp>
    </p:spTree>
    <p:extLst>
      <p:ext uri="{BB962C8B-B14F-4D97-AF65-F5344CB8AC3E}">
        <p14:creationId xmlns:p14="http://schemas.microsoft.com/office/powerpoint/2010/main" val="6159285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mart Transformation</a:t>
            </a:r>
          </a:p>
        </p:txBody>
      </p:sp>
      <p:sp>
        <p:nvSpPr>
          <p:cNvPr id="3" name="Content Placeholder 2"/>
          <p:cNvSpPr>
            <a:spLocks noGrp="1"/>
          </p:cNvSpPr>
          <p:nvPr>
            <p:ph idx="1"/>
          </p:nvPr>
        </p:nvSpPr>
        <p:spPr>
          <a:prstGeom prst="rect">
            <a:avLst/>
          </a:prstGeom>
        </p:spPr>
        <p:txBody>
          <a:bodyPr>
            <a:normAutofit/>
          </a:bodyPr>
          <a:lstStyle/>
          <a:p>
            <a:pPr marL="0" indent="0" algn="just">
              <a:buNone/>
            </a:pPr>
            <a:r>
              <a:rPr lang="en-US" sz="3200" dirty="0"/>
              <a:t>The society, the business, the infrastructure, the services and all other aspects of the civilization on the planet Earth are going through a paradigm shift in the wake of technological advancements, especially in the field of ICT</a:t>
            </a:r>
            <a:endParaRPr lang="en-IN" sz="3200" dirty="0"/>
          </a:p>
          <a:p>
            <a:pPr marL="0" indent="0" algn="just">
              <a:buNone/>
            </a:pPr>
            <a:r>
              <a:rPr lang="en-US" sz="3200" dirty="0"/>
              <a:t>All the ecosystems, be it Smart Cities, Smart Grid, Smart Buildings or Smart Factories now find themselves making three classes of transformations: </a:t>
            </a:r>
          </a:p>
          <a:p>
            <a:pPr algn="just"/>
            <a:r>
              <a:rPr lang="en-US" sz="3200" dirty="0">
                <a:solidFill>
                  <a:srgbClr val="90F502"/>
                </a:solidFill>
              </a:rPr>
              <a:t>improvement of infrastructure </a:t>
            </a:r>
            <a:r>
              <a:rPr lang="en-US" sz="3200" dirty="0"/>
              <a:t>– to make it resilient &amp; sustainable… </a:t>
            </a:r>
          </a:p>
          <a:p>
            <a:pPr algn="just"/>
            <a:r>
              <a:rPr lang="en-US" sz="3200" dirty="0">
                <a:solidFill>
                  <a:srgbClr val="90F502"/>
                </a:solidFill>
              </a:rPr>
              <a:t>addition of the digital layer</a:t>
            </a:r>
            <a:r>
              <a:rPr lang="en-US" sz="3200" dirty="0"/>
              <a:t>- which is the essence of the </a:t>
            </a:r>
            <a:r>
              <a:rPr lang="en-US" sz="3200" i="1" dirty="0">
                <a:solidFill>
                  <a:srgbClr val="90F502"/>
                </a:solidFill>
              </a:rPr>
              <a:t>smart paradigm</a:t>
            </a:r>
            <a:r>
              <a:rPr lang="en-US" sz="3200" dirty="0"/>
              <a:t>; and </a:t>
            </a:r>
          </a:p>
          <a:p>
            <a:pPr algn="just"/>
            <a:r>
              <a:rPr lang="en-US" sz="3200" dirty="0">
                <a:solidFill>
                  <a:srgbClr val="90F502"/>
                </a:solidFill>
              </a:rPr>
              <a:t>business process transformation</a:t>
            </a:r>
            <a:r>
              <a:rPr lang="en-US" sz="3200" dirty="0">
                <a:solidFill>
                  <a:srgbClr val="3366FF"/>
                </a:solidFill>
              </a:rPr>
              <a:t> </a:t>
            </a:r>
            <a:r>
              <a:rPr lang="en-US" sz="3200" dirty="0"/>
              <a:t>- necessary to capitalize on the investments in smart technology.</a:t>
            </a:r>
            <a:endParaRPr lang="en-IN" sz="3200" dirty="0"/>
          </a:p>
          <a:p>
            <a:pPr marL="0" indent="0" algn="just">
              <a:buNone/>
            </a:pPr>
            <a:endParaRPr lang="en-US" sz="3200" dirty="0"/>
          </a:p>
        </p:txBody>
      </p:sp>
    </p:spTree>
    <p:extLst>
      <p:ext uri="{BB962C8B-B14F-4D97-AF65-F5344CB8AC3E}">
        <p14:creationId xmlns:p14="http://schemas.microsoft.com/office/powerpoint/2010/main" val="1661914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qlUQh58S1uT8pZa1CkKC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file>

<file path=customXml/item2.xml><?xml version="1.0" encoding="utf-8"?>
<?mso-contentType ?>
<FormTemplates xmlns="http://schemas.microsoft.com/sharepoint/v3/contenttype/form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_x0020_Date xmlns="6dfc6e00-eaa7-471f-8691-9b952787d5c9" xsi:nil="true"/>
    <Action xmlns="6dfc6e00-eaa7-471f-8691-9b952787d5c9">Keep</Action>
    <Keywords0 xmlns="6dfc6e00-eaa7-471f-8691-9b952787d5c9" xsi:nil="true"/>
    <Description_x0020_2 xmlns="6dfc6e00-eaa7-471f-8691-9b952787d5c9" xsi:nil="true"/>
    <Document_x0020_Type xmlns="6dfc6e00-eaa7-471f-8691-9b952787d5c9" xsi:nil="true"/>
    <Description0 xmlns="6dfc6e00-eaa7-471f-8691-9b952787d5c9" xsi:nil="true"/>
    <TaxCatchAll xmlns="cfe53b65-3c36-4587-b144-e9caa3012b85"/>
    <TaxKeywordTaxHTField xmlns="cfe53b65-3c36-4587-b144-e9caa3012b85">
      <Terms xmlns="http://schemas.microsoft.com/office/infopath/2007/PartnerControls"/>
    </TaxKeywordTaxHTField>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8CEA0F26C7743146B81ADA30DB412C57" ma:contentTypeVersion="30" ma:contentTypeDescription="" ma:contentTypeScope="" ma:versionID="fcfdb159951a4bdfedff82a06587af1a">
  <xsd:schema xmlns:xsd="http://www.w3.org/2001/XMLSchema" xmlns:xs="http://www.w3.org/2001/XMLSchema" xmlns:p="http://schemas.microsoft.com/office/2006/metadata/properties" xmlns:ns1="http://schemas.microsoft.com/sharepoint/v3" xmlns:ns2="6dfc6e00-eaa7-471f-8691-9b952787d5c9" xmlns:ns3="cfe53b65-3c36-4587-b144-e9caa3012b85" targetNamespace="http://schemas.microsoft.com/office/2006/metadata/properties" ma:root="true" ma:fieldsID="152d8dc6be0517c768a6ab9550a55961" ns1:_="" ns2:_="" ns3:_="">
    <xsd:import namespace="http://schemas.microsoft.com/sharepoint/v3"/>
    <xsd:import namespace="6dfc6e00-eaa7-471f-8691-9b952787d5c9"/>
    <xsd:import namespace="cfe53b65-3c36-4587-b144-e9caa3012b85"/>
    <xsd:element name="properties">
      <xsd:complexType>
        <xsd:sequence>
          <xsd:element name="documentManagement">
            <xsd:complexType>
              <xsd:all>
                <xsd:element ref="ns2:Document_x0020_Date" minOccurs="0"/>
                <xsd:element ref="ns2:Document_x0020_Type" minOccurs="0"/>
                <xsd:element ref="ns2:Description0" minOccurs="0"/>
                <xsd:element ref="ns2:Keywords0" minOccurs="0"/>
                <xsd:element ref="ns2:Description_x0020_2" minOccurs="0"/>
                <xsd:element ref="ns2:Action" minOccurs="0"/>
                <xsd:element ref="ns1:PublishingStartDate" minOccurs="0"/>
                <xsd:element ref="ns1:PublishingExpirationDate" minOccurs="0"/>
                <xsd:element ref="ns3:TaxKeywordTaxHTField"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0"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1"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dfc6e00-eaa7-471f-8691-9b952787d5c9" elementFormDefault="qualified">
    <xsd:import namespace="http://schemas.microsoft.com/office/2006/documentManagement/types"/>
    <xsd:import namespace="http://schemas.microsoft.com/office/infopath/2007/PartnerControls"/>
    <xsd:element name="Document_x0020_Date" ma:index="2" nillable="true" ma:displayName="Document Date" ma:format="DateOnly" ma:internalName="Document_x0020_Date" ma:readOnly="false">
      <xsd:simpleType>
        <xsd:restriction base="dms:DateTime"/>
      </xsd:simpleType>
    </xsd:element>
    <xsd:element name="Document_x0020_Type" ma:index="3" nillable="true" ma:displayName="Document Type" ma:format="Dropdown" ma:internalName="Document_x0020_Type" ma:readOnly="false">
      <xsd:simpleType>
        <xsd:restriction base="dms:Choice">
          <xsd:enumeration value="Agenda"/>
          <xsd:enumeration value="Draft Agenda"/>
          <xsd:enumeration value="Minutes"/>
          <xsd:enumeration value="Information"/>
        </xsd:restriction>
      </xsd:simpleType>
    </xsd:element>
    <xsd:element name="Description0" ma:index="4" nillable="true" ma:displayName="Description" ma:internalName="Description0" ma:readOnly="false">
      <xsd:simpleType>
        <xsd:restriction base="dms:Note">
          <xsd:maxLength value="255"/>
        </xsd:restriction>
      </xsd:simpleType>
    </xsd:element>
    <xsd:element name="Keywords0" ma:index="5" nillable="true" ma:displayName="Keywords" ma:internalName="Keywords0" ma:readOnly="false">
      <xsd:simpleType>
        <xsd:restriction base="dms:Text">
          <xsd:maxLength value="255"/>
        </xsd:restriction>
      </xsd:simpleType>
    </xsd:element>
    <xsd:element name="Description_x0020_2" ma:index="6" nillable="true" ma:displayName="Description 2" ma:internalName="Description_x0020_2" ma:readOnly="false">
      <xsd:simpleType>
        <xsd:restriction base="dms:Note">
          <xsd:maxLength value="255"/>
        </xsd:restriction>
      </xsd:simpleType>
    </xsd:element>
    <xsd:element name="Action" ma:index="9" nillable="true" ma:displayName="Action" ma:default="Keep" ma:format="Dropdown" ma:internalName="Action" ma:readOnly="false">
      <xsd:simpleType>
        <xsd:restriction base="dms:Choice">
          <xsd:enumeration value="Archive"/>
          <xsd:enumeration value="Delete"/>
          <xsd:enumeration value="HTML"/>
          <xsd:enumeration value="Keep"/>
        </xsd:restriction>
      </xsd:simpleType>
    </xsd:element>
  </xsd:schema>
  <xsd:schema xmlns:xsd="http://www.w3.org/2001/XMLSchema" xmlns:xs="http://www.w3.org/2001/XMLSchema" xmlns:dms="http://schemas.microsoft.com/office/2006/documentManagement/types" xmlns:pc="http://schemas.microsoft.com/office/infopath/2007/PartnerControls" targetNamespace="cfe53b65-3c36-4587-b144-e9caa3012b85" elementFormDefault="qualified">
    <xsd:import namespace="http://schemas.microsoft.com/office/2006/documentManagement/types"/>
    <xsd:import namespace="http://schemas.microsoft.com/office/infopath/2007/PartnerControls"/>
    <xsd:element name="TaxKeywordTaxHTField" ma:index="17" nillable="true" ma:taxonomy="true" ma:internalName="TaxKeywordTaxHTField" ma:taxonomyFieldName="TaxKeyword" ma:displayName="Enterprise Keywords" ma:fieldId="{23f27201-bee3-471e-b2e7-b64fd8b7ca38}" ma:taxonomyMulti="true" ma:sspId="8d75cb8a-db72-4bd2-8553-c0aa1f2d3d3b" ma:termSetId="00000000-0000-0000-0000-000000000000" ma:anchorId="00000000-0000-0000-0000-000000000000" ma:open="true" ma:isKeyword="true">
      <xsd:complexType>
        <xsd:sequence>
          <xsd:element ref="pc:Terms" minOccurs="0" maxOccurs="1"/>
        </xsd:sequence>
      </xsd:complexType>
    </xsd:element>
    <xsd:element name="TaxCatchAll" ma:index="18" nillable="true" ma:displayName="Taxonomy Catch All Column" ma:hidden="true" ma:list="{6de13bb9-1a86-497f-b15a-03a43ff14f46}" ma:internalName="TaxCatchAll" ma:showField="CatchAllData" ma:web="cfe53b65-3c36-4587-b144-e9caa3012b8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0665FD-6AD8-49BA-9995-56BB219732A4}"/>
</file>

<file path=customXml/itemProps2.xml><?xml version="1.0" encoding="utf-8"?>
<ds:datastoreItem xmlns:ds="http://schemas.openxmlformats.org/officeDocument/2006/customXml" ds:itemID="{620665FD-6AD8-49BA-9995-56BB219732A4}"/>
</file>

<file path=customXml/itemProps3.xml><?xml version="1.0" encoding="utf-8"?>
<ds:datastoreItem xmlns:ds="http://schemas.openxmlformats.org/officeDocument/2006/customXml" ds:itemID="{88C580A6-9C74-4580-A1FF-47CAEA76DD2C}"/>
</file>

<file path=customXml/itemProps4.xml><?xml version="1.0" encoding="utf-8"?>
<ds:datastoreItem xmlns:ds="http://schemas.openxmlformats.org/officeDocument/2006/customXml" ds:itemID="{BA46B0BF-DCAF-4E28-9366-8924864C7A6F}"/>
</file>

<file path=docProps/app.xml><?xml version="1.0" encoding="utf-8"?>
<Properties xmlns="http://schemas.openxmlformats.org/officeDocument/2006/extended-properties" xmlns:vt="http://schemas.openxmlformats.org/officeDocument/2006/docPropsVTypes">
  <TotalTime>13187</TotalTime>
  <Words>4951</Words>
  <Application>Microsoft Macintosh PowerPoint</Application>
  <PresentationFormat>Custom</PresentationFormat>
  <Paragraphs>954</Paragraphs>
  <Slides>73</Slides>
  <Notes>1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73</vt:i4>
      </vt:variant>
    </vt:vector>
  </HeadingPairs>
  <TitlesOfParts>
    <vt:vector size="86" baseType="lpstr">
      <vt:lpstr>Arial</vt:lpstr>
      <vt:lpstr>Bahamas</vt:lpstr>
      <vt:lpstr>Calibri</vt:lpstr>
      <vt:lpstr>Century Gothic</vt:lpstr>
      <vt:lpstr>Georgia</vt:lpstr>
      <vt:lpstr>Lucida Calligraphy</vt:lpstr>
      <vt:lpstr>Roboto</vt:lpstr>
      <vt:lpstr>Roboto Black</vt:lpstr>
      <vt:lpstr>Times</vt:lpstr>
      <vt:lpstr>Verdana</vt:lpstr>
      <vt:lpstr>Wingdings</vt:lpstr>
      <vt:lpstr>Office Theme</vt:lpstr>
      <vt:lpstr>think-cell Slide</vt:lpstr>
      <vt:lpstr>India’s Approach to      KPI Based QoS Framework for Smart Cities </vt:lpstr>
      <vt:lpstr>PowerPoint Presentation</vt:lpstr>
      <vt:lpstr>PowerPoint Presentation</vt:lpstr>
      <vt:lpstr>Smart Cities Mission</vt:lpstr>
      <vt:lpstr>PowerPoint Presentation</vt:lpstr>
      <vt:lpstr>Smart Cities – Addressing 3 Core issues</vt:lpstr>
      <vt:lpstr>Mission Strategy</vt:lpstr>
      <vt:lpstr>Initiatives of the Mission</vt:lpstr>
      <vt:lpstr>The Smart Transformation</vt:lpstr>
      <vt:lpstr>The genesis of Smart City</vt:lpstr>
      <vt:lpstr>Features of a Smart City</vt:lpstr>
      <vt:lpstr>The Imperatives:</vt:lpstr>
      <vt:lpstr>Smart Cities &amp; Smart Infrastructure</vt:lpstr>
      <vt:lpstr>Common Understanding is a Big Deal</vt:lpstr>
      <vt:lpstr>General Architecture of Smart City ICT Indicators –ISO30146</vt:lpstr>
      <vt:lpstr>Smart City Capabilities Framework</vt:lpstr>
      <vt:lpstr>PowerPoint Presentation</vt:lpstr>
      <vt:lpstr>Current Applications live in silos</vt:lpstr>
      <vt:lpstr>“The beauty of standards is that there are  so    many to choose from!“  </vt:lpstr>
      <vt:lpstr>CACOPHONY or SYMPHONY ? ? ?</vt:lpstr>
      <vt:lpstr>PowerPoint Presentation</vt:lpstr>
      <vt:lpstr>If “Data is the Oil of the 21st Century” </vt:lpstr>
      <vt:lpstr>Smart City Digitization - Why Standards</vt:lpstr>
      <vt:lpstr>Smart Cities ICT</vt:lpstr>
      <vt:lpstr>System of Systems - Key Characteristics</vt:lpstr>
      <vt:lpstr>PowerPoint Presentation</vt:lpstr>
      <vt:lpstr>Four levels of abstraction in the         Systems Approach</vt:lpstr>
      <vt:lpstr>Levels of architecting</vt:lpstr>
      <vt:lpstr>Smart Cities ICT Architecture - Simplified View</vt:lpstr>
      <vt:lpstr>7 Layers of Information Flow </vt:lpstr>
      <vt:lpstr>Mapping the Smart Infrastructure Philosophy to High-level Functionality</vt:lpstr>
      <vt:lpstr>Mapping the Smart Infrastructure Philosophy to High-level Functionality</vt:lpstr>
      <vt:lpstr>The way forward: Unified architecture</vt:lpstr>
      <vt:lpstr>PowerPoint Presentation</vt:lpstr>
      <vt:lpstr>Smart Utilities ICT Architecture</vt:lpstr>
      <vt:lpstr>Smart Utilities ICT Architecture</vt:lpstr>
      <vt:lpstr>Smart Utilities ICT Architecture</vt:lpstr>
      <vt:lpstr>Smart Utilities ICT Architecture</vt:lpstr>
      <vt:lpstr>Smart City Platform     Key Micro Services </vt:lpstr>
      <vt:lpstr>PowerPoint Presentation</vt:lpstr>
      <vt:lpstr>PowerPoint Presentation</vt:lpstr>
      <vt:lpstr>Last Mile Communication </vt:lpstr>
      <vt:lpstr>Last Mile Communication </vt:lpstr>
      <vt:lpstr>Unified ICT Architecture Abstraction: </vt:lpstr>
      <vt:lpstr>Classic Saucer Champagne Glass Architecture Model:</vt:lpstr>
      <vt:lpstr>…Classic Saucer Champagne Glass Architecture:</vt:lpstr>
      <vt:lpstr>PowerPoint Presentation</vt:lpstr>
      <vt:lpstr>PowerPoint Presentation</vt:lpstr>
      <vt:lpstr>Common digital platform and digital solutions</vt:lpstr>
      <vt:lpstr>Common digital platform and digital solutions</vt:lpstr>
      <vt:lpstr>Platforms Approach…</vt:lpstr>
      <vt:lpstr>Some more focus Areas…</vt:lpstr>
      <vt:lpstr>BIS LITD 28 Deliverables Imperatives:</vt:lpstr>
      <vt:lpstr>PowerPoint Presentation</vt:lpstr>
      <vt:lpstr>A few steps being undertaken…</vt:lpstr>
      <vt:lpstr>A few Next steps…</vt:lpstr>
      <vt:lpstr>5G Service Based Architecture</vt:lpstr>
      <vt:lpstr>Example of a micro service architecture</vt:lpstr>
      <vt:lpstr>Cloud native application stacks</vt:lpstr>
      <vt:lpstr>5G spectrum strategy </vt:lpstr>
      <vt:lpstr>5G Networks Characteristics</vt:lpstr>
      <vt:lpstr>Network Architecture</vt:lpstr>
      <vt:lpstr>Design Principles</vt:lpstr>
      <vt:lpstr>5G Paradigm – Key Attributes…</vt:lpstr>
      <vt:lpstr>PowerPoint Presentation</vt:lpstr>
      <vt:lpstr>Some Questions…</vt:lpstr>
      <vt:lpstr>A few inputs for the immediate NEXT STEPS…</vt:lpstr>
      <vt:lpstr>PowerPoint Presentation</vt:lpstr>
      <vt:lpstr>PowerPoint Presentation</vt:lpstr>
      <vt:lpstr>Resilience….</vt:lpstr>
      <vt:lpstr>PowerPoint Presentation</vt:lpstr>
      <vt:lpstr>Brief Profile - narang n. kishor</vt:lpstr>
      <vt:lpstr>Brief Profile - narang n. kishor</vt:lpstr>
    </vt:vector>
  </TitlesOfParts>
  <Manager>Vice Chair - Strategy</Manager>
  <Company>NARNIX TECHNOLABS PVT. LT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EC SyC SmC Meetings - Key Take Aways</dc:title>
  <dc:subject>IEC Systems Committee Smart Cities</dc:subject>
  <dc:creator>N. Kishor Narang</dc:creator>
  <cp:keywords/>
  <dc:description/>
  <cp:lastModifiedBy>N. Kishor Narang</cp:lastModifiedBy>
  <cp:revision>396</cp:revision>
  <dcterms:created xsi:type="dcterms:W3CDTF">2015-11-27T10:36:12Z</dcterms:created>
  <dcterms:modified xsi:type="dcterms:W3CDTF">2019-09-05T02:28:19Z</dcterms:modified>
  <cp:category>STANDARD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EA0F26C7743146B81ADA30DB412C57</vt:lpwstr>
  </property>
  <property fmtid="{D5CDD505-2E9C-101B-9397-08002B2CF9AE}" pid="3" name="_dlc_DocIdItemGuid">
    <vt:lpwstr>32a6543d-0a60-46ab-8ae8-8e97dfbad81a</vt:lpwstr>
  </property>
</Properties>
</file>